
<file path=[Content_Types].xml><?xml version="1.0" encoding="utf-8"?>
<Types xmlns="http://schemas.openxmlformats.org/package/2006/content-types">
  <Default Extension="png" ContentType="image/png"/>
  <Default Extension="emf" ContentType="image/x-emf"/>
  <Default Extension="wmf" ContentType="image/x-wmf"/>
  <Default Extension="jpeg" ContentType="image/jpeg"/>
  <Default Extension="rels" ContentType="application/vnd.openxmlformats-package.relationships+xml"/>
  <Default Extension="xml" ContentType="application/xml"/>
  <Default Extension="wdp" ContentType="image/vnd.ms-photo"/>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notesSlides/notesSlide6.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229" r:id="rId4"/>
    <p:sldMasterId id="2147484310" r:id="rId5"/>
  </p:sldMasterIdLst>
  <p:notesMasterIdLst>
    <p:notesMasterId r:id="rId111"/>
  </p:notesMasterIdLst>
  <p:handoutMasterIdLst>
    <p:handoutMasterId r:id="rId112"/>
  </p:handoutMasterIdLst>
  <p:sldIdLst>
    <p:sldId id="1398" r:id="rId6"/>
    <p:sldId id="1393" r:id="rId7"/>
    <p:sldId id="1423" r:id="rId8"/>
    <p:sldId id="1424" r:id="rId9"/>
    <p:sldId id="1425" r:id="rId10"/>
    <p:sldId id="1421" r:id="rId11"/>
    <p:sldId id="1410" r:id="rId12"/>
    <p:sldId id="1416" r:id="rId13"/>
    <p:sldId id="1417" r:id="rId14"/>
    <p:sldId id="1419" r:id="rId15"/>
    <p:sldId id="1443" r:id="rId16"/>
    <p:sldId id="1444" r:id="rId17"/>
    <p:sldId id="1439" r:id="rId18"/>
    <p:sldId id="1412" r:id="rId19"/>
    <p:sldId id="1471" r:id="rId20"/>
    <p:sldId id="1472" r:id="rId21"/>
    <p:sldId id="1473" r:id="rId22"/>
    <p:sldId id="1474" r:id="rId23"/>
    <p:sldId id="1475" r:id="rId24"/>
    <p:sldId id="1476" r:id="rId25"/>
    <p:sldId id="1477" r:id="rId26"/>
    <p:sldId id="1478" r:id="rId27"/>
    <p:sldId id="1479" r:id="rId28"/>
    <p:sldId id="1440" r:id="rId29"/>
    <p:sldId id="1427" r:id="rId30"/>
    <p:sldId id="1432" r:id="rId31"/>
    <p:sldId id="1433" r:id="rId32"/>
    <p:sldId id="1495" r:id="rId33"/>
    <p:sldId id="1496" r:id="rId34"/>
    <p:sldId id="1497" r:id="rId35"/>
    <p:sldId id="1498" r:id="rId36"/>
    <p:sldId id="1499" r:id="rId37"/>
    <p:sldId id="1500" r:id="rId38"/>
    <p:sldId id="1493" r:id="rId39"/>
    <p:sldId id="1481" r:id="rId40"/>
    <p:sldId id="1428" r:id="rId41"/>
    <p:sldId id="1429" r:id="rId42"/>
    <p:sldId id="1430" r:id="rId43"/>
    <p:sldId id="1480" r:id="rId44"/>
    <p:sldId id="1494" r:id="rId45"/>
    <p:sldId id="1405" r:id="rId46"/>
    <p:sldId id="1491" r:id="rId47"/>
    <p:sldId id="1492" r:id="rId48"/>
    <p:sldId id="1418" r:id="rId49"/>
    <p:sldId id="1441" r:id="rId50"/>
    <p:sldId id="1447" r:id="rId51"/>
    <p:sldId id="1470" r:id="rId52"/>
    <p:sldId id="1448" r:id="rId53"/>
    <p:sldId id="1449" r:id="rId54"/>
    <p:sldId id="1450" r:id="rId55"/>
    <p:sldId id="1451" r:id="rId56"/>
    <p:sldId id="1452" r:id="rId57"/>
    <p:sldId id="1453" r:id="rId58"/>
    <p:sldId id="1454" r:id="rId59"/>
    <p:sldId id="1455" r:id="rId60"/>
    <p:sldId id="1456" r:id="rId61"/>
    <p:sldId id="1457" r:id="rId62"/>
    <p:sldId id="1458" r:id="rId63"/>
    <p:sldId id="1459" r:id="rId64"/>
    <p:sldId id="1460" r:id="rId65"/>
    <p:sldId id="1461" r:id="rId66"/>
    <p:sldId id="1462" r:id="rId67"/>
    <p:sldId id="1463" r:id="rId68"/>
    <p:sldId id="1464" r:id="rId69"/>
    <p:sldId id="1465" r:id="rId70"/>
    <p:sldId id="1466" r:id="rId71"/>
    <p:sldId id="1467" r:id="rId72"/>
    <p:sldId id="1468" r:id="rId73"/>
    <p:sldId id="1469" r:id="rId74"/>
    <p:sldId id="1399" r:id="rId75"/>
    <p:sldId id="1400" r:id="rId76"/>
    <p:sldId id="1401" r:id="rId77"/>
    <p:sldId id="1318" r:id="rId78"/>
    <p:sldId id="1372" r:id="rId79"/>
    <p:sldId id="1362" r:id="rId80"/>
    <p:sldId id="1320" r:id="rId81"/>
    <p:sldId id="1395" r:id="rId82"/>
    <p:sldId id="1375" r:id="rId83"/>
    <p:sldId id="1377" r:id="rId84"/>
    <p:sldId id="1364" r:id="rId85"/>
    <p:sldId id="1323" r:id="rId86"/>
    <p:sldId id="1378" r:id="rId87"/>
    <p:sldId id="1370" r:id="rId88"/>
    <p:sldId id="1365" r:id="rId89"/>
    <p:sldId id="1324" r:id="rId90"/>
    <p:sldId id="1325" r:id="rId91"/>
    <p:sldId id="1326" r:id="rId92"/>
    <p:sldId id="1383" r:id="rId93"/>
    <p:sldId id="1394" r:id="rId94"/>
    <p:sldId id="1402" r:id="rId95"/>
    <p:sldId id="1403" r:id="rId96"/>
    <p:sldId id="1404" r:id="rId97"/>
    <p:sldId id="1380" r:id="rId98"/>
    <p:sldId id="1381" r:id="rId99"/>
    <p:sldId id="1396" r:id="rId100"/>
    <p:sldId id="1379" r:id="rId101"/>
    <p:sldId id="1385" r:id="rId102"/>
    <p:sldId id="1386" r:id="rId103"/>
    <p:sldId id="1387" r:id="rId104"/>
    <p:sldId id="1388" r:id="rId105"/>
    <p:sldId id="1389" r:id="rId106"/>
    <p:sldId id="1390" r:id="rId107"/>
    <p:sldId id="1391" r:id="rId108"/>
    <p:sldId id="1407" r:id="rId109"/>
    <p:sldId id="1392" r:id="rId110"/>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gnite 2016 Template Light" id="{A073DAE3-B461-442F-A3D3-6642BD875E45}">
          <p14:sldIdLst>
            <p14:sldId id="1398"/>
            <p14:sldId id="1393"/>
            <p14:sldId id="1423"/>
            <p14:sldId id="1424"/>
            <p14:sldId id="1425"/>
          </p14:sldIdLst>
        </p14:section>
        <p14:section name="Decision" id="{868617A2-4843-4F04-BCAF-4BAF0293A8F8}">
          <p14:sldIdLst>
            <p14:sldId id="1421"/>
            <p14:sldId id="1410"/>
            <p14:sldId id="1416"/>
            <p14:sldId id="1417"/>
            <p14:sldId id="1419"/>
            <p14:sldId id="1443"/>
            <p14:sldId id="1444"/>
          </p14:sldIdLst>
        </p14:section>
        <p14:section name="Deployment" id="{EBA40275-9391-494E-809A-ECDB753BDA83}">
          <p14:sldIdLst>
            <p14:sldId id="1439"/>
            <p14:sldId id="1412"/>
            <p14:sldId id="1471"/>
            <p14:sldId id="1472"/>
            <p14:sldId id="1473"/>
            <p14:sldId id="1474"/>
            <p14:sldId id="1475"/>
            <p14:sldId id="1476"/>
            <p14:sldId id="1477"/>
            <p14:sldId id="1478"/>
            <p14:sldId id="1479"/>
          </p14:sldIdLst>
        </p14:section>
        <p14:section name="Results" id="{115D49A4-8526-416B-8DD5-45F8C34A893B}">
          <p14:sldIdLst>
            <p14:sldId id="1440"/>
            <p14:sldId id="1427"/>
            <p14:sldId id="1432"/>
            <p14:sldId id="1433"/>
            <p14:sldId id="1495"/>
            <p14:sldId id="1496"/>
            <p14:sldId id="1497"/>
            <p14:sldId id="1498"/>
            <p14:sldId id="1499"/>
            <p14:sldId id="1500"/>
            <p14:sldId id="1493"/>
            <p14:sldId id="1481"/>
            <p14:sldId id="1428"/>
            <p14:sldId id="1429"/>
            <p14:sldId id="1430"/>
            <p14:sldId id="1480"/>
            <p14:sldId id="1494"/>
            <p14:sldId id="1405"/>
          </p14:sldIdLst>
        </p14:section>
        <p14:section name="Resource slides" id="{79B42920-E9BE-41EA-9F5D-94E398B0C16D}">
          <p14:sldIdLst>
            <p14:sldId id="1491"/>
            <p14:sldId id="1492"/>
            <p14:sldId id="1418"/>
            <p14:sldId id="1441"/>
            <p14:sldId id="1447"/>
            <p14:sldId id="1470"/>
            <p14:sldId id="1448"/>
            <p14:sldId id="1449"/>
            <p14:sldId id="1450"/>
            <p14:sldId id="1451"/>
            <p14:sldId id="1452"/>
            <p14:sldId id="1453"/>
            <p14:sldId id="1454"/>
            <p14:sldId id="1455"/>
            <p14:sldId id="1456"/>
            <p14:sldId id="1457"/>
            <p14:sldId id="1458"/>
            <p14:sldId id="1459"/>
            <p14:sldId id="1460"/>
            <p14:sldId id="1461"/>
            <p14:sldId id="1462"/>
            <p14:sldId id="1463"/>
            <p14:sldId id="1464"/>
            <p14:sldId id="1465"/>
            <p14:sldId id="1466"/>
            <p14:sldId id="1467"/>
            <p14:sldId id="1468"/>
            <p14:sldId id="1469"/>
            <p14:sldId id="1399"/>
            <p14:sldId id="1400"/>
            <p14:sldId id="1401"/>
            <p14:sldId id="1318"/>
            <p14:sldId id="1372"/>
            <p14:sldId id="1362"/>
            <p14:sldId id="1320"/>
            <p14:sldId id="1395"/>
            <p14:sldId id="1375"/>
            <p14:sldId id="1377"/>
            <p14:sldId id="1364"/>
            <p14:sldId id="1323"/>
            <p14:sldId id="1378"/>
            <p14:sldId id="1370"/>
            <p14:sldId id="1365"/>
            <p14:sldId id="1324"/>
            <p14:sldId id="1325"/>
            <p14:sldId id="1326"/>
          </p14:sldIdLst>
        </p14:section>
        <p14:section name="Ignite 2016 Template Dark" id="{361DECE0-D7F3-4586-A791-C8E5092BB79E}">
          <p14:sldIdLst>
            <p14:sldId id="1383"/>
            <p14:sldId id="1394"/>
            <p14:sldId id="1402"/>
            <p14:sldId id="1403"/>
            <p14:sldId id="1404"/>
            <p14:sldId id="1380"/>
            <p14:sldId id="1381"/>
            <p14:sldId id="1396"/>
            <p14:sldId id="1379"/>
            <p14:sldId id="1385"/>
            <p14:sldId id="1386"/>
            <p14:sldId id="1387"/>
            <p14:sldId id="1388"/>
            <p14:sldId id="1389"/>
            <p14:sldId id="1390"/>
            <p14:sldId id="1391"/>
            <p14:sldId id="1407"/>
            <p14:sldId id="1392"/>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Monica Lueder" initials="ML" lastIdx="22" clrIdx="2">
    <p:extLst>
      <p:ext uri="{19B8F6BF-5375-455C-9EA6-DF929625EA0E}">
        <p15:presenceInfo xmlns:p15="http://schemas.microsoft.com/office/powerpoint/2012/main" userId="S-1-5-21-2127521184-1604012920-1887927527-2598260" providerId="AD"/>
      </p:ext>
    </p:extLst>
  </p:cmAuthor>
  <p:cmAuthor id="3" name="Mary Feil-Jacobs" initials="MF" lastIdx="22" clrIdx="3">
    <p:extLst>
      <p:ext uri="{19B8F6BF-5375-455C-9EA6-DF929625EA0E}">
        <p15:presenceInfo xmlns:p15="http://schemas.microsoft.com/office/powerpoint/2012/main" userId="S-1-5-21-2127521184-1604012920-1887927527-6500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07C10"/>
    <a:srgbClr val="292929"/>
    <a:srgbClr val="FFFFFF"/>
    <a:srgbClr val="BAD80A"/>
    <a:srgbClr val="A80000"/>
    <a:srgbClr val="5C2D91"/>
    <a:srgbClr val="0078D7"/>
    <a:srgbClr val="000000"/>
    <a:srgbClr val="D83B01"/>
    <a:srgbClr val="00205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5393" autoAdjust="0"/>
    <p:restoredTop sz="96370" autoAdjust="0"/>
  </p:normalViewPr>
  <p:slideViewPr>
    <p:cSldViewPr>
      <p:cViewPr varScale="1">
        <p:scale>
          <a:sx n="104" d="100"/>
          <a:sy n="104" d="100"/>
        </p:scale>
        <p:origin x="72" y="162"/>
      </p:cViewPr>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75" d="100"/>
        <a:sy n="75" d="100"/>
      </p:scale>
      <p:origin x="0" y="-1122"/>
    </p:cViewPr>
  </p:sorterViewPr>
  <p:notesViewPr>
    <p:cSldViewPr showGuides="1">
      <p:cViewPr varScale="1">
        <p:scale>
          <a:sx n="83" d="100"/>
          <a:sy n="83" d="100"/>
        </p:scale>
        <p:origin x="2328" y="108"/>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1.xml"/><Relationship Id="rId117" Type="http://schemas.openxmlformats.org/officeDocument/2006/relationships/tableStyles" Target="tableStyles.xml"/><Relationship Id="rId21" Type="http://schemas.openxmlformats.org/officeDocument/2006/relationships/slide" Target="slides/slide16.xml"/><Relationship Id="rId42" Type="http://schemas.openxmlformats.org/officeDocument/2006/relationships/slide" Target="slides/slide37.xml"/><Relationship Id="rId47" Type="http://schemas.openxmlformats.org/officeDocument/2006/relationships/slide" Target="slides/slide42.xml"/><Relationship Id="rId63" Type="http://schemas.openxmlformats.org/officeDocument/2006/relationships/slide" Target="slides/slide58.xml"/><Relationship Id="rId68" Type="http://schemas.openxmlformats.org/officeDocument/2006/relationships/slide" Target="slides/slide63.xml"/><Relationship Id="rId84" Type="http://schemas.openxmlformats.org/officeDocument/2006/relationships/slide" Target="slides/slide79.xml"/><Relationship Id="rId89" Type="http://schemas.openxmlformats.org/officeDocument/2006/relationships/slide" Target="slides/slide84.xml"/><Relationship Id="rId112" Type="http://schemas.openxmlformats.org/officeDocument/2006/relationships/handoutMaster" Target="handoutMasters/handoutMaster1.xml"/><Relationship Id="rId16" Type="http://schemas.openxmlformats.org/officeDocument/2006/relationships/slide" Target="slides/slide11.xml"/><Relationship Id="rId107" Type="http://schemas.openxmlformats.org/officeDocument/2006/relationships/slide" Target="slides/slide102.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slide" Target="slides/slide48.xml"/><Relationship Id="rId58" Type="http://schemas.openxmlformats.org/officeDocument/2006/relationships/slide" Target="slides/slide53.xml"/><Relationship Id="rId66" Type="http://schemas.openxmlformats.org/officeDocument/2006/relationships/slide" Target="slides/slide61.xml"/><Relationship Id="rId74" Type="http://schemas.openxmlformats.org/officeDocument/2006/relationships/slide" Target="slides/slide69.xml"/><Relationship Id="rId79" Type="http://schemas.openxmlformats.org/officeDocument/2006/relationships/slide" Target="slides/slide74.xml"/><Relationship Id="rId87" Type="http://schemas.openxmlformats.org/officeDocument/2006/relationships/slide" Target="slides/slide82.xml"/><Relationship Id="rId102" Type="http://schemas.openxmlformats.org/officeDocument/2006/relationships/slide" Target="slides/slide97.xml"/><Relationship Id="rId110" Type="http://schemas.openxmlformats.org/officeDocument/2006/relationships/slide" Target="slides/slide105.xml"/><Relationship Id="rId115" Type="http://schemas.openxmlformats.org/officeDocument/2006/relationships/viewProps" Target="viewProps.xml"/><Relationship Id="rId5" Type="http://schemas.openxmlformats.org/officeDocument/2006/relationships/slideMaster" Target="slideMasters/slideMaster2.xml"/><Relationship Id="rId61" Type="http://schemas.openxmlformats.org/officeDocument/2006/relationships/slide" Target="slides/slide56.xml"/><Relationship Id="rId82" Type="http://schemas.openxmlformats.org/officeDocument/2006/relationships/slide" Target="slides/slide77.xml"/><Relationship Id="rId90" Type="http://schemas.openxmlformats.org/officeDocument/2006/relationships/slide" Target="slides/slide85.xml"/><Relationship Id="rId95" Type="http://schemas.openxmlformats.org/officeDocument/2006/relationships/slide" Target="slides/slide90.xml"/><Relationship Id="rId19" Type="http://schemas.openxmlformats.org/officeDocument/2006/relationships/slide" Target="slides/slide1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slide" Target="slides/slide51.xml"/><Relationship Id="rId64" Type="http://schemas.openxmlformats.org/officeDocument/2006/relationships/slide" Target="slides/slide59.xml"/><Relationship Id="rId69" Type="http://schemas.openxmlformats.org/officeDocument/2006/relationships/slide" Target="slides/slide64.xml"/><Relationship Id="rId77" Type="http://schemas.openxmlformats.org/officeDocument/2006/relationships/slide" Target="slides/slide72.xml"/><Relationship Id="rId100" Type="http://schemas.openxmlformats.org/officeDocument/2006/relationships/slide" Target="slides/slide95.xml"/><Relationship Id="rId105" Type="http://schemas.openxmlformats.org/officeDocument/2006/relationships/slide" Target="slides/slide100.xml"/><Relationship Id="rId113" Type="http://schemas.openxmlformats.org/officeDocument/2006/relationships/commentAuthors" Target="commentAuthors.xml"/><Relationship Id="rId8" Type="http://schemas.openxmlformats.org/officeDocument/2006/relationships/slide" Target="slides/slide3.xml"/><Relationship Id="rId51" Type="http://schemas.openxmlformats.org/officeDocument/2006/relationships/slide" Target="slides/slide46.xml"/><Relationship Id="rId72" Type="http://schemas.openxmlformats.org/officeDocument/2006/relationships/slide" Target="slides/slide67.xml"/><Relationship Id="rId80" Type="http://schemas.openxmlformats.org/officeDocument/2006/relationships/slide" Target="slides/slide75.xml"/><Relationship Id="rId85" Type="http://schemas.openxmlformats.org/officeDocument/2006/relationships/slide" Target="slides/slide80.xml"/><Relationship Id="rId93" Type="http://schemas.openxmlformats.org/officeDocument/2006/relationships/slide" Target="slides/slide88.xml"/><Relationship Id="rId98" Type="http://schemas.openxmlformats.org/officeDocument/2006/relationships/slide" Target="slides/slide93.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slide" Target="slides/slide54.xml"/><Relationship Id="rId67" Type="http://schemas.openxmlformats.org/officeDocument/2006/relationships/slide" Target="slides/slide62.xml"/><Relationship Id="rId103" Type="http://schemas.openxmlformats.org/officeDocument/2006/relationships/slide" Target="slides/slide98.xml"/><Relationship Id="rId108" Type="http://schemas.openxmlformats.org/officeDocument/2006/relationships/slide" Target="slides/slide103.xml"/><Relationship Id="rId116" Type="http://schemas.openxmlformats.org/officeDocument/2006/relationships/theme" Target="theme/theme1.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slide" Target="slides/slide49.xml"/><Relationship Id="rId62" Type="http://schemas.openxmlformats.org/officeDocument/2006/relationships/slide" Target="slides/slide57.xml"/><Relationship Id="rId70" Type="http://schemas.openxmlformats.org/officeDocument/2006/relationships/slide" Target="slides/slide65.xml"/><Relationship Id="rId75" Type="http://schemas.openxmlformats.org/officeDocument/2006/relationships/slide" Target="slides/slide70.xml"/><Relationship Id="rId83" Type="http://schemas.openxmlformats.org/officeDocument/2006/relationships/slide" Target="slides/slide78.xml"/><Relationship Id="rId88" Type="http://schemas.openxmlformats.org/officeDocument/2006/relationships/slide" Target="slides/slide83.xml"/><Relationship Id="rId91" Type="http://schemas.openxmlformats.org/officeDocument/2006/relationships/slide" Target="slides/slide86.xml"/><Relationship Id="rId96" Type="http://schemas.openxmlformats.org/officeDocument/2006/relationships/slide" Target="slides/slide91.xml"/><Relationship Id="rId111"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slide" Target="slides/slide52.xml"/><Relationship Id="rId106" Type="http://schemas.openxmlformats.org/officeDocument/2006/relationships/slide" Target="slides/slide101.xml"/><Relationship Id="rId114" Type="http://schemas.openxmlformats.org/officeDocument/2006/relationships/presProps" Target="presProps.xml"/><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slide" Target="slides/slide55.xml"/><Relationship Id="rId65" Type="http://schemas.openxmlformats.org/officeDocument/2006/relationships/slide" Target="slides/slide60.xml"/><Relationship Id="rId73" Type="http://schemas.openxmlformats.org/officeDocument/2006/relationships/slide" Target="slides/slide68.xml"/><Relationship Id="rId78" Type="http://schemas.openxmlformats.org/officeDocument/2006/relationships/slide" Target="slides/slide73.xml"/><Relationship Id="rId81" Type="http://schemas.openxmlformats.org/officeDocument/2006/relationships/slide" Target="slides/slide76.xml"/><Relationship Id="rId86" Type="http://schemas.openxmlformats.org/officeDocument/2006/relationships/slide" Target="slides/slide81.xml"/><Relationship Id="rId94" Type="http://schemas.openxmlformats.org/officeDocument/2006/relationships/slide" Target="slides/slide89.xml"/><Relationship Id="rId99" Type="http://schemas.openxmlformats.org/officeDocument/2006/relationships/slide" Target="slides/slide94.xml"/><Relationship Id="rId101" Type="http://schemas.openxmlformats.org/officeDocument/2006/relationships/slide" Target="slides/slide96.xml"/><Relationship Id="rId4" Type="http://schemas.openxmlformats.org/officeDocument/2006/relationships/slideMaster" Target="slideMasters/slideMaster1.xml"/><Relationship Id="rId9" Type="http://schemas.openxmlformats.org/officeDocument/2006/relationships/slide" Target="slides/slide4.xml"/><Relationship Id="rId13" Type="http://schemas.openxmlformats.org/officeDocument/2006/relationships/slide" Target="slides/slide8.xml"/><Relationship Id="rId18" Type="http://schemas.openxmlformats.org/officeDocument/2006/relationships/slide" Target="slides/slide13.xml"/><Relationship Id="rId39" Type="http://schemas.openxmlformats.org/officeDocument/2006/relationships/slide" Target="slides/slide34.xml"/><Relationship Id="rId109" Type="http://schemas.openxmlformats.org/officeDocument/2006/relationships/slide" Target="slides/slide104.xml"/><Relationship Id="rId34" Type="http://schemas.openxmlformats.org/officeDocument/2006/relationships/slide" Target="slides/slide29.xml"/><Relationship Id="rId50" Type="http://schemas.openxmlformats.org/officeDocument/2006/relationships/slide" Target="slides/slide45.xml"/><Relationship Id="rId55" Type="http://schemas.openxmlformats.org/officeDocument/2006/relationships/slide" Target="slides/slide50.xml"/><Relationship Id="rId76" Type="http://schemas.openxmlformats.org/officeDocument/2006/relationships/slide" Target="slides/slide71.xml"/><Relationship Id="rId97" Type="http://schemas.openxmlformats.org/officeDocument/2006/relationships/slide" Target="slides/slide92.xml"/><Relationship Id="rId104" Type="http://schemas.openxmlformats.org/officeDocument/2006/relationships/slide" Target="slides/slide99.xml"/><Relationship Id="rId7" Type="http://schemas.openxmlformats.org/officeDocument/2006/relationships/slide" Target="slides/slide2.xml"/><Relationship Id="rId71" Type="http://schemas.openxmlformats.org/officeDocument/2006/relationships/slide" Target="slides/slide66.xml"/><Relationship Id="rId92" Type="http://schemas.openxmlformats.org/officeDocument/2006/relationships/slide" Target="slides/slide87.xml"/><Relationship Id="rId2" Type="http://schemas.openxmlformats.org/officeDocument/2006/relationships/customXml" Target="../customXml/item2.xml"/><Relationship Id="rId29" Type="http://schemas.openxmlformats.org/officeDocument/2006/relationships/slide" Target="slides/slide24.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r>
              <a:rPr lang="en-US" dirty="0">
                <a:latin typeface="Segoe UI" pitchFamily="34" charset="0"/>
              </a:rPr>
              <a:t>Microsoft Ignite 2016</a:t>
            </a: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8C8D045D-9A66-44E7-900A-FC6D0BD4E54A}" type="datetime8">
              <a:rPr lang="en-US" smtClean="0">
                <a:latin typeface="Segoe UI" pitchFamily="34" charset="0"/>
              </a:rPr>
              <a:t>9/7/2016 12:50</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r>
              <a:rPr lang="en-US" dirty="0"/>
              <a:t>Microsoft Ignite 2016</a:t>
            </a:r>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38EEC551-8CDA-4EB6-89BB-2A86C9F091C8}" type="datetime8">
              <a:rPr lang="en-US" smtClean="0"/>
              <a:t>9/7/2016 12:50</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r>
              <a:rPr lang="en-US"/>
              <a:t>Microsoft Ignite 2016</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9/7/2016 12:50</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a:t>
            </a:fld>
            <a:endParaRPr lang="en-US" dirty="0"/>
          </a:p>
        </p:txBody>
      </p:sp>
    </p:spTree>
    <p:extLst>
      <p:ext uri="{BB962C8B-B14F-4D97-AF65-F5344CB8AC3E}">
        <p14:creationId xmlns:p14="http://schemas.microsoft.com/office/powerpoint/2010/main" val="372356862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 c</a:t>
            </a:r>
          </a:p>
        </p:txBody>
      </p:sp>
      <p:sp>
        <p:nvSpPr>
          <p:cNvPr id="4" name="Slide Number Placeholder 3"/>
          <p:cNvSpPr>
            <a:spLocks noGrp="1"/>
          </p:cNvSpPr>
          <p:nvPr>
            <p:ph type="sldNum" sz="quarter" idx="10"/>
          </p:nvPr>
        </p:nvSpPr>
        <p:spPr/>
        <p:txBody>
          <a:bodyPr/>
          <a:lstStyle/>
          <a:p>
            <a:fld id="{97863621-2E60-B848-8968-B0341E26A312}" type="slidenum">
              <a:rPr lang="en-US" smtClean="0"/>
              <a:t>27</a:t>
            </a:fld>
            <a:endParaRPr lang="en-US"/>
          </a:p>
        </p:txBody>
      </p:sp>
    </p:spTree>
    <p:extLst>
      <p:ext uri="{BB962C8B-B14F-4D97-AF65-F5344CB8AC3E}">
        <p14:creationId xmlns:p14="http://schemas.microsoft.com/office/powerpoint/2010/main" val="316074942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7863621-2E60-B848-8968-B0341E26A312}" type="slidenum">
              <a:rPr lang="en-US" smtClean="0"/>
              <a:pPr/>
              <a:t>32</a:t>
            </a:fld>
            <a:endParaRPr lang="en-US" dirty="0"/>
          </a:p>
        </p:txBody>
      </p:sp>
    </p:spTree>
    <p:extLst>
      <p:ext uri="{BB962C8B-B14F-4D97-AF65-F5344CB8AC3E}">
        <p14:creationId xmlns:p14="http://schemas.microsoft.com/office/powerpoint/2010/main" val="62137742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7863621-2E60-B848-8968-B0341E26A312}" type="slidenum">
              <a:rPr lang="en-US" smtClean="0"/>
              <a:pPr/>
              <a:t>33</a:t>
            </a:fld>
            <a:endParaRPr lang="en-US" dirty="0"/>
          </a:p>
        </p:txBody>
      </p:sp>
    </p:spTree>
    <p:extLst>
      <p:ext uri="{BB962C8B-B14F-4D97-AF65-F5344CB8AC3E}">
        <p14:creationId xmlns:p14="http://schemas.microsoft.com/office/powerpoint/2010/main" val="48981465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latin typeface="Open Sans" panose="020B0606030504020204" pitchFamily="34" charset="0"/>
                <a:ea typeface="Open Sans" panose="020B0606030504020204" pitchFamily="34" charset="0"/>
                <a:cs typeface="Open Sans" panose="020B0606030504020204" pitchFamily="34" charset="0"/>
              </a:rPr>
              <a:t>30% needs to be reached fast</a:t>
            </a:r>
          </a:p>
          <a:p>
            <a:endParaRPr lang="en-US" baseline="0" dirty="0">
              <a:latin typeface="Open Sans" panose="020B0606030504020204" pitchFamily="34" charset="0"/>
              <a:ea typeface="Open Sans" panose="020B0606030504020204" pitchFamily="34" charset="0"/>
              <a:cs typeface="Open Sans" panose="020B0606030504020204" pitchFamily="34" charset="0"/>
            </a:endParaRPr>
          </a:p>
          <a:p>
            <a:r>
              <a:rPr lang="en-US" baseline="0" dirty="0">
                <a:latin typeface="Open Sans" panose="020B0606030504020204" pitchFamily="34" charset="0"/>
                <a:ea typeface="Open Sans" panose="020B0606030504020204" pitchFamily="34" charset="0"/>
                <a:cs typeface="Open Sans" panose="020B0606030504020204" pitchFamily="34" charset="0"/>
              </a:rPr>
              <a:t>Why 30%</a:t>
            </a:r>
          </a:p>
          <a:p>
            <a:pPr rtl="0"/>
            <a:r>
              <a:rPr lang="en-US" b="1" dirty="0">
                <a:latin typeface="Open Sans" panose="020B0606030504020204" pitchFamily="34" charset="0"/>
                <a:ea typeface="Open Sans" panose="020B0606030504020204" pitchFamily="34" charset="0"/>
                <a:cs typeface="Open Sans" panose="020B0606030504020204" pitchFamily="34" charset="0"/>
              </a:rPr>
              <a:t>New ways of behaving and thinking become self-supporting</a:t>
            </a:r>
            <a:r>
              <a:rPr lang="en-US" dirty="0">
                <a:latin typeface="Open Sans" panose="020B0606030504020204" pitchFamily="34" charset="0"/>
                <a:ea typeface="Open Sans" panose="020B0606030504020204" pitchFamily="34" charset="0"/>
                <a:cs typeface="Open Sans" panose="020B0606030504020204" pitchFamily="34" charset="0"/>
              </a:rPr>
              <a:t>. A sufficient number of people are able to encourage, support and coach each other in the changed ways of working</a:t>
            </a:r>
          </a:p>
          <a:p>
            <a:pPr rtl="0"/>
            <a:r>
              <a:rPr lang="en-US" b="1" dirty="0">
                <a:latin typeface="Open Sans" panose="020B0606030504020204" pitchFamily="34" charset="0"/>
                <a:ea typeface="Open Sans" panose="020B0606030504020204" pitchFamily="34" charset="0"/>
                <a:cs typeface="Open Sans" panose="020B0606030504020204" pitchFamily="34" charset="0"/>
              </a:rPr>
              <a:t>Transformation feels inevitable</a:t>
            </a:r>
            <a:r>
              <a:rPr lang="en-US" dirty="0">
                <a:latin typeface="Open Sans" panose="020B0606030504020204" pitchFamily="34" charset="0"/>
                <a:ea typeface="Open Sans" panose="020B0606030504020204" pitchFamily="34" charset="0"/>
                <a:cs typeface="Open Sans" panose="020B0606030504020204" pitchFamily="34" charset="0"/>
              </a:rPr>
              <a:t>. Those who are unchanged commonly experience a critical mass of people behaving in the new way as a majority</a:t>
            </a:r>
          </a:p>
          <a:p>
            <a:pPr rtl="0"/>
            <a:r>
              <a:rPr lang="en-US" b="1" dirty="0">
                <a:latin typeface="Open Sans" panose="020B0606030504020204" pitchFamily="34" charset="0"/>
                <a:ea typeface="Open Sans" panose="020B0606030504020204" pitchFamily="34" charset="0"/>
                <a:cs typeface="Open Sans" panose="020B0606030504020204" pitchFamily="34" charset="0"/>
              </a:rPr>
              <a:t>All people can be reached</a:t>
            </a:r>
            <a:r>
              <a:rPr lang="en-US" dirty="0">
                <a:latin typeface="Open Sans" panose="020B0606030504020204" pitchFamily="34" charset="0"/>
                <a:ea typeface="Open Sans" panose="020B0606030504020204" pitchFamily="34" charset="0"/>
                <a:cs typeface="Open Sans" panose="020B0606030504020204" pitchFamily="34" charset="0"/>
              </a:rPr>
              <a:t>. Common interaction patterns reveal that a critical mass of people have close personal connections with the remaining population</a:t>
            </a:r>
          </a:p>
          <a:p>
            <a:endParaRPr lang="en-US" dirty="0">
              <a:latin typeface="Open Sans" panose="020B0606030504020204" pitchFamily="34" charset="0"/>
              <a:ea typeface="Open Sans" panose="020B0606030504020204" pitchFamily="34" charset="0"/>
              <a:cs typeface="Open Sans" panose="020B0606030504020204" pitchFamily="34" charset="0"/>
            </a:endParaRPr>
          </a:p>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4" name="Slide Number Placeholder 3"/>
          <p:cNvSpPr>
            <a:spLocks noGrp="1"/>
          </p:cNvSpPr>
          <p:nvPr>
            <p:ph type="sldNum" sz="quarter" idx="10"/>
          </p:nvPr>
        </p:nvSpPr>
        <p:spPr/>
        <p:txBody>
          <a:bodyPr/>
          <a:lstStyle/>
          <a:p>
            <a:fld id="{E184C856-1BE8-9048-8638-714DB6558581}" type="slidenum">
              <a:rPr lang="da-DK" smtClean="0"/>
              <a:t>34</a:t>
            </a:fld>
            <a:endParaRPr lang="da-DK"/>
          </a:p>
        </p:txBody>
      </p:sp>
    </p:spTree>
    <p:extLst>
      <p:ext uri="{BB962C8B-B14F-4D97-AF65-F5344CB8AC3E}">
        <p14:creationId xmlns:p14="http://schemas.microsoft.com/office/powerpoint/2010/main" val="279276287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urces:</a:t>
            </a:r>
          </a:p>
          <a:p>
            <a:r>
              <a:rPr lang="en-US" dirty="0"/>
              <a:t>GBS Office 365 roll-out.</a:t>
            </a:r>
          </a:p>
        </p:txBody>
      </p:sp>
      <p:sp>
        <p:nvSpPr>
          <p:cNvPr id="4" name="Slide Number Placeholder 3"/>
          <p:cNvSpPr>
            <a:spLocks noGrp="1"/>
          </p:cNvSpPr>
          <p:nvPr>
            <p:ph type="sldNum" sz="quarter" idx="10"/>
          </p:nvPr>
        </p:nvSpPr>
        <p:spPr/>
        <p:txBody>
          <a:bodyPr/>
          <a:lstStyle/>
          <a:p>
            <a:fld id="{97863621-2E60-B848-8968-B0341E26A312}" type="slidenum">
              <a:rPr lang="en-US" smtClean="0"/>
              <a:t>35</a:t>
            </a:fld>
            <a:endParaRPr lang="en-US"/>
          </a:p>
        </p:txBody>
      </p:sp>
    </p:spTree>
    <p:extLst>
      <p:ext uri="{BB962C8B-B14F-4D97-AF65-F5344CB8AC3E}">
        <p14:creationId xmlns:p14="http://schemas.microsoft.com/office/powerpoint/2010/main" val="98492909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urces:</a:t>
            </a:r>
          </a:p>
          <a:p>
            <a:r>
              <a:rPr lang="en-US" dirty="0"/>
              <a:t>Office</a:t>
            </a:r>
            <a:r>
              <a:rPr lang="en-US" baseline="0" dirty="0"/>
              <a:t> 365 statistics 2012-2015 and file-server statistics 2010-2015.</a:t>
            </a:r>
            <a:endParaRPr lang="en-US" dirty="0"/>
          </a:p>
        </p:txBody>
      </p:sp>
      <p:sp>
        <p:nvSpPr>
          <p:cNvPr id="4" name="Slide Number Placeholder 3"/>
          <p:cNvSpPr>
            <a:spLocks noGrp="1"/>
          </p:cNvSpPr>
          <p:nvPr>
            <p:ph type="sldNum" sz="quarter" idx="10"/>
          </p:nvPr>
        </p:nvSpPr>
        <p:spPr/>
        <p:txBody>
          <a:bodyPr/>
          <a:lstStyle/>
          <a:p>
            <a:fld id="{97863621-2E60-B848-8968-B0341E26A312}" type="slidenum">
              <a:rPr lang="en-US" smtClean="0"/>
              <a:t>36</a:t>
            </a:fld>
            <a:endParaRPr lang="en-US"/>
          </a:p>
        </p:txBody>
      </p:sp>
    </p:spTree>
    <p:extLst>
      <p:ext uri="{BB962C8B-B14F-4D97-AF65-F5344CB8AC3E}">
        <p14:creationId xmlns:p14="http://schemas.microsoft.com/office/powerpoint/2010/main" val="280845126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urces:</a:t>
            </a:r>
          </a:p>
          <a:p>
            <a:r>
              <a:rPr lang="en-US" dirty="0" err="1"/>
              <a:t>SkyHigh</a:t>
            </a:r>
            <a:r>
              <a:rPr lang="en-US" baseline="0" dirty="0"/>
              <a:t> analysis of network traffic in Q1 2016.</a:t>
            </a:r>
            <a:endParaRPr lang="en-US" dirty="0"/>
          </a:p>
        </p:txBody>
      </p:sp>
      <p:sp>
        <p:nvSpPr>
          <p:cNvPr id="4" name="Slide Number Placeholder 3"/>
          <p:cNvSpPr>
            <a:spLocks noGrp="1"/>
          </p:cNvSpPr>
          <p:nvPr>
            <p:ph type="sldNum" sz="quarter" idx="10"/>
          </p:nvPr>
        </p:nvSpPr>
        <p:spPr/>
        <p:txBody>
          <a:bodyPr/>
          <a:lstStyle/>
          <a:p>
            <a:fld id="{97863621-2E60-B848-8968-B0341E26A312}" type="slidenum">
              <a:rPr lang="en-US" smtClean="0"/>
              <a:t>37</a:t>
            </a:fld>
            <a:endParaRPr lang="en-US"/>
          </a:p>
        </p:txBody>
      </p:sp>
    </p:spTree>
    <p:extLst>
      <p:ext uri="{BB962C8B-B14F-4D97-AF65-F5344CB8AC3E}">
        <p14:creationId xmlns:p14="http://schemas.microsoft.com/office/powerpoint/2010/main" val="276400936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urces:</a:t>
            </a:r>
          </a:p>
          <a:p>
            <a:r>
              <a:rPr lang="en-US" dirty="0"/>
              <a:t>Office</a:t>
            </a:r>
            <a:r>
              <a:rPr lang="en-US" baseline="0" dirty="0"/>
              <a:t> 365 statistics from May 2016 retrieved via </a:t>
            </a:r>
            <a:r>
              <a:rPr lang="en-US" baseline="0" dirty="0" err="1"/>
              <a:t>Cogmotive</a:t>
            </a:r>
            <a:endParaRPr lang="en-US" dirty="0"/>
          </a:p>
        </p:txBody>
      </p:sp>
      <p:sp>
        <p:nvSpPr>
          <p:cNvPr id="4" name="Slide Number Placeholder 3"/>
          <p:cNvSpPr>
            <a:spLocks noGrp="1"/>
          </p:cNvSpPr>
          <p:nvPr>
            <p:ph type="sldNum" sz="quarter" idx="10"/>
          </p:nvPr>
        </p:nvSpPr>
        <p:spPr/>
        <p:txBody>
          <a:bodyPr/>
          <a:lstStyle/>
          <a:p>
            <a:fld id="{97863621-2E60-B848-8968-B0341E26A312}" type="slidenum">
              <a:rPr lang="en-US" smtClean="0"/>
              <a:t>38</a:t>
            </a:fld>
            <a:endParaRPr lang="en-US"/>
          </a:p>
        </p:txBody>
      </p:sp>
    </p:spTree>
    <p:extLst>
      <p:ext uri="{BB962C8B-B14F-4D97-AF65-F5344CB8AC3E}">
        <p14:creationId xmlns:p14="http://schemas.microsoft.com/office/powerpoint/2010/main" val="329578282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7D10C09F-FCA1-48C8-B40D-42E1045D109E}" type="datetime8">
              <a:rPr lang="en-US" smtClean="0"/>
              <a:t>9/7/2016 12:50</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9</a:t>
            </a:fld>
            <a:endParaRPr lang="en-US" dirty="0"/>
          </a:p>
        </p:txBody>
      </p:sp>
    </p:spTree>
    <p:extLst>
      <p:ext uri="{BB962C8B-B14F-4D97-AF65-F5344CB8AC3E}">
        <p14:creationId xmlns:p14="http://schemas.microsoft.com/office/powerpoint/2010/main" val="142916354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90EC29EE-A8AD-4CE0-9C0B-116E0D4D7533}" type="datetime8">
              <a:rPr lang="en-US" smtClean="0"/>
              <a:t>9/7/2016 12:50</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1</a:t>
            </a:fld>
            <a:endParaRPr lang="en-US" dirty="0"/>
          </a:p>
        </p:txBody>
      </p:sp>
    </p:spTree>
    <p:extLst>
      <p:ext uri="{BB962C8B-B14F-4D97-AF65-F5344CB8AC3E}">
        <p14:creationId xmlns:p14="http://schemas.microsoft.com/office/powerpoint/2010/main" val="283596790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r>
              <a:rPr lang="en-US"/>
              <a:t>Microsoft Ignite 2016</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9/7/2016 12:50</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a:t>
            </a:fld>
            <a:endParaRPr lang="en-US" dirty="0"/>
          </a:p>
        </p:txBody>
      </p:sp>
    </p:spTree>
    <p:extLst>
      <p:ext uri="{BB962C8B-B14F-4D97-AF65-F5344CB8AC3E}">
        <p14:creationId xmlns:p14="http://schemas.microsoft.com/office/powerpoint/2010/main" val="1666164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oints:</a:t>
            </a:r>
          </a:p>
          <a:p>
            <a:r>
              <a:rPr lang="en-US" baseline="0" dirty="0"/>
              <a:t>Why football works:</a:t>
            </a:r>
          </a:p>
          <a:p>
            <a:r>
              <a:rPr lang="en-US" baseline="0" dirty="0"/>
              <a:t>People agree on a set of common rules and </a:t>
            </a:r>
            <a:r>
              <a:rPr lang="en-US" b="1" baseline="0" dirty="0"/>
              <a:t>standards</a:t>
            </a:r>
            <a:r>
              <a:rPr lang="en-US" baseline="0" dirty="0"/>
              <a:t> – Field, corner posts, goals, penalties</a:t>
            </a:r>
          </a:p>
          <a:p>
            <a:r>
              <a:rPr lang="en-US" baseline="0" dirty="0"/>
              <a:t>Each person pitch in with their individual competence </a:t>
            </a:r>
            <a:r>
              <a:rPr lang="en-US" b="1" baseline="0" dirty="0"/>
              <a:t>profile</a:t>
            </a:r>
            <a:r>
              <a:rPr lang="en-US" baseline="0" dirty="0"/>
              <a:t> – Forwards, defenders, midfielders</a:t>
            </a:r>
          </a:p>
          <a:p>
            <a:r>
              <a:rPr lang="en-US" baseline="0" dirty="0"/>
              <a:t>The combination allows people to become </a:t>
            </a:r>
            <a:r>
              <a:rPr lang="en-US" b="1" baseline="0" dirty="0"/>
              <a:t>creative and innovative </a:t>
            </a:r>
            <a:r>
              <a:rPr lang="en-US" baseline="0" dirty="0"/>
              <a:t>within those standards – Offence, </a:t>
            </a:r>
            <a:r>
              <a:rPr lang="en-US" baseline="0" dirty="0" err="1"/>
              <a:t>defence</a:t>
            </a:r>
            <a:r>
              <a:rPr lang="en-US" baseline="0" dirty="0"/>
              <a:t>, plays, strategies</a:t>
            </a:r>
          </a:p>
          <a:p>
            <a:endParaRPr lang="en-US" baseline="0" dirty="0"/>
          </a:p>
          <a:p>
            <a:r>
              <a:rPr lang="en-US" baseline="0" dirty="0"/>
              <a:t>How can we use this in the workplace?</a:t>
            </a:r>
            <a:endParaRPr lang="en-US" dirty="0"/>
          </a:p>
        </p:txBody>
      </p:sp>
      <p:sp>
        <p:nvSpPr>
          <p:cNvPr id="4" name="Slide Number Placeholder 3"/>
          <p:cNvSpPr>
            <a:spLocks noGrp="1"/>
          </p:cNvSpPr>
          <p:nvPr>
            <p:ph type="sldNum" sz="quarter" idx="10"/>
          </p:nvPr>
        </p:nvSpPr>
        <p:spPr/>
        <p:txBody>
          <a:bodyPr/>
          <a:lstStyle/>
          <a:p>
            <a:fld id="{97863621-2E60-B848-8968-B0341E26A312}" type="slidenum">
              <a:rPr lang="en-US" smtClean="0"/>
              <a:t>45</a:t>
            </a:fld>
            <a:endParaRPr lang="en-US"/>
          </a:p>
        </p:txBody>
      </p:sp>
    </p:spTree>
    <p:extLst>
      <p:ext uri="{BB962C8B-B14F-4D97-AF65-F5344CB8AC3E}">
        <p14:creationId xmlns:p14="http://schemas.microsoft.com/office/powerpoint/2010/main" val="361399967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t>9/7/2016</a:t>
            </a:fld>
            <a:endParaRPr lang="en-US" dirty="0"/>
          </a:p>
        </p:txBody>
      </p:sp>
      <p:sp>
        <p:nvSpPr>
          <p:cNvPr id="6" name="Slide Number Placeholder 5"/>
          <p:cNvSpPr>
            <a:spLocks noGrp="1"/>
          </p:cNvSpPr>
          <p:nvPr>
            <p:ph type="sldNum" sz="quarter" idx="12"/>
          </p:nvPr>
        </p:nvSpPr>
        <p:spPr/>
        <p:txBody>
          <a:bodyPr/>
          <a:lstStyle/>
          <a:p>
            <a:fld id="{B4008EB6-D09E-4580-8CD6-DDB14511944F}" type="slidenum">
              <a:rPr lang="en-US" smtClean="0"/>
              <a:pPr/>
              <a:t>70</a:t>
            </a:fld>
            <a:endParaRPr lang="en-US" dirty="0"/>
          </a:p>
        </p:txBody>
      </p:sp>
    </p:spTree>
    <p:extLst>
      <p:ext uri="{BB962C8B-B14F-4D97-AF65-F5344CB8AC3E}">
        <p14:creationId xmlns:p14="http://schemas.microsoft.com/office/powerpoint/2010/main" val="18194724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90EC29EE-A8AD-4CE0-9C0B-116E0D4D7533}" type="datetime8">
              <a:rPr lang="en-US" smtClean="0"/>
              <a:t>9/7/2016 12:50</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73</a:t>
            </a:fld>
            <a:endParaRPr lang="en-US" dirty="0"/>
          </a:p>
        </p:txBody>
      </p:sp>
    </p:spTree>
    <p:extLst>
      <p:ext uri="{BB962C8B-B14F-4D97-AF65-F5344CB8AC3E}">
        <p14:creationId xmlns:p14="http://schemas.microsoft.com/office/powerpoint/2010/main" val="178284468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90EC29EE-A8AD-4CE0-9C0B-116E0D4D7533}" type="datetime8">
              <a:rPr lang="en-US" smtClean="0"/>
              <a:t>9/7/2016 12:50</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74</a:t>
            </a:fld>
            <a:endParaRPr lang="en-US" dirty="0"/>
          </a:p>
        </p:txBody>
      </p:sp>
    </p:spTree>
    <p:extLst>
      <p:ext uri="{BB962C8B-B14F-4D97-AF65-F5344CB8AC3E}">
        <p14:creationId xmlns:p14="http://schemas.microsoft.com/office/powerpoint/2010/main" val="394327380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Slide Number Placeholder 5"/>
          <p:cNvSpPr>
            <a:spLocks noGrp="1"/>
          </p:cNvSpPr>
          <p:nvPr>
            <p:ph type="sldNum" sz="quarter" idx="12"/>
          </p:nvPr>
        </p:nvSpPr>
        <p:spPr/>
        <p:txBody>
          <a:bodyPr/>
          <a:lstStyle/>
          <a:p>
            <a:fld id="{B4008EB6-D09E-4580-8CD6-DDB14511944F}" type="slidenum">
              <a:rPr lang="en-US" smtClean="0"/>
              <a:pPr/>
              <a:t>75</a:t>
            </a:fld>
            <a:endParaRPr lang="en-US" dirty="0"/>
          </a:p>
        </p:txBody>
      </p:sp>
      <p:sp>
        <p:nvSpPr>
          <p:cNvPr id="10" name="Date Placeholder 9"/>
          <p:cNvSpPr>
            <a:spLocks noGrp="1"/>
          </p:cNvSpPr>
          <p:nvPr>
            <p:ph type="dt" idx="13"/>
          </p:nvPr>
        </p:nvSpPr>
        <p:spPr/>
        <p:txBody>
          <a:bodyPr/>
          <a:lstStyle/>
          <a:p>
            <a:fld id="{79687EF5-0895-448F-A4AC-188A0D571FCC}" type="datetime8">
              <a:rPr lang="en-US" smtClean="0"/>
              <a:t>9/7/2016 12:50</a:t>
            </a:fld>
            <a:endParaRPr lang="en-US" dirty="0"/>
          </a:p>
        </p:txBody>
      </p:sp>
      <p:sp>
        <p:nvSpPr>
          <p:cNvPr id="12" name="Header Placeholder 11"/>
          <p:cNvSpPr>
            <a:spLocks noGrp="1"/>
          </p:cNvSpPr>
          <p:nvPr>
            <p:ph type="hdr" sz="quarter" idx="15"/>
          </p:nvPr>
        </p:nvSpPr>
        <p:spPr/>
        <p:txBody>
          <a:bodyPr/>
          <a:lstStyle/>
          <a:p>
            <a:endParaRPr lang="en-US" dirty="0"/>
          </a:p>
        </p:txBody>
      </p:sp>
      <p:sp>
        <p:nvSpPr>
          <p:cNvPr id="4" name="Footer Placeholder 3"/>
          <p:cNvSpPr>
            <a:spLocks noGrp="1"/>
          </p:cNvSpPr>
          <p:nvPr>
            <p:ph type="ftr" sz="quarter" idx="16"/>
          </p:nvPr>
        </p:nvSpPr>
        <p:spPr/>
        <p:txBody>
          <a:bodyPr/>
          <a:lstStyle/>
          <a:p>
            <a:pPr defTabSz="931467"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a:t>
            </a:r>
          </a:p>
          <a:p>
            <a:pPr defTabSz="931467"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409098876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endParaRPr lang="en-US" dirty="0"/>
          </a:p>
        </p:txBody>
      </p:sp>
      <p:sp>
        <p:nvSpPr>
          <p:cNvPr id="4" name="Date Placeholder 3"/>
          <p:cNvSpPr>
            <a:spLocks noGrp="1"/>
          </p:cNvSpPr>
          <p:nvPr>
            <p:ph type="dt" idx="10"/>
          </p:nvPr>
        </p:nvSpPr>
        <p:spPr>
          <a:xfrm>
            <a:off x="3884613" y="0"/>
            <a:ext cx="2971800" cy="457200"/>
          </a:xfrm>
          <a:prstGeom prst="rect">
            <a:avLst/>
          </a:prstGeom>
        </p:spPr>
        <p:txBody>
          <a:bodyPr/>
          <a:lstStyle/>
          <a:p>
            <a:fld id="{EA2B2ED8-C573-45EF-BF68-CEC19505703A}" type="datetime8">
              <a:rPr lang="en-US" smtClean="0"/>
              <a:t>9/7/2016 12:50</a:t>
            </a:fld>
            <a:endParaRPr lang="en-US" dirty="0"/>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fld id="{8B263312-38AA-4E1E-B2B5-0F8F122B24FE}" type="slidenum">
              <a:rPr lang="en-US" smtClean="0"/>
              <a:pPr/>
              <a:t>76</a:t>
            </a:fld>
            <a:endParaRPr lang="en-US" dirty="0"/>
          </a:p>
        </p:txBody>
      </p:sp>
      <p:sp>
        <p:nvSpPr>
          <p:cNvPr id="6" name="Footer Placeholder 5"/>
          <p:cNvSpPr>
            <a:spLocks noGrp="1"/>
          </p:cNvSpPr>
          <p:nvPr>
            <p:ph type="ftr" sz="quarter" idx="13"/>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9" name="Header Placeholder 8"/>
          <p:cNvSpPr>
            <a:spLocks noGrp="1"/>
          </p:cNvSpPr>
          <p:nvPr>
            <p:ph type="hdr" sz="quarter" idx="14"/>
          </p:nvPr>
        </p:nvSpPr>
        <p:spPr/>
        <p:txBody>
          <a:bodyPr/>
          <a:lstStyle/>
          <a:p>
            <a:endParaRPr lang="en-US" dirty="0"/>
          </a:p>
        </p:txBody>
      </p:sp>
    </p:spTree>
    <p:extLst>
      <p:ext uri="{BB962C8B-B14F-4D97-AF65-F5344CB8AC3E}">
        <p14:creationId xmlns:p14="http://schemas.microsoft.com/office/powerpoint/2010/main" val="351021671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t>Microsoft Ignite 2016</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9/7/2016 12:50</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77</a:t>
            </a:fld>
            <a:endParaRPr lang="en-US" dirty="0"/>
          </a:p>
        </p:txBody>
      </p:sp>
    </p:spTree>
    <p:extLst>
      <p:ext uri="{BB962C8B-B14F-4D97-AF65-F5344CB8AC3E}">
        <p14:creationId xmlns:p14="http://schemas.microsoft.com/office/powerpoint/2010/main" val="71340602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53B9473-204C-4147-A2E0-C3E143278840}" type="datetime8">
              <a:rPr lang="en-US" smtClean="0"/>
              <a:t>9/7/2016 12:50</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t>78</a:t>
            </a:fld>
            <a:endParaRPr lang="en-US" dirty="0"/>
          </a:p>
        </p:txBody>
      </p:sp>
    </p:spTree>
    <p:extLst>
      <p:ext uri="{BB962C8B-B14F-4D97-AF65-F5344CB8AC3E}">
        <p14:creationId xmlns:p14="http://schemas.microsoft.com/office/powerpoint/2010/main" val="33057816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r>
              <a:rPr lang="en-US"/>
              <a:t>Microsoft Ignite 2016</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9/7/2016 12:50</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79</a:t>
            </a:fld>
            <a:endParaRPr lang="en-US" dirty="0"/>
          </a:p>
        </p:txBody>
      </p:sp>
    </p:spTree>
    <p:extLst>
      <p:ext uri="{BB962C8B-B14F-4D97-AF65-F5344CB8AC3E}">
        <p14:creationId xmlns:p14="http://schemas.microsoft.com/office/powerpoint/2010/main" val="170434746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r>
              <a:rPr lang="en-US"/>
              <a:t>Microsoft Ignite 2016</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9/7/2016 12:50</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80</a:t>
            </a:fld>
            <a:endParaRPr lang="en-US" dirty="0"/>
          </a:p>
        </p:txBody>
      </p:sp>
    </p:spTree>
    <p:extLst>
      <p:ext uri="{BB962C8B-B14F-4D97-AF65-F5344CB8AC3E}">
        <p14:creationId xmlns:p14="http://schemas.microsoft.com/office/powerpoint/2010/main" val="287083812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urces:</a:t>
            </a:r>
          </a:p>
          <a:p>
            <a:r>
              <a:rPr lang="en-US" dirty="0"/>
              <a:t>http://www.pewresearch.org/fact-tank/2015/05/11/millennials-surpass-gen-xers-as-the-largest-generation-in-u-s-labor-force/</a:t>
            </a:r>
          </a:p>
          <a:p>
            <a:pPr marL="0" marR="0" lvl="0" indent="0" algn="l" defTabSz="609585" rtl="0" eaLnBrk="1" fontAlgn="auto" latinLnBrk="0" hangingPunct="1">
              <a:lnSpc>
                <a:spcPct val="100000"/>
              </a:lnSpc>
              <a:spcBef>
                <a:spcPts val="0"/>
              </a:spcBef>
              <a:spcAft>
                <a:spcPts val="0"/>
              </a:spcAft>
              <a:buClrTx/>
              <a:buSzTx/>
              <a:buFontTx/>
              <a:buNone/>
              <a:tabLst/>
              <a:defRPr/>
            </a:pPr>
            <a:r>
              <a:rPr lang="en-US" dirty="0"/>
              <a:t>http://www.statista.com/statistics/284202/mobile-phone-internet-user-penetration-worldwide/</a:t>
            </a:r>
          </a:p>
          <a:p>
            <a:pPr marL="0" marR="0" lvl="0" indent="0" algn="l" defTabSz="609585" rtl="0" eaLnBrk="1" fontAlgn="auto" latinLnBrk="0" hangingPunct="1">
              <a:lnSpc>
                <a:spcPct val="100000"/>
              </a:lnSpc>
              <a:spcBef>
                <a:spcPts val="0"/>
              </a:spcBef>
              <a:spcAft>
                <a:spcPts val="0"/>
              </a:spcAft>
              <a:buClrTx/>
              <a:buSzTx/>
              <a:buFontTx/>
              <a:buNone/>
              <a:tabLst/>
              <a:defRPr/>
            </a:pPr>
            <a:endParaRPr lang="en-US" dirty="0"/>
          </a:p>
          <a:p>
            <a:pPr marL="0" marR="0" lvl="0" indent="0" algn="l" defTabSz="609585" rtl="0" eaLnBrk="1" fontAlgn="auto" latinLnBrk="0" hangingPunct="1">
              <a:lnSpc>
                <a:spcPct val="100000"/>
              </a:lnSpc>
              <a:spcBef>
                <a:spcPts val="0"/>
              </a:spcBef>
              <a:spcAft>
                <a:spcPts val="0"/>
              </a:spcAft>
              <a:buClrTx/>
              <a:buSzTx/>
              <a:buFontTx/>
              <a:buNone/>
              <a:tabLst/>
              <a:defRPr/>
            </a:pPr>
            <a:r>
              <a:rPr lang="en-US" dirty="0"/>
              <a:t>Further reading:</a:t>
            </a:r>
          </a:p>
          <a:p>
            <a:pPr marL="0" marR="0" lvl="0" indent="0" algn="l" defTabSz="609585" rtl="0" eaLnBrk="1" fontAlgn="auto" latinLnBrk="0" hangingPunct="1">
              <a:lnSpc>
                <a:spcPct val="100000"/>
              </a:lnSpc>
              <a:spcBef>
                <a:spcPts val="0"/>
              </a:spcBef>
              <a:spcAft>
                <a:spcPts val="0"/>
              </a:spcAft>
              <a:buClrTx/>
              <a:buSzTx/>
              <a:buFontTx/>
              <a:buNone/>
              <a:tabLst/>
              <a:defRPr/>
            </a:pPr>
            <a:r>
              <a:rPr lang="en-US" dirty="0"/>
              <a:t>http://www2.deloitte.com/us/en/pages/human-capital/articles/introduction-human-capital-trends.html</a:t>
            </a:r>
          </a:p>
          <a:p>
            <a:pPr marL="0" marR="0" lvl="0" indent="0" algn="l" defTabSz="609585" rtl="0" eaLnBrk="1" fontAlgn="auto" latinLnBrk="0" hangingPunct="1">
              <a:lnSpc>
                <a:spcPct val="100000"/>
              </a:lnSpc>
              <a:spcBef>
                <a:spcPts val="0"/>
              </a:spcBef>
              <a:spcAft>
                <a:spcPts val="0"/>
              </a:spcAft>
              <a:buClrTx/>
              <a:buSzTx/>
              <a:buFontTx/>
              <a:buNone/>
              <a:tabLst/>
              <a:defRPr/>
            </a:pPr>
            <a:r>
              <a:rPr lang="en-US" dirty="0"/>
              <a:t>https://s3.amazonaws.com/elitedaily-public/2015_EliteDaily_MillennialSurvey-2.pdf</a:t>
            </a:r>
          </a:p>
          <a:p>
            <a:endParaRPr lang="en-US" dirty="0"/>
          </a:p>
          <a:p>
            <a:endParaRPr lang="en-US" dirty="0"/>
          </a:p>
          <a:p>
            <a:endParaRPr lang="en-US" dirty="0"/>
          </a:p>
          <a:p>
            <a:endParaRPr lang="en-US" dirty="0"/>
          </a:p>
        </p:txBody>
      </p:sp>
      <p:sp>
        <p:nvSpPr>
          <p:cNvPr id="4" name="Slide Number Placeholder 3"/>
          <p:cNvSpPr>
            <a:spLocks noGrp="1"/>
          </p:cNvSpPr>
          <p:nvPr>
            <p:ph type="sldNum" sz="quarter" idx="10"/>
          </p:nvPr>
        </p:nvSpPr>
        <p:spPr/>
        <p:txBody>
          <a:bodyPr/>
          <a:lstStyle/>
          <a:p>
            <a:fld id="{97863621-2E60-B848-8968-B0341E26A312}" type="slidenum">
              <a:rPr lang="en-US" smtClean="0"/>
              <a:t>3</a:t>
            </a:fld>
            <a:endParaRPr lang="en-US"/>
          </a:p>
        </p:txBody>
      </p:sp>
    </p:spTree>
    <p:extLst>
      <p:ext uri="{BB962C8B-B14F-4D97-AF65-F5344CB8AC3E}">
        <p14:creationId xmlns:p14="http://schemas.microsoft.com/office/powerpoint/2010/main" val="234255879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23A5C127-CB05-47B6-8D1E-7BC74A68F508}" type="datetime8">
              <a:rPr lang="en-US" smtClean="0"/>
              <a:t>9/7/2016 12:50</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81</a:t>
            </a:fld>
            <a:endParaRPr lang="en-US" dirty="0"/>
          </a:p>
        </p:txBody>
      </p:sp>
    </p:spTree>
    <p:extLst>
      <p:ext uri="{BB962C8B-B14F-4D97-AF65-F5344CB8AC3E}">
        <p14:creationId xmlns:p14="http://schemas.microsoft.com/office/powerpoint/2010/main" val="30565611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6" name="Date Placeholder 5"/>
          <p:cNvSpPr>
            <a:spLocks noGrp="1"/>
          </p:cNvSpPr>
          <p:nvPr>
            <p:ph type="dt" idx="12"/>
          </p:nvPr>
        </p:nvSpPr>
        <p:spPr/>
        <p:txBody>
          <a:bodyPr/>
          <a:lstStyle/>
          <a:p>
            <a:fld id="{E43B0448-36A8-43CB-A041-FFAB3DD1409A}" type="datetime8">
              <a:rPr lang="en-US" smtClean="0">
                <a:solidFill>
                  <a:prstClr val="black"/>
                </a:solidFill>
              </a:rPr>
              <a:pPr/>
              <a:t>9/7/2016 12:50</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82</a:t>
            </a:fld>
            <a:endParaRPr lang="en-US" dirty="0">
              <a:solidFill>
                <a:prstClr val="black"/>
              </a:solidFill>
            </a:endParaRPr>
          </a:p>
        </p:txBody>
      </p:sp>
      <p:sp>
        <p:nvSpPr>
          <p:cNvPr id="8" name="Footer Placeholder 7"/>
          <p:cNvSpPr>
            <a:spLocks noGrp="1"/>
          </p:cNvSpPr>
          <p:nvPr>
            <p:ph type="ftr" sz="quarter" idx="14"/>
          </p:nvPr>
        </p:nvSpPr>
        <p:spPr/>
        <p:txBody>
          <a:bodyPr/>
          <a:lstStyle/>
          <a:p>
            <a:pPr marL="398463"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69238576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7D10C09F-FCA1-48C8-B40D-42E1045D109E}" type="datetime8">
              <a:rPr lang="en-US" smtClean="0"/>
              <a:t>9/7/2016 12:50</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83</a:t>
            </a:fld>
            <a:endParaRPr lang="en-US" dirty="0"/>
          </a:p>
        </p:txBody>
      </p:sp>
    </p:spTree>
    <p:extLst>
      <p:ext uri="{BB962C8B-B14F-4D97-AF65-F5344CB8AC3E}">
        <p14:creationId xmlns:p14="http://schemas.microsoft.com/office/powerpoint/2010/main" val="375357398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7D10C09F-FCA1-48C8-B40D-42E1045D109E}" type="datetime8">
              <a:rPr lang="en-US" smtClean="0"/>
              <a:t>9/7/2016 12:50</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84</a:t>
            </a:fld>
            <a:endParaRPr lang="en-US" dirty="0"/>
          </a:p>
        </p:txBody>
      </p:sp>
    </p:spTree>
    <p:extLst>
      <p:ext uri="{BB962C8B-B14F-4D97-AF65-F5344CB8AC3E}">
        <p14:creationId xmlns:p14="http://schemas.microsoft.com/office/powerpoint/2010/main" val="143119072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Slide Number Placeholder 5"/>
          <p:cNvSpPr>
            <a:spLocks noGrp="1"/>
          </p:cNvSpPr>
          <p:nvPr>
            <p:ph type="sldNum" sz="quarter" idx="12"/>
          </p:nvPr>
        </p:nvSpPr>
        <p:spPr/>
        <p:txBody>
          <a:bodyPr/>
          <a:lstStyle/>
          <a:p>
            <a:fld id="{B4008EB6-D09E-4580-8CD6-DDB14511944F}" type="slidenum">
              <a:rPr lang="en-US" smtClean="0"/>
              <a:pPr/>
              <a:t>85</a:t>
            </a:fld>
            <a:endParaRPr lang="en-US" dirty="0"/>
          </a:p>
        </p:txBody>
      </p:sp>
      <p:sp>
        <p:nvSpPr>
          <p:cNvPr id="10" name="Date Placeholder 9"/>
          <p:cNvSpPr>
            <a:spLocks noGrp="1"/>
          </p:cNvSpPr>
          <p:nvPr>
            <p:ph type="dt" idx="13"/>
          </p:nvPr>
        </p:nvSpPr>
        <p:spPr/>
        <p:txBody>
          <a:bodyPr/>
          <a:lstStyle/>
          <a:p>
            <a:fld id="{6108602D-D426-4C00-B215-BFA18C076426}" type="datetime8">
              <a:rPr lang="en-US" smtClean="0"/>
              <a:t>9/7/2016 12:50</a:t>
            </a:fld>
            <a:endParaRPr lang="en-US" dirty="0"/>
          </a:p>
        </p:txBody>
      </p:sp>
      <p:sp>
        <p:nvSpPr>
          <p:cNvPr id="4" name="Footer Placeholder 3"/>
          <p:cNvSpPr>
            <a:spLocks noGrp="1"/>
          </p:cNvSpPr>
          <p:nvPr>
            <p:ph type="ftr" sz="quarter" idx="1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5" name="Header Placeholder 4"/>
          <p:cNvSpPr>
            <a:spLocks noGrp="1"/>
          </p:cNvSpPr>
          <p:nvPr>
            <p:ph type="hdr" sz="quarter" idx="15"/>
          </p:nvPr>
        </p:nvSpPr>
        <p:spPr/>
        <p:txBody>
          <a:bodyPr/>
          <a:lstStyle/>
          <a:p>
            <a:endParaRPr lang="en-US" dirty="0"/>
          </a:p>
        </p:txBody>
      </p:sp>
    </p:spTree>
    <p:extLst>
      <p:ext uri="{BB962C8B-B14F-4D97-AF65-F5344CB8AC3E}">
        <p14:creationId xmlns:p14="http://schemas.microsoft.com/office/powerpoint/2010/main" val="39379517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a:xfrm>
            <a:off x="0" y="0"/>
            <a:ext cx="2971800" cy="457200"/>
          </a:xfrm>
          <a:prstGeom prst="rect">
            <a:avLst/>
          </a:prstGeom>
        </p:spPr>
        <p:txBody>
          <a:bodyPr/>
          <a:lstStyle/>
          <a:p>
            <a:endParaRPr lang="en-US" dirty="0">
              <a:solidFill>
                <a:prstClr val="black"/>
              </a:solidFill>
            </a:endParaRPr>
          </a:p>
        </p:txBody>
      </p:sp>
      <p:sp>
        <p:nvSpPr>
          <p:cNvPr id="5" name="Date Placeholder 4"/>
          <p:cNvSpPr>
            <a:spLocks noGrp="1"/>
          </p:cNvSpPr>
          <p:nvPr>
            <p:ph type="dt" idx="11"/>
          </p:nvPr>
        </p:nvSpPr>
        <p:spPr/>
        <p:txBody>
          <a:bodyPr/>
          <a:lstStyle/>
          <a:p>
            <a:fld id="{9AF79BC0-7BC2-4444-8D01-A1A1A5DBD253}" type="datetime8">
              <a:rPr lang="en-US" smtClean="0">
                <a:solidFill>
                  <a:prstClr val="black"/>
                </a:solidFill>
              </a:rPr>
              <a:t>9/7/2016 12:50</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solidFill>
                  <a:prstClr val="black"/>
                </a:solidFill>
              </a:rPr>
              <a:pPr/>
              <a:t>86</a:t>
            </a:fld>
            <a:endParaRPr lang="en-US" dirty="0">
              <a:solidFill>
                <a:prstClr val="black"/>
              </a:solidFill>
            </a:endParaRPr>
          </a:p>
        </p:txBody>
      </p:sp>
      <p:sp>
        <p:nvSpPr>
          <p:cNvPr id="6" name="Footer Placeholder 5"/>
          <p:cNvSpPr>
            <a:spLocks noGrp="1"/>
          </p:cNvSpPr>
          <p:nvPr>
            <p:ph type="ftr" sz="quarter" idx="1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2603928605"/>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a:xfrm>
            <a:off x="0" y="0"/>
            <a:ext cx="2971800" cy="457200"/>
          </a:xfrm>
          <a:prstGeom prst="rect">
            <a:avLst/>
          </a:prstGeom>
        </p:spPr>
        <p:txBody>
          <a:bodyPr/>
          <a:lstStyle/>
          <a:p>
            <a:endParaRPr lang="en-US" dirty="0">
              <a:solidFill>
                <a:prstClr val="black"/>
              </a:solidFill>
            </a:endParaRPr>
          </a:p>
        </p:txBody>
      </p:sp>
      <p:sp>
        <p:nvSpPr>
          <p:cNvPr id="5" name="Date Placeholder 4"/>
          <p:cNvSpPr>
            <a:spLocks noGrp="1"/>
          </p:cNvSpPr>
          <p:nvPr>
            <p:ph type="dt" idx="11"/>
          </p:nvPr>
        </p:nvSpPr>
        <p:spPr/>
        <p:txBody>
          <a:bodyPr/>
          <a:lstStyle/>
          <a:p>
            <a:fld id="{8A17D118-1690-458F-B4D2-F9DA5D6F5033}" type="datetime8">
              <a:rPr lang="en-US" smtClean="0">
                <a:solidFill>
                  <a:prstClr val="black"/>
                </a:solidFill>
              </a:rPr>
              <a:t>9/7/2016 12:50</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solidFill>
                  <a:prstClr val="black"/>
                </a:solidFill>
              </a:rPr>
              <a:pPr/>
              <a:t>87</a:t>
            </a:fld>
            <a:endParaRPr lang="en-US" dirty="0">
              <a:solidFill>
                <a:prstClr val="black"/>
              </a:solidFill>
            </a:endParaRPr>
          </a:p>
        </p:txBody>
      </p:sp>
      <p:sp>
        <p:nvSpPr>
          <p:cNvPr id="6" name="Footer Placeholder 5"/>
          <p:cNvSpPr>
            <a:spLocks noGrp="1"/>
          </p:cNvSpPr>
          <p:nvPr>
            <p:ph type="ftr" sz="quarter" idx="1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2861498552"/>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E74353ED-ACB2-44BF-A903-985B0AF962B7}" type="datetime1">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7/2016</a:t>
            </a:fld>
            <a:endParaRPr kumimoji="0" lang="en-US" sz="1800" b="0" i="0" u="none" strike="noStrike" kern="0" cap="none" spc="0" normalizeH="0" baseline="0" noProof="0" dirty="0">
              <a:ln>
                <a:noFill/>
              </a:ln>
              <a:solidFill>
                <a:sysClr val="windowText" lastClr="000000"/>
              </a:solidFill>
              <a:effectLst/>
              <a:uLnTx/>
              <a:uFillTx/>
            </a:endParaRPr>
          </a:p>
        </p:txBody>
      </p:sp>
      <p:sp>
        <p:nvSpPr>
          <p:cNvPr id="6" name="Slide Number Placeholder 5"/>
          <p:cNvSpPr>
            <a:spLocks noGrp="1"/>
          </p:cNvSpPr>
          <p:nvPr>
            <p:ph type="sldNum" sz="quarter"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408785192"/>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90EC29EE-A8AD-4CE0-9C0B-116E0D4D7533}" type="datetime8">
              <a:rPr lang="en-US" smtClean="0">
                <a:solidFill>
                  <a:prstClr val="black"/>
                </a:solidFill>
              </a:rPr>
              <a:pPr/>
              <a:t>9/7/2016 12:50</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93</a:t>
            </a:fld>
            <a:endParaRPr lang="en-US" dirty="0">
              <a:solidFill>
                <a:prstClr val="black"/>
              </a:solidFill>
            </a:endParaRPr>
          </a:p>
        </p:txBody>
      </p:sp>
    </p:spTree>
    <p:extLst>
      <p:ext uri="{BB962C8B-B14F-4D97-AF65-F5344CB8AC3E}">
        <p14:creationId xmlns:p14="http://schemas.microsoft.com/office/powerpoint/2010/main" val="2525814479"/>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endParaRPr lang="en-US" dirty="0"/>
          </a:p>
        </p:txBody>
      </p:sp>
      <p:sp>
        <p:nvSpPr>
          <p:cNvPr id="4" name="Date Placeholder 3"/>
          <p:cNvSpPr>
            <a:spLocks noGrp="1"/>
          </p:cNvSpPr>
          <p:nvPr>
            <p:ph type="dt" idx="10"/>
          </p:nvPr>
        </p:nvSpPr>
        <p:spPr>
          <a:xfrm>
            <a:off x="3884613" y="0"/>
            <a:ext cx="2971800" cy="457200"/>
          </a:xfrm>
          <a:prstGeom prst="rect">
            <a:avLst/>
          </a:prstGeom>
        </p:spPr>
        <p:txBody>
          <a:bodyPr/>
          <a:lstStyle/>
          <a:p>
            <a:fld id="{EA2B2ED8-C573-45EF-BF68-CEC19505703A}" type="datetime8">
              <a:rPr lang="en-US" smtClean="0">
                <a:solidFill>
                  <a:prstClr val="black"/>
                </a:solidFill>
              </a:rPr>
              <a:pPr/>
              <a:t>9/7/2016 12:50</a:t>
            </a:fld>
            <a:endParaRPr lang="en-US" dirty="0">
              <a:solidFill>
                <a:prstClr val="black"/>
              </a:solidFill>
            </a:endParaRPr>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fld id="{8B263312-38AA-4E1E-B2B5-0F8F122B24FE}" type="slidenum">
              <a:rPr lang="en-US" smtClean="0">
                <a:solidFill>
                  <a:prstClr val="black"/>
                </a:solidFill>
              </a:rPr>
              <a:pPr/>
              <a:t>94</a:t>
            </a:fld>
            <a:endParaRPr lang="en-US" dirty="0">
              <a:solidFill>
                <a:prstClr val="black"/>
              </a:solidFill>
            </a:endParaRPr>
          </a:p>
        </p:txBody>
      </p:sp>
      <p:sp>
        <p:nvSpPr>
          <p:cNvPr id="6" name="Footer Placeholder 5"/>
          <p:cNvSpPr>
            <a:spLocks noGrp="1"/>
          </p:cNvSpPr>
          <p:nvPr>
            <p:ph type="ftr" sz="quarter" idx="13"/>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9" name="Header Placeholder 8"/>
          <p:cNvSpPr>
            <a:spLocks noGrp="1"/>
          </p:cNvSpPr>
          <p:nvPr>
            <p:ph type="hdr" sz="quarter" idx="14"/>
          </p:nvPr>
        </p:nvSpPr>
        <p:spPr/>
        <p:txBody>
          <a:bodyPr/>
          <a:lstStyle/>
          <a:p>
            <a:endParaRPr lang="en-US" dirty="0">
              <a:solidFill>
                <a:prstClr val="black"/>
              </a:solidFill>
            </a:endParaRPr>
          </a:p>
        </p:txBody>
      </p:sp>
    </p:spTree>
    <p:extLst>
      <p:ext uri="{BB962C8B-B14F-4D97-AF65-F5344CB8AC3E}">
        <p14:creationId xmlns:p14="http://schemas.microsoft.com/office/powerpoint/2010/main" val="297614076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dirty="0"/>
              <a:t>Sources:</a:t>
            </a:r>
          </a:p>
          <a:p>
            <a:pPr marL="0" indent="0">
              <a:buFont typeface="Arial" panose="020B0604020202020204" pitchFamily="34" charset="0"/>
              <a:buNone/>
            </a:pPr>
            <a:r>
              <a:rPr lang="en-US" dirty="0"/>
              <a:t>http://www.aei.org/publication/fortune-500-firms-in-1955-vs-2014-89-are-gone-and-were-all-better-off-because-of-that-dynamic-creative-destruction/ </a:t>
            </a:r>
          </a:p>
          <a:p>
            <a:pPr marL="0" indent="0">
              <a:buFont typeface="Arial" panose="020B0604020202020204" pitchFamily="34" charset="0"/>
              <a:buNone/>
            </a:pPr>
            <a:r>
              <a:rPr lang="en-US" dirty="0"/>
              <a:t>Company life expectancy: Steve Denning, Forbes, via Richard Foster, Deloitte Center for the Edge - http://www.forbes.com/sites/stevedenning/2011/11/19/peggy-noonan-on-steve-jobs-and-why-big-companies-die/</a:t>
            </a:r>
          </a:p>
          <a:p>
            <a:pPr marL="0" indent="0">
              <a:buFont typeface="Arial" panose="020B0604020202020204" pitchFamily="34" charset="0"/>
              <a:buNone/>
            </a:pPr>
            <a:endParaRPr lang="en-US" dirty="0"/>
          </a:p>
          <a:p>
            <a:pPr marL="0" indent="0">
              <a:buFont typeface="Arial" panose="020B0604020202020204" pitchFamily="34" charset="0"/>
              <a:buNone/>
            </a:pPr>
            <a:r>
              <a:rPr lang="en-US" dirty="0"/>
              <a:t>Further reading:</a:t>
            </a:r>
          </a:p>
          <a:p>
            <a:pPr marL="0" indent="0">
              <a:buFont typeface="Arial" panose="020B0604020202020204" pitchFamily="34" charset="0"/>
              <a:buNone/>
            </a:pPr>
            <a:r>
              <a:rPr lang="en-US" dirty="0"/>
              <a:t>Jack Welch quote: http://www.ceotoceo.com/jack-welch-got-it-righteven-for-customers/ </a:t>
            </a:r>
          </a:p>
          <a:p>
            <a:endParaRPr lang="en-US" dirty="0"/>
          </a:p>
        </p:txBody>
      </p:sp>
      <p:sp>
        <p:nvSpPr>
          <p:cNvPr id="4" name="Slide Number Placeholder 3"/>
          <p:cNvSpPr>
            <a:spLocks noGrp="1"/>
          </p:cNvSpPr>
          <p:nvPr>
            <p:ph type="sldNum" sz="quarter" idx="10"/>
          </p:nvPr>
        </p:nvSpPr>
        <p:spPr/>
        <p:txBody>
          <a:bodyPr/>
          <a:lstStyle/>
          <a:p>
            <a:fld id="{97863621-2E60-B848-8968-B0341E26A312}" type="slidenum">
              <a:rPr lang="en-US" smtClean="0"/>
              <a:t>4</a:t>
            </a:fld>
            <a:endParaRPr lang="en-US"/>
          </a:p>
        </p:txBody>
      </p:sp>
    </p:spTree>
    <p:extLst>
      <p:ext uri="{BB962C8B-B14F-4D97-AF65-F5344CB8AC3E}">
        <p14:creationId xmlns:p14="http://schemas.microsoft.com/office/powerpoint/2010/main" val="380470253"/>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t>Microsoft Ignite 2016</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9/7/2016 12:50</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95</a:t>
            </a:fld>
            <a:endParaRPr lang="en-US" dirty="0"/>
          </a:p>
        </p:txBody>
      </p:sp>
    </p:spTree>
    <p:extLst>
      <p:ext uri="{BB962C8B-B14F-4D97-AF65-F5344CB8AC3E}">
        <p14:creationId xmlns:p14="http://schemas.microsoft.com/office/powerpoint/2010/main" val="1195680638"/>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253B9473-204C-4147-A2E0-C3E143278840}" type="datetime8">
              <a:rPr lang="en-US" smtClean="0">
                <a:solidFill>
                  <a:prstClr val="black"/>
                </a:solidFill>
              </a:rPr>
              <a:pPr/>
              <a:t>9/7/2016 12:50</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96</a:t>
            </a:fld>
            <a:endParaRPr lang="en-US" dirty="0">
              <a:solidFill>
                <a:prstClr val="black"/>
              </a:solidFill>
            </a:endParaRPr>
          </a:p>
        </p:txBody>
      </p:sp>
    </p:spTree>
    <p:extLst>
      <p:ext uri="{BB962C8B-B14F-4D97-AF65-F5344CB8AC3E}">
        <p14:creationId xmlns:p14="http://schemas.microsoft.com/office/powerpoint/2010/main" val="197683053"/>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23A5C127-CB05-47B6-8D1E-7BC74A68F508}" type="datetime8">
              <a:rPr lang="en-US" smtClean="0"/>
              <a:t>9/7/2016 12:50</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99</a:t>
            </a:fld>
            <a:endParaRPr lang="en-US" dirty="0"/>
          </a:p>
        </p:txBody>
      </p:sp>
    </p:spTree>
    <p:extLst>
      <p:ext uri="{BB962C8B-B14F-4D97-AF65-F5344CB8AC3E}">
        <p14:creationId xmlns:p14="http://schemas.microsoft.com/office/powerpoint/2010/main" val="2453132581"/>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7D10C09F-FCA1-48C8-B40D-42E1045D109E}" type="datetime8">
              <a:rPr lang="en-US" smtClean="0"/>
              <a:t>9/7/2016 12:50</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00</a:t>
            </a:fld>
            <a:endParaRPr lang="en-US" dirty="0"/>
          </a:p>
        </p:txBody>
      </p:sp>
    </p:spTree>
    <p:extLst>
      <p:ext uri="{BB962C8B-B14F-4D97-AF65-F5344CB8AC3E}">
        <p14:creationId xmlns:p14="http://schemas.microsoft.com/office/powerpoint/2010/main" val="3738000111"/>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7D10C09F-FCA1-48C8-B40D-42E1045D109E}" type="datetime8">
              <a:rPr lang="en-US" smtClean="0"/>
              <a:t>9/7/2016 12:50</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01</a:t>
            </a:fld>
            <a:endParaRPr lang="en-US" dirty="0"/>
          </a:p>
        </p:txBody>
      </p:sp>
    </p:spTree>
    <p:extLst>
      <p:ext uri="{BB962C8B-B14F-4D97-AF65-F5344CB8AC3E}">
        <p14:creationId xmlns:p14="http://schemas.microsoft.com/office/powerpoint/2010/main" val="1583118181"/>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Slide Number Placeholder 5"/>
          <p:cNvSpPr>
            <a:spLocks noGrp="1"/>
          </p:cNvSpPr>
          <p:nvPr>
            <p:ph type="sldNum" sz="quarter" idx="12"/>
          </p:nvPr>
        </p:nvSpPr>
        <p:spPr/>
        <p:txBody>
          <a:bodyPr/>
          <a:lstStyle/>
          <a:p>
            <a:fld id="{B4008EB6-D09E-4580-8CD6-DDB14511944F}" type="slidenum">
              <a:rPr lang="en-US" smtClean="0"/>
              <a:pPr/>
              <a:t>102</a:t>
            </a:fld>
            <a:endParaRPr lang="en-US" dirty="0"/>
          </a:p>
        </p:txBody>
      </p:sp>
      <p:sp>
        <p:nvSpPr>
          <p:cNvPr id="10" name="Date Placeholder 9"/>
          <p:cNvSpPr>
            <a:spLocks noGrp="1"/>
          </p:cNvSpPr>
          <p:nvPr>
            <p:ph type="dt" idx="13"/>
          </p:nvPr>
        </p:nvSpPr>
        <p:spPr/>
        <p:txBody>
          <a:bodyPr/>
          <a:lstStyle/>
          <a:p>
            <a:fld id="{6108602D-D426-4C00-B215-BFA18C076426}" type="datetime8">
              <a:rPr lang="en-US" smtClean="0"/>
              <a:t>9/7/2016 12:50</a:t>
            </a:fld>
            <a:endParaRPr lang="en-US" dirty="0"/>
          </a:p>
        </p:txBody>
      </p:sp>
      <p:sp>
        <p:nvSpPr>
          <p:cNvPr id="4" name="Footer Placeholder 3"/>
          <p:cNvSpPr>
            <a:spLocks noGrp="1"/>
          </p:cNvSpPr>
          <p:nvPr>
            <p:ph type="ftr" sz="quarter" idx="1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5" name="Header Placeholder 4"/>
          <p:cNvSpPr>
            <a:spLocks noGrp="1"/>
          </p:cNvSpPr>
          <p:nvPr>
            <p:ph type="hdr" sz="quarter" idx="15"/>
          </p:nvPr>
        </p:nvSpPr>
        <p:spPr/>
        <p:txBody>
          <a:bodyPr/>
          <a:lstStyle/>
          <a:p>
            <a:endParaRPr lang="en-US" dirty="0"/>
          </a:p>
        </p:txBody>
      </p:sp>
    </p:spTree>
    <p:extLst>
      <p:ext uri="{BB962C8B-B14F-4D97-AF65-F5344CB8AC3E}">
        <p14:creationId xmlns:p14="http://schemas.microsoft.com/office/powerpoint/2010/main" val="586516466"/>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a:xfrm>
            <a:off x="0" y="0"/>
            <a:ext cx="2971800" cy="457200"/>
          </a:xfrm>
          <a:prstGeom prst="rect">
            <a:avLst/>
          </a:prstGeom>
        </p:spPr>
        <p:txBody>
          <a:bodyPr/>
          <a:lstStyle/>
          <a:p>
            <a:endParaRPr lang="en-US" dirty="0">
              <a:solidFill>
                <a:prstClr val="black"/>
              </a:solidFill>
            </a:endParaRPr>
          </a:p>
        </p:txBody>
      </p:sp>
      <p:sp>
        <p:nvSpPr>
          <p:cNvPr id="5" name="Date Placeholder 4"/>
          <p:cNvSpPr>
            <a:spLocks noGrp="1"/>
          </p:cNvSpPr>
          <p:nvPr>
            <p:ph type="dt" idx="11"/>
          </p:nvPr>
        </p:nvSpPr>
        <p:spPr/>
        <p:txBody>
          <a:bodyPr/>
          <a:lstStyle/>
          <a:p>
            <a:fld id="{9AF79BC0-7BC2-4444-8D01-A1A1A5DBD253}" type="datetime8">
              <a:rPr lang="en-US" smtClean="0">
                <a:solidFill>
                  <a:prstClr val="black"/>
                </a:solidFill>
              </a:rPr>
              <a:t>9/7/2016 12:50</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solidFill>
                  <a:prstClr val="black"/>
                </a:solidFill>
              </a:rPr>
              <a:pPr/>
              <a:t>103</a:t>
            </a:fld>
            <a:endParaRPr lang="en-US" dirty="0">
              <a:solidFill>
                <a:prstClr val="black"/>
              </a:solidFill>
            </a:endParaRPr>
          </a:p>
        </p:txBody>
      </p:sp>
      <p:sp>
        <p:nvSpPr>
          <p:cNvPr id="6" name="Footer Placeholder 5"/>
          <p:cNvSpPr>
            <a:spLocks noGrp="1"/>
          </p:cNvSpPr>
          <p:nvPr>
            <p:ph type="ftr" sz="quarter" idx="1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3164944616"/>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90EC29EE-A8AD-4CE0-9C0B-116E0D4D7533}" type="datetime8">
              <a:rPr lang="en-US" smtClean="0"/>
              <a:t>9/7/2016 12:50</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04</a:t>
            </a:fld>
            <a:endParaRPr lang="en-US" dirty="0"/>
          </a:p>
        </p:txBody>
      </p:sp>
    </p:spTree>
    <p:extLst>
      <p:ext uri="{BB962C8B-B14F-4D97-AF65-F5344CB8AC3E}">
        <p14:creationId xmlns:p14="http://schemas.microsoft.com/office/powerpoint/2010/main" val="2288520400"/>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a:xfrm>
            <a:off x="0" y="0"/>
            <a:ext cx="2971800" cy="457200"/>
          </a:xfrm>
          <a:prstGeom prst="rect">
            <a:avLst/>
          </a:prstGeom>
        </p:spPr>
        <p:txBody>
          <a:bodyPr/>
          <a:lstStyle/>
          <a:p>
            <a:endParaRPr lang="en-US" dirty="0">
              <a:solidFill>
                <a:prstClr val="black"/>
              </a:solidFill>
            </a:endParaRPr>
          </a:p>
        </p:txBody>
      </p:sp>
      <p:sp>
        <p:nvSpPr>
          <p:cNvPr id="5" name="Date Placeholder 4"/>
          <p:cNvSpPr>
            <a:spLocks noGrp="1"/>
          </p:cNvSpPr>
          <p:nvPr>
            <p:ph type="dt" idx="11"/>
          </p:nvPr>
        </p:nvSpPr>
        <p:spPr/>
        <p:txBody>
          <a:bodyPr/>
          <a:lstStyle/>
          <a:p>
            <a:fld id="{8A17D118-1690-458F-B4D2-F9DA5D6F5033}" type="datetime8">
              <a:rPr lang="en-US" smtClean="0">
                <a:solidFill>
                  <a:prstClr val="black"/>
                </a:solidFill>
              </a:rPr>
              <a:t>9/7/2016 12:50</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solidFill>
                  <a:prstClr val="black"/>
                </a:solidFill>
              </a:rPr>
              <a:pPr/>
              <a:t>105</a:t>
            </a:fld>
            <a:endParaRPr lang="en-US" dirty="0">
              <a:solidFill>
                <a:prstClr val="black"/>
              </a:solidFill>
            </a:endParaRPr>
          </a:p>
        </p:txBody>
      </p:sp>
      <p:sp>
        <p:nvSpPr>
          <p:cNvPr id="6" name="Footer Placeholder 5"/>
          <p:cNvSpPr>
            <a:spLocks noGrp="1"/>
          </p:cNvSpPr>
          <p:nvPr>
            <p:ph type="ftr" sz="quarter" idx="1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163798684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urces:</a:t>
            </a:r>
          </a:p>
          <a:p>
            <a:pPr marL="0" marR="0" lvl="0" indent="0" algn="l" defTabSz="609585" rtl="0" eaLnBrk="1" fontAlgn="auto" latinLnBrk="0" hangingPunct="1">
              <a:lnSpc>
                <a:spcPct val="100000"/>
              </a:lnSpc>
              <a:spcBef>
                <a:spcPts val="0"/>
              </a:spcBef>
              <a:spcAft>
                <a:spcPts val="0"/>
              </a:spcAft>
              <a:buClrTx/>
              <a:buSzTx/>
              <a:buFontTx/>
              <a:buNone/>
              <a:tabLst/>
              <a:defRPr/>
            </a:pPr>
            <a:r>
              <a:rPr lang="en-US" dirty="0"/>
              <a:t>https://www2.deloitte.com/content/dam/Deloitte/global/Documents/HumanCapital/gx-dup-global-human-capital-trends-2016.pdf</a:t>
            </a:r>
          </a:p>
          <a:p>
            <a:pPr marL="0" marR="0" lvl="0" indent="0" algn="l" defTabSz="609585" rtl="0" eaLnBrk="1" fontAlgn="auto" latinLnBrk="0" hangingPunct="1">
              <a:lnSpc>
                <a:spcPct val="100000"/>
              </a:lnSpc>
              <a:spcBef>
                <a:spcPts val="0"/>
              </a:spcBef>
              <a:spcAft>
                <a:spcPts val="0"/>
              </a:spcAft>
              <a:buClrTx/>
              <a:buSzTx/>
              <a:buFontTx/>
              <a:buNone/>
              <a:tabLst/>
              <a:defRPr/>
            </a:pPr>
            <a:r>
              <a:rPr lang="en-US" dirty="0"/>
              <a:t>http://www.gallup.com/businessjournal/163130/employee-engagement-drives-growth.aspx</a:t>
            </a:r>
          </a:p>
          <a:p>
            <a:endParaRPr lang="en-US" dirty="0"/>
          </a:p>
          <a:p>
            <a:r>
              <a:rPr lang="en-US" dirty="0"/>
              <a:t>Further reading:</a:t>
            </a:r>
          </a:p>
          <a:p>
            <a:r>
              <a:rPr lang="en-US" dirty="0"/>
              <a:t>https://hbr.org/2015/06/what-makes-an-organization-networked</a:t>
            </a:r>
          </a:p>
          <a:p>
            <a:pPr marL="0" marR="0" lvl="0" indent="0" algn="l" defTabSz="609585" rtl="0" eaLnBrk="1" fontAlgn="auto" latinLnBrk="0" hangingPunct="1">
              <a:lnSpc>
                <a:spcPct val="100000"/>
              </a:lnSpc>
              <a:spcBef>
                <a:spcPts val="0"/>
              </a:spcBef>
              <a:spcAft>
                <a:spcPts val="0"/>
              </a:spcAft>
              <a:buClrTx/>
              <a:buSzTx/>
              <a:buFontTx/>
              <a:buNone/>
              <a:tabLst/>
              <a:defRPr/>
            </a:pPr>
            <a:r>
              <a:rPr lang="en-US" dirty="0"/>
              <a:t>http://cw.iabc.com/2015/05/05/true-impact-employee-engagement-business-performance/</a:t>
            </a:r>
          </a:p>
          <a:p>
            <a:r>
              <a:rPr lang="en-US" dirty="0"/>
              <a:t>https://remote.co/10-stats-about-remote-work/</a:t>
            </a:r>
          </a:p>
          <a:p>
            <a:r>
              <a:rPr lang="en-US" dirty="0"/>
              <a:t>https://hbr.org/resources/pdfs/comm/achievers/hbr_achievers_report_sep13.pdf</a:t>
            </a:r>
          </a:p>
          <a:p>
            <a:r>
              <a:rPr lang="en-US" dirty="0"/>
              <a:t>http://dazeinfo.com/2016/04/14/living-cloud-millennials-changing-nature-work/</a:t>
            </a:r>
          </a:p>
          <a:p>
            <a:endParaRPr lang="en-US" dirty="0"/>
          </a:p>
        </p:txBody>
      </p:sp>
      <p:sp>
        <p:nvSpPr>
          <p:cNvPr id="4" name="Slide Number Placeholder 3"/>
          <p:cNvSpPr>
            <a:spLocks noGrp="1"/>
          </p:cNvSpPr>
          <p:nvPr>
            <p:ph type="sldNum" sz="quarter" idx="10"/>
          </p:nvPr>
        </p:nvSpPr>
        <p:spPr/>
        <p:txBody>
          <a:bodyPr/>
          <a:lstStyle/>
          <a:p>
            <a:fld id="{97863621-2E60-B848-8968-B0341E26A312}" type="slidenum">
              <a:rPr lang="en-US" smtClean="0"/>
              <a:t>5</a:t>
            </a:fld>
            <a:endParaRPr lang="en-US"/>
          </a:p>
        </p:txBody>
      </p:sp>
    </p:spTree>
    <p:extLst>
      <p:ext uri="{BB962C8B-B14F-4D97-AF65-F5344CB8AC3E}">
        <p14:creationId xmlns:p14="http://schemas.microsoft.com/office/powerpoint/2010/main" val="349344176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6738" name="Rectangle 2"/>
          <p:cNvSpPr>
            <a:spLocks noGrp="1" noRot="1" noChangeAspect="1" noChangeArrowheads="1" noTextEdit="1"/>
          </p:cNvSpPr>
          <p:nvPr>
            <p:ph type="sldImg"/>
          </p:nvPr>
        </p:nvSpPr>
        <p:spPr>
          <a:ln/>
        </p:spPr>
      </p:sp>
      <p:sp>
        <p:nvSpPr>
          <p:cNvPr id="116739"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GB"/>
          </a:p>
        </p:txBody>
      </p:sp>
    </p:spTree>
    <p:extLst>
      <p:ext uri="{BB962C8B-B14F-4D97-AF65-F5344CB8AC3E}">
        <p14:creationId xmlns:p14="http://schemas.microsoft.com/office/powerpoint/2010/main" val="68873246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570" name="Rectangle 2"/>
          <p:cNvSpPr>
            <a:spLocks noGrp="1" noRot="1" noChangeAspect="1" noChangeArrowheads="1" noTextEdit="1"/>
          </p:cNvSpPr>
          <p:nvPr>
            <p:ph type="sldImg"/>
          </p:nvPr>
        </p:nvSpPr>
        <p:spPr>
          <a:ln/>
        </p:spPr>
      </p:sp>
      <p:sp>
        <p:nvSpPr>
          <p:cNvPr id="109571"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GB" dirty="0"/>
          </a:p>
        </p:txBody>
      </p:sp>
    </p:spTree>
    <p:extLst>
      <p:ext uri="{BB962C8B-B14F-4D97-AF65-F5344CB8AC3E}">
        <p14:creationId xmlns:p14="http://schemas.microsoft.com/office/powerpoint/2010/main" val="3892872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urces:</a:t>
            </a:r>
          </a:p>
          <a:p>
            <a:r>
              <a:rPr lang="en-US" dirty="0"/>
              <a:t>GBS Office 365 roll-out.</a:t>
            </a:r>
          </a:p>
        </p:txBody>
      </p:sp>
      <p:sp>
        <p:nvSpPr>
          <p:cNvPr id="4" name="Slide Number Placeholder 3"/>
          <p:cNvSpPr>
            <a:spLocks noGrp="1"/>
          </p:cNvSpPr>
          <p:nvPr>
            <p:ph type="sldNum" sz="quarter" idx="10"/>
          </p:nvPr>
        </p:nvSpPr>
        <p:spPr/>
        <p:txBody>
          <a:bodyPr/>
          <a:lstStyle/>
          <a:p>
            <a:fld id="{97863621-2E60-B848-8968-B0341E26A312}" type="slidenum">
              <a:rPr lang="en-US" smtClean="0"/>
              <a:t>25</a:t>
            </a:fld>
            <a:endParaRPr lang="en-US"/>
          </a:p>
        </p:txBody>
      </p:sp>
    </p:spTree>
    <p:extLst>
      <p:ext uri="{BB962C8B-B14F-4D97-AF65-F5344CB8AC3E}">
        <p14:creationId xmlns:p14="http://schemas.microsoft.com/office/powerpoint/2010/main" val="96109939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 c</a:t>
            </a:r>
          </a:p>
        </p:txBody>
      </p:sp>
      <p:sp>
        <p:nvSpPr>
          <p:cNvPr id="4" name="Slide Number Placeholder 3"/>
          <p:cNvSpPr>
            <a:spLocks noGrp="1"/>
          </p:cNvSpPr>
          <p:nvPr>
            <p:ph type="sldNum" sz="quarter" idx="10"/>
          </p:nvPr>
        </p:nvSpPr>
        <p:spPr/>
        <p:txBody>
          <a:bodyPr/>
          <a:lstStyle/>
          <a:p>
            <a:fld id="{97863621-2E60-B848-8968-B0341E26A312}" type="slidenum">
              <a:rPr lang="en-US" smtClean="0"/>
              <a:t>26</a:t>
            </a:fld>
            <a:endParaRPr lang="en-US"/>
          </a:p>
        </p:txBody>
      </p:sp>
    </p:spTree>
    <p:extLst>
      <p:ext uri="{BB962C8B-B14F-4D97-AF65-F5344CB8AC3E}">
        <p14:creationId xmlns:p14="http://schemas.microsoft.com/office/powerpoint/2010/main" val="330832499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2_Walkin">
    <p:bg bwMode="gray">
      <p:bgRef idx="1001">
        <a:schemeClr val="bg2"/>
      </p:bgRef>
    </p:bg>
    <p:spTree>
      <p:nvGrpSpPr>
        <p:cNvPr id="1" name=""/>
        <p:cNvGrpSpPr/>
        <p:nvPr/>
      </p:nvGrpSpPr>
      <p:grpSpPr>
        <a:xfrm>
          <a:off x="0" y="0"/>
          <a:ext cx="0" cy="0"/>
          <a:chOff x="0" y="0"/>
          <a:chExt cx="0" cy="0"/>
        </a:xfrm>
      </p:grpSpPr>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8" name="Picture 17"/>
          <p:cNvPicPr>
            <a:picLocks noChangeAspect="1"/>
          </p:cNvPicPr>
          <p:nvPr userDrawn="1"/>
        </p:nvPicPr>
        <p:blipFill>
          <a:blip r:embed="rId2"/>
          <a:stretch>
            <a:fillRect/>
          </a:stretch>
        </p:blipFill>
        <p:spPr>
          <a:xfrm>
            <a:off x="-246501" y="1965643"/>
            <a:ext cx="7899548" cy="2148840"/>
          </a:xfrm>
          <a:prstGeom prst="rect">
            <a:avLst/>
          </a:prstGeom>
        </p:spPr>
      </p:pic>
      <p:sp>
        <p:nvSpPr>
          <p:cNvPr id="6" name="Rectangle 5"/>
          <p:cNvSpPr/>
          <p:nvPr userDrawn="1"/>
        </p:nvSpPr>
        <p:spPr bwMode="gray">
          <a:xfrm>
            <a:off x="0" y="5758901"/>
            <a:ext cx="12435840" cy="123562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3"/>
          <a:stretch>
            <a:fillRect/>
          </a:stretch>
        </p:blipFill>
        <p:spPr>
          <a:xfrm>
            <a:off x="462280" y="6209084"/>
            <a:ext cx="1456418" cy="310896"/>
          </a:xfrm>
          <a:prstGeom prst="rect">
            <a:avLst/>
          </a:prstGeom>
        </p:spPr>
      </p:pic>
    </p:spTree>
    <p:extLst>
      <p:ext uri="{BB962C8B-B14F-4D97-AF65-F5344CB8AC3E}">
        <p14:creationId xmlns:p14="http://schemas.microsoft.com/office/powerpoint/2010/main" val="20885871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7994670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18933552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ustomer Evidence Slide">
    <p:bg bwMode="gray">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8584">
                      <a:schemeClr val="tx2"/>
                    </a:gs>
                    <a:gs pos="57000">
                      <a:schemeClr val="tx2"/>
                    </a:gs>
                  </a:gsLst>
                  <a:lin ang="5400000" scaled="0"/>
                </a:gradFill>
              </a:defRPr>
            </a:lvl1pPr>
          </a:lstStyle>
          <a:p>
            <a:r>
              <a:rPr lang="en-US" dirty="0"/>
              <a:t>Customer evidence slide</a:t>
            </a:r>
          </a:p>
        </p:txBody>
      </p:sp>
      <p:sp>
        <p:nvSpPr>
          <p:cNvPr id="4" name="Picture Placeholder 3"/>
          <p:cNvSpPr>
            <a:spLocks noGrp="1"/>
          </p:cNvSpPr>
          <p:nvPr>
            <p:ph type="pic" sz="quarter" idx="10"/>
          </p:nvPr>
        </p:nvSpPr>
        <p:spPr bwMode="gray">
          <a:xfrm>
            <a:off x="274638" y="1434069"/>
            <a:ext cx="5486400" cy="1827214"/>
          </a:xfrm>
          <a:blipFill>
            <a:blip r:embed="rId2"/>
            <a:stretch>
              <a:fillRect/>
            </a:stretch>
          </a:blipFill>
        </p:spPr>
        <p:txBody>
          <a:bodyPr lIns="182880" tIns="146304" rIns="182880" bIns="146304">
            <a:noAutofit/>
          </a:bodyPr>
          <a:lstStyle>
            <a:lvl1pPr marL="0" indent="0">
              <a:buNone/>
              <a:defRPr lang="en-US" sz="2400" kern="1200" spc="0" baseline="0" dirty="0">
                <a:noFill/>
                <a:latin typeface="+mn-lt"/>
                <a:ea typeface="+mn-ea"/>
                <a:cs typeface="+mn-cs"/>
              </a:defRPr>
            </a:lvl1pPr>
            <a:lvl2pPr>
              <a:defRPr lang="en-US" sz="2400"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pPr>
            <a:r>
              <a:rPr lang="en-US"/>
              <a:t>Click icon to add picture</a:t>
            </a:r>
            <a:endParaRPr lang="en-US" dirty="0"/>
          </a:p>
        </p:txBody>
      </p:sp>
      <p:sp>
        <p:nvSpPr>
          <p:cNvPr id="5" name="Rectangle 4"/>
          <p:cNvSpPr/>
          <p:nvPr userDrawn="1"/>
        </p:nvSpPr>
        <p:spPr bwMode="auto">
          <a:xfrm>
            <a:off x="6218237" y="4868863"/>
            <a:ext cx="5945966" cy="182880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182880" bIns="146304"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39">
                    <a:srgbClr val="F8F8F8"/>
                  </a:gs>
                  <a:gs pos="10000">
                    <a:srgbClr val="F8F8F8"/>
                  </a:gs>
                </a:gsLst>
                <a:lin ang="5400000" scaled="0"/>
              </a:gradFill>
            </a:endParaRPr>
          </a:p>
        </p:txBody>
      </p:sp>
      <p:sp>
        <p:nvSpPr>
          <p:cNvPr id="6" name="Picture Placeholder 3"/>
          <p:cNvSpPr>
            <a:spLocks noGrp="1"/>
          </p:cNvSpPr>
          <p:nvPr>
            <p:ph type="pic" sz="quarter" idx="11" hasCustomPrompt="1"/>
          </p:nvPr>
        </p:nvSpPr>
        <p:spPr bwMode="gray">
          <a:xfrm>
            <a:off x="6218237" y="1434069"/>
            <a:ext cx="5943601" cy="3433208"/>
          </a:xfrm>
          <a:blipFill>
            <a:blip r:embed="rId3"/>
            <a:stretch>
              <a:fillRect/>
            </a:stretch>
          </a:blipFill>
        </p:spPr>
        <p:txBody>
          <a:bodyPr lIns="182880" tIns="146304" rIns="182880" bIns="146304">
            <a:noAutofit/>
          </a:bodyPr>
          <a:lstStyle>
            <a:lvl1pPr marL="0" indent="0">
              <a:buNone/>
              <a:defRPr lang="en-US" sz="2400" kern="1200" spc="0" baseline="0" dirty="0">
                <a:gradFill>
                  <a:gsLst>
                    <a:gs pos="1250">
                      <a:schemeClr val="tx1"/>
                    </a:gs>
                    <a:gs pos="100000">
                      <a:schemeClr val="tx1"/>
                    </a:gs>
                  </a:gsLst>
                  <a:lin ang="5400000" scaled="0"/>
                </a:gradFill>
                <a:latin typeface="+mn-lt"/>
                <a:ea typeface="+mn-ea"/>
                <a:cs typeface="+mn-cs"/>
              </a:defRPr>
            </a:lvl1pPr>
            <a:lvl2pPr algn="ctr">
              <a:defRPr lang="en-US" sz="2400"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pPr>
            <a:r>
              <a:rPr lang="en-US" dirty="0"/>
              <a:t>Your image here</a:t>
            </a:r>
          </a:p>
        </p:txBody>
      </p:sp>
      <p:cxnSp>
        <p:nvCxnSpPr>
          <p:cNvPr id="7" name="Straight Connector 6"/>
          <p:cNvCxnSpPr/>
          <p:nvPr userDrawn="1"/>
        </p:nvCxnSpPr>
        <p:spPr>
          <a:xfrm>
            <a:off x="5989638" y="1836883"/>
            <a:ext cx="0" cy="4754828"/>
          </a:xfrm>
          <a:prstGeom prst="line">
            <a:avLst/>
          </a:prstGeom>
          <a:ln w="3175">
            <a:solidFill>
              <a:schemeClr val="tx1">
                <a:alpha val="2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2"/>
          </p:nvPr>
        </p:nvSpPr>
        <p:spPr>
          <a:xfrm>
            <a:off x="274638" y="3260725"/>
            <a:ext cx="5486400" cy="3436938"/>
          </a:xfrm>
        </p:spPr>
        <p:txBody>
          <a:bodyPr lIns="182880" tIns="146304" rIns="182880" bIns="146304">
            <a:noAutofit/>
          </a:bodyPr>
          <a:lstStyle>
            <a:lvl1pPr marL="0" indent="0">
              <a:buNone/>
              <a:defRPr sz="2400">
                <a:latin typeface="+mn-lt"/>
              </a:defRPr>
            </a:lvl1pPr>
          </a:lstStyle>
          <a:p>
            <a:pPr lvl="0"/>
            <a:r>
              <a:rPr lang="en-US"/>
              <a:t>Edit Master text styles</a:t>
            </a:r>
          </a:p>
        </p:txBody>
      </p:sp>
      <p:sp>
        <p:nvSpPr>
          <p:cNvPr id="15" name="Text Placeholder 14"/>
          <p:cNvSpPr>
            <a:spLocks noGrp="1"/>
          </p:cNvSpPr>
          <p:nvPr>
            <p:ph type="body" sz="quarter" idx="13"/>
          </p:nvPr>
        </p:nvSpPr>
        <p:spPr>
          <a:xfrm>
            <a:off x="6218238" y="4868863"/>
            <a:ext cx="5943600" cy="1827214"/>
          </a:xfrm>
        </p:spPr>
        <p:txBody>
          <a:bodyPr lIns="182880" tIns="146304" rIns="182880" bIns="146304" anchor="ctr">
            <a:noAutofit/>
          </a:bodyPr>
          <a:lstStyle>
            <a:lvl1pPr marL="0" indent="0" algn="ctr">
              <a:buNone/>
              <a:defRPr sz="3200">
                <a:gradFill>
                  <a:gsLst>
                    <a:gs pos="27434">
                      <a:srgbClr val="FFFFFF"/>
                    </a:gs>
                    <a:gs pos="54000">
                      <a:srgbClr val="FFFFFF"/>
                    </a:gs>
                  </a:gsLst>
                  <a:lin ang="5400000" scaled="0"/>
                </a:gradFill>
                <a:latin typeface="+mj-lt"/>
              </a:defRPr>
            </a:lvl1pPr>
          </a:lstStyle>
          <a:p>
            <a:pPr lvl="0"/>
            <a:r>
              <a:rPr lang="en-US"/>
              <a:t>Edit Master text styles</a:t>
            </a:r>
          </a:p>
        </p:txBody>
      </p:sp>
    </p:spTree>
    <p:extLst>
      <p:ext uri="{BB962C8B-B14F-4D97-AF65-F5344CB8AC3E}">
        <p14:creationId xmlns:p14="http://schemas.microsoft.com/office/powerpoint/2010/main" val="37508026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1209973"/>
            <a:ext cx="8228299" cy="1181862"/>
          </a:xfrm>
          <a:noFill/>
        </p:spPr>
        <p:txBody>
          <a:bodyPr wrap="square" tIns="91440" bIns="91440" anchor="t" anchorCtr="0">
            <a:spAutoFit/>
          </a:bodyPr>
          <a:lstStyle>
            <a:lvl1pPr>
              <a:defRPr sz="7200" spc="-100" baseline="0">
                <a:gradFill>
                  <a:gsLst>
                    <a:gs pos="8850">
                      <a:schemeClr val="tx1"/>
                    </a:gs>
                    <a:gs pos="23894">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8229599" cy="738664"/>
          </a:xfrm>
          <a:noFill/>
        </p:spPr>
        <p:txBody>
          <a:bodyPr wrap="square" lIns="182880" tIns="146304" rIns="182880" bIns="146304">
            <a:spAutoFit/>
          </a:bodyPr>
          <a:lstStyle>
            <a:lvl1pPr marL="0" indent="0">
              <a:spcBef>
                <a:spcPts val="0"/>
              </a:spcBef>
              <a:buNone/>
              <a:defRPr sz="3200" spc="0" baseline="0">
                <a:gradFill>
                  <a:gsLst>
                    <a:gs pos="8850">
                      <a:schemeClr val="tx1"/>
                    </a:gs>
                    <a:gs pos="23894">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8976025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1209973"/>
            <a:ext cx="8229599" cy="1181862"/>
          </a:xfrm>
          <a:noFill/>
        </p:spPr>
        <p:txBody>
          <a:bodyPr wrap="square" tIns="91440" bIns="91440" anchor="t" anchorCtr="0">
            <a:spAutoFit/>
          </a:bodyPr>
          <a:lstStyle>
            <a:lvl1pPr>
              <a:defRPr sz="7200" spc="-100" baseline="0">
                <a:gradFill>
                  <a:gsLst>
                    <a:gs pos="10619">
                      <a:schemeClr val="tx1"/>
                    </a:gs>
                    <a:gs pos="26549">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17841475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689345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9086985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36697455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nk Accent Color 1">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567534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015991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solidFill>
          <a:schemeClr val="accent1"/>
        </a:solidFill>
        <a:effectLst/>
      </p:bgPr>
    </p:bg>
    <p:spTree>
      <p:nvGrpSpPr>
        <p:cNvPr id="1" name=""/>
        <p:cNvGrpSpPr/>
        <p:nvPr/>
      </p:nvGrpSpPr>
      <p:grpSpPr>
        <a:xfrm>
          <a:off x="0" y="0"/>
          <a:ext cx="0" cy="0"/>
          <a:chOff x="0" y="0"/>
          <a:chExt cx="0" cy="0"/>
        </a:xfrm>
      </p:grpSpPr>
      <p:sp>
        <p:nvSpPr>
          <p:cNvPr id="10" name="Rectangle 9"/>
          <p:cNvSpPr/>
          <p:nvPr userDrawn="1"/>
        </p:nvSpPr>
        <p:spPr bwMode="gray">
          <a:xfrm>
            <a:off x="0" y="5758901"/>
            <a:ext cx="12435840" cy="123562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2"/>
          <a:stretch>
            <a:fillRect/>
          </a:stretch>
        </p:blipFill>
        <p:spPr>
          <a:xfrm>
            <a:off x="462280" y="6209084"/>
            <a:ext cx="1456418" cy="310896"/>
          </a:xfrm>
          <a:prstGeom prst="rect">
            <a:avLst/>
          </a:prstGeom>
        </p:spPr>
      </p:pic>
      <p:pic>
        <p:nvPicPr>
          <p:cNvPr id="16" name="Picture 15"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459230" y="6240963"/>
            <a:ext cx="1278510" cy="274137"/>
          </a:xfrm>
          <a:prstGeom prst="rect">
            <a:avLst/>
          </a:prstGeom>
        </p:spPr>
      </p:pic>
      <p:sp>
        <p:nvSpPr>
          <p:cNvPr id="8" name="Title 1"/>
          <p:cNvSpPr>
            <a:spLocks noGrp="1"/>
          </p:cNvSpPr>
          <p:nvPr>
            <p:ph type="title" hasCustomPrompt="1"/>
          </p:nvPr>
        </p:nvSpPr>
        <p:spPr bwMode="white">
          <a:xfrm>
            <a:off x="274702" y="1679645"/>
            <a:ext cx="9143936" cy="1828786"/>
          </a:xfrm>
          <a:noFill/>
        </p:spPr>
        <p:txBody>
          <a:bodyPr lIns="146304" tIns="91440" rIns="146304" bIns="91440" anchor="t" anchorCtr="0"/>
          <a:lstStyle>
            <a:lvl1pPr>
              <a:defRPr sz="5400" spc="-100" baseline="0">
                <a:gradFill>
                  <a:gsLst>
                    <a:gs pos="100000">
                      <a:schemeClr val="tx2"/>
                    </a:gs>
                    <a:gs pos="0">
                      <a:schemeClr val="tx2"/>
                    </a:gs>
                  </a:gsLst>
                  <a:lin ang="5400000" scaled="0"/>
                </a:gradFill>
              </a:defRPr>
            </a:lvl1pPr>
          </a:lstStyle>
          <a:p>
            <a:r>
              <a:rPr lang="en-US" dirty="0"/>
              <a:t>Presentation title</a:t>
            </a:r>
          </a:p>
        </p:txBody>
      </p:sp>
      <p:sp>
        <p:nvSpPr>
          <p:cNvPr id="9" name="Text Placeholder 4"/>
          <p:cNvSpPr>
            <a:spLocks noGrp="1"/>
          </p:cNvSpPr>
          <p:nvPr>
            <p:ph type="body" sz="quarter" idx="12" hasCustomPrompt="1"/>
          </p:nvPr>
        </p:nvSpPr>
        <p:spPr bwMode="white">
          <a:xfrm>
            <a:off x="274701" y="3509753"/>
            <a:ext cx="7315137" cy="1828007"/>
          </a:xfrm>
          <a:noFill/>
        </p:spPr>
        <p:txBody>
          <a:bodyPr lIns="146304" tIns="109728" rIns="146304"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6850104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29962453"/>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9250691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4829696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Rectangle 4"/>
          <p:cNvSpPr>
            <a:spLocks noGrp="1" noChangeArrowheads="1"/>
          </p:cNvSpPr>
          <p:nvPr>
            <p:ph type="ftr" sz="quarter" idx="10"/>
          </p:nvPr>
        </p:nvSpPr>
        <p:spPr>
          <a:ln/>
        </p:spPr>
        <p:txBody>
          <a:bodyPr/>
          <a:lstStyle>
            <a:lvl1pPr>
              <a:defRPr/>
            </a:lvl1pPr>
          </a:lstStyle>
          <a:p>
            <a:pPr>
              <a:defRPr/>
            </a:pPr>
            <a:r>
              <a:rPr lang="en-GB"/>
              <a:t>Carlsberg Group – Month/Day/Year</a:t>
            </a:r>
          </a:p>
        </p:txBody>
      </p:sp>
      <p:sp>
        <p:nvSpPr>
          <p:cNvPr id="3" name="Rectangle 5"/>
          <p:cNvSpPr>
            <a:spLocks noGrp="1" noChangeArrowheads="1"/>
          </p:cNvSpPr>
          <p:nvPr>
            <p:ph type="sldNum" sz="quarter" idx="11"/>
          </p:nvPr>
        </p:nvSpPr>
        <p:spPr>
          <a:ln/>
        </p:spPr>
        <p:txBody>
          <a:bodyPr/>
          <a:lstStyle>
            <a:lvl1pPr>
              <a:defRPr/>
            </a:lvl1pPr>
          </a:lstStyle>
          <a:p>
            <a:fld id="{C0DB74E7-4DAA-451D-AAEC-5B9ED8804993}" type="slidenum">
              <a:rPr lang="en-GB"/>
              <a:pPr/>
              <a:t>‹#›</a:t>
            </a:fld>
            <a:endParaRPr lang="en-GB"/>
          </a:p>
        </p:txBody>
      </p:sp>
    </p:spTree>
    <p:extLst>
      <p:ext uri="{BB962C8B-B14F-4D97-AF65-F5344CB8AC3E}">
        <p14:creationId xmlns:p14="http://schemas.microsoft.com/office/powerpoint/2010/main" val="426952940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2_Title Slide">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5329089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1_Title Sub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Text Placeholder 4"/>
          <p:cNvSpPr>
            <a:spLocks noGrp="1"/>
          </p:cNvSpPr>
          <p:nvPr>
            <p:ph type="body" sz="quarter" idx="10" hasCustomPrompt="1"/>
          </p:nvPr>
        </p:nvSpPr>
        <p:spPr>
          <a:xfrm>
            <a:off x="932736" y="952033"/>
            <a:ext cx="10571004" cy="414490"/>
          </a:xfrm>
        </p:spPr>
        <p:txBody>
          <a:bodyPr>
            <a:normAutofit/>
          </a:bodyPr>
          <a:lstStyle>
            <a:lvl1pPr marL="0" indent="0" algn="ctr">
              <a:lnSpc>
                <a:spcPct val="86000"/>
              </a:lnSpc>
              <a:spcBef>
                <a:spcPts val="0"/>
              </a:spcBef>
              <a:buNone/>
              <a:defRPr sz="1836" baseline="0"/>
            </a:lvl1pPr>
          </a:lstStyle>
          <a:p>
            <a:pPr lvl="0"/>
            <a:r>
              <a:rPr lang="en-US" dirty="0"/>
              <a:t>Click here to edit subtitle</a:t>
            </a:r>
          </a:p>
        </p:txBody>
      </p:sp>
    </p:spTree>
    <p:extLst>
      <p:ext uri="{BB962C8B-B14F-4D97-AF65-F5344CB8AC3E}">
        <p14:creationId xmlns:p14="http://schemas.microsoft.com/office/powerpoint/2010/main" val="363646595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Walkin">
    <p:bg bwMode="gray">
      <p:bgRef idx="1001">
        <a:schemeClr val="bg2"/>
      </p:bgRef>
    </p:bg>
    <p:spTree>
      <p:nvGrpSpPr>
        <p:cNvPr id="1" name=""/>
        <p:cNvGrpSpPr/>
        <p:nvPr/>
      </p:nvGrpSpPr>
      <p:grpSpPr>
        <a:xfrm>
          <a:off x="0" y="0"/>
          <a:ext cx="0" cy="0"/>
          <a:chOff x="0" y="0"/>
          <a:chExt cx="0" cy="0"/>
        </a:xfrm>
      </p:grpSpPr>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userDrawn="1"/>
        </p:nvSpPr>
        <p:spPr bwMode="gray">
          <a:xfrm>
            <a:off x="0" y="5758901"/>
            <a:ext cx="12435840" cy="123562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9" name="Picture 8"/>
          <p:cNvPicPr>
            <a:picLocks noChangeAspect="1"/>
          </p:cNvPicPr>
          <p:nvPr userDrawn="1"/>
        </p:nvPicPr>
        <p:blipFill>
          <a:blip r:embed="rId2"/>
          <a:stretch>
            <a:fillRect/>
          </a:stretch>
        </p:blipFill>
        <p:spPr>
          <a:xfrm>
            <a:off x="462280" y="6209084"/>
            <a:ext cx="1456418" cy="310896"/>
          </a:xfrm>
          <a:prstGeom prst="rect">
            <a:avLst/>
          </a:prstGeom>
        </p:spPr>
      </p:pic>
      <p:pic>
        <p:nvPicPr>
          <p:cNvPr id="10" name="Picture 9"/>
          <p:cNvPicPr>
            <a:picLocks noChangeAspect="1"/>
          </p:cNvPicPr>
          <p:nvPr userDrawn="1"/>
        </p:nvPicPr>
        <p:blipFill>
          <a:blip r:embed="rId3"/>
          <a:stretch>
            <a:fillRect/>
          </a:stretch>
        </p:blipFill>
        <p:spPr>
          <a:xfrm>
            <a:off x="-246501" y="1965643"/>
            <a:ext cx="7899548" cy="2148840"/>
          </a:xfrm>
          <a:prstGeom prst="rect">
            <a:avLst/>
          </a:prstGeom>
        </p:spPr>
      </p:pic>
    </p:spTree>
    <p:extLst>
      <p:ext uri="{BB962C8B-B14F-4D97-AF65-F5344CB8AC3E}">
        <p14:creationId xmlns:p14="http://schemas.microsoft.com/office/powerpoint/2010/main" val="2620341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solidFill>
          <a:schemeClr val="accent1"/>
        </a:solidFill>
        <a:effectLst/>
      </p:bgPr>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9230" y="6240963"/>
            <a:ext cx="1278510" cy="274137"/>
          </a:xfrm>
          <a:prstGeom prst="rect">
            <a:avLst/>
          </a:prstGeom>
        </p:spPr>
      </p:pic>
      <p:sp>
        <p:nvSpPr>
          <p:cNvPr id="8" name="Title 1"/>
          <p:cNvSpPr>
            <a:spLocks noGrp="1"/>
          </p:cNvSpPr>
          <p:nvPr>
            <p:ph type="title" hasCustomPrompt="1"/>
          </p:nvPr>
        </p:nvSpPr>
        <p:spPr bwMode="white">
          <a:xfrm>
            <a:off x="274702" y="1679645"/>
            <a:ext cx="9143936" cy="1828786"/>
          </a:xfrm>
          <a:noFill/>
        </p:spPr>
        <p:txBody>
          <a:bodyPr lIns="146304" tIns="91440" rIns="146304" bIns="91440" anchor="t" anchorCtr="0"/>
          <a:lstStyle>
            <a:lvl1pPr>
              <a:defRPr sz="5400" spc="-100" baseline="0">
                <a:gradFill>
                  <a:gsLst>
                    <a:gs pos="100000">
                      <a:schemeClr val="tx2"/>
                    </a:gs>
                    <a:gs pos="0">
                      <a:schemeClr val="tx2"/>
                    </a:gs>
                  </a:gsLst>
                  <a:lin ang="5400000" scaled="0"/>
                </a:gradFill>
              </a:defRPr>
            </a:lvl1pPr>
          </a:lstStyle>
          <a:p>
            <a:r>
              <a:rPr lang="en-US" dirty="0"/>
              <a:t>Presentation title</a:t>
            </a:r>
          </a:p>
        </p:txBody>
      </p:sp>
      <p:sp>
        <p:nvSpPr>
          <p:cNvPr id="9" name="Text Placeholder 4"/>
          <p:cNvSpPr>
            <a:spLocks noGrp="1"/>
          </p:cNvSpPr>
          <p:nvPr>
            <p:ph type="body" sz="quarter" idx="12" hasCustomPrompt="1"/>
          </p:nvPr>
        </p:nvSpPr>
        <p:spPr bwMode="white">
          <a:xfrm>
            <a:off x="274701" y="3509753"/>
            <a:ext cx="7315137" cy="1828007"/>
          </a:xfrm>
          <a:noFill/>
        </p:spPr>
        <p:txBody>
          <a:bodyPr lIns="146304" tIns="109728" rIns="146304"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dirty="0"/>
              <a:t>Speaker Name</a:t>
            </a:r>
          </a:p>
        </p:txBody>
      </p:sp>
      <p:sp>
        <p:nvSpPr>
          <p:cNvPr id="6" name="Rectangle 5"/>
          <p:cNvSpPr/>
          <p:nvPr userDrawn="1"/>
        </p:nvSpPr>
        <p:spPr bwMode="gray">
          <a:xfrm>
            <a:off x="0" y="5897245"/>
            <a:ext cx="12435840" cy="109728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p:cNvPicPr>
            <a:picLocks noChangeAspect="1"/>
          </p:cNvPicPr>
          <p:nvPr userDrawn="1"/>
        </p:nvPicPr>
        <p:blipFill>
          <a:blip r:embed="rId3"/>
          <a:stretch>
            <a:fillRect/>
          </a:stretch>
        </p:blipFill>
        <p:spPr>
          <a:xfrm>
            <a:off x="370840" y="6294142"/>
            <a:ext cx="1456418" cy="310896"/>
          </a:xfrm>
          <a:prstGeom prst="rect">
            <a:avLst/>
          </a:prstGeom>
        </p:spPr>
      </p:pic>
    </p:spTree>
    <p:extLst>
      <p:ext uri="{BB962C8B-B14F-4D97-AF65-F5344CB8AC3E}">
        <p14:creationId xmlns:p14="http://schemas.microsoft.com/office/powerpoint/2010/main" val="17835652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Text Placeholder 5"/>
          <p:cNvSpPr>
            <a:spLocks noGrp="1"/>
          </p:cNvSpPr>
          <p:nvPr>
            <p:ph type="body" sz="quarter" idx="10"/>
          </p:nvPr>
        </p:nvSpPr>
        <p:spPr>
          <a:xfrm>
            <a:off x="274638" y="1212850"/>
            <a:ext cx="11887200" cy="2065181"/>
          </a:xfrm>
        </p:spPr>
        <p:txBody>
          <a:bodyPr/>
          <a:lstStyle>
            <a:lvl1pPr marL="0" indent="0">
              <a:buNone/>
              <a:defRPr>
                <a:gradFill>
                  <a:gsLst>
                    <a:gs pos="1250">
                      <a:schemeClr val="tx1"/>
                    </a:gs>
                    <a:gs pos="99000">
                      <a:schemeClr val="tx1"/>
                    </a:gs>
                  </a:gsLst>
                  <a:lin ang="5400000" scaled="0"/>
                </a:gradFill>
              </a:defRPr>
            </a:lvl1pPr>
            <a:lvl2pPr marL="0" indent="0">
              <a:buFontTx/>
              <a:buNone/>
              <a:defRPr sz="2400"/>
            </a:lvl2pPr>
            <a:lvl3pPr marL="228600" indent="0">
              <a:buNone/>
              <a:defRPr/>
            </a:lvl3pPr>
            <a:lvl4pPr marL="457200" indent="0">
              <a:buNone/>
              <a:defRPr/>
            </a:lvl4pPr>
            <a:lvl5pPr marL="68580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80655951"/>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33594543"/>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6105625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39" y="1212849"/>
            <a:ext cx="5486399" cy="1982081"/>
          </a:xfrm>
        </p:spPr>
        <p:txBody>
          <a:bodyPr wrap="square">
            <a:spAutoFit/>
          </a:bodyPr>
          <a:lstStyle>
            <a:lvl1pPr marL="0" indent="0">
              <a:spcBef>
                <a:spcPts val="1224"/>
              </a:spcBef>
              <a:buClr>
                <a:schemeClr val="tx1"/>
              </a:buClr>
              <a:buFont typeface="Wingdings" pitchFamily="2" charset="2"/>
              <a:buNone/>
              <a:defRPr sz="3200"/>
            </a:lvl1pPr>
            <a:lvl2pPr marL="0" indent="0">
              <a:buNone/>
              <a:defRPr sz="24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1982081"/>
          </a:xfrm>
        </p:spPr>
        <p:txBody>
          <a:bodyPr wrap="square">
            <a:spAutoFit/>
          </a:bodyPr>
          <a:lstStyle>
            <a:lvl1pPr marL="0" indent="0">
              <a:spcBef>
                <a:spcPts val="1224"/>
              </a:spcBef>
              <a:buClr>
                <a:schemeClr val="tx1"/>
              </a:buClr>
              <a:buFont typeface="Wingdings" pitchFamily="2" charset="2"/>
              <a:buNone/>
              <a:defRPr sz="3200"/>
            </a:lvl1pPr>
            <a:lvl2pPr marL="0" indent="0">
              <a:buNone/>
              <a:defRPr sz="24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342383446"/>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347077705"/>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3926629171"/>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ustomer Evidence Slide">
    <p:bg bwMode="gray">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8584">
                      <a:schemeClr val="tx2"/>
                    </a:gs>
                    <a:gs pos="57000">
                      <a:schemeClr val="tx2"/>
                    </a:gs>
                  </a:gsLst>
                  <a:lin ang="5400000" scaled="0"/>
                </a:gradFill>
              </a:defRPr>
            </a:lvl1pPr>
          </a:lstStyle>
          <a:p>
            <a:r>
              <a:rPr lang="en-US" dirty="0"/>
              <a:t>Customer evidence slide</a:t>
            </a:r>
          </a:p>
        </p:txBody>
      </p:sp>
      <p:sp>
        <p:nvSpPr>
          <p:cNvPr id="4" name="Picture Placeholder 3"/>
          <p:cNvSpPr>
            <a:spLocks noGrp="1"/>
          </p:cNvSpPr>
          <p:nvPr>
            <p:ph type="pic" sz="quarter" idx="10"/>
          </p:nvPr>
        </p:nvSpPr>
        <p:spPr bwMode="gray">
          <a:xfrm>
            <a:off x="274638" y="1434069"/>
            <a:ext cx="5486400" cy="1827214"/>
          </a:xfrm>
          <a:blipFill>
            <a:blip r:embed="rId2"/>
            <a:stretch>
              <a:fillRect/>
            </a:stretch>
          </a:blipFill>
        </p:spPr>
        <p:txBody>
          <a:bodyPr lIns="182880" tIns="146304" rIns="182880" bIns="146304">
            <a:noAutofit/>
          </a:bodyPr>
          <a:lstStyle>
            <a:lvl1pPr marL="0" indent="0">
              <a:buNone/>
              <a:defRPr lang="en-US" sz="2400" kern="1200" spc="0" baseline="0" dirty="0">
                <a:noFill/>
                <a:latin typeface="+mn-lt"/>
                <a:ea typeface="+mn-ea"/>
                <a:cs typeface="+mn-cs"/>
              </a:defRPr>
            </a:lvl1pPr>
            <a:lvl2pPr>
              <a:defRPr lang="en-US" sz="2400"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pPr>
            <a:endParaRPr lang="en-US" dirty="0"/>
          </a:p>
        </p:txBody>
      </p:sp>
      <p:sp>
        <p:nvSpPr>
          <p:cNvPr id="5" name="Rectangle 4"/>
          <p:cNvSpPr/>
          <p:nvPr userDrawn="1"/>
        </p:nvSpPr>
        <p:spPr bwMode="auto">
          <a:xfrm>
            <a:off x="6218237" y="4868863"/>
            <a:ext cx="5945966" cy="182880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182880" bIns="146304"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39">
                    <a:srgbClr val="F8F8F8"/>
                  </a:gs>
                  <a:gs pos="10000">
                    <a:srgbClr val="F8F8F8"/>
                  </a:gs>
                </a:gsLst>
                <a:lin ang="5400000" scaled="0"/>
              </a:gradFill>
            </a:endParaRPr>
          </a:p>
        </p:txBody>
      </p:sp>
      <p:sp>
        <p:nvSpPr>
          <p:cNvPr id="6" name="Picture Placeholder 3"/>
          <p:cNvSpPr>
            <a:spLocks noGrp="1"/>
          </p:cNvSpPr>
          <p:nvPr>
            <p:ph type="pic" sz="quarter" idx="11" hasCustomPrompt="1"/>
          </p:nvPr>
        </p:nvSpPr>
        <p:spPr bwMode="gray">
          <a:xfrm>
            <a:off x="6218237" y="1434069"/>
            <a:ext cx="5943601" cy="3433208"/>
          </a:xfrm>
          <a:blipFill>
            <a:blip r:embed="rId3"/>
            <a:stretch>
              <a:fillRect/>
            </a:stretch>
          </a:blipFill>
        </p:spPr>
        <p:txBody>
          <a:bodyPr lIns="182880" tIns="146304" rIns="182880" bIns="146304">
            <a:noAutofit/>
          </a:bodyPr>
          <a:lstStyle>
            <a:lvl1pPr marL="0" indent="0">
              <a:buNone/>
              <a:defRPr lang="en-US" sz="2400" kern="1200" spc="0" baseline="0" dirty="0">
                <a:gradFill>
                  <a:gsLst>
                    <a:gs pos="1250">
                      <a:schemeClr val="tx1"/>
                    </a:gs>
                    <a:gs pos="100000">
                      <a:schemeClr val="tx1"/>
                    </a:gs>
                  </a:gsLst>
                  <a:lin ang="5400000" scaled="0"/>
                </a:gradFill>
                <a:latin typeface="+mn-lt"/>
                <a:ea typeface="+mn-ea"/>
                <a:cs typeface="+mn-cs"/>
              </a:defRPr>
            </a:lvl1pPr>
            <a:lvl2pPr algn="ctr">
              <a:defRPr lang="en-US" sz="2400"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pPr>
            <a:r>
              <a:rPr lang="en-US" dirty="0"/>
              <a:t>Your image here</a:t>
            </a:r>
          </a:p>
        </p:txBody>
      </p:sp>
      <p:cxnSp>
        <p:nvCxnSpPr>
          <p:cNvPr id="7" name="Straight Connector 6"/>
          <p:cNvCxnSpPr/>
          <p:nvPr userDrawn="1"/>
        </p:nvCxnSpPr>
        <p:spPr>
          <a:xfrm>
            <a:off x="5989638" y="1836883"/>
            <a:ext cx="0" cy="4754828"/>
          </a:xfrm>
          <a:prstGeom prst="line">
            <a:avLst/>
          </a:prstGeom>
          <a:ln w="3175">
            <a:solidFill>
              <a:schemeClr val="tx1">
                <a:alpha val="2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2"/>
          </p:nvPr>
        </p:nvSpPr>
        <p:spPr>
          <a:xfrm>
            <a:off x="274638" y="3260725"/>
            <a:ext cx="5486400" cy="3436938"/>
          </a:xfrm>
        </p:spPr>
        <p:txBody>
          <a:bodyPr lIns="182880" tIns="146304" rIns="182880" bIns="146304">
            <a:noAutofit/>
          </a:bodyPr>
          <a:lstStyle>
            <a:lvl1pPr marL="0" indent="0">
              <a:buNone/>
              <a:defRPr sz="2400">
                <a:latin typeface="+mn-lt"/>
              </a:defRPr>
            </a:lvl1pPr>
          </a:lstStyle>
          <a:p>
            <a:pPr lvl="0"/>
            <a:r>
              <a:rPr lang="en-US" dirty="0"/>
              <a:t>Edit Master text styles</a:t>
            </a:r>
          </a:p>
        </p:txBody>
      </p:sp>
      <p:sp>
        <p:nvSpPr>
          <p:cNvPr id="15" name="Text Placeholder 14"/>
          <p:cNvSpPr>
            <a:spLocks noGrp="1"/>
          </p:cNvSpPr>
          <p:nvPr>
            <p:ph type="body" sz="quarter" idx="13"/>
          </p:nvPr>
        </p:nvSpPr>
        <p:spPr>
          <a:xfrm>
            <a:off x="6218238" y="4868863"/>
            <a:ext cx="5943600" cy="1827214"/>
          </a:xfrm>
        </p:spPr>
        <p:txBody>
          <a:bodyPr lIns="182880" tIns="146304" rIns="182880" bIns="146304" anchor="ctr">
            <a:noAutofit/>
          </a:bodyPr>
          <a:lstStyle>
            <a:lvl1pPr marL="0" indent="0" algn="ctr">
              <a:buNone/>
              <a:defRPr sz="3200">
                <a:gradFill>
                  <a:gsLst>
                    <a:gs pos="27434">
                      <a:srgbClr val="FFFFFF"/>
                    </a:gs>
                    <a:gs pos="54000">
                      <a:srgbClr val="FFFFFF"/>
                    </a:gs>
                  </a:gsLst>
                  <a:lin ang="5400000" scaled="0"/>
                </a:gradFill>
                <a:latin typeface="+mj-lt"/>
              </a:defRPr>
            </a:lvl1pPr>
          </a:lstStyle>
          <a:p>
            <a:pPr lvl="0"/>
            <a:r>
              <a:rPr lang="en-US" dirty="0"/>
              <a:t>Edit Master text styles</a:t>
            </a:r>
          </a:p>
        </p:txBody>
      </p:sp>
    </p:spTree>
    <p:extLst>
      <p:ext uri="{BB962C8B-B14F-4D97-AF65-F5344CB8AC3E}">
        <p14:creationId xmlns:p14="http://schemas.microsoft.com/office/powerpoint/2010/main" val="189533110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1209973"/>
            <a:ext cx="8228299" cy="1181862"/>
          </a:xfrm>
          <a:noFill/>
        </p:spPr>
        <p:txBody>
          <a:bodyPr wrap="square" tIns="91440" bIns="91440" anchor="t" anchorCtr="0">
            <a:spAutoFit/>
          </a:bodyPr>
          <a:lstStyle>
            <a:lvl1pPr>
              <a:defRPr sz="7200" spc="-100" baseline="0">
                <a:gradFill>
                  <a:gsLst>
                    <a:gs pos="8850">
                      <a:schemeClr val="tx1"/>
                    </a:gs>
                    <a:gs pos="23894">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8229599" cy="738664"/>
          </a:xfrm>
          <a:noFill/>
        </p:spPr>
        <p:txBody>
          <a:bodyPr wrap="square" lIns="182880" tIns="146304" rIns="182880" bIns="146304">
            <a:spAutoFit/>
          </a:bodyPr>
          <a:lstStyle>
            <a:lvl1pPr marL="0" indent="0">
              <a:spcBef>
                <a:spcPts val="0"/>
              </a:spcBef>
              <a:buNone/>
              <a:defRPr sz="3200" spc="0" baseline="0">
                <a:gradFill>
                  <a:gsLst>
                    <a:gs pos="8850">
                      <a:schemeClr val="tx1"/>
                    </a:gs>
                    <a:gs pos="23894">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29251919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1209973"/>
            <a:ext cx="8229599" cy="1181862"/>
          </a:xfrm>
          <a:noFill/>
        </p:spPr>
        <p:txBody>
          <a:bodyPr wrap="square" tIns="91440" bIns="91440" anchor="t" anchorCtr="0">
            <a:spAutoFit/>
          </a:bodyPr>
          <a:lstStyle>
            <a:lvl1pPr>
              <a:defRPr sz="7200" spc="-100" baseline="0">
                <a:gradFill>
                  <a:gsLst>
                    <a:gs pos="10619">
                      <a:schemeClr val="tx1"/>
                    </a:gs>
                    <a:gs pos="26549">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2235704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0261040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5536269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50-50 Right Photo Layou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75085370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2302983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3133736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8565035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75001290"/>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a:blip r:embed="rId2"/>
          <a:stretch>
            <a:fillRect/>
          </a:stretch>
        </p:blipFill>
        <p:spPr bwMode="invGray">
          <a:xfrm>
            <a:off x="464013" y="479425"/>
            <a:ext cx="1436313" cy="306604"/>
          </a:xfrm>
          <a:prstGeom prst="rect">
            <a:avLst/>
          </a:prstGeom>
        </p:spPr>
      </p:pic>
    </p:spTree>
    <p:extLst>
      <p:ext uri="{BB962C8B-B14F-4D97-AF65-F5344CB8AC3E}">
        <p14:creationId xmlns:p14="http://schemas.microsoft.com/office/powerpoint/2010/main" val="182125624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7854040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932736" y="1481334"/>
            <a:ext cx="10571004" cy="2462213"/>
          </a:xfrm>
        </p:spPr>
        <p:txBody>
          <a:bodyPr/>
          <a:lstStyle>
            <a:lvl1pPr>
              <a:spcBef>
                <a:spcPts val="1224"/>
              </a:spcBef>
              <a:defRPr/>
            </a:lvl1pPr>
            <a:lvl2pPr>
              <a:spcBef>
                <a:spcPts val="1224"/>
              </a:spcBef>
              <a:defRPr/>
            </a:lvl2pPr>
            <a:lvl3pPr>
              <a:spcBef>
                <a:spcPts val="1224"/>
              </a:spcBef>
              <a:defRPr/>
            </a:lvl3pPr>
            <a:lvl4pPr>
              <a:spcBef>
                <a:spcPts val="1224"/>
              </a:spcBef>
              <a:defRPr/>
            </a:lvl4pPr>
            <a:lvl5pPr>
              <a:spcBef>
                <a:spcPts val="1224"/>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10" hasCustomPrompt="1"/>
          </p:nvPr>
        </p:nvSpPr>
        <p:spPr>
          <a:xfrm>
            <a:off x="932736" y="952033"/>
            <a:ext cx="10571004" cy="414490"/>
          </a:xfrm>
        </p:spPr>
        <p:txBody>
          <a:bodyPr>
            <a:normAutofit/>
          </a:bodyPr>
          <a:lstStyle>
            <a:lvl1pPr marL="0" indent="0" algn="ctr">
              <a:lnSpc>
                <a:spcPct val="86000"/>
              </a:lnSpc>
              <a:spcBef>
                <a:spcPts val="0"/>
              </a:spcBef>
              <a:buNone/>
              <a:defRPr sz="1836" baseline="0"/>
            </a:lvl1pPr>
          </a:lstStyle>
          <a:p>
            <a:pPr lvl="0"/>
            <a:r>
              <a:rPr lang="en-US" dirty="0"/>
              <a:t>Click here to edit subtitle</a:t>
            </a:r>
          </a:p>
        </p:txBody>
      </p:sp>
    </p:spTree>
    <p:extLst>
      <p:ext uri="{BB962C8B-B14F-4D97-AF65-F5344CB8AC3E}">
        <p14:creationId xmlns:p14="http://schemas.microsoft.com/office/powerpoint/2010/main" val="361454781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3240436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0326847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7397787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795992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60568471"/>
      </p:ext>
    </p:extLst>
  </p:cSld>
  <p:clrMapOvr>
    <a:overrideClrMapping bg1="lt1" tx1="dk1" bg2="lt2" tx2="dk2" accent1="accent1" accent2="accent2" accent3="accent3" accent4="accent4" accent5="accent5" accent6="accent6" hlink="hlink" folHlink="folHlink"/>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slideLayout" Target="../slideLayouts/slideLayout38.xml"/><Relationship Id="rId18" Type="http://schemas.openxmlformats.org/officeDocument/2006/relationships/slideLayout" Target="../slideLayouts/slideLayout43.xml"/><Relationship Id="rId3" Type="http://schemas.openxmlformats.org/officeDocument/2006/relationships/slideLayout" Target="../slideLayouts/slideLayout28.xml"/><Relationship Id="rId7" Type="http://schemas.openxmlformats.org/officeDocument/2006/relationships/slideLayout" Target="../slideLayouts/slideLayout32.xml"/><Relationship Id="rId12" Type="http://schemas.openxmlformats.org/officeDocument/2006/relationships/slideLayout" Target="../slideLayouts/slideLayout37.xml"/><Relationship Id="rId17" Type="http://schemas.openxmlformats.org/officeDocument/2006/relationships/slideLayout" Target="../slideLayouts/slideLayout42.xml"/><Relationship Id="rId2" Type="http://schemas.openxmlformats.org/officeDocument/2006/relationships/slideLayout" Target="../slideLayouts/slideLayout27.xml"/><Relationship Id="rId16" Type="http://schemas.openxmlformats.org/officeDocument/2006/relationships/slideLayout" Target="../slideLayouts/slideLayout41.xml"/><Relationship Id="rId20" Type="http://schemas.openxmlformats.org/officeDocument/2006/relationships/theme" Target="../theme/theme2.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5" Type="http://schemas.openxmlformats.org/officeDocument/2006/relationships/slideLayout" Target="../slideLayouts/slideLayout30.xml"/><Relationship Id="rId15" Type="http://schemas.openxmlformats.org/officeDocument/2006/relationships/slideLayout" Target="../slideLayouts/slideLayout40.xml"/><Relationship Id="rId10" Type="http://schemas.openxmlformats.org/officeDocument/2006/relationships/slideLayout" Target="../slideLayouts/slideLayout35.xml"/><Relationship Id="rId19" Type="http://schemas.openxmlformats.org/officeDocument/2006/relationships/slideLayout" Target="../slideLayouts/slideLayout44.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slideLayout" Target="../slideLayouts/slideLayout3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3" name="Group 2"/>
          <p:cNvGrpSpPr/>
          <p:nvPr userDrawn="1"/>
        </p:nvGrpSpPr>
        <p:grpSpPr>
          <a:xfrm>
            <a:off x="12618967" y="0"/>
            <a:ext cx="952401" cy="5766967"/>
            <a:chOff x="12618967" y="0"/>
            <a:chExt cx="952401" cy="5766967"/>
          </a:xfrm>
        </p:grpSpPr>
        <p:grpSp>
          <p:nvGrpSpPr>
            <p:cNvPr id="26" name="Group 25"/>
            <p:cNvGrpSpPr/>
            <p:nvPr userDrawn="1"/>
          </p:nvGrpSpPr>
          <p:grpSpPr>
            <a:xfrm rot="5400000">
              <a:off x="11584220" y="1040742"/>
              <a:ext cx="2698730" cy="629236"/>
              <a:chOff x="1584344" y="4543426"/>
              <a:chExt cx="2698730"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472" fontAlgn="base">
                  <a:lnSpc>
                    <a:spcPct val="100000"/>
                  </a:lnSpc>
                  <a:spcBef>
                    <a:spcPct val="0"/>
                  </a:spcBef>
                  <a:spcAft>
                    <a:spcPct val="0"/>
                  </a:spcAft>
                </a:pPr>
                <a:r>
                  <a:rPr lang="en-US" sz="500" b="1" kern="1200" baseline="0" dirty="0" err="1">
                    <a:gradFill>
                      <a:gsLst>
                        <a:gs pos="0">
                          <a:srgbClr val="FFFFFF"/>
                        </a:gs>
                        <a:gs pos="100000">
                          <a:srgbClr val="FFFFFF"/>
                        </a:gs>
                      </a:gsLst>
                      <a:lin ang="5400000" scaled="0"/>
                    </a:gradFill>
                    <a:latin typeface="+mn-lt"/>
                    <a:ea typeface="Segoe UI" pitchFamily="34" charset="0"/>
                    <a:cs typeface="Segoe UI" pitchFamily="34" charset="0"/>
                  </a:rPr>
                  <a:t>Oragen</a:t>
                </a:r>
                <a:endPar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endParaRPr>
              </a:p>
              <a:p>
                <a:pPr algn="l" defTabSz="932472" fontAlgn="base">
                  <a:lnSpc>
                    <a:spcPct val="100000"/>
                  </a:lnSpc>
                  <a:spcBef>
                    <a:spcPct val="0"/>
                  </a:spcBef>
                  <a:spcAft>
                    <a:spcPct val="0"/>
                  </a:spcAft>
                </a:pPr>
                <a:r>
                  <a:rPr lang="en-US" sz="500" dirty="0">
                    <a:gradFill>
                      <a:gsLst>
                        <a:gs pos="0">
                          <a:srgbClr val="FFFFFF"/>
                        </a:gs>
                        <a:gs pos="100000">
                          <a:srgbClr val="FFFFFF"/>
                        </a:gs>
                      </a:gsLst>
                      <a:lin ang="5400000" scaled="0"/>
                    </a:gradFill>
                    <a:ea typeface="Segoe UI" pitchFamily="34" charset="0"/>
                    <a:cs typeface="Segoe UI" pitchFamily="34" charset="0"/>
                  </a:rPr>
                  <a:t>R:</a:t>
                </a:r>
                <a:r>
                  <a:rPr lang="en-US" sz="500" baseline="0" dirty="0">
                    <a:gradFill>
                      <a:gsLst>
                        <a:gs pos="0">
                          <a:srgbClr val="FFFFFF"/>
                        </a:gs>
                        <a:gs pos="100000">
                          <a:srgbClr val="FFFFFF"/>
                        </a:gs>
                      </a:gsLst>
                      <a:lin ang="5400000" scaled="0"/>
                    </a:gradFill>
                    <a:ea typeface="Segoe UI" pitchFamily="34" charset="0"/>
                    <a:cs typeface="Segoe UI" pitchFamily="34" charset="0"/>
                  </a:rPr>
                  <a:t>216 G:59 B:1</a:t>
                </a:r>
                <a:endParaRPr lang="en-US" sz="50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472" fontAlgn="base">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marL="0" algn="l" defTabSz="932472" rtl="0" eaLnBrk="1" fontAlgn="base" latinLnBrk="0" hangingPunct="1">
                  <a:lnSpc>
                    <a:spcPct val="100000"/>
                  </a:lnSpc>
                  <a:spcBef>
                    <a:spcPct val="0"/>
                  </a:spcBef>
                  <a:spcAft>
                    <a:spcPct val="0"/>
                  </a:spcAft>
                </a:pPr>
                <a:r>
                  <a:rPr lang="en-US" sz="500" kern="1200" dirty="0">
                    <a:gradFill>
                      <a:gsLst>
                        <a:gs pos="2092">
                          <a:srgbClr val="F8F8F8"/>
                        </a:gs>
                        <a:gs pos="10042">
                          <a:srgbClr val="F8F8F8"/>
                        </a:gs>
                      </a:gsLst>
                      <a:lin ang="5400000" scaled="0"/>
                    </a:gradFill>
                    <a:latin typeface="+mn-lt"/>
                    <a:ea typeface="Segoe UI" pitchFamily="34" charset="0"/>
                    <a:cs typeface="Segoe UI" pitchFamily="34" charset="0"/>
                  </a:rPr>
                  <a:t>R:0 G:120 B:215</a:t>
                </a:r>
              </a:p>
            </p:txBody>
          </p:sp>
          <p:sp>
            <p:nvSpPr>
              <p:cNvPr id="42" name="Rectangle 41"/>
              <p:cNvSpPr/>
              <p:nvPr userDrawn="1"/>
            </p:nvSpPr>
            <p:spPr bwMode="auto">
              <a:xfrm>
                <a:off x="3413144"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ay</a:t>
                </a:r>
              </a:p>
              <a:p>
                <a:pPr marL="0" algn="l" defTabSz="932472" rtl="0" eaLnBrk="1" fontAlgn="base" latinLnBrk="0" hangingPunct="1">
                  <a:lnSpc>
                    <a:spcPct val="100000"/>
                  </a:lnSpc>
                  <a:spcBef>
                    <a:spcPct val="0"/>
                  </a:spcBef>
                  <a:spcAft>
                    <a:spcPct val="0"/>
                  </a:spcAft>
                </a:pPr>
                <a:r>
                  <a:rPr lang="en-US" sz="500" kern="1200" dirty="0">
                    <a:gradFill>
                      <a:gsLst>
                        <a:gs pos="2092">
                          <a:srgbClr val="F8F8F8"/>
                        </a:gs>
                        <a:gs pos="10042">
                          <a:srgbClr val="F8F8F8"/>
                        </a:gs>
                      </a:gsLst>
                      <a:lin ang="5400000" scaled="0"/>
                    </a:gradFill>
                    <a:latin typeface="+mn-lt"/>
                    <a:ea typeface="Segoe UI" pitchFamily="34" charset="0"/>
                    <a:cs typeface="Segoe UI" pitchFamily="34" charset="0"/>
                  </a:rPr>
                  <a:t>R:80 G:80 B:80</a:t>
                </a: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Yellow</a:t>
                </a:r>
              </a:p>
              <a:p>
                <a:pPr marL="0" algn="l" defTabSz="932472" rtl="0" eaLnBrk="1" fontAlgn="base" latinLnBrk="0" hangingPunct="1">
                  <a:lnSpc>
                    <a:spcPct val="100000"/>
                  </a:lnSpc>
                  <a:spcBef>
                    <a:spcPct val="0"/>
                  </a:spcBef>
                  <a:spcAft>
                    <a:spcPct val="0"/>
                  </a:spcAft>
                </a:pPr>
                <a:r>
                  <a:rPr lang="en-US" sz="500" kern="1200" dirty="0">
                    <a:gradFill>
                      <a:gsLst>
                        <a:gs pos="37168">
                          <a:srgbClr val="292929"/>
                        </a:gs>
                        <a:gs pos="72000">
                          <a:srgbClr val="292929"/>
                        </a:gs>
                      </a:gsLst>
                      <a:lin ang="5400000" scaled="0"/>
                    </a:gradFill>
                    <a:latin typeface="+mn-lt"/>
                    <a:ea typeface="Segoe UI" pitchFamily="34" charset="0"/>
                    <a:cs typeface="Segoe UI" pitchFamily="34" charset="0"/>
                  </a:rPr>
                  <a:t>R:255 G:185 B:0</a:t>
                </a: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Orange</a:t>
                </a:r>
              </a:p>
              <a:p>
                <a:pPr marL="0" algn="l" defTabSz="932472" rtl="0" eaLnBrk="1" fontAlgn="base" latinLnBrk="0" hangingPunct="1">
                  <a:lnSpc>
                    <a:spcPct val="100000"/>
                  </a:lnSpc>
                  <a:spcBef>
                    <a:spcPct val="0"/>
                  </a:spcBef>
                  <a:spcAft>
                    <a:spcPct val="0"/>
                  </a:spcAft>
                </a:pPr>
                <a:r>
                  <a:rPr lang="en-US" sz="500" kern="1200" dirty="0">
                    <a:gradFill>
                      <a:gsLst>
                        <a:gs pos="37168">
                          <a:srgbClr val="292929"/>
                        </a:gs>
                        <a:gs pos="72000">
                          <a:srgbClr val="292929"/>
                        </a:gs>
                      </a:gsLst>
                      <a:lin ang="5400000" scaled="0"/>
                    </a:gradFill>
                    <a:latin typeface="+mn-lt"/>
                    <a:ea typeface="Segoe UI" pitchFamily="34" charset="0"/>
                    <a:cs typeface="Segoe UI" pitchFamily="34" charset="0"/>
                  </a:rPr>
                  <a:t>R:255 G:140 B:0</a:t>
                </a: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Gray</a:t>
                </a:r>
              </a:p>
              <a:p>
                <a:pPr algn="l" defTabSz="932472" fontAlgn="base">
                  <a:lnSpc>
                    <a:spcPct val="100000"/>
                  </a:lnSpc>
                  <a:spcBef>
                    <a:spcPct val="0"/>
                  </a:spcBef>
                  <a:spcAft>
                    <a:spcPct val="0"/>
                  </a:spcAft>
                </a:pPr>
                <a:r>
                  <a:rPr lang="en-US" sz="500" dirty="0">
                    <a:gradFill>
                      <a:gsLst>
                        <a:gs pos="37168">
                          <a:srgbClr val="292929"/>
                        </a:gs>
                        <a:gs pos="72000">
                          <a:srgbClr val="292929"/>
                        </a:gs>
                      </a:gsLst>
                      <a:lin ang="5400000" scaled="0"/>
                    </a:gradFill>
                    <a:ea typeface="Segoe UI" pitchFamily="34" charset="0"/>
                    <a:cs typeface="Segoe UI" pitchFamily="34" charset="0"/>
                  </a:rPr>
                  <a:t>R:</a:t>
                </a:r>
                <a:r>
                  <a:rPr lang="en-US" sz="500" baseline="0" dirty="0">
                    <a:gradFill>
                      <a:gsLst>
                        <a:gs pos="37168">
                          <a:srgbClr val="292929"/>
                        </a:gs>
                        <a:gs pos="72000">
                          <a:srgbClr val="292929"/>
                        </a:gs>
                      </a:gsLst>
                      <a:lin ang="5400000" scaled="0"/>
                    </a:gradFill>
                    <a:ea typeface="Segoe UI" pitchFamily="34" charset="0"/>
                    <a:cs typeface="Segoe UI" pitchFamily="34" charset="0"/>
                  </a:rPr>
                  <a:t>210 G:210 B:210</a:t>
                </a:r>
                <a:endParaRPr lang="en-US" sz="500" dirty="0">
                  <a:gradFill>
                    <a:gsLst>
                      <a:gs pos="37168">
                        <a:srgbClr val="292929"/>
                      </a:gs>
                      <a:gs pos="72000">
                        <a:srgbClr val="292929"/>
                      </a:gs>
                    </a:gsLst>
                    <a:lin ang="5400000" scaled="0"/>
                  </a:gradFill>
                  <a:ea typeface="Segoe UI" pitchFamily="34" charset="0"/>
                  <a:cs typeface="Segoe UI" pitchFamily="34" charset="0"/>
                </a:endParaRPr>
              </a:p>
            </p:txBody>
          </p:sp>
        </p:grpSp>
        <p:sp>
          <p:nvSpPr>
            <p:cNvPr id="28" name="TextBox 27"/>
            <p:cNvSpPr txBox="1"/>
            <p:nvPr userDrawn="1"/>
          </p:nvSpPr>
          <p:spPr>
            <a:xfrm rot="5400000">
              <a:off x="12988035" y="260168"/>
              <a:ext cx="843501" cy="323165"/>
            </a:xfrm>
            <a:prstGeom prst="rect">
              <a:avLst/>
            </a:prstGeom>
            <a:noFill/>
          </p:spPr>
          <p:txBody>
            <a:bodyPr wrap="none" lIns="0" tIns="91440" rIns="182880" bIns="91440" rtlCol="0">
              <a:spAutoFit/>
            </a:bodyPr>
            <a:lstStyle/>
            <a:p>
              <a:pPr marL="0" algn="l" defTabSz="932742" rtl="0" eaLnBrk="1" latinLnBrk="0" hangingPunct="1">
                <a:lnSpc>
                  <a:spcPct val="90000"/>
                </a:lnSpc>
                <a:spcAft>
                  <a:spcPts val="600"/>
                </a:spcAft>
              </a:pPr>
              <a:r>
                <a:rPr lang="en-US" sz="1000" kern="1200" dirty="0">
                  <a:gradFill>
                    <a:gsLst>
                      <a:gs pos="82301">
                        <a:srgbClr val="292929"/>
                      </a:gs>
                      <a:gs pos="62000">
                        <a:srgbClr val="292929"/>
                      </a:gs>
                    </a:gsLst>
                    <a:lin ang="5400000" scaled="0"/>
                  </a:gradFill>
                  <a:latin typeface="+mn-lt"/>
                  <a:ea typeface="+mn-ea"/>
                  <a:cs typeface="+mn-cs"/>
                </a:rPr>
                <a:t>Main colors</a:t>
              </a:r>
            </a:p>
          </p:txBody>
        </p:sp>
        <p:sp>
          <p:nvSpPr>
            <p:cNvPr id="32" name="TextBox 31"/>
            <p:cNvSpPr txBox="1"/>
            <p:nvPr userDrawn="1"/>
          </p:nvSpPr>
          <p:spPr>
            <a:xfrm rot="5400000">
              <a:off x="11742070" y="4230580"/>
              <a:ext cx="2656496" cy="323165"/>
            </a:xfrm>
            <a:prstGeom prst="rect">
              <a:avLst/>
            </a:prstGeom>
            <a:noFill/>
          </p:spPr>
          <p:txBody>
            <a:bodyPr wrap="none" lIns="0" tIns="91440" rIns="182880" bIns="91440" rtlCol="0">
              <a:spAutoFit/>
            </a:bodyPr>
            <a:lstStyle/>
            <a:p>
              <a:pPr marL="0" algn="l" defTabSz="932742" rtl="0" eaLnBrk="1" latinLnBrk="0" hangingPunct="1">
                <a:lnSpc>
                  <a:spcPct val="90000"/>
                </a:lnSpc>
                <a:spcAft>
                  <a:spcPts val="600"/>
                </a:spcAft>
              </a:pPr>
              <a:r>
                <a:rPr lang="en-US" sz="1000" kern="1200" dirty="0">
                  <a:gradFill>
                    <a:gsLst>
                      <a:gs pos="82301">
                        <a:srgbClr val="292929"/>
                      </a:gs>
                      <a:gs pos="62000">
                        <a:srgbClr val="292929"/>
                      </a:gs>
                    </a:gsLst>
                    <a:lin ang="5400000" scaled="0"/>
                  </a:gradFill>
                  <a:latin typeface="+mn-lt"/>
                  <a:ea typeface="+mn-ea"/>
                  <a:cs typeface="+mn-cs"/>
                </a:rPr>
                <a:t>Secondary colors (use only when necessary)</a:t>
              </a:r>
            </a:p>
          </p:txBody>
        </p:sp>
        <p:sp>
          <p:nvSpPr>
            <p:cNvPr id="22" name="Rectangle 21"/>
            <p:cNvSpPr/>
            <p:nvPr userDrawn="1"/>
          </p:nvSpPr>
          <p:spPr bwMode="auto">
            <a:xfrm rot="5400000">
              <a:off x="12328888" y="5187119"/>
              <a:ext cx="869930" cy="289766"/>
            </a:xfrm>
            <a:prstGeom prst="rect">
              <a:avLst/>
            </a:prstGeom>
            <a:solidFill>
              <a:srgbClr val="A8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Red</a:t>
              </a:r>
            </a:p>
            <a:p>
              <a:pPr algn="l" defTabSz="932472"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168 G:0 B:0</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23" name="Rectangle 22"/>
            <p:cNvSpPr/>
            <p:nvPr userDrawn="1"/>
          </p:nvSpPr>
          <p:spPr bwMode="auto">
            <a:xfrm rot="5400000">
              <a:off x="12328888" y="3353997"/>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Light Blue</a:t>
              </a:r>
            </a:p>
            <a:p>
              <a:pPr algn="l" defTabSz="932472"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16</a:t>
              </a:r>
              <a:r>
                <a:rPr lang="en-US" sz="500" baseline="0" dirty="0">
                  <a:gradFill>
                    <a:gsLst>
                      <a:gs pos="2092">
                        <a:srgbClr val="F8F8F8"/>
                      </a:gs>
                      <a:gs pos="10042">
                        <a:srgbClr val="F8F8F8"/>
                      </a:gs>
                    </a:gsLst>
                    <a:lin ang="5400000" scaled="0"/>
                  </a:gradFill>
                  <a:ea typeface="Segoe UI" pitchFamily="34" charset="0"/>
                  <a:cs typeface="Segoe UI" pitchFamily="34" charset="0"/>
                </a:rPr>
                <a:t> G:124 B:16</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24" name="Rectangle 23"/>
            <p:cNvSpPr/>
            <p:nvPr userDrawn="1"/>
          </p:nvSpPr>
          <p:spPr bwMode="auto">
            <a:xfrm rot="5400000">
              <a:off x="12328888" y="4272719"/>
              <a:ext cx="869930" cy="289766"/>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32472"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0 G32 B80</a:t>
              </a:r>
            </a:p>
          </p:txBody>
        </p:sp>
      </p:grpSp>
    </p:spTree>
    <p:extLst>
      <p:ext uri="{BB962C8B-B14F-4D97-AF65-F5344CB8AC3E}">
        <p14:creationId xmlns:p14="http://schemas.microsoft.com/office/powerpoint/2010/main" val="3588427678"/>
      </p:ext>
    </p:extLst>
  </p:cSld>
  <p:clrMap bg1="lt1" tx1="dk1" bg2="lt2" tx2="dk2" accent1="accent1" accent2="accent2" accent3="accent3" accent4="accent4" accent5="accent5" accent6="accent6" hlink="hlink" folHlink="folHlink"/>
  <p:sldLayoutIdLst>
    <p:sldLayoutId id="2147484338" r:id="rId1"/>
    <p:sldLayoutId id="2147484300" r:id="rId2"/>
    <p:sldLayoutId id="2147484295" r:id="rId3"/>
    <p:sldLayoutId id="2147484240" r:id="rId4"/>
    <p:sldLayoutId id="2147484296" r:id="rId5"/>
    <p:sldLayoutId id="2147484241" r:id="rId6"/>
    <p:sldLayoutId id="2147484297" r:id="rId7"/>
    <p:sldLayoutId id="2147484244" r:id="rId8"/>
    <p:sldLayoutId id="2147484298" r:id="rId9"/>
    <p:sldLayoutId id="2147484245" r:id="rId10"/>
    <p:sldLayoutId id="2147484247" r:id="rId11"/>
    <p:sldLayoutId id="2147484331" r:id="rId12"/>
    <p:sldLayoutId id="2147484249" r:id="rId13"/>
    <p:sldLayoutId id="2147484301" r:id="rId14"/>
    <p:sldLayoutId id="2147484251" r:id="rId15"/>
    <p:sldLayoutId id="2147484252" r:id="rId16"/>
    <p:sldLayoutId id="2147484254" r:id="rId17"/>
    <p:sldLayoutId id="2147484257" r:id="rId18"/>
    <p:sldLayoutId id="2147484258" r:id="rId19"/>
    <p:sldLayoutId id="2147484260" r:id="rId20"/>
    <p:sldLayoutId id="2147484299" r:id="rId21"/>
    <p:sldLayoutId id="2147484263" r:id="rId22"/>
    <p:sldLayoutId id="2147484341" r:id="rId23"/>
    <p:sldLayoutId id="2147484344" r:id="rId24"/>
    <p:sldLayoutId id="2147484345" r:id="rId25"/>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userDrawn="1">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userDrawn="1">
          <p15:clr>
            <a:srgbClr val="C35EA4"/>
          </p15:clr>
        </p15:guide>
        <p15:guide id="17" pos="7546" userDrawn="1">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userDrawn="1">
          <p15:clr>
            <a:srgbClr val="5ACBF0"/>
          </p15:clr>
        </p15:guide>
        <p15:guide id="25" orient="horz" pos="302" userDrawn="1">
          <p15:clr>
            <a:srgbClr val="C35EA4"/>
          </p15:clr>
        </p15:guide>
        <p15:guide id="26" orient="horz" pos="4104" userDrawn="1">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ltGray">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marL="342900" marR="0" lvl="0" indent="-342900" algn="l" defTabSz="932742" rtl="0" eaLnBrk="1" fontAlgn="auto" latinLnBrk="0" hangingPunct="1">
              <a:lnSpc>
                <a:spcPct val="90000"/>
              </a:lnSpc>
              <a:spcBef>
                <a:spcPct val="20000"/>
              </a:spcBef>
              <a:spcAft>
                <a:spcPts val="0"/>
              </a:spcAft>
              <a:buClrTx/>
              <a:buSzPct val="90000"/>
              <a:buFont typeface="Arial" pitchFamily="34" charset="0"/>
              <a:buChar char="•"/>
              <a:tabLst/>
            </a:pPr>
            <a:r>
              <a:rPr lang="en-US" dirty="0"/>
              <a:t>Click to edit Master text styles</a:t>
            </a:r>
          </a:p>
          <a:p>
            <a:pPr marL="584200" marR="0" lvl="1" indent="-241300" algn="l" defTabSz="932742" rtl="0" eaLnBrk="1" fontAlgn="auto" latinLnBrk="0" hangingPunct="1">
              <a:lnSpc>
                <a:spcPct val="90000"/>
              </a:lnSpc>
              <a:spcBef>
                <a:spcPct val="20000"/>
              </a:spcBef>
              <a:spcAft>
                <a:spcPts val="0"/>
              </a:spcAft>
              <a:buClrTx/>
              <a:buSzPct val="90000"/>
              <a:buFont typeface="Arial" pitchFamily="34" charset="0"/>
              <a:buChar char="•"/>
              <a:tabLst/>
            </a:pPr>
            <a:r>
              <a:rPr lang="en-US" dirty="0"/>
              <a:t>Second level</a:t>
            </a:r>
          </a:p>
          <a:p>
            <a:pPr lvl="2"/>
            <a:r>
              <a:rPr lang="en-US" dirty="0"/>
              <a:t>Third level</a:t>
            </a:r>
          </a:p>
          <a:p>
            <a:pPr lvl="3"/>
            <a:r>
              <a:rPr lang="en-US" dirty="0"/>
              <a:t>Fourth level</a:t>
            </a:r>
          </a:p>
          <a:p>
            <a:pPr lvl="4"/>
            <a:r>
              <a:rPr lang="en-US" dirty="0"/>
              <a:t>Fifth level</a:t>
            </a:r>
          </a:p>
        </p:txBody>
      </p:sp>
      <p:grpSp>
        <p:nvGrpSpPr>
          <p:cNvPr id="3" name="Group 2"/>
          <p:cNvGrpSpPr/>
          <p:nvPr userDrawn="1"/>
        </p:nvGrpSpPr>
        <p:grpSpPr>
          <a:xfrm>
            <a:off x="12618967" y="0"/>
            <a:ext cx="952401" cy="5766967"/>
            <a:chOff x="12618967" y="0"/>
            <a:chExt cx="952401" cy="5766967"/>
          </a:xfrm>
        </p:grpSpPr>
        <p:grpSp>
          <p:nvGrpSpPr>
            <p:cNvPr id="19" name="Group 18"/>
            <p:cNvGrpSpPr/>
            <p:nvPr userDrawn="1"/>
          </p:nvGrpSpPr>
          <p:grpSpPr>
            <a:xfrm rot="5400000">
              <a:off x="11584220" y="1040742"/>
              <a:ext cx="2698730" cy="629236"/>
              <a:chOff x="1584344" y="4543426"/>
              <a:chExt cx="2698730" cy="629236"/>
            </a:xfrm>
          </p:grpSpPr>
          <p:sp>
            <p:nvSpPr>
              <p:cNvPr id="25" name="Rectangle 24"/>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472" fontAlgn="base">
                  <a:lnSpc>
                    <a:spcPct val="100000"/>
                  </a:lnSpc>
                  <a:spcBef>
                    <a:spcPct val="0"/>
                  </a:spcBef>
                  <a:spcAft>
                    <a:spcPct val="0"/>
                  </a:spcAft>
                </a:pPr>
                <a:r>
                  <a:rPr lang="en-US" sz="500" b="1" kern="1200" baseline="0" dirty="0" err="1">
                    <a:gradFill>
                      <a:gsLst>
                        <a:gs pos="0">
                          <a:srgbClr val="FFFFFF"/>
                        </a:gs>
                        <a:gs pos="100000">
                          <a:srgbClr val="FFFFFF"/>
                        </a:gs>
                      </a:gsLst>
                      <a:lin ang="5400000" scaled="0"/>
                    </a:gradFill>
                    <a:latin typeface="+mn-lt"/>
                    <a:ea typeface="Segoe UI" pitchFamily="34" charset="0"/>
                    <a:cs typeface="Segoe UI" pitchFamily="34" charset="0"/>
                  </a:rPr>
                  <a:t>Oragen</a:t>
                </a:r>
                <a:endPar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endParaRPr>
              </a:p>
              <a:p>
                <a:pPr algn="l" defTabSz="932472" fontAlgn="base">
                  <a:lnSpc>
                    <a:spcPct val="100000"/>
                  </a:lnSpc>
                  <a:spcBef>
                    <a:spcPct val="0"/>
                  </a:spcBef>
                  <a:spcAft>
                    <a:spcPct val="0"/>
                  </a:spcAft>
                </a:pPr>
                <a:r>
                  <a:rPr lang="en-US" sz="500" dirty="0">
                    <a:gradFill>
                      <a:gsLst>
                        <a:gs pos="0">
                          <a:srgbClr val="FFFFFF"/>
                        </a:gs>
                        <a:gs pos="100000">
                          <a:srgbClr val="FFFFFF"/>
                        </a:gs>
                      </a:gsLst>
                      <a:lin ang="5400000" scaled="0"/>
                    </a:gradFill>
                    <a:ea typeface="Segoe UI" pitchFamily="34" charset="0"/>
                    <a:cs typeface="Segoe UI" pitchFamily="34" charset="0"/>
                  </a:rPr>
                  <a:t>R:</a:t>
                </a:r>
                <a:r>
                  <a:rPr lang="en-US" sz="500" baseline="0" dirty="0">
                    <a:gradFill>
                      <a:gsLst>
                        <a:gs pos="0">
                          <a:srgbClr val="FFFFFF"/>
                        </a:gs>
                        <a:gs pos="100000">
                          <a:srgbClr val="FFFFFF"/>
                        </a:gs>
                      </a:gsLst>
                      <a:lin ang="5400000" scaled="0"/>
                    </a:gradFill>
                    <a:ea typeface="Segoe UI" pitchFamily="34" charset="0"/>
                    <a:cs typeface="Segoe UI" pitchFamily="34" charset="0"/>
                  </a:rPr>
                  <a:t>216 G:59 B:1</a:t>
                </a:r>
                <a:endParaRPr lang="en-US" sz="500" dirty="0">
                  <a:gradFill>
                    <a:gsLst>
                      <a:gs pos="0">
                        <a:srgbClr val="FFFFFF"/>
                      </a:gs>
                      <a:gs pos="100000">
                        <a:srgbClr val="FFFFFF"/>
                      </a:gs>
                    </a:gsLst>
                    <a:lin ang="5400000" scaled="0"/>
                  </a:gradFill>
                  <a:ea typeface="Segoe UI" pitchFamily="34" charset="0"/>
                  <a:cs typeface="Segoe UI" pitchFamily="34" charset="0"/>
                </a:endParaRPr>
              </a:p>
            </p:txBody>
          </p:sp>
          <p:sp>
            <p:nvSpPr>
              <p:cNvPr id="26" name="Rectangle 25"/>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472" fontAlgn="base">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marL="0" algn="l" defTabSz="932472" rtl="0" eaLnBrk="1" fontAlgn="base" latinLnBrk="0" hangingPunct="1">
                  <a:lnSpc>
                    <a:spcPct val="100000"/>
                  </a:lnSpc>
                  <a:spcBef>
                    <a:spcPct val="0"/>
                  </a:spcBef>
                  <a:spcAft>
                    <a:spcPct val="0"/>
                  </a:spcAft>
                </a:pPr>
                <a:r>
                  <a:rPr lang="en-US" sz="500" kern="1200" dirty="0">
                    <a:gradFill>
                      <a:gsLst>
                        <a:gs pos="2092">
                          <a:srgbClr val="F8F8F8"/>
                        </a:gs>
                        <a:gs pos="10042">
                          <a:srgbClr val="F8F8F8"/>
                        </a:gs>
                      </a:gsLst>
                      <a:lin ang="5400000" scaled="0"/>
                    </a:gradFill>
                    <a:latin typeface="+mn-lt"/>
                    <a:ea typeface="Segoe UI" pitchFamily="34" charset="0"/>
                    <a:cs typeface="Segoe UI" pitchFamily="34" charset="0"/>
                  </a:rPr>
                  <a:t>R:0 G:120 B:215</a:t>
                </a:r>
              </a:p>
            </p:txBody>
          </p:sp>
          <p:sp>
            <p:nvSpPr>
              <p:cNvPr id="27" name="Rectangle 26"/>
              <p:cNvSpPr/>
              <p:nvPr userDrawn="1"/>
            </p:nvSpPr>
            <p:spPr bwMode="auto">
              <a:xfrm>
                <a:off x="3413144"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Gray</a:t>
                </a:r>
              </a:p>
              <a:p>
                <a:pPr marL="0" algn="l" defTabSz="932472" rtl="0" eaLnBrk="1" fontAlgn="base" latinLnBrk="0" hangingPunct="1">
                  <a:lnSpc>
                    <a:spcPct val="100000"/>
                  </a:lnSpc>
                  <a:spcBef>
                    <a:spcPct val="0"/>
                  </a:spcBef>
                  <a:spcAft>
                    <a:spcPct val="0"/>
                  </a:spcAft>
                </a:pPr>
                <a:r>
                  <a:rPr lang="en-US" sz="500" b="0" kern="1200" baseline="0" dirty="0">
                    <a:gradFill>
                      <a:gsLst>
                        <a:gs pos="37168">
                          <a:srgbClr val="292929"/>
                        </a:gs>
                        <a:gs pos="72000">
                          <a:srgbClr val="292929"/>
                        </a:gs>
                      </a:gsLst>
                      <a:lin ang="5400000" scaled="0"/>
                    </a:gradFill>
                    <a:latin typeface="+mn-lt"/>
                    <a:ea typeface="Segoe UI" pitchFamily="34" charset="0"/>
                    <a:cs typeface="Segoe UI" pitchFamily="34" charset="0"/>
                  </a:rPr>
                  <a:t>R:210 G:210 B:210</a:t>
                </a:r>
              </a:p>
            </p:txBody>
          </p:sp>
          <p:sp>
            <p:nvSpPr>
              <p:cNvPr id="28" name="Rectangle 27"/>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Orange</a:t>
                </a:r>
              </a:p>
              <a:p>
                <a:pPr marL="0" algn="l" defTabSz="932472" rtl="0" eaLnBrk="1" fontAlgn="base" latinLnBrk="0" hangingPunct="1">
                  <a:lnSpc>
                    <a:spcPct val="100000"/>
                  </a:lnSpc>
                  <a:spcBef>
                    <a:spcPct val="0"/>
                  </a:spcBef>
                  <a:spcAft>
                    <a:spcPct val="0"/>
                  </a:spcAft>
                </a:pPr>
                <a:r>
                  <a:rPr lang="en-US" sz="500" kern="1200" dirty="0">
                    <a:gradFill>
                      <a:gsLst>
                        <a:gs pos="37168">
                          <a:srgbClr val="292929"/>
                        </a:gs>
                        <a:gs pos="72000">
                          <a:srgbClr val="292929"/>
                        </a:gs>
                      </a:gsLst>
                      <a:lin ang="5400000" scaled="0"/>
                    </a:gradFill>
                    <a:latin typeface="+mn-lt"/>
                    <a:ea typeface="Segoe UI" pitchFamily="34" charset="0"/>
                    <a:cs typeface="Segoe UI" pitchFamily="34" charset="0"/>
                  </a:rPr>
                  <a:t>R:255 G:140 B:0</a:t>
                </a:r>
              </a:p>
            </p:txBody>
          </p:sp>
          <p:sp>
            <p:nvSpPr>
              <p:cNvPr id="29" name="Rectangle 28"/>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Blue</a:t>
                </a:r>
              </a:p>
              <a:p>
                <a:pPr marL="0" algn="l" defTabSz="932472" rtl="0" eaLnBrk="1" fontAlgn="base" latinLnBrk="0" hangingPunct="1">
                  <a:lnSpc>
                    <a:spcPct val="100000"/>
                  </a:lnSpc>
                  <a:spcBef>
                    <a:spcPct val="0"/>
                  </a:spcBef>
                  <a:spcAft>
                    <a:spcPct val="0"/>
                  </a:spcAft>
                </a:pPr>
                <a:r>
                  <a:rPr lang="en-US" sz="500" b="0" kern="1200" baseline="0" dirty="0">
                    <a:gradFill>
                      <a:gsLst>
                        <a:gs pos="37168">
                          <a:srgbClr val="292929"/>
                        </a:gs>
                        <a:gs pos="72000">
                          <a:srgbClr val="292929"/>
                        </a:gs>
                      </a:gsLst>
                      <a:lin ang="5400000" scaled="0"/>
                    </a:gradFill>
                    <a:latin typeface="+mn-lt"/>
                    <a:ea typeface="Segoe UI" pitchFamily="34" charset="0"/>
                    <a:cs typeface="Segoe UI" pitchFamily="34" charset="0"/>
                  </a:rPr>
                  <a:t>R:16 G:124 B:16</a:t>
                </a:r>
              </a:p>
            </p:txBody>
          </p:sp>
          <p:sp>
            <p:nvSpPr>
              <p:cNvPr id="30" name="Rectangle 29"/>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Yellow</a:t>
                </a:r>
              </a:p>
              <a:p>
                <a:pPr marL="0" algn="l" defTabSz="932472" rtl="0" eaLnBrk="1" fontAlgn="base" latinLnBrk="0" hangingPunct="1">
                  <a:lnSpc>
                    <a:spcPct val="100000"/>
                  </a:lnSpc>
                  <a:spcBef>
                    <a:spcPct val="0"/>
                  </a:spcBef>
                  <a:spcAft>
                    <a:spcPct val="0"/>
                  </a:spcAft>
                </a:pPr>
                <a:r>
                  <a:rPr lang="en-US" sz="500" b="0" kern="1200" baseline="0" dirty="0">
                    <a:gradFill>
                      <a:gsLst>
                        <a:gs pos="37168">
                          <a:srgbClr val="292929"/>
                        </a:gs>
                        <a:gs pos="72000">
                          <a:srgbClr val="292929"/>
                        </a:gs>
                      </a:gsLst>
                      <a:lin ang="5400000" scaled="0"/>
                    </a:gradFill>
                    <a:latin typeface="+mn-lt"/>
                    <a:ea typeface="Segoe UI" pitchFamily="34" charset="0"/>
                    <a:cs typeface="Segoe UI" pitchFamily="34" charset="0"/>
                  </a:rPr>
                  <a:t>R:255 G:185 B:0</a:t>
                </a:r>
              </a:p>
            </p:txBody>
          </p:sp>
        </p:grpSp>
        <p:sp>
          <p:nvSpPr>
            <p:cNvPr id="20" name="TextBox 19"/>
            <p:cNvSpPr txBox="1"/>
            <p:nvPr userDrawn="1"/>
          </p:nvSpPr>
          <p:spPr>
            <a:xfrm rot="5400000">
              <a:off x="12988035" y="260168"/>
              <a:ext cx="843501" cy="323165"/>
            </a:xfrm>
            <a:prstGeom prst="rect">
              <a:avLst/>
            </a:prstGeom>
            <a:noFill/>
          </p:spPr>
          <p:txBody>
            <a:bodyPr wrap="none" lIns="0" tIns="91440" rIns="182880" bIns="91440" rtlCol="0">
              <a:spAutoFit/>
            </a:bodyPr>
            <a:lstStyle/>
            <a:p>
              <a:pPr marL="0" algn="l" defTabSz="932742" rtl="0" eaLnBrk="1" latinLnBrk="0" hangingPunct="1">
                <a:lnSpc>
                  <a:spcPct val="90000"/>
                </a:lnSpc>
                <a:spcAft>
                  <a:spcPts val="600"/>
                </a:spcAft>
              </a:pPr>
              <a:r>
                <a:rPr lang="en-US" sz="1000" kern="1200" dirty="0">
                  <a:gradFill>
                    <a:gsLst>
                      <a:gs pos="82301">
                        <a:srgbClr val="292929"/>
                      </a:gs>
                      <a:gs pos="62000">
                        <a:srgbClr val="292929"/>
                      </a:gs>
                    </a:gsLst>
                    <a:lin ang="5400000" scaled="0"/>
                  </a:gradFill>
                  <a:latin typeface="+mn-lt"/>
                  <a:ea typeface="+mn-ea"/>
                  <a:cs typeface="+mn-cs"/>
                </a:rPr>
                <a:t>Main colors</a:t>
              </a:r>
            </a:p>
          </p:txBody>
        </p:sp>
        <p:sp>
          <p:nvSpPr>
            <p:cNvPr id="21" name="TextBox 20"/>
            <p:cNvSpPr txBox="1"/>
            <p:nvPr userDrawn="1"/>
          </p:nvSpPr>
          <p:spPr>
            <a:xfrm rot="5400000">
              <a:off x="11742070" y="4230580"/>
              <a:ext cx="2656496" cy="323165"/>
            </a:xfrm>
            <a:prstGeom prst="rect">
              <a:avLst/>
            </a:prstGeom>
            <a:noFill/>
          </p:spPr>
          <p:txBody>
            <a:bodyPr wrap="none" lIns="0" tIns="91440" rIns="182880" bIns="91440" rtlCol="0">
              <a:spAutoFit/>
            </a:bodyPr>
            <a:lstStyle/>
            <a:p>
              <a:pPr marL="0" algn="l" defTabSz="932742" rtl="0" eaLnBrk="1" latinLnBrk="0" hangingPunct="1">
                <a:lnSpc>
                  <a:spcPct val="90000"/>
                </a:lnSpc>
                <a:spcAft>
                  <a:spcPts val="600"/>
                </a:spcAft>
              </a:pPr>
              <a:r>
                <a:rPr lang="en-US" sz="1000" kern="1200" dirty="0">
                  <a:gradFill>
                    <a:gsLst>
                      <a:gs pos="82301">
                        <a:srgbClr val="292929"/>
                      </a:gs>
                      <a:gs pos="62000">
                        <a:srgbClr val="292929"/>
                      </a:gs>
                    </a:gsLst>
                    <a:lin ang="5400000" scaled="0"/>
                  </a:gradFill>
                  <a:latin typeface="+mn-lt"/>
                  <a:ea typeface="+mn-ea"/>
                  <a:cs typeface="+mn-cs"/>
                </a:rPr>
                <a:t>Secondary colors (use only when necessary)</a:t>
              </a:r>
            </a:p>
          </p:txBody>
        </p:sp>
        <p:sp>
          <p:nvSpPr>
            <p:cNvPr id="22" name="Rectangle 21"/>
            <p:cNvSpPr/>
            <p:nvPr userDrawn="1"/>
          </p:nvSpPr>
          <p:spPr bwMode="auto">
            <a:xfrm rot="5400000">
              <a:off x="12328888" y="5187119"/>
              <a:ext cx="869930" cy="289766"/>
            </a:xfrm>
            <a:prstGeom prst="rect">
              <a:avLst/>
            </a:prstGeom>
            <a:solidFill>
              <a:srgbClr val="BAD80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Green </a:t>
              </a:r>
            </a:p>
            <a:p>
              <a:pPr marL="0" algn="l" defTabSz="932472" rtl="0" eaLnBrk="1" fontAlgn="base" latinLnBrk="0" hangingPunct="1">
                <a:lnSpc>
                  <a:spcPct val="100000"/>
                </a:lnSpc>
                <a:spcBef>
                  <a:spcPct val="0"/>
                </a:spcBef>
                <a:spcAft>
                  <a:spcPct val="0"/>
                </a:spcAft>
              </a:pPr>
              <a:r>
                <a:rPr lang="en-US" sz="500" b="0" kern="1200" baseline="0" dirty="0">
                  <a:gradFill>
                    <a:gsLst>
                      <a:gs pos="37168">
                        <a:srgbClr val="292929"/>
                      </a:gs>
                      <a:gs pos="72000">
                        <a:srgbClr val="292929"/>
                      </a:gs>
                    </a:gsLst>
                    <a:lin ang="5400000" scaled="0"/>
                  </a:gradFill>
                  <a:latin typeface="+mn-lt"/>
                  <a:ea typeface="Segoe UI" pitchFamily="34" charset="0"/>
                  <a:cs typeface="Segoe UI" pitchFamily="34" charset="0"/>
                </a:rPr>
                <a:t>R:168 G:216 B:10</a:t>
              </a:r>
            </a:p>
          </p:txBody>
        </p:sp>
        <p:sp>
          <p:nvSpPr>
            <p:cNvPr id="31" name="Rectangle 30"/>
            <p:cNvSpPr/>
            <p:nvPr userDrawn="1"/>
          </p:nvSpPr>
          <p:spPr bwMode="auto">
            <a:xfrm rot="5400000">
              <a:off x="12328888" y="4270558"/>
              <a:ext cx="869930" cy="289766"/>
            </a:xfrm>
            <a:prstGeom prst="rect">
              <a:avLst/>
            </a:prstGeom>
            <a:solidFill>
              <a:srgbClr val="A8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Red</a:t>
              </a:r>
            </a:p>
            <a:p>
              <a:pPr algn="l" defTabSz="932472"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168 G:0 B:0</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32" name="Rectangle 31"/>
            <p:cNvSpPr/>
            <p:nvPr userDrawn="1"/>
          </p:nvSpPr>
          <p:spPr bwMode="auto">
            <a:xfrm rot="5400000">
              <a:off x="12328888" y="3353997"/>
              <a:ext cx="869930" cy="289766"/>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32472"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0 G32 B80</a:t>
              </a:r>
            </a:p>
          </p:txBody>
        </p:sp>
      </p:grpSp>
    </p:spTree>
    <p:extLst>
      <p:ext uri="{BB962C8B-B14F-4D97-AF65-F5344CB8AC3E}">
        <p14:creationId xmlns:p14="http://schemas.microsoft.com/office/powerpoint/2010/main" val="1249032989"/>
      </p:ext>
    </p:extLst>
  </p:cSld>
  <p:clrMap bg1="dk1" tx1="lt1" bg2="dk2" tx2="lt2" accent1="accent1" accent2="accent2" accent3="accent3" accent4="accent4" accent5="accent5" accent6="accent6" hlink="hlink" folHlink="folHlink"/>
  <p:sldLayoutIdLst>
    <p:sldLayoutId id="2147484339" r:id="rId1"/>
    <p:sldLayoutId id="2147484340" r:id="rId2"/>
    <p:sldLayoutId id="2147484311" r:id="rId3"/>
    <p:sldLayoutId id="2147484312" r:id="rId4"/>
    <p:sldLayoutId id="2147484313" r:id="rId5"/>
    <p:sldLayoutId id="2147484314" r:id="rId6"/>
    <p:sldLayoutId id="2147484315" r:id="rId7"/>
    <p:sldLayoutId id="2147484332" r:id="rId8"/>
    <p:sldLayoutId id="2147484333" r:id="rId9"/>
    <p:sldLayoutId id="2147484334" r:id="rId10"/>
    <p:sldLayoutId id="2147484335" r:id="rId11"/>
    <p:sldLayoutId id="2147484336" r:id="rId12"/>
    <p:sldLayoutId id="2147484323" r:id="rId13"/>
    <p:sldLayoutId id="2147484324" r:id="rId14"/>
    <p:sldLayoutId id="2147484325" r:id="rId15"/>
    <p:sldLayoutId id="2147484326" r:id="rId16"/>
    <p:sldLayoutId id="2147484327" r:id="rId17"/>
    <p:sldLayoutId id="2147484328" r:id="rId18"/>
    <p:sldLayoutId id="2147484343" r:id="rId19"/>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lang="en-US" sz="4000" kern="1200" spc="0" baseline="0" dirty="0" smtClean="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lang="en-US" sz="2400" kern="1200" spc="0" baseline="0" dirty="0" smtClean="0">
          <a:gradFill>
            <a:gsLst>
              <a:gs pos="1250">
                <a:schemeClr val="tx1"/>
              </a:gs>
              <a:gs pos="100000">
                <a:schemeClr val="tx1"/>
              </a:gs>
            </a:gsLst>
            <a:lin ang="5400000" scaled="0"/>
          </a:gradFill>
          <a:latin typeface="+mn-lt"/>
          <a:ea typeface="+mn-ea"/>
          <a:cs typeface="Segoe UI" panose="020B0502040204020203" pitchFamily="34" charset="0"/>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Segoe UI" panose="020B0502040204020203" pitchFamily="34" charset="0"/>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Segoe UI" panose="020B0502040204020203" pitchFamily="34" charset="0"/>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Segoe UI" panose="020B0502040204020203" pitchFamily="34"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userDrawn="1">
          <p15:clr>
            <a:srgbClr val="C35EA4"/>
          </p15:clr>
        </p15:guide>
        <p15:guide id="17" pos="7546" userDrawn="1">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userDrawn="1">
          <p15:clr>
            <a:srgbClr val="C35EA4"/>
          </p15:clr>
        </p15:guide>
        <p15:guide id="26" orient="horz" pos="4104" userDrawn="1">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00.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36.xml"/></Relationships>
</file>

<file path=ppt/slides/_rels/slide101.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37.xml"/></Relationships>
</file>

<file path=ppt/slides/_rels/slide102.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41.xml"/></Relationships>
</file>

<file path=ppt/slides/_rels/slide103.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43.xml"/></Relationships>
</file>

<file path=ppt/slides/_rels/slide104.xml.rels><?xml version="1.0" encoding="UTF-8" standalone="yes"?>
<Relationships xmlns="http://schemas.openxmlformats.org/package/2006/relationships"><Relationship Id="rId3" Type="http://schemas.openxmlformats.org/officeDocument/2006/relationships/hyperlink" Target="http://myignite.microsoft.com/" TargetMode="External"/><Relationship Id="rId2" Type="http://schemas.openxmlformats.org/officeDocument/2006/relationships/notesSlide" Target="../notesSlides/notesSlide47.xml"/><Relationship Id="rId1" Type="http://schemas.openxmlformats.org/officeDocument/2006/relationships/slideLayout" Target="../slideLayouts/slideLayout39.xml"/><Relationship Id="rId6" Type="http://schemas.openxmlformats.org/officeDocument/2006/relationships/image" Target="../media/image88.png"/><Relationship Id="rId5" Type="http://schemas.openxmlformats.org/officeDocument/2006/relationships/image" Target="../media/image87.jpg"/><Relationship Id="rId4" Type="http://schemas.openxmlformats.org/officeDocument/2006/relationships/hyperlink" Target="https://aka.ms/ignite.mobileapp" TargetMode="External"/></Relationships>
</file>

<file path=ppt/slides/_rels/slide105.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4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24.png"/><Relationship Id="rId1" Type="http://schemas.openxmlformats.org/officeDocument/2006/relationships/slideLayout" Target="../slideLayouts/slideLayout15.xml"/></Relationships>
</file>

<file path=ppt/slides/_rels/slide14.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image" Target="../media/image26.png"/><Relationship Id="rId7" Type="http://schemas.openxmlformats.org/officeDocument/2006/relationships/image" Target="../media/image30.png"/><Relationship Id="rId12" Type="http://schemas.openxmlformats.org/officeDocument/2006/relationships/image" Target="../media/image35.png"/><Relationship Id="rId2" Type="http://schemas.openxmlformats.org/officeDocument/2006/relationships/image" Target="../media/image25.png"/><Relationship Id="rId1" Type="http://schemas.openxmlformats.org/officeDocument/2006/relationships/slideLayout" Target="../slideLayouts/slideLayout6.xml"/><Relationship Id="rId6" Type="http://schemas.openxmlformats.org/officeDocument/2006/relationships/image" Target="../media/image29.png"/><Relationship Id="rId11" Type="http://schemas.openxmlformats.org/officeDocument/2006/relationships/image" Target="../media/image34.png"/><Relationship Id="rId5" Type="http://schemas.openxmlformats.org/officeDocument/2006/relationships/image" Target="../media/image28.png"/><Relationship Id="rId10" Type="http://schemas.openxmlformats.org/officeDocument/2006/relationships/image" Target="../media/image33.png"/><Relationship Id="rId4" Type="http://schemas.openxmlformats.org/officeDocument/2006/relationships/image" Target="../media/image27.png"/><Relationship Id="rId9" Type="http://schemas.openxmlformats.org/officeDocument/2006/relationships/image" Target="../media/image32.png"/></Relationships>
</file>

<file path=ppt/slides/_rels/slide15.xml.rels><?xml version="1.0" encoding="UTF-8" standalone="yes"?>
<Relationships xmlns="http://schemas.openxmlformats.org/package/2006/relationships"><Relationship Id="rId8" Type="http://schemas.openxmlformats.org/officeDocument/2006/relationships/image" Target="../media/image42.png"/><Relationship Id="rId3" Type="http://schemas.openxmlformats.org/officeDocument/2006/relationships/image" Target="../media/image37.png"/><Relationship Id="rId7" Type="http://schemas.openxmlformats.org/officeDocument/2006/relationships/image" Target="../media/image41.png"/><Relationship Id="rId2" Type="http://schemas.openxmlformats.org/officeDocument/2006/relationships/image" Target="../media/image36.png"/><Relationship Id="rId1" Type="http://schemas.openxmlformats.org/officeDocument/2006/relationships/slideLayout" Target="../slideLayouts/slideLayout3.xml"/><Relationship Id="rId6" Type="http://schemas.openxmlformats.org/officeDocument/2006/relationships/image" Target="../media/image40.png"/><Relationship Id="rId5" Type="http://schemas.openxmlformats.org/officeDocument/2006/relationships/image" Target="../media/image39.png"/><Relationship Id="rId4" Type="http://schemas.openxmlformats.org/officeDocument/2006/relationships/image" Target="../media/image38.png"/><Relationship Id="rId9" Type="http://schemas.openxmlformats.org/officeDocument/2006/relationships/image" Target="../media/image43.png"/></Relationships>
</file>

<file path=ppt/slides/_rels/slide16.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png"/><Relationship Id="rId1" Type="http://schemas.openxmlformats.org/officeDocument/2006/relationships/slideLayout" Target="../slideLayouts/slideLayout3.xml"/><Relationship Id="rId4" Type="http://schemas.openxmlformats.org/officeDocument/2006/relationships/image" Target="../media/image46.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7.png"/><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image" Target="../media/image8.wmf"/><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Layout" Target="../slideLayouts/slideLayout3.xml"/><Relationship Id="rId4" Type="http://schemas.openxmlformats.org/officeDocument/2006/relationships/image" Target="../media/image51.png"/></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52.png"/><Relationship Id="rId1" Type="http://schemas.openxmlformats.org/officeDocument/2006/relationships/slideLayout" Target="../slideLayouts/slideLayout15.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9.xml"/></Relationships>
</file>

<file path=ppt/slides/_rels/slide26.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9.xml"/><Relationship Id="rId1" Type="http://schemas.openxmlformats.org/officeDocument/2006/relationships/slideLayout" Target="../slideLayouts/slideLayout32.xml"/><Relationship Id="rId5" Type="http://schemas.openxmlformats.org/officeDocument/2006/relationships/image" Target="../media/image55.png"/><Relationship Id="rId4" Type="http://schemas.openxmlformats.org/officeDocument/2006/relationships/image" Target="../media/image54.jpeg"/></Relationships>
</file>

<file path=ppt/slides/_rels/slide27.xml.rels><?xml version="1.0" encoding="UTF-8" standalone="yes"?>
<Relationships xmlns="http://schemas.openxmlformats.org/package/2006/relationships"><Relationship Id="rId3" Type="http://schemas.openxmlformats.org/officeDocument/2006/relationships/image" Target="../media/image56.png"/><Relationship Id="rId7" Type="http://schemas.microsoft.com/office/2007/relationships/hdphoto" Target="../media/hdphoto5.wdp"/><Relationship Id="rId2" Type="http://schemas.openxmlformats.org/officeDocument/2006/relationships/notesSlide" Target="../notesSlides/notesSlide10.xml"/><Relationship Id="rId1" Type="http://schemas.openxmlformats.org/officeDocument/2006/relationships/slideLayout" Target="../slideLayouts/slideLayout32.xml"/><Relationship Id="rId6" Type="http://schemas.openxmlformats.org/officeDocument/2006/relationships/image" Target="../media/image58.png"/><Relationship Id="rId5" Type="http://schemas.microsoft.com/office/2007/relationships/hdphoto" Target="../media/hdphoto4.wdp"/><Relationship Id="rId4" Type="http://schemas.openxmlformats.org/officeDocument/2006/relationships/image" Target="../media/image57.png"/></Relationships>
</file>

<file path=ppt/slides/_rels/slide28.xml.rels><?xml version="1.0" encoding="UTF-8" standalone="yes"?>
<Relationships xmlns="http://schemas.openxmlformats.org/package/2006/relationships"><Relationship Id="rId8" Type="http://schemas.openxmlformats.org/officeDocument/2006/relationships/image" Target="../media/image63.png"/><Relationship Id="rId13" Type="http://schemas.openxmlformats.org/officeDocument/2006/relationships/image" Target="../media/image68.png"/><Relationship Id="rId18" Type="http://schemas.openxmlformats.org/officeDocument/2006/relationships/image" Target="../media/image73.png"/><Relationship Id="rId26" Type="http://schemas.openxmlformats.org/officeDocument/2006/relationships/image" Target="../media/image81.png"/><Relationship Id="rId3" Type="http://schemas.microsoft.com/office/2007/relationships/hdphoto" Target="../media/hdphoto6.wdp"/><Relationship Id="rId21" Type="http://schemas.openxmlformats.org/officeDocument/2006/relationships/image" Target="../media/image76.png"/><Relationship Id="rId7" Type="http://schemas.openxmlformats.org/officeDocument/2006/relationships/image" Target="../media/image62.png"/><Relationship Id="rId12" Type="http://schemas.openxmlformats.org/officeDocument/2006/relationships/image" Target="../media/image67.png"/><Relationship Id="rId17" Type="http://schemas.openxmlformats.org/officeDocument/2006/relationships/image" Target="../media/image72.png"/><Relationship Id="rId25" Type="http://schemas.openxmlformats.org/officeDocument/2006/relationships/image" Target="../media/image80.png"/><Relationship Id="rId2" Type="http://schemas.openxmlformats.org/officeDocument/2006/relationships/image" Target="../media/image59.png"/><Relationship Id="rId16" Type="http://schemas.openxmlformats.org/officeDocument/2006/relationships/image" Target="../media/image71.jpeg"/><Relationship Id="rId20" Type="http://schemas.openxmlformats.org/officeDocument/2006/relationships/image" Target="../media/image75.png"/><Relationship Id="rId29" Type="http://schemas.microsoft.com/office/2007/relationships/hdphoto" Target="../media/hdphoto8.wdp"/><Relationship Id="rId1" Type="http://schemas.openxmlformats.org/officeDocument/2006/relationships/slideLayout" Target="../slideLayouts/slideLayout32.xml"/><Relationship Id="rId6" Type="http://schemas.microsoft.com/office/2007/relationships/hdphoto" Target="../media/hdphoto7.wdp"/><Relationship Id="rId11" Type="http://schemas.openxmlformats.org/officeDocument/2006/relationships/image" Target="../media/image66.png"/><Relationship Id="rId24" Type="http://schemas.openxmlformats.org/officeDocument/2006/relationships/image" Target="../media/image79.png"/><Relationship Id="rId5" Type="http://schemas.openxmlformats.org/officeDocument/2006/relationships/image" Target="../media/image61.png"/><Relationship Id="rId15" Type="http://schemas.openxmlformats.org/officeDocument/2006/relationships/image" Target="../media/image70.png"/><Relationship Id="rId23" Type="http://schemas.openxmlformats.org/officeDocument/2006/relationships/image" Target="../media/image78.png"/><Relationship Id="rId28" Type="http://schemas.openxmlformats.org/officeDocument/2006/relationships/image" Target="../media/image82.png"/><Relationship Id="rId10" Type="http://schemas.openxmlformats.org/officeDocument/2006/relationships/image" Target="../media/image65.png"/><Relationship Id="rId19" Type="http://schemas.openxmlformats.org/officeDocument/2006/relationships/image" Target="../media/image74.png"/><Relationship Id="rId4" Type="http://schemas.openxmlformats.org/officeDocument/2006/relationships/image" Target="../media/image60.png"/><Relationship Id="rId9" Type="http://schemas.openxmlformats.org/officeDocument/2006/relationships/image" Target="../media/image64.png"/><Relationship Id="rId14" Type="http://schemas.openxmlformats.org/officeDocument/2006/relationships/image" Target="../media/image69.png"/><Relationship Id="rId22" Type="http://schemas.openxmlformats.org/officeDocument/2006/relationships/image" Target="../media/image77.png"/><Relationship Id="rId27" Type="http://schemas.openxmlformats.org/officeDocument/2006/relationships/hyperlink" Target="https://www.flickr.com/photos/125303894@N06/" TargetMode="External"/><Relationship Id="rId30" Type="http://schemas.openxmlformats.org/officeDocument/2006/relationships/image" Target="../media/image83.png"/></Relationships>
</file>

<file path=ppt/slides/_rels/slide29.xml.rels><?xml version="1.0" encoding="UTF-8" standalone="yes"?>
<Relationships xmlns="http://schemas.openxmlformats.org/package/2006/relationships"><Relationship Id="rId8" Type="http://schemas.microsoft.com/office/2007/relationships/hdphoto" Target="../media/hdphoto7.wdp"/><Relationship Id="rId13" Type="http://schemas.openxmlformats.org/officeDocument/2006/relationships/image" Target="../media/image66.png"/><Relationship Id="rId18" Type="http://schemas.openxmlformats.org/officeDocument/2006/relationships/image" Target="../media/image71.jpeg"/><Relationship Id="rId26" Type="http://schemas.openxmlformats.org/officeDocument/2006/relationships/image" Target="../media/image79.png"/><Relationship Id="rId3" Type="http://schemas.microsoft.com/office/2007/relationships/hdphoto" Target="../media/hdphoto9.wdp"/><Relationship Id="rId21" Type="http://schemas.openxmlformats.org/officeDocument/2006/relationships/image" Target="../media/image74.png"/><Relationship Id="rId7" Type="http://schemas.openxmlformats.org/officeDocument/2006/relationships/image" Target="../media/image61.png"/><Relationship Id="rId12" Type="http://schemas.openxmlformats.org/officeDocument/2006/relationships/image" Target="../media/image65.png"/><Relationship Id="rId17" Type="http://schemas.openxmlformats.org/officeDocument/2006/relationships/image" Target="../media/image70.png"/><Relationship Id="rId25" Type="http://schemas.openxmlformats.org/officeDocument/2006/relationships/image" Target="../media/image78.png"/><Relationship Id="rId2" Type="http://schemas.openxmlformats.org/officeDocument/2006/relationships/image" Target="../media/image84.png"/><Relationship Id="rId16" Type="http://schemas.openxmlformats.org/officeDocument/2006/relationships/image" Target="../media/image69.png"/><Relationship Id="rId20" Type="http://schemas.openxmlformats.org/officeDocument/2006/relationships/image" Target="../media/image73.png"/><Relationship Id="rId29" Type="http://schemas.openxmlformats.org/officeDocument/2006/relationships/hyperlink" Target="https://www.flickr.com/photos/125303894@N06/" TargetMode="External"/><Relationship Id="rId1" Type="http://schemas.openxmlformats.org/officeDocument/2006/relationships/slideLayout" Target="../slideLayouts/slideLayout32.xml"/><Relationship Id="rId6" Type="http://schemas.openxmlformats.org/officeDocument/2006/relationships/image" Target="../media/image60.png"/><Relationship Id="rId11" Type="http://schemas.openxmlformats.org/officeDocument/2006/relationships/image" Target="../media/image64.png"/><Relationship Id="rId24" Type="http://schemas.openxmlformats.org/officeDocument/2006/relationships/image" Target="../media/image77.png"/><Relationship Id="rId5" Type="http://schemas.microsoft.com/office/2007/relationships/hdphoto" Target="../media/hdphoto6.wdp"/><Relationship Id="rId15" Type="http://schemas.openxmlformats.org/officeDocument/2006/relationships/image" Target="../media/image68.png"/><Relationship Id="rId23" Type="http://schemas.openxmlformats.org/officeDocument/2006/relationships/image" Target="../media/image76.png"/><Relationship Id="rId28" Type="http://schemas.openxmlformats.org/officeDocument/2006/relationships/image" Target="../media/image81.png"/><Relationship Id="rId10" Type="http://schemas.openxmlformats.org/officeDocument/2006/relationships/image" Target="../media/image63.png"/><Relationship Id="rId19" Type="http://schemas.openxmlformats.org/officeDocument/2006/relationships/image" Target="../media/image72.png"/><Relationship Id="rId31" Type="http://schemas.microsoft.com/office/2007/relationships/hdphoto" Target="../media/hdphoto8.wdp"/><Relationship Id="rId4" Type="http://schemas.openxmlformats.org/officeDocument/2006/relationships/image" Target="../media/image59.png"/><Relationship Id="rId9" Type="http://schemas.openxmlformats.org/officeDocument/2006/relationships/image" Target="../media/image62.png"/><Relationship Id="rId14" Type="http://schemas.openxmlformats.org/officeDocument/2006/relationships/image" Target="../media/image67.png"/><Relationship Id="rId22" Type="http://schemas.openxmlformats.org/officeDocument/2006/relationships/image" Target="../media/image75.png"/><Relationship Id="rId27" Type="http://schemas.openxmlformats.org/officeDocument/2006/relationships/image" Target="../media/image80.png"/><Relationship Id="rId30" Type="http://schemas.openxmlformats.org/officeDocument/2006/relationships/image" Target="../media/image82.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9.xml"/></Relationships>
</file>

<file path=ppt/slides/_rels/slide30.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85.png"/><Relationship Id="rId1" Type="http://schemas.openxmlformats.org/officeDocument/2006/relationships/slideLayout" Target="../slideLayouts/slideLayout32.xml"/><Relationship Id="rId4" Type="http://schemas.openxmlformats.org/officeDocument/2006/relationships/hyperlink" Target="https://www.flickr.com/photos/125303894@N06/" TargetMode="External"/></Relationships>
</file>

<file path=ppt/slides/_rels/slide31.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85.png"/><Relationship Id="rId1" Type="http://schemas.openxmlformats.org/officeDocument/2006/relationships/slideLayout" Target="../slideLayouts/slideLayout32.xml"/><Relationship Id="rId4" Type="http://schemas.openxmlformats.org/officeDocument/2006/relationships/hyperlink" Target="https://www.flickr.com/photos/125303894@N06/" TargetMode="Externa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2.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2.xml"/></Relationships>
</file>

<file path=ppt/slides/_rels/slide34.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13.xml"/><Relationship Id="rId1" Type="http://schemas.openxmlformats.org/officeDocument/2006/relationships/slideLayout" Target="../slideLayouts/slideLayout32.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9.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9.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9.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9.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6.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9.xml"/></Relationships>
</file>

<file path=ppt/slides/_rels/slide40.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hyperlink" Target="https://www.flickr.com/photos/125303894@N06/" TargetMode="External"/><Relationship Id="rId1" Type="http://schemas.openxmlformats.org/officeDocument/2006/relationships/slideLayout" Target="../slideLayouts/slideLayout32.xml"/><Relationship Id="rId4" Type="http://schemas.microsoft.com/office/2007/relationships/hdphoto" Target="../media/hdphoto8.wdp"/></Relationships>
</file>

<file path=ppt/slides/_rels/slide41.xml.rels><?xml version="1.0" encoding="UTF-8" standalone="yes"?>
<Relationships xmlns="http://schemas.openxmlformats.org/package/2006/relationships"><Relationship Id="rId3" Type="http://schemas.openxmlformats.org/officeDocument/2006/relationships/hyperlink" Target="http://myignite.microsoft.com/" TargetMode="External"/><Relationship Id="rId2" Type="http://schemas.openxmlformats.org/officeDocument/2006/relationships/notesSlide" Target="../notesSlides/notesSlide19.xml"/><Relationship Id="rId1" Type="http://schemas.openxmlformats.org/officeDocument/2006/relationships/slideLayout" Target="../slideLayouts/slideLayout18.xml"/><Relationship Id="rId6" Type="http://schemas.openxmlformats.org/officeDocument/2006/relationships/image" Target="../media/image88.png"/><Relationship Id="rId5" Type="http://schemas.openxmlformats.org/officeDocument/2006/relationships/image" Target="../media/image87.jpg"/><Relationship Id="rId4" Type="http://schemas.openxmlformats.org/officeDocument/2006/relationships/hyperlink" Target="https://aka.ms/ignite.mobileapp" TargetMode="External"/></Relationships>
</file>

<file path=ppt/slides/_rels/slide42.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image" Target="../media/image89.png"/><Relationship Id="rId1" Type="http://schemas.openxmlformats.org/officeDocument/2006/relationships/slideLayout" Target="../slideLayouts/slideLayout6.xml"/><Relationship Id="rId4" Type="http://schemas.openxmlformats.org/officeDocument/2006/relationships/image" Target="../media/image91.png"/></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4.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92.jpeg"/><Relationship Id="rId1" Type="http://schemas.openxmlformats.org/officeDocument/2006/relationships/slideLayout" Target="../slideLayouts/slideLayout23.xml"/><Relationship Id="rId5" Type="http://schemas.openxmlformats.org/officeDocument/2006/relationships/image" Target="../media/image95.png"/><Relationship Id="rId4" Type="http://schemas.openxmlformats.org/officeDocument/2006/relationships/image" Target="../media/image94.png"/></Relationships>
</file>

<file path=ppt/slides/_rels/slide45.xml.rels><?xml version="1.0" encoding="UTF-8" standalone="yes"?>
<Relationships xmlns="http://schemas.openxmlformats.org/package/2006/relationships"><Relationship Id="rId3" Type="http://schemas.openxmlformats.org/officeDocument/2006/relationships/image" Target="../media/image96.jpeg"/><Relationship Id="rId2" Type="http://schemas.openxmlformats.org/officeDocument/2006/relationships/notesSlide" Target="../notesSlides/notesSlide20.xml"/><Relationship Id="rId1" Type="http://schemas.openxmlformats.org/officeDocument/2006/relationships/slideLayout" Target="../slideLayouts/slideLayout6.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9.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9.png"/><Relationship Id="rId1" Type="http://schemas.openxmlformats.org/officeDocument/2006/relationships/slideLayout" Target="../slideLayouts/slideLayout15.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7.xml.rels><?xml version="1.0" encoding="UTF-8" standalone="yes"?>
<Relationships xmlns="http://schemas.openxmlformats.org/package/2006/relationships"><Relationship Id="rId8" Type="http://schemas.openxmlformats.org/officeDocument/2006/relationships/image" Target="../media/image12.png"/><Relationship Id="rId13" Type="http://schemas.openxmlformats.org/officeDocument/2006/relationships/image" Target="../media/image17.png"/><Relationship Id="rId3" Type="http://schemas.openxmlformats.org/officeDocument/2006/relationships/tags" Target="../tags/tag3.xml"/><Relationship Id="rId7" Type="http://schemas.openxmlformats.org/officeDocument/2006/relationships/image" Target="../media/image11.png"/><Relationship Id="rId12" Type="http://schemas.openxmlformats.org/officeDocument/2006/relationships/image" Target="../media/image16.png"/><Relationship Id="rId2" Type="http://schemas.openxmlformats.org/officeDocument/2006/relationships/tags" Target="../tags/tag2.xml"/><Relationship Id="rId16" Type="http://schemas.openxmlformats.org/officeDocument/2006/relationships/image" Target="../media/image20.png"/><Relationship Id="rId1" Type="http://schemas.openxmlformats.org/officeDocument/2006/relationships/tags" Target="../tags/tag1.xml"/><Relationship Id="rId6" Type="http://schemas.openxmlformats.org/officeDocument/2006/relationships/image" Target="../media/image10.png"/><Relationship Id="rId11" Type="http://schemas.openxmlformats.org/officeDocument/2006/relationships/image" Target="../media/image15.png"/><Relationship Id="rId5" Type="http://schemas.openxmlformats.org/officeDocument/2006/relationships/notesSlide" Target="../notesSlides/notesSlide6.xml"/><Relationship Id="rId15" Type="http://schemas.openxmlformats.org/officeDocument/2006/relationships/image" Target="../media/image19.png"/><Relationship Id="rId10" Type="http://schemas.openxmlformats.org/officeDocument/2006/relationships/image" Target="../media/image14.wmf"/><Relationship Id="rId4" Type="http://schemas.openxmlformats.org/officeDocument/2006/relationships/slideLayout" Target="../slideLayouts/slideLayout6.xml"/><Relationship Id="rId9" Type="http://schemas.openxmlformats.org/officeDocument/2006/relationships/image" Target="../media/image13.png"/><Relationship Id="rId14" Type="http://schemas.openxmlformats.org/officeDocument/2006/relationships/image" Target="../media/image18.png"/></Relationships>
</file>

<file path=ppt/slides/_rels/slide70.xml.rels><?xml version="1.0" encoding="UTF-8" standalone="yes"?>
<Relationships xmlns="http://schemas.openxmlformats.org/package/2006/relationships"><Relationship Id="rId3" Type="http://schemas.openxmlformats.org/officeDocument/2006/relationships/image" Target="../media/image97.emf"/><Relationship Id="rId2" Type="http://schemas.openxmlformats.org/officeDocument/2006/relationships/notesSlide" Target="../notesSlides/notesSlide21.xml"/><Relationship Id="rId1" Type="http://schemas.openxmlformats.org/officeDocument/2006/relationships/slideLayout" Target="../slideLayouts/slideLayout19.xml"/><Relationship Id="rId5" Type="http://schemas.openxmlformats.org/officeDocument/2006/relationships/hyperlink" Target="mailto:musovid@microsoft.com" TargetMode="External"/><Relationship Id="rId4" Type="http://schemas.openxmlformats.org/officeDocument/2006/relationships/hyperlink" Target="mailto:mediaacq@microsoft.com" TargetMode="Externa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72.xml.rels><?xml version="1.0" encoding="UTF-8" standalone="yes"?>
<Relationships xmlns="http://schemas.openxmlformats.org/package/2006/relationships"><Relationship Id="rId8" Type="http://schemas.openxmlformats.org/officeDocument/2006/relationships/hyperlink" Target="http://www.gettyimages.com/creativeimages/royaltyfree" TargetMode="External"/><Relationship Id="rId3" Type="http://schemas.openxmlformats.org/officeDocument/2006/relationships/hyperlink" Target="https://brandtools.microsoft.com/Resources/Pages/Presentation_guidelines.aspx" TargetMode="External"/><Relationship Id="rId7" Type="http://schemas.openxmlformats.org/officeDocument/2006/relationships/hyperlink" Target="http://www.superstock.com/" TargetMode="External"/><Relationship Id="rId2" Type="http://schemas.openxmlformats.org/officeDocument/2006/relationships/hyperlink" Target="https://brandtools.microsoft.com/Pages/Home.aspx" TargetMode="External"/><Relationship Id="rId1" Type="http://schemas.openxmlformats.org/officeDocument/2006/relationships/slideLayout" Target="../slideLayouts/slideLayout19.xml"/><Relationship Id="rId6" Type="http://schemas.openxmlformats.org/officeDocument/2006/relationships/hyperlink" Target="https://microsoft.sharepoint.com/sites/lcaweb/home" TargetMode="External"/><Relationship Id="rId5" Type="http://schemas.openxmlformats.org/officeDocument/2006/relationships/hyperlink" Target="https://brandtools.microsoft.com/Search/Results.aspx?k=illustration&amp;r=1" TargetMode="External"/><Relationship Id="rId10" Type="http://schemas.openxmlformats.org/officeDocument/2006/relationships/hyperlink" Target="mailto:ImageAcq@Microsoft.com" TargetMode="External"/><Relationship Id="rId4" Type="http://schemas.openxmlformats.org/officeDocument/2006/relationships/hyperlink" Target="https://brandtools.microsoft.com/Search/Results.aspx?k=photography&amp;r=1" TargetMode="External"/><Relationship Id="rId9" Type="http://schemas.openxmlformats.org/officeDocument/2006/relationships/hyperlink" Target="http://www.corbisimages.com/stock-photo/royalty-free" TargetMode="External"/></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3.xml"/></Relationships>
</file>

<file path=ppt/slides/_rels/slide74.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4.xml"/></Relationships>
</file>

<file path=ppt/slides/_rels/slide75.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notesSlide" Target="../notesSlides/notesSlide24.xml"/><Relationship Id="rId1" Type="http://schemas.openxmlformats.org/officeDocument/2006/relationships/slideLayout" Target="../slideLayouts/slideLayout3.xml"/></Relationships>
</file>

<file path=ppt/slides/_rels/slide76.xml.rels><?xml version="1.0" encoding="UTF-8" standalone="yes"?>
<Relationships xmlns="http://schemas.openxmlformats.org/package/2006/relationships"><Relationship Id="rId3" Type="http://schemas.openxmlformats.org/officeDocument/2006/relationships/hyperlink" Target="http://www.microsoft.com/" TargetMode="External"/><Relationship Id="rId2" Type="http://schemas.openxmlformats.org/officeDocument/2006/relationships/notesSlide" Target="../notesSlides/notesSlide25.xml"/><Relationship Id="rId1" Type="http://schemas.openxmlformats.org/officeDocument/2006/relationships/slideLayout" Target="../slideLayouts/slideLayout6.xml"/></Relationships>
</file>

<file path=ppt/slides/_rels/slide77.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2.xml"/></Relationships>
</file>

<file path=ppt/slides/_rels/slide78.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notesSlide" Target="../notesSlides/notesSlide27.xml"/><Relationship Id="rId1" Type="http://schemas.openxmlformats.org/officeDocument/2006/relationships/slideLayout" Target="../slideLayouts/slideLayout11.xml"/><Relationship Id="rId4" Type="http://schemas.openxmlformats.org/officeDocument/2006/relationships/image" Target="../media/image100.png"/></Relationships>
</file>

<file path=ppt/slides/_rels/slide79.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4.xml"/></Relationships>
</file>

<file path=ppt/slides/_rels/slide8.xml.rels><?xml version="1.0" encoding="UTF-8" standalone="yes"?>
<Relationships xmlns="http://schemas.openxmlformats.org/package/2006/relationships"><Relationship Id="rId26" Type="http://schemas.openxmlformats.org/officeDocument/2006/relationships/tags" Target="../tags/tag29.xml"/><Relationship Id="rId21" Type="http://schemas.openxmlformats.org/officeDocument/2006/relationships/tags" Target="../tags/tag24.xml"/><Relationship Id="rId34" Type="http://schemas.openxmlformats.org/officeDocument/2006/relationships/tags" Target="../tags/tag37.xml"/><Relationship Id="rId42" Type="http://schemas.openxmlformats.org/officeDocument/2006/relationships/tags" Target="../tags/tag45.xml"/><Relationship Id="rId47" Type="http://schemas.openxmlformats.org/officeDocument/2006/relationships/tags" Target="../tags/tag50.xml"/><Relationship Id="rId50" Type="http://schemas.openxmlformats.org/officeDocument/2006/relationships/tags" Target="../tags/tag53.xml"/><Relationship Id="rId55" Type="http://schemas.openxmlformats.org/officeDocument/2006/relationships/tags" Target="../tags/tag58.xml"/><Relationship Id="rId63" Type="http://schemas.openxmlformats.org/officeDocument/2006/relationships/tags" Target="../tags/tag66.xml"/><Relationship Id="rId68" Type="http://schemas.openxmlformats.org/officeDocument/2006/relationships/tags" Target="../tags/tag71.xml"/><Relationship Id="rId76" Type="http://schemas.openxmlformats.org/officeDocument/2006/relationships/tags" Target="../tags/tag79.xml"/><Relationship Id="rId84" Type="http://schemas.openxmlformats.org/officeDocument/2006/relationships/tags" Target="../tags/tag87.xml"/><Relationship Id="rId89" Type="http://schemas.openxmlformats.org/officeDocument/2006/relationships/tags" Target="../tags/tag92.xml"/><Relationship Id="rId97" Type="http://schemas.openxmlformats.org/officeDocument/2006/relationships/image" Target="../media/image21.png"/><Relationship Id="rId7" Type="http://schemas.openxmlformats.org/officeDocument/2006/relationships/tags" Target="../tags/tag10.xml"/><Relationship Id="rId71" Type="http://schemas.openxmlformats.org/officeDocument/2006/relationships/tags" Target="../tags/tag74.xml"/><Relationship Id="rId92" Type="http://schemas.openxmlformats.org/officeDocument/2006/relationships/tags" Target="../tags/tag95.xml"/><Relationship Id="rId2" Type="http://schemas.openxmlformats.org/officeDocument/2006/relationships/tags" Target="../tags/tag5.xml"/><Relationship Id="rId16" Type="http://schemas.openxmlformats.org/officeDocument/2006/relationships/tags" Target="../tags/tag19.xml"/><Relationship Id="rId29" Type="http://schemas.openxmlformats.org/officeDocument/2006/relationships/tags" Target="../tags/tag32.xml"/><Relationship Id="rId11" Type="http://schemas.openxmlformats.org/officeDocument/2006/relationships/tags" Target="../tags/tag14.xml"/><Relationship Id="rId24" Type="http://schemas.openxmlformats.org/officeDocument/2006/relationships/tags" Target="../tags/tag27.xml"/><Relationship Id="rId32" Type="http://schemas.openxmlformats.org/officeDocument/2006/relationships/tags" Target="../tags/tag35.xml"/><Relationship Id="rId37" Type="http://schemas.openxmlformats.org/officeDocument/2006/relationships/tags" Target="../tags/tag40.xml"/><Relationship Id="rId40" Type="http://schemas.openxmlformats.org/officeDocument/2006/relationships/tags" Target="../tags/tag43.xml"/><Relationship Id="rId45" Type="http://schemas.openxmlformats.org/officeDocument/2006/relationships/tags" Target="../tags/tag48.xml"/><Relationship Id="rId53" Type="http://schemas.openxmlformats.org/officeDocument/2006/relationships/tags" Target="../tags/tag56.xml"/><Relationship Id="rId58" Type="http://schemas.openxmlformats.org/officeDocument/2006/relationships/tags" Target="../tags/tag61.xml"/><Relationship Id="rId66" Type="http://schemas.openxmlformats.org/officeDocument/2006/relationships/tags" Target="../tags/tag69.xml"/><Relationship Id="rId74" Type="http://schemas.openxmlformats.org/officeDocument/2006/relationships/tags" Target="../tags/tag77.xml"/><Relationship Id="rId79" Type="http://schemas.openxmlformats.org/officeDocument/2006/relationships/tags" Target="../tags/tag82.xml"/><Relationship Id="rId87" Type="http://schemas.openxmlformats.org/officeDocument/2006/relationships/tags" Target="../tags/tag90.xml"/><Relationship Id="rId5" Type="http://schemas.openxmlformats.org/officeDocument/2006/relationships/tags" Target="../tags/tag8.xml"/><Relationship Id="rId61" Type="http://schemas.openxmlformats.org/officeDocument/2006/relationships/tags" Target="../tags/tag64.xml"/><Relationship Id="rId82" Type="http://schemas.openxmlformats.org/officeDocument/2006/relationships/tags" Target="../tags/tag85.xml"/><Relationship Id="rId90" Type="http://schemas.openxmlformats.org/officeDocument/2006/relationships/tags" Target="../tags/tag93.xml"/><Relationship Id="rId95" Type="http://schemas.openxmlformats.org/officeDocument/2006/relationships/slideLayout" Target="../slideLayouts/slideLayout6.xml"/><Relationship Id="rId19" Type="http://schemas.openxmlformats.org/officeDocument/2006/relationships/tags" Target="../tags/tag22.xml"/><Relationship Id="rId14" Type="http://schemas.openxmlformats.org/officeDocument/2006/relationships/tags" Target="../tags/tag17.xml"/><Relationship Id="rId22" Type="http://schemas.openxmlformats.org/officeDocument/2006/relationships/tags" Target="../tags/tag25.xml"/><Relationship Id="rId27" Type="http://schemas.openxmlformats.org/officeDocument/2006/relationships/tags" Target="../tags/tag30.xml"/><Relationship Id="rId30" Type="http://schemas.openxmlformats.org/officeDocument/2006/relationships/tags" Target="../tags/tag33.xml"/><Relationship Id="rId35" Type="http://schemas.openxmlformats.org/officeDocument/2006/relationships/tags" Target="../tags/tag38.xml"/><Relationship Id="rId43" Type="http://schemas.openxmlformats.org/officeDocument/2006/relationships/tags" Target="../tags/tag46.xml"/><Relationship Id="rId48" Type="http://schemas.openxmlformats.org/officeDocument/2006/relationships/tags" Target="../tags/tag51.xml"/><Relationship Id="rId56" Type="http://schemas.openxmlformats.org/officeDocument/2006/relationships/tags" Target="../tags/tag59.xml"/><Relationship Id="rId64" Type="http://schemas.openxmlformats.org/officeDocument/2006/relationships/tags" Target="../tags/tag67.xml"/><Relationship Id="rId69" Type="http://schemas.openxmlformats.org/officeDocument/2006/relationships/tags" Target="../tags/tag72.xml"/><Relationship Id="rId77" Type="http://schemas.openxmlformats.org/officeDocument/2006/relationships/tags" Target="../tags/tag80.xml"/><Relationship Id="rId8" Type="http://schemas.openxmlformats.org/officeDocument/2006/relationships/tags" Target="../tags/tag11.xml"/><Relationship Id="rId51" Type="http://schemas.openxmlformats.org/officeDocument/2006/relationships/tags" Target="../tags/tag54.xml"/><Relationship Id="rId72" Type="http://schemas.openxmlformats.org/officeDocument/2006/relationships/tags" Target="../tags/tag75.xml"/><Relationship Id="rId80" Type="http://schemas.openxmlformats.org/officeDocument/2006/relationships/tags" Target="../tags/tag83.xml"/><Relationship Id="rId85" Type="http://schemas.openxmlformats.org/officeDocument/2006/relationships/tags" Target="../tags/tag88.xml"/><Relationship Id="rId93" Type="http://schemas.openxmlformats.org/officeDocument/2006/relationships/tags" Target="../tags/tag96.xml"/><Relationship Id="rId3" Type="http://schemas.openxmlformats.org/officeDocument/2006/relationships/tags" Target="../tags/tag6.xml"/><Relationship Id="rId12" Type="http://schemas.openxmlformats.org/officeDocument/2006/relationships/tags" Target="../tags/tag15.xml"/><Relationship Id="rId17" Type="http://schemas.openxmlformats.org/officeDocument/2006/relationships/tags" Target="../tags/tag20.xml"/><Relationship Id="rId25" Type="http://schemas.openxmlformats.org/officeDocument/2006/relationships/tags" Target="../tags/tag28.xml"/><Relationship Id="rId33" Type="http://schemas.openxmlformats.org/officeDocument/2006/relationships/tags" Target="../tags/tag36.xml"/><Relationship Id="rId38" Type="http://schemas.openxmlformats.org/officeDocument/2006/relationships/tags" Target="../tags/tag41.xml"/><Relationship Id="rId46" Type="http://schemas.openxmlformats.org/officeDocument/2006/relationships/tags" Target="../tags/tag49.xml"/><Relationship Id="rId59" Type="http://schemas.openxmlformats.org/officeDocument/2006/relationships/tags" Target="../tags/tag62.xml"/><Relationship Id="rId67" Type="http://schemas.openxmlformats.org/officeDocument/2006/relationships/tags" Target="../tags/tag70.xml"/><Relationship Id="rId20" Type="http://schemas.openxmlformats.org/officeDocument/2006/relationships/tags" Target="../tags/tag23.xml"/><Relationship Id="rId41" Type="http://schemas.openxmlformats.org/officeDocument/2006/relationships/tags" Target="../tags/tag44.xml"/><Relationship Id="rId54" Type="http://schemas.openxmlformats.org/officeDocument/2006/relationships/tags" Target="../tags/tag57.xml"/><Relationship Id="rId62" Type="http://schemas.openxmlformats.org/officeDocument/2006/relationships/tags" Target="../tags/tag65.xml"/><Relationship Id="rId70" Type="http://schemas.openxmlformats.org/officeDocument/2006/relationships/tags" Target="../tags/tag73.xml"/><Relationship Id="rId75" Type="http://schemas.openxmlformats.org/officeDocument/2006/relationships/tags" Target="../tags/tag78.xml"/><Relationship Id="rId83" Type="http://schemas.openxmlformats.org/officeDocument/2006/relationships/tags" Target="../tags/tag86.xml"/><Relationship Id="rId88" Type="http://schemas.openxmlformats.org/officeDocument/2006/relationships/tags" Target="../tags/tag91.xml"/><Relationship Id="rId91" Type="http://schemas.openxmlformats.org/officeDocument/2006/relationships/tags" Target="../tags/tag94.xml"/><Relationship Id="rId96" Type="http://schemas.openxmlformats.org/officeDocument/2006/relationships/notesSlide" Target="../notesSlides/notesSlide7.xml"/><Relationship Id="rId1" Type="http://schemas.openxmlformats.org/officeDocument/2006/relationships/tags" Target="../tags/tag4.xml"/><Relationship Id="rId6" Type="http://schemas.openxmlformats.org/officeDocument/2006/relationships/tags" Target="../tags/tag9.xml"/><Relationship Id="rId15" Type="http://schemas.openxmlformats.org/officeDocument/2006/relationships/tags" Target="../tags/tag18.xml"/><Relationship Id="rId23" Type="http://schemas.openxmlformats.org/officeDocument/2006/relationships/tags" Target="../tags/tag26.xml"/><Relationship Id="rId28" Type="http://schemas.openxmlformats.org/officeDocument/2006/relationships/tags" Target="../tags/tag31.xml"/><Relationship Id="rId36" Type="http://schemas.openxmlformats.org/officeDocument/2006/relationships/tags" Target="../tags/tag39.xml"/><Relationship Id="rId49" Type="http://schemas.openxmlformats.org/officeDocument/2006/relationships/tags" Target="../tags/tag52.xml"/><Relationship Id="rId57" Type="http://schemas.openxmlformats.org/officeDocument/2006/relationships/tags" Target="../tags/tag60.xml"/><Relationship Id="rId10" Type="http://schemas.openxmlformats.org/officeDocument/2006/relationships/tags" Target="../tags/tag13.xml"/><Relationship Id="rId31" Type="http://schemas.openxmlformats.org/officeDocument/2006/relationships/tags" Target="../tags/tag34.xml"/><Relationship Id="rId44" Type="http://schemas.openxmlformats.org/officeDocument/2006/relationships/tags" Target="../tags/tag47.xml"/><Relationship Id="rId52" Type="http://schemas.openxmlformats.org/officeDocument/2006/relationships/tags" Target="../tags/tag55.xml"/><Relationship Id="rId60" Type="http://schemas.openxmlformats.org/officeDocument/2006/relationships/tags" Target="../tags/tag63.xml"/><Relationship Id="rId65" Type="http://schemas.openxmlformats.org/officeDocument/2006/relationships/tags" Target="../tags/tag68.xml"/><Relationship Id="rId73" Type="http://schemas.openxmlformats.org/officeDocument/2006/relationships/tags" Target="../tags/tag76.xml"/><Relationship Id="rId78" Type="http://schemas.openxmlformats.org/officeDocument/2006/relationships/tags" Target="../tags/tag81.xml"/><Relationship Id="rId81" Type="http://schemas.openxmlformats.org/officeDocument/2006/relationships/tags" Target="../tags/tag84.xml"/><Relationship Id="rId86" Type="http://schemas.openxmlformats.org/officeDocument/2006/relationships/tags" Target="../tags/tag89.xml"/><Relationship Id="rId94" Type="http://schemas.openxmlformats.org/officeDocument/2006/relationships/tags" Target="../tags/tag97.xml"/><Relationship Id="rId4" Type="http://schemas.openxmlformats.org/officeDocument/2006/relationships/tags" Target="../tags/tag7.xml"/><Relationship Id="rId9" Type="http://schemas.openxmlformats.org/officeDocument/2006/relationships/tags" Target="../tags/tag12.xml"/><Relationship Id="rId13" Type="http://schemas.openxmlformats.org/officeDocument/2006/relationships/tags" Target="../tags/tag16.xml"/><Relationship Id="rId18" Type="http://schemas.openxmlformats.org/officeDocument/2006/relationships/tags" Target="../tags/tag21.xml"/><Relationship Id="rId39" Type="http://schemas.openxmlformats.org/officeDocument/2006/relationships/tags" Target="../tags/tag42.xml"/></Relationships>
</file>

<file path=ppt/slides/_rels/slide80.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3.xml"/></Relationships>
</file>

<file path=ppt/slides/_rels/slide81.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17.xml"/></Relationships>
</file>

<file path=ppt/slides/_rels/slide82.xml.rels><?xml version="1.0" encoding="UTF-8" standalone="yes"?>
<Relationships xmlns="http://schemas.openxmlformats.org/package/2006/relationships"><Relationship Id="rId3" Type="http://schemas.openxmlformats.org/officeDocument/2006/relationships/image" Target="../media/image101.png"/><Relationship Id="rId7" Type="http://schemas.openxmlformats.org/officeDocument/2006/relationships/image" Target="../media/image104.png"/><Relationship Id="rId2" Type="http://schemas.openxmlformats.org/officeDocument/2006/relationships/notesSlide" Target="../notesSlides/notesSlide31.xml"/><Relationship Id="rId1" Type="http://schemas.openxmlformats.org/officeDocument/2006/relationships/slideLayout" Target="../slideLayouts/slideLayout11.xml"/><Relationship Id="rId6" Type="http://schemas.openxmlformats.org/officeDocument/2006/relationships/image" Target="../media/image103.png"/><Relationship Id="rId5" Type="http://schemas.openxmlformats.org/officeDocument/2006/relationships/image" Target="../media/image102.png"/><Relationship Id="rId4" Type="http://schemas.openxmlformats.org/officeDocument/2006/relationships/hyperlink" Target="https://microsoft.sharepoint.com/teams/BrandCentral/Pages/Presentations.aspx" TargetMode="External"/></Relationships>
</file>

<file path=ppt/slides/_rels/slide83.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15.xml"/></Relationships>
</file>

<file path=ppt/slides/_rels/slide84.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16.xml"/></Relationships>
</file>

<file path=ppt/slides/_rels/slide85.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20.xml"/></Relationships>
</file>

<file path=ppt/slides/_rels/slide86.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22.xml"/></Relationships>
</file>

<file path=ppt/slides/_rels/slide87.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21.xml"/></Relationships>
</file>

<file path=ppt/slides/_rels/slide88.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89.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9.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Layout" Target="../slideLayouts/slideLayout6.xml"/></Relationships>
</file>

<file path=ppt/slides/_rels/slide90.xml.rels><?xml version="1.0" encoding="UTF-8" standalone="yes"?>
<Relationships xmlns="http://schemas.openxmlformats.org/package/2006/relationships"><Relationship Id="rId3" Type="http://schemas.openxmlformats.org/officeDocument/2006/relationships/image" Target="../media/image97.emf"/><Relationship Id="rId2" Type="http://schemas.openxmlformats.org/officeDocument/2006/relationships/notesSlide" Target="../notesSlides/notesSlide37.xml"/><Relationship Id="rId1" Type="http://schemas.openxmlformats.org/officeDocument/2006/relationships/slideLayout" Target="../slideLayouts/slideLayout40.xml"/><Relationship Id="rId5" Type="http://schemas.openxmlformats.org/officeDocument/2006/relationships/hyperlink" Target="mailto:musovid@microsoft.com" TargetMode="External"/><Relationship Id="rId4" Type="http://schemas.openxmlformats.org/officeDocument/2006/relationships/hyperlink" Target="mailto:mediaacq@microsoft.com" TargetMode="External"/></Relationships>
</file>

<file path=ppt/slides/_rels/slide91.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92.xml.rels><?xml version="1.0" encoding="UTF-8" standalone="yes"?>
<Relationships xmlns="http://schemas.openxmlformats.org/package/2006/relationships"><Relationship Id="rId8" Type="http://schemas.openxmlformats.org/officeDocument/2006/relationships/hyperlink" Target="http://www.gettyimages.com/creativeimages/royaltyfree" TargetMode="External"/><Relationship Id="rId3" Type="http://schemas.openxmlformats.org/officeDocument/2006/relationships/hyperlink" Target="https://brandtools.microsoft.com/Resources/Pages/Presentation_guidelines.aspx" TargetMode="External"/><Relationship Id="rId7" Type="http://schemas.openxmlformats.org/officeDocument/2006/relationships/hyperlink" Target="http://www.superstock.com/" TargetMode="External"/><Relationship Id="rId2" Type="http://schemas.openxmlformats.org/officeDocument/2006/relationships/hyperlink" Target="https://brandtools.microsoft.com/Pages/Home.aspx" TargetMode="External"/><Relationship Id="rId1" Type="http://schemas.openxmlformats.org/officeDocument/2006/relationships/slideLayout" Target="../slideLayouts/slideLayout40.xml"/><Relationship Id="rId6" Type="http://schemas.openxmlformats.org/officeDocument/2006/relationships/hyperlink" Target="https://microsoft.sharepoint.com/sites/lcaweb/home" TargetMode="External"/><Relationship Id="rId5" Type="http://schemas.openxmlformats.org/officeDocument/2006/relationships/hyperlink" Target="https://brandtools.microsoft.com/Search/Results.aspx?k=illustration&amp;r=1" TargetMode="External"/><Relationship Id="rId10" Type="http://schemas.openxmlformats.org/officeDocument/2006/relationships/hyperlink" Target="mailto:ImageAcq@Microsoft.com" TargetMode="External"/><Relationship Id="rId4" Type="http://schemas.openxmlformats.org/officeDocument/2006/relationships/hyperlink" Target="https://brandtools.microsoft.com/Search/Results.aspx?k=photography&amp;r=1" TargetMode="External"/><Relationship Id="rId9" Type="http://schemas.openxmlformats.org/officeDocument/2006/relationships/hyperlink" Target="http://www.corbisimages.com/stock-photo/royalty-free" TargetMode="External"/></Relationships>
</file>

<file path=ppt/slides/_rels/slide93.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28.xml"/></Relationships>
</file>

<file path=ppt/slides/_rels/slide94.xml.rels><?xml version="1.0" encoding="UTF-8" standalone="yes"?>
<Relationships xmlns="http://schemas.openxmlformats.org/package/2006/relationships"><Relationship Id="rId3" Type="http://schemas.openxmlformats.org/officeDocument/2006/relationships/hyperlink" Target="http://www.microsoft.com/" TargetMode="External"/><Relationship Id="rId2" Type="http://schemas.openxmlformats.org/officeDocument/2006/relationships/notesSlide" Target="../notesSlides/notesSlide39.xml"/><Relationship Id="rId1" Type="http://schemas.openxmlformats.org/officeDocument/2006/relationships/slideLayout" Target="../slideLayouts/slideLayout29.xml"/></Relationships>
</file>

<file path=ppt/slides/_rels/slide95.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33.xml"/></Relationships>
</file>

<file path=ppt/slides/_rels/slide96.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notesSlide" Target="../notesSlides/notesSlide41.xml"/><Relationship Id="rId1" Type="http://schemas.openxmlformats.org/officeDocument/2006/relationships/slideLayout" Target="../slideLayouts/slideLayout32.xml"/></Relationships>
</file>

<file path=ppt/slides/_rels/slide97.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98.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99.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3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1257094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Our 2012 challenge</a:t>
            </a:r>
          </a:p>
        </p:txBody>
      </p:sp>
      <p:sp>
        <p:nvSpPr>
          <p:cNvPr id="6" name="Rectangle 5"/>
          <p:cNvSpPr/>
          <p:nvPr/>
        </p:nvSpPr>
        <p:spPr>
          <a:xfrm>
            <a:off x="6523037" y="2811462"/>
            <a:ext cx="3657600" cy="1384995"/>
          </a:xfrm>
          <a:prstGeom prst="rect">
            <a:avLst/>
          </a:prstGeom>
        </p:spPr>
        <p:txBody>
          <a:bodyPr wrap="square" anchor="ctr">
            <a:spAutoFit/>
          </a:bodyPr>
          <a:lstStyle/>
          <a:p>
            <a:pPr algn="ctr"/>
            <a:r>
              <a:rPr lang="da-DK" sz="4000" dirty="0">
                <a:gradFill>
                  <a:gsLst>
                    <a:gs pos="1250">
                      <a:srgbClr val="D83B01"/>
                    </a:gs>
                    <a:gs pos="99000">
                      <a:srgbClr val="D83B01"/>
                    </a:gs>
                  </a:gsLst>
                  <a:lin ang="5400000" scaled="0"/>
                </a:gradFill>
                <a:latin typeface="Segoe UI Light"/>
              </a:rPr>
              <a:t>Reality</a:t>
            </a:r>
          </a:p>
          <a:p>
            <a:pPr algn="ctr"/>
            <a:r>
              <a:rPr lang="da-DK" sz="2200" dirty="0"/>
              <a:t>17 separate infrastructures and IT organizations.</a:t>
            </a:r>
          </a:p>
        </p:txBody>
      </p:sp>
      <p:sp>
        <p:nvSpPr>
          <p:cNvPr id="7" name="Rectangle 6"/>
          <p:cNvSpPr/>
          <p:nvPr/>
        </p:nvSpPr>
        <p:spPr>
          <a:xfrm>
            <a:off x="2027237" y="2811462"/>
            <a:ext cx="3657600" cy="1384995"/>
          </a:xfrm>
          <a:prstGeom prst="rect">
            <a:avLst/>
          </a:prstGeom>
        </p:spPr>
        <p:txBody>
          <a:bodyPr wrap="square" anchor="ctr">
            <a:spAutoFit/>
          </a:bodyPr>
          <a:lstStyle/>
          <a:p>
            <a:pPr algn="ctr"/>
            <a:r>
              <a:rPr lang="da-DK" sz="4000" dirty="0">
                <a:gradFill>
                  <a:gsLst>
                    <a:gs pos="1250">
                      <a:srgbClr val="D83B01"/>
                    </a:gs>
                    <a:gs pos="99000">
                      <a:srgbClr val="D83B01"/>
                    </a:gs>
                  </a:gsLst>
                  <a:lin ang="5400000" scaled="0"/>
                </a:gradFill>
                <a:latin typeface="Segoe UI Light"/>
              </a:rPr>
              <a:t>Need</a:t>
            </a:r>
          </a:p>
          <a:p>
            <a:pPr algn="ctr"/>
            <a:r>
              <a:rPr lang="da-DK" sz="2200" dirty="0"/>
              <a:t>Work as one global company. Yesterday.</a:t>
            </a:r>
          </a:p>
        </p:txBody>
      </p:sp>
    </p:spTree>
    <p:extLst>
      <p:ext uri="{BB962C8B-B14F-4D97-AF65-F5344CB8AC3E}">
        <p14:creationId xmlns:p14="http://schemas.microsoft.com/office/powerpoint/2010/main" val="187950482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7" grpId="0"/>
    </p:bldLst>
  </p:timing>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7200" dirty="0"/>
              <a:t>Section title</a:t>
            </a:r>
          </a:p>
        </p:txBody>
      </p:sp>
    </p:spTree>
    <p:extLst>
      <p:ext uri="{BB962C8B-B14F-4D97-AF65-F5344CB8AC3E}">
        <p14:creationId xmlns:p14="http://schemas.microsoft.com/office/powerpoint/2010/main" val="262333141"/>
      </p:ext>
    </p:extLst>
  </p:cSld>
  <p:clrMapOvr>
    <a:masterClrMapping/>
  </p:clrMapOvr>
  <p:transition>
    <p:fade/>
  </p:transition>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7200" dirty="0"/>
              <a:t>Section title</a:t>
            </a:r>
          </a:p>
        </p:txBody>
      </p:sp>
    </p:spTree>
    <p:extLst>
      <p:ext uri="{BB962C8B-B14F-4D97-AF65-F5344CB8AC3E}">
        <p14:creationId xmlns:p14="http://schemas.microsoft.com/office/powerpoint/2010/main" val="1880077311"/>
      </p:ext>
    </p:extLst>
  </p:cSld>
  <p:clrMapOvr>
    <a:masterClrMapping/>
  </p:clrMapOvr>
  <p:transition>
    <p:fade/>
  </p:transition>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Software code slide</a:t>
            </a:r>
          </a:p>
        </p:txBody>
      </p:sp>
      <p:sp>
        <p:nvSpPr>
          <p:cNvPr id="5" name="Text Placeholder 4"/>
          <p:cNvSpPr>
            <a:spLocks noGrp="1"/>
          </p:cNvSpPr>
          <p:nvPr>
            <p:ph type="body" sz="quarter" idx="10"/>
          </p:nvPr>
        </p:nvSpPr>
        <p:spPr/>
        <p:txBody>
          <a:bodyPr/>
          <a:lstStyle/>
          <a:p>
            <a:r>
              <a:rPr lang="en-US" dirty="0"/>
              <a:t>This slide layout uses Consolas, a monotype font which is ideal for showing software code. </a:t>
            </a:r>
          </a:p>
        </p:txBody>
      </p:sp>
    </p:spTree>
    <p:extLst>
      <p:ext uri="{BB962C8B-B14F-4D97-AF65-F5344CB8AC3E}">
        <p14:creationId xmlns:p14="http://schemas.microsoft.com/office/powerpoint/2010/main" val="8320715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p:txBody>
          <a:bodyPr/>
          <a:lstStyle/>
          <a:p>
            <a:r>
              <a:rPr lang="en-US" dirty="0"/>
              <a:t>Some speakers at Microsoft like to use this slide for hidden “notes slides”. </a:t>
            </a:r>
          </a:p>
          <a:p>
            <a:r>
              <a:rPr lang="en-US" dirty="0"/>
              <a:t>Delete it if you don’t want to use it.</a:t>
            </a:r>
          </a:p>
        </p:txBody>
      </p:sp>
      <p:sp>
        <p:nvSpPr>
          <p:cNvPr id="7" name="Text Placeholder 6"/>
          <p:cNvSpPr>
            <a:spLocks noGrp="1"/>
          </p:cNvSpPr>
          <p:nvPr>
            <p:ph type="body" sz="quarter" idx="11"/>
          </p:nvPr>
        </p:nvSpPr>
        <p:spPr/>
        <p:txBody>
          <a:bodyPr/>
          <a:lstStyle/>
          <a:p>
            <a:r>
              <a:rPr lang="en-US" dirty="0"/>
              <a:t>NEXT: &lt;next slide title&gt;</a:t>
            </a:r>
          </a:p>
        </p:txBody>
      </p:sp>
      <p:sp>
        <p:nvSpPr>
          <p:cNvPr id="4" name="Title 3"/>
          <p:cNvSpPr>
            <a:spLocks noGrp="1"/>
          </p:cNvSpPr>
          <p:nvPr>
            <p:ph type="title"/>
          </p:nvPr>
        </p:nvSpPr>
        <p:spPr/>
        <p:txBody>
          <a:bodyPr/>
          <a:lstStyle/>
          <a:p>
            <a:r>
              <a:rPr lang="en-US" dirty="0"/>
              <a:t>Notes (hidden)</a:t>
            </a:r>
          </a:p>
        </p:txBody>
      </p:sp>
    </p:spTree>
    <p:extLst>
      <p:ext uri="{BB962C8B-B14F-4D97-AF65-F5344CB8AC3E}">
        <p14:creationId xmlns:p14="http://schemas.microsoft.com/office/powerpoint/2010/main" val="11326374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4.xml><?xml version="1.0" encoding="utf-8"?>
<p:sld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sp>
        <p:nvSpPr>
          <p:cNvPr id="4" name="Text Placeholder 5"/>
          <p:cNvSpPr txBox="1">
            <a:spLocks/>
          </p:cNvSpPr>
          <p:nvPr/>
        </p:nvSpPr>
        <p:spPr>
          <a:xfrm>
            <a:off x="5380037" y="4640262"/>
            <a:ext cx="6858000" cy="2179058"/>
          </a:xfrm>
          <a:prstGeom prst="rect">
            <a:avLst/>
          </a:prstGeom>
        </p:spPr>
        <p:txBody>
          <a:bodyPr vert="horz" wrap="square" lIns="146304" tIns="91440" rIns="146304" bIns="91440" rtlCol="0">
            <a:spAutoFit/>
          </a:bodyPr>
          <a:lstStyle>
            <a:lvl1pPr marL="0"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4000" kern="1200" spc="0" baseline="0">
                <a:gradFill>
                  <a:gsLst>
                    <a:gs pos="20354">
                      <a:schemeClr val="tx2"/>
                    </a:gs>
                    <a:gs pos="40000">
                      <a:schemeClr val="tx2"/>
                    </a:gs>
                  </a:gsLst>
                  <a:lin ang="5400000" scaled="0"/>
                </a:gradFill>
                <a:latin typeface="+mj-lt"/>
                <a:ea typeface="+mn-ea"/>
                <a:cs typeface="+mn-cs"/>
              </a:defRPr>
            </a:lvl1pPr>
            <a:lvl2pPr marL="0" marR="0" indent="0" algn="l" defTabSz="932667" rtl="0" eaLnBrk="1" fontAlgn="auto" latinLnBrk="0" hangingPunct="1">
              <a:lnSpc>
                <a:spcPct val="90000"/>
              </a:lnSpc>
              <a:spcBef>
                <a:spcPct val="20000"/>
              </a:spcBef>
              <a:spcAft>
                <a:spcPts val="0"/>
              </a:spcAft>
              <a:buClr>
                <a:schemeClr val="tx1"/>
              </a:buClr>
              <a:buSzPct val="90000"/>
              <a:buFontTx/>
              <a:buNone/>
              <a:tabLst/>
              <a:defRPr sz="2000" kern="1200" spc="0" baseline="0">
                <a:gradFill>
                  <a:gsLst>
                    <a:gs pos="1250">
                      <a:schemeClr val="tx1"/>
                    </a:gs>
                    <a:gs pos="100000">
                      <a:schemeClr val="tx1"/>
                    </a:gs>
                  </a:gsLst>
                  <a:lin ang="5400000" scaled="0"/>
                </a:gradFill>
                <a:latin typeface="+mn-lt"/>
                <a:ea typeface="+mn-ea"/>
                <a:cs typeface="+mn-cs"/>
              </a:defRPr>
            </a:lvl2pPr>
            <a:lvl3pPr marL="228582"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3pPr>
            <a:lvl4pPr marL="457163"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4pPr>
            <a:lvl5pPr marL="685745"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5pPr>
            <a:lvl6pPr marL="2564834"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170"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503"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838"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32742">
              <a:spcBef>
                <a:spcPct val="0"/>
              </a:spcBef>
            </a:pPr>
            <a:r>
              <a:rPr lang="en-US" sz="2400" dirty="0">
                <a:gradFill>
                  <a:gsLst>
                    <a:gs pos="24779">
                      <a:srgbClr val="292929"/>
                    </a:gs>
                    <a:gs pos="52000">
                      <a:srgbClr val="292929"/>
                    </a:gs>
                  </a:gsLst>
                  <a:lin ang="5400000" scaled="1"/>
                </a:gradFill>
                <a:latin typeface="+mn-lt"/>
              </a:rPr>
              <a:t>From your PC or Tablet visit MyIgnite at </a:t>
            </a:r>
            <a:r>
              <a:rPr lang="en-US" sz="2400" dirty="0">
                <a:gradFill>
                  <a:gsLst>
                    <a:gs pos="24779">
                      <a:srgbClr val="292929"/>
                    </a:gs>
                    <a:gs pos="52000">
                      <a:srgbClr val="292929"/>
                    </a:gs>
                  </a:gsLst>
                  <a:lin ang="5400000" scaled="1"/>
                </a:gradFill>
                <a:latin typeface="+mn-lt"/>
                <a:hlinkClick r:id="rId3"/>
              </a:rPr>
              <a:t>http://myignite.microsoft.com</a:t>
            </a:r>
            <a:endParaRPr lang="en-US" sz="2400" dirty="0">
              <a:gradFill>
                <a:gsLst>
                  <a:gs pos="24779">
                    <a:srgbClr val="292929"/>
                  </a:gs>
                  <a:gs pos="52000">
                    <a:srgbClr val="292929"/>
                  </a:gs>
                </a:gsLst>
                <a:lin ang="5400000" scaled="1"/>
              </a:gradFill>
              <a:latin typeface="+mn-lt"/>
            </a:endParaRPr>
          </a:p>
          <a:p>
            <a:pPr defTabSz="932742">
              <a:spcBef>
                <a:spcPct val="0"/>
              </a:spcBef>
            </a:pPr>
            <a:endParaRPr lang="en-US" sz="2400" dirty="0">
              <a:gradFill>
                <a:gsLst>
                  <a:gs pos="24779">
                    <a:srgbClr val="292929"/>
                  </a:gs>
                  <a:gs pos="52000">
                    <a:srgbClr val="292929"/>
                  </a:gs>
                </a:gsLst>
                <a:lin ang="5400000" scaled="1"/>
              </a:gradFill>
              <a:latin typeface="+mn-lt"/>
            </a:endParaRPr>
          </a:p>
          <a:p>
            <a:pPr defTabSz="932742">
              <a:spcBef>
                <a:spcPct val="0"/>
              </a:spcBef>
            </a:pPr>
            <a:r>
              <a:rPr lang="en-US" sz="2400" dirty="0">
                <a:gradFill>
                  <a:gsLst>
                    <a:gs pos="24779">
                      <a:srgbClr val="292929"/>
                    </a:gs>
                    <a:gs pos="52000">
                      <a:srgbClr val="292929"/>
                    </a:gs>
                  </a:gsLst>
                  <a:lin ang="5400000" scaled="1"/>
                </a:gradFill>
                <a:latin typeface="+mn-lt"/>
              </a:rPr>
              <a:t>From your phone download and use the Ignite Mobile App by scanning  the QR code above or visiting </a:t>
            </a:r>
            <a:r>
              <a:rPr lang="en-US" sz="2400" dirty="0">
                <a:gradFill>
                  <a:gsLst>
                    <a:gs pos="24779">
                      <a:srgbClr val="292929"/>
                    </a:gs>
                    <a:gs pos="52000">
                      <a:srgbClr val="292929"/>
                    </a:gs>
                  </a:gsLst>
                  <a:lin ang="5400000" scaled="1"/>
                </a:gradFill>
                <a:latin typeface="+mn-lt"/>
                <a:hlinkClick r:id="rId4"/>
              </a:rPr>
              <a:t>https://aka.ms/ignite.mobileapp</a:t>
            </a:r>
            <a:r>
              <a:rPr lang="en-US" sz="2400" dirty="0">
                <a:gradFill>
                  <a:gsLst>
                    <a:gs pos="24779">
                      <a:srgbClr val="292929"/>
                    </a:gs>
                    <a:gs pos="52000">
                      <a:srgbClr val="292929"/>
                    </a:gs>
                  </a:gsLst>
                  <a:lin ang="5400000" scaled="1"/>
                </a:gradFill>
                <a:latin typeface="+mn-lt"/>
              </a:rPr>
              <a:t> </a:t>
            </a:r>
          </a:p>
        </p:txBody>
      </p:sp>
      <p:sp>
        <p:nvSpPr>
          <p:cNvPr id="11" name="Title 1"/>
          <p:cNvSpPr txBox="1">
            <a:spLocks/>
          </p:cNvSpPr>
          <p:nvPr/>
        </p:nvSpPr>
        <p:spPr>
          <a:xfrm>
            <a:off x="5380037" y="295274"/>
            <a:ext cx="6784166" cy="915989"/>
          </a:xfrm>
          <a:prstGeom prst="rect">
            <a:avLst/>
          </a:prstGeom>
        </p:spPr>
        <p:txBody>
          <a:bodyPr lIns="182880" tIns="146304" rIns="182880" bIns="146304"/>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nSpc>
                <a:spcPct val="80000"/>
              </a:lnSpc>
            </a:pPr>
            <a:r>
              <a:rPr sz="4000" dirty="0">
                <a:gradFill>
                  <a:gsLst>
                    <a:gs pos="24779">
                      <a:srgbClr val="292929"/>
                    </a:gs>
                    <a:gs pos="52000">
                      <a:srgbClr val="292929"/>
                    </a:gs>
                  </a:gsLst>
                  <a:lin ang="5400000" scaled="1"/>
                </a:gradFill>
              </a:rPr>
              <a:t>Please evaluate this session</a:t>
            </a:r>
          </a:p>
          <a:p>
            <a:pPr>
              <a:lnSpc>
                <a:spcPct val="80000"/>
              </a:lnSpc>
            </a:pPr>
            <a:r>
              <a:rPr lang="en-US" sz="3200" dirty="0">
                <a:gradFill>
                  <a:gsLst>
                    <a:gs pos="24779">
                      <a:srgbClr val="292929"/>
                    </a:gs>
                    <a:gs pos="52000">
                      <a:srgbClr val="292929"/>
                    </a:gs>
                  </a:gsLst>
                  <a:lin ang="5400000" scaled="1"/>
                </a:gradFill>
              </a:rPr>
              <a:t>Your feedback is important to us!</a:t>
            </a:r>
            <a:endParaRPr sz="3600" dirty="0">
              <a:gradFill>
                <a:gsLst>
                  <a:gs pos="24779">
                    <a:srgbClr val="292929"/>
                  </a:gs>
                  <a:gs pos="52000">
                    <a:srgbClr val="292929"/>
                  </a:gs>
                </a:gsLst>
                <a:lin ang="5400000" scaled="1"/>
              </a:gradFill>
            </a:endParaRPr>
          </a:p>
        </p:txBody>
      </p:sp>
      <p:pic>
        <p:nvPicPr>
          <p:cNvPr id="14" name="Picture 13"/>
          <p:cNvPicPr>
            <a:picLocks noChangeAspect="1"/>
          </p:cNvPicPr>
          <p:nvPr/>
        </p:nvPicPr>
        <p:blipFill rotWithShape="1">
          <a:blip r:embed="rId5"/>
          <a:srcRect l="17119" r="5881"/>
          <a:stretch/>
        </p:blipFill>
        <p:spPr>
          <a:xfrm>
            <a:off x="0" y="-1"/>
            <a:ext cx="4925696" cy="6995160"/>
          </a:xfrm>
          <a:prstGeom prst="rect">
            <a:avLst/>
          </a:prstGeom>
        </p:spPr>
      </p:pic>
      <p:pic>
        <p:nvPicPr>
          <p:cNvPr id="2" name="Picture 1"/>
          <p:cNvPicPr>
            <a:picLocks noChangeAspect="1"/>
          </p:cNvPicPr>
          <p:nvPr/>
        </p:nvPicPr>
        <p:blipFill>
          <a:blip r:embed="rId6"/>
          <a:stretch>
            <a:fillRect/>
          </a:stretch>
        </p:blipFill>
        <p:spPr>
          <a:xfrm>
            <a:off x="7118985" y="1478816"/>
            <a:ext cx="3124200" cy="3124200"/>
          </a:xfrm>
          <a:prstGeom prst="rect">
            <a:avLst/>
          </a:prstGeom>
        </p:spPr>
      </p:pic>
    </p:spTree>
    <p:extLst>
      <p:ext uri="{BB962C8B-B14F-4D97-AF65-F5344CB8AC3E}">
        <p14:creationId xmlns:p14="http://schemas.microsoft.com/office/powerpoint/2010/main" val="29867876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8786653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Options</a:t>
            </a:r>
          </a:p>
        </p:txBody>
      </p:sp>
      <p:sp>
        <p:nvSpPr>
          <p:cNvPr id="6" name="Rectangle 5"/>
          <p:cNvSpPr/>
          <p:nvPr/>
        </p:nvSpPr>
        <p:spPr>
          <a:xfrm>
            <a:off x="6294437" y="2842240"/>
            <a:ext cx="4114800" cy="1323439"/>
          </a:xfrm>
          <a:prstGeom prst="rect">
            <a:avLst/>
          </a:prstGeom>
        </p:spPr>
        <p:txBody>
          <a:bodyPr wrap="square" anchor="ctr">
            <a:spAutoFit/>
          </a:bodyPr>
          <a:lstStyle/>
          <a:p>
            <a:pPr algn="ctr"/>
            <a:r>
              <a:rPr lang="da-DK" sz="4000" dirty="0">
                <a:gradFill>
                  <a:gsLst>
                    <a:gs pos="1250">
                      <a:srgbClr val="D83B01"/>
                    </a:gs>
                    <a:gs pos="99000">
                      <a:srgbClr val="D83B01"/>
                    </a:gs>
                  </a:gsLst>
                  <a:lin ang="5400000" scaled="0"/>
                </a:gradFill>
                <a:latin typeface="Segoe UI Light"/>
              </a:rPr>
              <a:t>Cheat</a:t>
            </a:r>
          </a:p>
          <a:p>
            <a:pPr lvl="0" algn="ctr"/>
            <a:r>
              <a:rPr lang="en-US" sz="2000" dirty="0">
                <a:solidFill>
                  <a:srgbClr val="505050"/>
                </a:solidFill>
              </a:rPr>
              <a:t>Deploy global cloud collaboration services without fixing the basics.</a:t>
            </a:r>
            <a:endParaRPr lang="da-DK" sz="2200" dirty="0"/>
          </a:p>
        </p:txBody>
      </p:sp>
      <p:sp>
        <p:nvSpPr>
          <p:cNvPr id="7" name="Rectangle 6"/>
          <p:cNvSpPr/>
          <p:nvPr/>
        </p:nvSpPr>
        <p:spPr>
          <a:xfrm>
            <a:off x="1874837" y="2826851"/>
            <a:ext cx="3962400" cy="1354217"/>
          </a:xfrm>
          <a:prstGeom prst="rect">
            <a:avLst/>
          </a:prstGeom>
        </p:spPr>
        <p:txBody>
          <a:bodyPr wrap="square" anchor="ctr">
            <a:spAutoFit/>
          </a:bodyPr>
          <a:lstStyle/>
          <a:p>
            <a:pPr lvl="0" algn="ctr"/>
            <a:r>
              <a:rPr lang="da-DK" sz="4000" dirty="0">
                <a:solidFill>
                  <a:schemeClr val="tx2"/>
                </a:solidFill>
                <a:latin typeface="Segoe UI Light"/>
              </a:rPr>
              <a:t>Merge and build</a:t>
            </a:r>
          </a:p>
          <a:p>
            <a:pPr lvl="0" algn="ctr"/>
            <a:r>
              <a:rPr lang="en-US" sz="2000" dirty="0">
                <a:solidFill>
                  <a:srgbClr val="505050"/>
                </a:solidFill>
              </a:rPr>
              <a:t>Merge organizations and build global infrastructure</a:t>
            </a:r>
            <a:r>
              <a:rPr lang="da-DK" sz="2200" dirty="0">
                <a:solidFill>
                  <a:srgbClr val="505050"/>
                </a:solidFill>
              </a:rPr>
              <a:t>.</a:t>
            </a:r>
          </a:p>
        </p:txBody>
      </p:sp>
    </p:spTree>
    <p:extLst>
      <p:ext uri="{BB962C8B-B14F-4D97-AF65-F5344CB8AC3E}">
        <p14:creationId xmlns:p14="http://schemas.microsoft.com/office/powerpoint/2010/main" val="383251464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7"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Decision</a:t>
            </a:r>
          </a:p>
        </p:txBody>
      </p:sp>
      <p:sp>
        <p:nvSpPr>
          <p:cNvPr id="6" name="Rectangle 5"/>
          <p:cNvSpPr/>
          <p:nvPr/>
        </p:nvSpPr>
        <p:spPr>
          <a:xfrm>
            <a:off x="6294437" y="2842240"/>
            <a:ext cx="4114800" cy="1323439"/>
          </a:xfrm>
          <a:prstGeom prst="rect">
            <a:avLst/>
          </a:prstGeom>
        </p:spPr>
        <p:txBody>
          <a:bodyPr wrap="square" anchor="ctr">
            <a:spAutoFit/>
          </a:bodyPr>
          <a:lstStyle/>
          <a:p>
            <a:pPr algn="ctr"/>
            <a:r>
              <a:rPr lang="da-DK" sz="4000" dirty="0">
                <a:gradFill>
                  <a:gsLst>
                    <a:gs pos="1250">
                      <a:srgbClr val="D83B01"/>
                    </a:gs>
                    <a:gs pos="99000">
                      <a:srgbClr val="D83B01"/>
                    </a:gs>
                  </a:gsLst>
                  <a:lin ang="5400000" scaled="0"/>
                </a:gradFill>
                <a:latin typeface="Segoe UI Light"/>
              </a:rPr>
              <a:t>Cheat</a:t>
            </a:r>
          </a:p>
          <a:p>
            <a:pPr lvl="0" algn="ctr"/>
            <a:r>
              <a:rPr lang="en-US" sz="2000" dirty="0">
                <a:solidFill>
                  <a:srgbClr val="505050"/>
                </a:solidFill>
              </a:rPr>
              <a:t>Deploy global cloud collaboration services without fixing the basics.</a:t>
            </a:r>
            <a:endParaRPr lang="da-DK" sz="2200" dirty="0"/>
          </a:p>
        </p:txBody>
      </p:sp>
      <p:sp>
        <p:nvSpPr>
          <p:cNvPr id="7" name="Rectangle 6"/>
          <p:cNvSpPr/>
          <p:nvPr/>
        </p:nvSpPr>
        <p:spPr>
          <a:xfrm>
            <a:off x="1874837" y="2826851"/>
            <a:ext cx="3962400" cy="1354217"/>
          </a:xfrm>
          <a:prstGeom prst="rect">
            <a:avLst/>
          </a:prstGeom>
        </p:spPr>
        <p:txBody>
          <a:bodyPr wrap="square" anchor="ctr">
            <a:spAutoFit/>
          </a:bodyPr>
          <a:lstStyle/>
          <a:p>
            <a:pPr lvl="0" algn="ctr"/>
            <a:r>
              <a:rPr lang="da-DK" sz="4000" dirty="0">
                <a:latin typeface="Segoe UI Light"/>
              </a:rPr>
              <a:t>Merge and build</a:t>
            </a:r>
          </a:p>
          <a:p>
            <a:pPr lvl="0" algn="ctr"/>
            <a:r>
              <a:rPr lang="en-US" sz="2000" dirty="0"/>
              <a:t>Merge organizations and build global infrastructure</a:t>
            </a:r>
            <a:r>
              <a:rPr lang="da-DK" sz="2200" dirty="0"/>
              <a:t>.</a:t>
            </a:r>
          </a:p>
        </p:txBody>
      </p:sp>
      <p:sp>
        <p:nvSpPr>
          <p:cNvPr id="2" name="Cross 1"/>
          <p:cNvSpPr/>
          <p:nvPr/>
        </p:nvSpPr>
        <p:spPr bwMode="auto">
          <a:xfrm rot="18900000">
            <a:off x="3017837" y="2665759"/>
            <a:ext cx="1676400" cy="1676400"/>
          </a:xfrm>
          <a:prstGeom prst="plus">
            <a:avLst>
              <a:gd name="adj" fmla="val 40978"/>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39">
                    <a:srgbClr val="F8F8F8"/>
                  </a:gs>
                  <a:gs pos="10000">
                    <a:srgbClr val="F8F8F8"/>
                  </a:gs>
                </a:gsLst>
                <a:lin ang="5400000" scaled="0"/>
              </a:gradFill>
            </a:endParaRPr>
          </a:p>
        </p:txBody>
      </p:sp>
    </p:spTree>
    <p:extLst>
      <p:ext uri="{BB962C8B-B14F-4D97-AF65-F5344CB8AC3E}">
        <p14:creationId xmlns:p14="http://schemas.microsoft.com/office/powerpoint/2010/main" val="2875944694"/>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2" cstate="screen">
            <a:extLst>
              <a:ext uri="{BEBA8EAE-BF5A-486C-A8C5-ECC9F3942E4B}">
                <a14:imgProps xmlns:a14="http://schemas.microsoft.com/office/drawing/2010/main">
                  <a14:imgLayer r:embed="rId3">
                    <a14:imgEffect>
                      <a14:brightnessContrast bright="-40000"/>
                    </a14:imgEffect>
                  </a14:imgLayer>
                </a14:imgProps>
              </a:ext>
              <a:ext uri="{28A0092B-C50C-407E-A947-70E740481C1C}">
                <a14:useLocalDpi xmlns:a14="http://schemas.microsoft.com/office/drawing/2010/main"/>
              </a:ext>
            </a:extLst>
          </a:blip>
          <a:srcRect t="26536" b="3151"/>
          <a:stretch/>
        </p:blipFill>
        <p:spPr>
          <a:xfrm>
            <a:off x="881" y="0"/>
            <a:ext cx="12434712" cy="6994524"/>
          </a:xfrm>
          <a:prstGeom prst="rect">
            <a:avLst/>
          </a:prstGeom>
        </p:spPr>
      </p:pic>
      <p:sp>
        <p:nvSpPr>
          <p:cNvPr id="6" name="Title 5"/>
          <p:cNvSpPr>
            <a:spLocks noGrp="1"/>
          </p:cNvSpPr>
          <p:nvPr>
            <p:ph type="title"/>
          </p:nvPr>
        </p:nvSpPr>
        <p:spPr/>
        <p:txBody>
          <a:bodyPr/>
          <a:lstStyle/>
          <a:p>
            <a:r>
              <a:rPr lang="en-US" dirty="0"/>
              <a:t>Journey</a:t>
            </a:r>
          </a:p>
        </p:txBody>
      </p:sp>
    </p:spTree>
    <p:extLst>
      <p:ext uri="{BB962C8B-B14F-4D97-AF65-F5344CB8AC3E}">
        <p14:creationId xmlns:p14="http://schemas.microsoft.com/office/powerpoint/2010/main" val="95570102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20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960437" y="2238423"/>
            <a:ext cx="4239044" cy="4225035"/>
          </a:xfrm>
        </p:spPr>
        <p:txBody>
          <a:bodyPr/>
          <a:lstStyle/>
          <a:p>
            <a:r>
              <a:rPr lang="da-DK" sz="2000" dirty="0">
                <a:solidFill>
                  <a:schemeClr val="tx2"/>
                </a:solidFill>
              </a:rPr>
              <a:t>Contract signed </a:t>
            </a:r>
            <a:r>
              <a:rPr lang="da-DK" sz="2000" dirty="0"/>
              <a:t>spring 2012</a:t>
            </a:r>
          </a:p>
          <a:p>
            <a:r>
              <a:rPr lang="da-DK" sz="2000" dirty="0">
                <a:solidFill>
                  <a:schemeClr val="tx2"/>
                </a:solidFill>
              </a:rPr>
              <a:t>Three weeks later </a:t>
            </a:r>
            <a:r>
              <a:rPr lang="da-DK" sz="2000" dirty="0"/>
              <a:t>first market with 300 people migrated</a:t>
            </a:r>
          </a:p>
          <a:p>
            <a:r>
              <a:rPr lang="da-DK" sz="2000" dirty="0">
                <a:solidFill>
                  <a:schemeClr val="tx2"/>
                </a:solidFill>
              </a:rPr>
              <a:t>Summer 2013 </a:t>
            </a:r>
            <a:r>
              <a:rPr lang="da-DK" sz="2000" dirty="0"/>
              <a:t>all markets in Europe and first markets in Asia (15.000 users).</a:t>
            </a:r>
          </a:p>
          <a:p>
            <a:r>
              <a:rPr lang="da-DK" sz="2000" dirty="0">
                <a:solidFill>
                  <a:schemeClr val="tx2"/>
                </a:solidFill>
              </a:rPr>
              <a:t>Summer 2014 </a:t>
            </a:r>
            <a:r>
              <a:rPr lang="da-DK" sz="2000" dirty="0"/>
              <a:t>all markets in Asia (+4.000 users)</a:t>
            </a:r>
          </a:p>
          <a:p>
            <a:r>
              <a:rPr lang="da-DK" sz="2000" dirty="0">
                <a:solidFill>
                  <a:schemeClr val="tx2"/>
                </a:solidFill>
              </a:rPr>
              <a:t>Summer 2015</a:t>
            </a:r>
            <a:r>
              <a:rPr lang="da-DK" sz="2000" b="1" dirty="0"/>
              <a:t> </a:t>
            </a:r>
            <a:r>
              <a:rPr lang="da-DK" sz="2000" dirty="0"/>
              <a:t>all markets in Eastern Europe (+6.000 users)</a:t>
            </a:r>
          </a:p>
          <a:p>
            <a:r>
              <a:rPr lang="da-DK" sz="2000" b="1" dirty="0">
                <a:solidFill>
                  <a:schemeClr val="tx1"/>
                </a:solidFill>
              </a:rPr>
              <a:t>~25.000 users in 2½ years</a:t>
            </a:r>
          </a:p>
          <a:p>
            <a:endParaRPr lang="da-DK" sz="2000" dirty="0"/>
          </a:p>
          <a:p>
            <a:pPr marL="0" indent="0">
              <a:buNone/>
            </a:pPr>
            <a:endParaRPr lang="da-DK" sz="2000" dirty="0"/>
          </a:p>
          <a:p>
            <a:endParaRPr lang="da-DK" sz="2000" dirty="0"/>
          </a:p>
          <a:p>
            <a:endParaRPr lang="da-DK" sz="2000" dirty="0"/>
          </a:p>
        </p:txBody>
      </p:sp>
      <p:sp>
        <p:nvSpPr>
          <p:cNvPr id="3" name="Title 2"/>
          <p:cNvSpPr>
            <a:spLocks noGrp="1"/>
          </p:cNvSpPr>
          <p:nvPr>
            <p:ph type="title"/>
          </p:nvPr>
        </p:nvSpPr>
        <p:spPr/>
        <p:txBody>
          <a:bodyPr/>
          <a:lstStyle/>
          <a:p>
            <a:r>
              <a:rPr lang="da-DK" dirty="0"/>
              <a:t>Office 365 project at a glance</a:t>
            </a:r>
          </a:p>
        </p:txBody>
      </p:sp>
      <p:sp>
        <p:nvSpPr>
          <p:cNvPr id="4" name="Slide Number Placeholder 3"/>
          <p:cNvSpPr>
            <a:spLocks noGrp="1"/>
          </p:cNvSpPr>
          <p:nvPr>
            <p:ph type="sldNum" sz="quarter" idx="11"/>
          </p:nvPr>
        </p:nvSpPr>
        <p:spPr/>
        <p:txBody>
          <a:bodyPr/>
          <a:lstStyle/>
          <a:p>
            <a:fld id="{27C109AC-C406-465B-B380-64B7F40483DF}" type="slidenum">
              <a:rPr lang="en-GB" smtClean="0"/>
              <a:pPr/>
              <a:t>14</a:t>
            </a:fld>
            <a:endParaRPr lang="en-GB"/>
          </a:p>
        </p:txBody>
      </p:sp>
      <p:pic>
        <p:nvPicPr>
          <p:cNvPr id="5" name="Picture 4"/>
          <p:cNvPicPr>
            <a:picLocks noChangeAspect="1"/>
          </p:cNvPicPr>
          <p:nvPr/>
        </p:nvPicPr>
        <p:blipFill>
          <a:blip r:embed="rId2"/>
          <a:stretch>
            <a:fillRect/>
          </a:stretch>
        </p:blipFill>
        <p:spPr>
          <a:xfrm>
            <a:off x="6219421" y="1402988"/>
            <a:ext cx="2484030" cy="835436"/>
          </a:xfrm>
          <a:prstGeom prst="rect">
            <a:avLst/>
          </a:prstGeom>
          <a:ln>
            <a:noFill/>
          </a:ln>
          <a:effectLst>
            <a:outerShdw blurRad="292100" dist="139700" dir="2700000" algn="tl" rotWithShape="0">
              <a:srgbClr val="333333">
                <a:alpha val="65000"/>
              </a:srgbClr>
            </a:outerShdw>
          </a:effectLst>
        </p:spPr>
      </p:pic>
      <p:pic>
        <p:nvPicPr>
          <p:cNvPr id="6" name="Picture 5"/>
          <p:cNvPicPr>
            <a:picLocks noChangeAspect="1"/>
          </p:cNvPicPr>
          <p:nvPr/>
        </p:nvPicPr>
        <p:blipFill>
          <a:blip r:embed="rId3"/>
          <a:stretch>
            <a:fillRect/>
          </a:stretch>
        </p:blipFill>
        <p:spPr>
          <a:xfrm>
            <a:off x="7005897" y="1950879"/>
            <a:ext cx="3669798" cy="1187287"/>
          </a:xfrm>
          <a:prstGeom prst="rect">
            <a:avLst/>
          </a:prstGeom>
          <a:ln>
            <a:noFill/>
          </a:ln>
          <a:effectLst>
            <a:outerShdw blurRad="292100" dist="139700" dir="2700000" algn="tl" rotWithShape="0">
              <a:srgbClr val="333333">
                <a:alpha val="65000"/>
              </a:srgbClr>
            </a:outerShdw>
          </a:effectLst>
        </p:spPr>
      </p:pic>
      <p:pic>
        <p:nvPicPr>
          <p:cNvPr id="8" name="Picture 7"/>
          <p:cNvPicPr>
            <a:picLocks noChangeAspect="1"/>
          </p:cNvPicPr>
          <p:nvPr/>
        </p:nvPicPr>
        <p:blipFill>
          <a:blip r:embed="rId4"/>
          <a:stretch>
            <a:fillRect/>
          </a:stretch>
        </p:blipFill>
        <p:spPr>
          <a:xfrm>
            <a:off x="8916086" y="3075146"/>
            <a:ext cx="2178225" cy="1327197"/>
          </a:xfrm>
          <a:prstGeom prst="rect">
            <a:avLst/>
          </a:prstGeom>
          <a:ln>
            <a:noFill/>
          </a:ln>
          <a:effectLst>
            <a:outerShdw blurRad="292100" dist="139700" dir="2700000" algn="tl" rotWithShape="0">
              <a:srgbClr val="333333">
                <a:alpha val="65000"/>
              </a:srgbClr>
            </a:outerShdw>
          </a:effectLst>
        </p:spPr>
      </p:pic>
      <p:pic>
        <p:nvPicPr>
          <p:cNvPr id="10" name="Picture 9"/>
          <p:cNvPicPr>
            <a:picLocks noChangeAspect="1"/>
          </p:cNvPicPr>
          <p:nvPr/>
        </p:nvPicPr>
        <p:blipFill>
          <a:blip r:embed="rId5"/>
          <a:stretch>
            <a:fillRect/>
          </a:stretch>
        </p:blipFill>
        <p:spPr>
          <a:xfrm>
            <a:off x="9236304" y="3900819"/>
            <a:ext cx="2110354" cy="1605013"/>
          </a:xfrm>
          <a:prstGeom prst="rect">
            <a:avLst/>
          </a:prstGeom>
          <a:ln>
            <a:noFill/>
          </a:ln>
          <a:effectLst>
            <a:outerShdw blurRad="292100" dist="139700" dir="2700000" algn="tl" rotWithShape="0">
              <a:srgbClr val="333333">
                <a:alpha val="65000"/>
              </a:srgbClr>
            </a:outerShdw>
          </a:effectLst>
        </p:spPr>
      </p:pic>
      <p:pic>
        <p:nvPicPr>
          <p:cNvPr id="11" name="Picture 10"/>
          <p:cNvPicPr>
            <a:picLocks noChangeAspect="1"/>
          </p:cNvPicPr>
          <p:nvPr/>
        </p:nvPicPr>
        <p:blipFill>
          <a:blip r:embed="rId6"/>
          <a:stretch>
            <a:fillRect/>
          </a:stretch>
        </p:blipFill>
        <p:spPr>
          <a:xfrm>
            <a:off x="5299865" y="3399454"/>
            <a:ext cx="1665878" cy="862080"/>
          </a:xfrm>
          <a:prstGeom prst="rect">
            <a:avLst/>
          </a:prstGeom>
          <a:ln>
            <a:noFill/>
          </a:ln>
          <a:effectLst>
            <a:outerShdw blurRad="292100" dist="139700" dir="2700000" algn="tl" rotWithShape="0">
              <a:srgbClr val="333333">
                <a:alpha val="65000"/>
              </a:srgbClr>
            </a:outerShdw>
          </a:effectLst>
        </p:spPr>
      </p:pic>
      <p:pic>
        <p:nvPicPr>
          <p:cNvPr id="12" name="Picture 11"/>
          <p:cNvPicPr>
            <a:picLocks noChangeAspect="1"/>
          </p:cNvPicPr>
          <p:nvPr/>
        </p:nvPicPr>
        <p:blipFill>
          <a:blip r:embed="rId7"/>
          <a:stretch>
            <a:fillRect/>
          </a:stretch>
        </p:blipFill>
        <p:spPr>
          <a:xfrm>
            <a:off x="5450836" y="2126418"/>
            <a:ext cx="1957841" cy="1272859"/>
          </a:xfrm>
          <a:prstGeom prst="rect">
            <a:avLst/>
          </a:prstGeom>
          <a:ln>
            <a:noFill/>
          </a:ln>
          <a:effectLst>
            <a:outerShdw blurRad="292100" dist="139700" dir="2700000" algn="tl" rotWithShape="0">
              <a:srgbClr val="333333">
                <a:alpha val="65000"/>
              </a:srgbClr>
            </a:outerShdw>
          </a:effectLst>
        </p:spPr>
      </p:pic>
      <p:pic>
        <p:nvPicPr>
          <p:cNvPr id="13" name="Picture 12"/>
          <p:cNvPicPr>
            <a:picLocks noChangeAspect="1"/>
          </p:cNvPicPr>
          <p:nvPr/>
        </p:nvPicPr>
        <p:blipFill>
          <a:blip r:embed="rId8"/>
          <a:stretch>
            <a:fillRect/>
          </a:stretch>
        </p:blipFill>
        <p:spPr>
          <a:xfrm>
            <a:off x="6547430" y="2881394"/>
            <a:ext cx="1954030" cy="1061144"/>
          </a:xfrm>
          <a:prstGeom prst="rect">
            <a:avLst/>
          </a:prstGeom>
          <a:ln>
            <a:noFill/>
          </a:ln>
          <a:effectLst>
            <a:outerShdw blurRad="292100" dist="139700" dir="2700000" algn="tl" rotWithShape="0">
              <a:srgbClr val="333333">
                <a:alpha val="65000"/>
              </a:srgbClr>
            </a:outerShdw>
          </a:effectLst>
        </p:spPr>
      </p:pic>
      <p:pic>
        <p:nvPicPr>
          <p:cNvPr id="15" name="Picture 14"/>
          <p:cNvPicPr>
            <a:picLocks noChangeAspect="1"/>
          </p:cNvPicPr>
          <p:nvPr/>
        </p:nvPicPr>
        <p:blipFill>
          <a:blip r:embed="rId9"/>
          <a:stretch>
            <a:fillRect/>
          </a:stretch>
        </p:blipFill>
        <p:spPr>
          <a:xfrm>
            <a:off x="5962520" y="3717269"/>
            <a:ext cx="3113675" cy="2787997"/>
          </a:xfrm>
          <a:prstGeom prst="rect">
            <a:avLst/>
          </a:prstGeom>
          <a:ln>
            <a:noFill/>
          </a:ln>
          <a:effectLst>
            <a:outerShdw blurRad="292100" dist="139700" dir="2700000" algn="tl" rotWithShape="0">
              <a:srgbClr val="333333">
                <a:alpha val="65000"/>
              </a:srgbClr>
            </a:outerShdw>
          </a:effectLst>
        </p:spPr>
      </p:pic>
      <p:pic>
        <p:nvPicPr>
          <p:cNvPr id="16" name="Picture 15"/>
          <p:cNvPicPr>
            <a:picLocks noChangeAspect="1"/>
          </p:cNvPicPr>
          <p:nvPr/>
        </p:nvPicPr>
        <p:blipFill>
          <a:blip r:embed="rId10"/>
          <a:stretch>
            <a:fillRect/>
          </a:stretch>
        </p:blipFill>
        <p:spPr>
          <a:xfrm>
            <a:off x="7826794" y="4739214"/>
            <a:ext cx="2655217" cy="2037261"/>
          </a:xfrm>
          <a:prstGeom prst="rect">
            <a:avLst/>
          </a:prstGeom>
          <a:ln>
            <a:noFill/>
          </a:ln>
          <a:effectLst>
            <a:outerShdw blurRad="292100" dist="139700" dir="2700000" algn="tl" rotWithShape="0">
              <a:srgbClr val="333333">
                <a:alpha val="65000"/>
              </a:srgbClr>
            </a:outerShdw>
          </a:effectLst>
        </p:spPr>
      </p:pic>
      <p:pic>
        <p:nvPicPr>
          <p:cNvPr id="14" name="Picture 13"/>
          <p:cNvPicPr>
            <a:picLocks noChangeAspect="1"/>
          </p:cNvPicPr>
          <p:nvPr/>
        </p:nvPicPr>
        <p:blipFill>
          <a:blip r:embed="rId11"/>
          <a:stretch>
            <a:fillRect/>
          </a:stretch>
        </p:blipFill>
        <p:spPr>
          <a:xfrm>
            <a:off x="5192993" y="4494868"/>
            <a:ext cx="2365457" cy="1677261"/>
          </a:xfrm>
          <a:prstGeom prst="rect">
            <a:avLst/>
          </a:prstGeom>
          <a:ln>
            <a:noFill/>
          </a:ln>
          <a:effectLst>
            <a:outerShdw blurRad="292100" dist="139700" dir="2700000" algn="tl" rotWithShape="0">
              <a:srgbClr val="333333">
                <a:alpha val="65000"/>
              </a:srgbClr>
            </a:outerShdw>
          </a:effectLst>
        </p:spPr>
      </p:pic>
      <p:pic>
        <p:nvPicPr>
          <p:cNvPr id="9" name="Picture 8"/>
          <p:cNvPicPr>
            <a:picLocks noChangeAspect="1"/>
          </p:cNvPicPr>
          <p:nvPr/>
        </p:nvPicPr>
        <p:blipFill>
          <a:blip r:embed="rId12"/>
          <a:stretch>
            <a:fillRect/>
          </a:stretch>
        </p:blipFill>
        <p:spPr>
          <a:xfrm>
            <a:off x="5444509" y="5780808"/>
            <a:ext cx="2318447" cy="1093881"/>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283688195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Effect transition="in" filter="fade">
                                      <p:cBhvr>
                                        <p:cTn id="7" dur="500"/>
                                        <p:tgtEl>
                                          <p:spTgt spid="2">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 presetClass="entr" presetSubtype="0" fill="hold" nodeType="clickEffect">
                                  <p:stCondLst>
                                    <p:cond delay="0"/>
                                  </p:stCondLst>
                                  <p:childTnLst>
                                    <p:set>
                                      <p:cBhvr>
                                        <p:cTn id="11" dur="1" fill="hold">
                                          <p:stCondLst>
                                            <p:cond delay="0"/>
                                          </p:stCondLst>
                                        </p:cTn>
                                        <p:tgtEl>
                                          <p:spTgt spid="2">
                                            <p:txEl>
                                              <p:pRg st="1" end="1"/>
                                            </p:txEl>
                                          </p:spTgt>
                                        </p:tgtEl>
                                        <p:attrNameLst>
                                          <p:attrName>style.visibility</p:attrName>
                                        </p:attrNameLst>
                                      </p:cBhvr>
                                      <p:to>
                                        <p:strVal val="visible"/>
                                      </p:to>
                                    </p:set>
                                  </p:childTnLst>
                                </p:cTn>
                              </p:par>
                            </p:childTnLst>
                          </p:cTn>
                        </p:par>
                      </p:childTnLst>
                    </p:cTn>
                  </p:par>
                  <p:par>
                    <p:cTn id="12" fill="hold">
                      <p:stCondLst>
                        <p:cond delay="indefinite"/>
                      </p:stCondLst>
                      <p:childTnLst>
                        <p:par>
                          <p:cTn id="13" fill="hold">
                            <p:stCondLst>
                              <p:cond delay="0"/>
                            </p:stCondLst>
                            <p:childTnLst>
                              <p:par>
                                <p:cTn id="14" presetID="1" presetClass="entr" presetSubtype="0" fill="hold" nodeType="clickEffect">
                                  <p:stCondLst>
                                    <p:cond delay="0"/>
                                  </p:stCondLst>
                                  <p:childTnLst>
                                    <p:set>
                                      <p:cBhvr>
                                        <p:cTn id="15" dur="1" fill="hold">
                                          <p:stCondLst>
                                            <p:cond delay="0"/>
                                          </p:stCondLst>
                                        </p:cTn>
                                        <p:tgtEl>
                                          <p:spTgt spid="2">
                                            <p:txEl>
                                              <p:pRg st="2" end="2"/>
                                            </p:txEl>
                                          </p:spTgt>
                                        </p:tgtEl>
                                        <p:attrNameLst>
                                          <p:attrName>style.visibility</p:attrName>
                                        </p:attrNameLst>
                                      </p:cBhvr>
                                      <p:to>
                                        <p:strVal val="visible"/>
                                      </p:to>
                                    </p:set>
                                  </p:childTnLst>
                                </p:cTn>
                              </p:par>
                            </p:childTnLst>
                          </p:cTn>
                        </p:par>
                      </p:childTnLst>
                    </p:cTn>
                  </p:par>
                  <p:par>
                    <p:cTn id="16" fill="hold">
                      <p:stCondLst>
                        <p:cond delay="indefinite"/>
                      </p:stCondLst>
                      <p:childTnLst>
                        <p:par>
                          <p:cTn id="17" fill="hold">
                            <p:stCondLst>
                              <p:cond delay="0"/>
                            </p:stCondLst>
                            <p:childTnLst>
                              <p:par>
                                <p:cTn id="18" presetID="1" presetClass="entr" presetSubtype="0" fill="hold" nodeType="clickEffect">
                                  <p:stCondLst>
                                    <p:cond delay="0"/>
                                  </p:stCondLst>
                                  <p:childTnLst>
                                    <p:set>
                                      <p:cBhvr>
                                        <p:cTn id="19" dur="1" fill="hold">
                                          <p:stCondLst>
                                            <p:cond delay="0"/>
                                          </p:stCondLst>
                                        </p:cTn>
                                        <p:tgtEl>
                                          <p:spTgt spid="2">
                                            <p:txEl>
                                              <p:pRg st="3" end="3"/>
                                            </p:txEl>
                                          </p:spTgt>
                                        </p:tgtEl>
                                        <p:attrNameLst>
                                          <p:attrName>style.visibility</p:attrName>
                                        </p:attrNameLst>
                                      </p:cBhvr>
                                      <p:to>
                                        <p:strVal val="visible"/>
                                      </p:to>
                                    </p:set>
                                  </p:childTnLst>
                                </p:cTn>
                              </p:par>
                            </p:childTnLst>
                          </p:cTn>
                        </p:par>
                      </p:childTnLst>
                    </p:cTn>
                  </p:par>
                  <p:par>
                    <p:cTn id="20" fill="hold">
                      <p:stCondLst>
                        <p:cond delay="indefinite"/>
                      </p:stCondLst>
                      <p:childTnLst>
                        <p:par>
                          <p:cTn id="21" fill="hold">
                            <p:stCondLst>
                              <p:cond delay="0"/>
                            </p:stCondLst>
                            <p:childTnLst>
                              <p:par>
                                <p:cTn id="22" presetID="1" presetClass="entr" presetSubtype="0" fill="hold" nodeType="clickEffect">
                                  <p:stCondLst>
                                    <p:cond delay="0"/>
                                  </p:stCondLst>
                                  <p:childTnLst>
                                    <p:set>
                                      <p:cBhvr>
                                        <p:cTn id="23" dur="1" fill="hold">
                                          <p:stCondLst>
                                            <p:cond delay="0"/>
                                          </p:stCondLst>
                                        </p:cTn>
                                        <p:tgtEl>
                                          <p:spTgt spid="2">
                                            <p:txEl>
                                              <p:pRg st="4" end="4"/>
                                            </p:txEl>
                                          </p:spTgt>
                                        </p:tgtEl>
                                        <p:attrNameLst>
                                          <p:attrName>style.visibility</p:attrName>
                                        </p:attrNameLst>
                                      </p:cBhvr>
                                      <p:to>
                                        <p:strVal val="visible"/>
                                      </p:to>
                                    </p:set>
                                  </p:childTnLst>
                                </p:cTn>
                              </p:par>
                            </p:childTnLst>
                          </p:cTn>
                        </p:par>
                      </p:childTnLst>
                    </p:cTn>
                  </p:par>
                  <p:par>
                    <p:cTn id="24" fill="hold">
                      <p:stCondLst>
                        <p:cond delay="indefinite"/>
                      </p:stCondLst>
                      <p:childTnLst>
                        <p:par>
                          <p:cTn id="25" fill="hold">
                            <p:stCondLst>
                              <p:cond delay="0"/>
                            </p:stCondLst>
                            <p:childTnLst>
                              <p:par>
                                <p:cTn id="26" presetID="1" presetClass="entr" presetSubtype="0" fill="hold" nodeType="clickEffect">
                                  <p:stCondLst>
                                    <p:cond delay="0"/>
                                  </p:stCondLst>
                                  <p:childTnLst>
                                    <p:set>
                                      <p:cBhvr>
                                        <p:cTn id="27" dur="1" fill="hold">
                                          <p:stCondLst>
                                            <p:cond delay="0"/>
                                          </p:stCondLst>
                                        </p:cTn>
                                        <p:tgtEl>
                                          <p:spTgt spid="2">
                                            <p:txEl>
                                              <p:pRg st="5" end="5"/>
                                            </p:txEl>
                                          </p:spTgt>
                                        </p:tgtEl>
                                        <p:attrNameLst>
                                          <p:attrName>style.visibility</p:attrName>
                                        </p:attrNameLst>
                                      </p:cBhvr>
                                      <p:to>
                                        <p:strVal val="visible"/>
                                      </p:to>
                                    </p:set>
                                  </p:childTnLst>
                                </p:cTn>
                              </p:par>
                              <p:par>
                                <p:cTn id="28" presetID="1" presetClass="entr" presetSubtype="0" fill="hold" nodeType="withEffect">
                                  <p:stCondLst>
                                    <p:cond delay="0"/>
                                  </p:stCondLst>
                                  <p:childTnLst>
                                    <p:set>
                                      <p:cBhvr>
                                        <p:cTn id="29" dur="1" fill="hold">
                                          <p:stCondLst>
                                            <p:cond delay="0"/>
                                          </p:stCondLst>
                                        </p:cTn>
                                        <p:tgtEl>
                                          <p:spTgt spid="5"/>
                                        </p:tgtEl>
                                        <p:attrNameLst>
                                          <p:attrName>style.visibility</p:attrName>
                                        </p:attrNameLst>
                                      </p:cBhvr>
                                      <p:to>
                                        <p:strVal val="visible"/>
                                      </p:to>
                                    </p:set>
                                  </p:childTnLst>
                                </p:cTn>
                              </p:par>
                              <p:par>
                                <p:cTn id="30" presetID="1" presetClass="entr" presetSubtype="0" fill="hold" nodeType="withEffect">
                                  <p:stCondLst>
                                    <p:cond delay="200"/>
                                  </p:stCondLst>
                                  <p:childTnLst>
                                    <p:set>
                                      <p:cBhvr>
                                        <p:cTn id="31" dur="1" fill="hold">
                                          <p:stCondLst>
                                            <p:cond delay="0"/>
                                          </p:stCondLst>
                                        </p:cTn>
                                        <p:tgtEl>
                                          <p:spTgt spid="6"/>
                                        </p:tgtEl>
                                        <p:attrNameLst>
                                          <p:attrName>style.visibility</p:attrName>
                                        </p:attrNameLst>
                                      </p:cBhvr>
                                      <p:to>
                                        <p:strVal val="visible"/>
                                      </p:to>
                                    </p:set>
                                  </p:childTnLst>
                                </p:cTn>
                              </p:par>
                              <p:par>
                                <p:cTn id="32" presetID="1" presetClass="entr" presetSubtype="0" fill="hold" nodeType="withEffect">
                                  <p:stCondLst>
                                    <p:cond delay="400"/>
                                  </p:stCondLst>
                                  <p:childTnLst>
                                    <p:set>
                                      <p:cBhvr>
                                        <p:cTn id="33" dur="1" fill="hold">
                                          <p:stCondLst>
                                            <p:cond delay="0"/>
                                          </p:stCondLst>
                                        </p:cTn>
                                        <p:tgtEl>
                                          <p:spTgt spid="12"/>
                                        </p:tgtEl>
                                        <p:attrNameLst>
                                          <p:attrName>style.visibility</p:attrName>
                                        </p:attrNameLst>
                                      </p:cBhvr>
                                      <p:to>
                                        <p:strVal val="visible"/>
                                      </p:to>
                                    </p:set>
                                  </p:childTnLst>
                                </p:cTn>
                              </p:par>
                              <p:par>
                                <p:cTn id="34" presetID="1" presetClass="entr" presetSubtype="0" fill="hold" nodeType="withEffect">
                                  <p:stCondLst>
                                    <p:cond delay="600"/>
                                  </p:stCondLst>
                                  <p:childTnLst>
                                    <p:set>
                                      <p:cBhvr>
                                        <p:cTn id="35" dur="1" fill="hold">
                                          <p:stCondLst>
                                            <p:cond delay="0"/>
                                          </p:stCondLst>
                                        </p:cTn>
                                        <p:tgtEl>
                                          <p:spTgt spid="13"/>
                                        </p:tgtEl>
                                        <p:attrNameLst>
                                          <p:attrName>style.visibility</p:attrName>
                                        </p:attrNameLst>
                                      </p:cBhvr>
                                      <p:to>
                                        <p:strVal val="visible"/>
                                      </p:to>
                                    </p:set>
                                  </p:childTnLst>
                                </p:cTn>
                              </p:par>
                              <p:par>
                                <p:cTn id="36" presetID="1" presetClass="entr" presetSubtype="0" fill="hold" nodeType="withEffect">
                                  <p:stCondLst>
                                    <p:cond delay="800"/>
                                  </p:stCondLst>
                                  <p:childTnLst>
                                    <p:set>
                                      <p:cBhvr>
                                        <p:cTn id="37" dur="1" fill="hold">
                                          <p:stCondLst>
                                            <p:cond delay="0"/>
                                          </p:stCondLst>
                                        </p:cTn>
                                        <p:tgtEl>
                                          <p:spTgt spid="8"/>
                                        </p:tgtEl>
                                        <p:attrNameLst>
                                          <p:attrName>style.visibility</p:attrName>
                                        </p:attrNameLst>
                                      </p:cBhvr>
                                      <p:to>
                                        <p:strVal val="visible"/>
                                      </p:to>
                                    </p:set>
                                  </p:childTnLst>
                                </p:cTn>
                              </p:par>
                              <p:par>
                                <p:cTn id="38" presetID="1" presetClass="entr" presetSubtype="0" fill="hold" nodeType="withEffect">
                                  <p:stCondLst>
                                    <p:cond delay="1000"/>
                                  </p:stCondLst>
                                  <p:childTnLst>
                                    <p:set>
                                      <p:cBhvr>
                                        <p:cTn id="39" dur="1" fill="hold">
                                          <p:stCondLst>
                                            <p:cond delay="0"/>
                                          </p:stCondLst>
                                        </p:cTn>
                                        <p:tgtEl>
                                          <p:spTgt spid="11"/>
                                        </p:tgtEl>
                                        <p:attrNameLst>
                                          <p:attrName>style.visibility</p:attrName>
                                        </p:attrNameLst>
                                      </p:cBhvr>
                                      <p:to>
                                        <p:strVal val="visible"/>
                                      </p:to>
                                    </p:set>
                                  </p:childTnLst>
                                </p:cTn>
                              </p:par>
                              <p:par>
                                <p:cTn id="40" presetID="1" presetClass="entr" presetSubtype="0" fill="hold" nodeType="withEffect">
                                  <p:stCondLst>
                                    <p:cond delay="1200"/>
                                  </p:stCondLst>
                                  <p:childTnLst>
                                    <p:set>
                                      <p:cBhvr>
                                        <p:cTn id="41" dur="1" fill="hold">
                                          <p:stCondLst>
                                            <p:cond delay="0"/>
                                          </p:stCondLst>
                                        </p:cTn>
                                        <p:tgtEl>
                                          <p:spTgt spid="15"/>
                                        </p:tgtEl>
                                        <p:attrNameLst>
                                          <p:attrName>style.visibility</p:attrName>
                                        </p:attrNameLst>
                                      </p:cBhvr>
                                      <p:to>
                                        <p:strVal val="visible"/>
                                      </p:to>
                                    </p:set>
                                  </p:childTnLst>
                                </p:cTn>
                              </p:par>
                              <p:par>
                                <p:cTn id="42" presetID="1" presetClass="entr" presetSubtype="0" fill="hold" nodeType="withEffect">
                                  <p:stCondLst>
                                    <p:cond delay="1400"/>
                                  </p:stCondLst>
                                  <p:childTnLst>
                                    <p:set>
                                      <p:cBhvr>
                                        <p:cTn id="43" dur="1" fill="hold">
                                          <p:stCondLst>
                                            <p:cond delay="0"/>
                                          </p:stCondLst>
                                        </p:cTn>
                                        <p:tgtEl>
                                          <p:spTgt spid="10"/>
                                        </p:tgtEl>
                                        <p:attrNameLst>
                                          <p:attrName>style.visibility</p:attrName>
                                        </p:attrNameLst>
                                      </p:cBhvr>
                                      <p:to>
                                        <p:strVal val="visible"/>
                                      </p:to>
                                    </p:set>
                                  </p:childTnLst>
                                </p:cTn>
                              </p:par>
                              <p:par>
                                <p:cTn id="44" presetID="1" presetClass="entr" presetSubtype="0" fill="hold" nodeType="withEffect">
                                  <p:stCondLst>
                                    <p:cond delay="1600"/>
                                  </p:stCondLst>
                                  <p:childTnLst>
                                    <p:set>
                                      <p:cBhvr>
                                        <p:cTn id="45" dur="1" fill="hold">
                                          <p:stCondLst>
                                            <p:cond delay="0"/>
                                          </p:stCondLst>
                                        </p:cTn>
                                        <p:tgtEl>
                                          <p:spTgt spid="16"/>
                                        </p:tgtEl>
                                        <p:attrNameLst>
                                          <p:attrName>style.visibility</p:attrName>
                                        </p:attrNameLst>
                                      </p:cBhvr>
                                      <p:to>
                                        <p:strVal val="visible"/>
                                      </p:to>
                                    </p:set>
                                  </p:childTnLst>
                                </p:cTn>
                              </p:par>
                              <p:par>
                                <p:cTn id="46" presetID="1" presetClass="entr" presetSubtype="0" fill="hold" nodeType="withEffect">
                                  <p:stCondLst>
                                    <p:cond delay="1800"/>
                                  </p:stCondLst>
                                  <p:childTnLst>
                                    <p:set>
                                      <p:cBhvr>
                                        <p:cTn id="47" dur="1" fill="hold">
                                          <p:stCondLst>
                                            <p:cond delay="0"/>
                                          </p:stCondLst>
                                        </p:cTn>
                                        <p:tgtEl>
                                          <p:spTgt spid="9"/>
                                        </p:tgtEl>
                                        <p:attrNameLst>
                                          <p:attrName>style.visibility</p:attrName>
                                        </p:attrNameLst>
                                      </p:cBhvr>
                                      <p:to>
                                        <p:strVal val="visible"/>
                                      </p:to>
                                    </p:set>
                                  </p:childTnLst>
                                </p:cTn>
                              </p:par>
                              <p:par>
                                <p:cTn id="48" presetID="1" presetClass="entr" presetSubtype="0" fill="hold" nodeType="withEffect">
                                  <p:stCondLst>
                                    <p:cond delay="2000"/>
                                  </p:stCondLst>
                                  <p:childTnLst>
                                    <p:set>
                                      <p:cBhvr>
                                        <p:cTn id="49"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TextBox 29"/>
          <p:cNvSpPr txBox="1"/>
          <p:nvPr/>
        </p:nvSpPr>
        <p:spPr>
          <a:xfrm>
            <a:off x="8351837" y="1212849"/>
            <a:ext cx="3812366" cy="1446550"/>
          </a:xfrm>
          <a:prstGeom prst="rect">
            <a:avLst/>
          </a:prstGeom>
          <a:solidFill>
            <a:schemeClr val="bg2">
              <a:lumMod val="90000"/>
            </a:schemeClr>
          </a:solidFill>
        </p:spPr>
        <p:txBody>
          <a:bodyPr wrap="square" lIns="182880" tIns="146304" rIns="182880" bIns="146304" rtlCol="0">
            <a:spAutoFit/>
          </a:bodyPr>
          <a:lstStyle/>
          <a:p>
            <a:pPr lvl="1">
              <a:lnSpc>
                <a:spcPct val="90000"/>
              </a:lnSpc>
              <a:spcAft>
                <a:spcPts val="600"/>
              </a:spcAft>
            </a:pPr>
            <a:r>
              <a:rPr lang="en-US" sz="2400" dirty="0">
                <a:gradFill>
                  <a:gsLst>
                    <a:gs pos="2917">
                      <a:schemeClr val="tx1"/>
                    </a:gs>
                    <a:gs pos="30000">
                      <a:schemeClr val="tx1"/>
                    </a:gs>
                  </a:gsLst>
                  <a:lin ang="5400000" scaled="0"/>
                </a:gradFill>
              </a:rPr>
              <a:t>Few challenges</a:t>
            </a:r>
          </a:p>
          <a:p>
            <a:pPr lvl="1">
              <a:lnSpc>
                <a:spcPct val="90000"/>
              </a:lnSpc>
              <a:spcAft>
                <a:spcPts val="600"/>
              </a:spcAft>
            </a:pPr>
            <a:r>
              <a:rPr lang="en-US" sz="2400" dirty="0">
                <a:gradFill>
                  <a:gsLst>
                    <a:gs pos="2917">
                      <a:schemeClr val="tx1"/>
                    </a:gs>
                    <a:gs pos="30000">
                      <a:schemeClr val="tx1"/>
                    </a:gs>
                  </a:gsLst>
                  <a:lin ang="5400000" scaled="0"/>
                </a:gradFill>
              </a:rPr>
              <a:t>Some challenges</a:t>
            </a:r>
          </a:p>
          <a:p>
            <a:pPr lvl="1">
              <a:lnSpc>
                <a:spcPct val="90000"/>
              </a:lnSpc>
              <a:spcAft>
                <a:spcPts val="600"/>
              </a:spcAft>
            </a:pPr>
            <a:r>
              <a:rPr lang="en-US" sz="2400" dirty="0">
                <a:gradFill>
                  <a:gsLst>
                    <a:gs pos="2917">
                      <a:schemeClr val="tx1"/>
                    </a:gs>
                    <a:gs pos="30000">
                      <a:schemeClr val="tx1"/>
                    </a:gs>
                  </a:gsLst>
                  <a:lin ang="5400000" scaled="0"/>
                </a:gradFill>
              </a:rPr>
              <a:t>Significant challenges</a:t>
            </a:r>
          </a:p>
        </p:txBody>
      </p:sp>
      <p:sp>
        <p:nvSpPr>
          <p:cNvPr id="7" name="Title 6"/>
          <p:cNvSpPr>
            <a:spLocks noGrp="1"/>
          </p:cNvSpPr>
          <p:nvPr>
            <p:ph type="title"/>
          </p:nvPr>
        </p:nvSpPr>
        <p:spPr/>
        <p:txBody>
          <a:bodyPr/>
          <a:lstStyle/>
          <a:p>
            <a:r>
              <a:rPr lang="en-US" dirty="0"/>
              <a:t>Experience</a:t>
            </a:r>
          </a:p>
        </p:txBody>
      </p:sp>
      <p:sp>
        <p:nvSpPr>
          <p:cNvPr id="10" name="Text Placeholder 9"/>
          <p:cNvSpPr>
            <a:spLocks noGrp="1"/>
          </p:cNvSpPr>
          <p:nvPr>
            <p:ph type="body" sz="quarter" idx="10"/>
          </p:nvPr>
        </p:nvSpPr>
        <p:spPr>
          <a:xfrm>
            <a:off x="957387" y="1212850"/>
            <a:ext cx="6480050" cy="5637212"/>
          </a:xfrm>
        </p:spPr>
        <p:txBody>
          <a:bodyPr numCol="1"/>
          <a:lstStyle/>
          <a:p>
            <a:r>
              <a:rPr lang="en-US" dirty="0">
                <a:solidFill>
                  <a:schemeClr val="tx1"/>
                </a:solidFill>
              </a:rPr>
              <a:t>Security and Legal</a:t>
            </a:r>
          </a:p>
          <a:p>
            <a:r>
              <a:rPr lang="en-US" dirty="0">
                <a:solidFill>
                  <a:schemeClr val="tx1"/>
                </a:solidFill>
              </a:rPr>
              <a:t>Migration</a:t>
            </a:r>
          </a:p>
          <a:p>
            <a:r>
              <a:rPr lang="en-US" dirty="0">
                <a:solidFill>
                  <a:schemeClr val="tx1"/>
                </a:solidFill>
              </a:rPr>
              <a:t>Operations</a:t>
            </a:r>
          </a:p>
          <a:p>
            <a:r>
              <a:rPr lang="en-US" dirty="0">
                <a:solidFill>
                  <a:schemeClr val="tx1"/>
                </a:solidFill>
              </a:rPr>
              <a:t>Support</a:t>
            </a:r>
          </a:p>
          <a:p>
            <a:r>
              <a:rPr lang="en-US" dirty="0">
                <a:solidFill>
                  <a:schemeClr val="tx1"/>
                </a:solidFill>
              </a:rPr>
              <a:t>License mgmt.</a:t>
            </a:r>
          </a:p>
          <a:p>
            <a:r>
              <a:rPr lang="en-US" dirty="0">
                <a:solidFill>
                  <a:schemeClr val="tx1"/>
                </a:solidFill>
              </a:rPr>
              <a:t>Maintenance</a:t>
            </a:r>
          </a:p>
          <a:p>
            <a:r>
              <a:rPr lang="en-US" dirty="0">
                <a:solidFill>
                  <a:schemeClr val="tx1"/>
                </a:solidFill>
              </a:rPr>
              <a:t>Network</a:t>
            </a:r>
          </a:p>
          <a:p>
            <a:r>
              <a:rPr lang="en-US" dirty="0">
                <a:solidFill>
                  <a:schemeClr val="tx1"/>
                </a:solidFill>
              </a:rPr>
              <a:t>Adoption</a:t>
            </a:r>
          </a:p>
        </p:txBody>
      </p:sp>
      <p:pic>
        <p:nvPicPr>
          <p:cNvPr id="13" name="Picture 12"/>
          <p:cNvPicPr>
            <a:picLocks noChangeAspect="1"/>
          </p:cNvPicPr>
          <p:nvPr/>
        </p:nvPicPr>
        <p:blipFill>
          <a:blip r:embed="rId2"/>
          <a:stretch>
            <a:fillRect/>
          </a:stretch>
        </p:blipFill>
        <p:spPr>
          <a:xfrm>
            <a:off x="399556" y="1287462"/>
            <a:ext cx="560881" cy="557833"/>
          </a:xfrm>
          <a:prstGeom prst="rect">
            <a:avLst/>
          </a:prstGeom>
        </p:spPr>
      </p:pic>
      <p:pic>
        <p:nvPicPr>
          <p:cNvPr id="15" name="Picture 14"/>
          <p:cNvPicPr>
            <a:picLocks noChangeAspect="1"/>
          </p:cNvPicPr>
          <p:nvPr/>
        </p:nvPicPr>
        <p:blipFill>
          <a:blip r:embed="rId3"/>
          <a:stretch>
            <a:fillRect/>
          </a:stretch>
        </p:blipFill>
        <p:spPr>
          <a:xfrm>
            <a:off x="399555" y="1952565"/>
            <a:ext cx="560881" cy="557833"/>
          </a:xfrm>
          <a:prstGeom prst="rect">
            <a:avLst/>
          </a:prstGeom>
        </p:spPr>
      </p:pic>
      <p:sp>
        <p:nvSpPr>
          <p:cNvPr id="29" name="Oval 6"/>
          <p:cNvSpPr>
            <a:spLocks noChangeArrowheads="1"/>
          </p:cNvSpPr>
          <p:nvPr/>
        </p:nvSpPr>
        <p:spPr bwMode="auto">
          <a:xfrm>
            <a:off x="8530022" y="1350763"/>
            <a:ext cx="324847" cy="324847"/>
          </a:xfrm>
          <a:prstGeom prst="ellipse">
            <a:avLst/>
          </a:prstGeom>
          <a:solidFill>
            <a:srgbClr val="107C10"/>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31" name="Oval 6"/>
          <p:cNvSpPr>
            <a:spLocks noChangeArrowheads="1"/>
          </p:cNvSpPr>
          <p:nvPr/>
        </p:nvSpPr>
        <p:spPr bwMode="auto">
          <a:xfrm>
            <a:off x="8530022" y="1775891"/>
            <a:ext cx="324847" cy="324847"/>
          </a:xfrm>
          <a:prstGeom prst="ellipse">
            <a:avLst/>
          </a:prstGeom>
          <a:solidFill>
            <a:schemeClr val="accent6"/>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32" name="Oval 6"/>
          <p:cNvSpPr>
            <a:spLocks noChangeArrowheads="1"/>
          </p:cNvSpPr>
          <p:nvPr/>
        </p:nvSpPr>
        <p:spPr bwMode="auto">
          <a:xfrm>
            <a:off x="8533870" y="2200524"/>
            <a:ext cx="324847" cy="324847"/>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36"/>
          </a:p>
        </p:txBody>
      </p:sp>
      <p:pic>
        <p:nvPicPr>
          <p:cNvPr id="39" name="Picture 38"/>
          <p:cNvPicPr>
            <a:picLocks noChangeAspect="1"/>
          </p:cNvPicPr>
          <p:nvPr/>
        </p:nvPicPr>
        <p:blipFill>
          <a:blip r:embed="rId4"/>
          <a:stretch>
            <a:fillRect/>
          </a:stretch>
        </p:blipFill>
        <p:spPr>
          <a:xfrm>
            <a:off x="399960" y="2613242"/>
            <a:ext cx="557833" cy="557833"/>
          </a:xfrm>
          <a:prstGeom prst="rect">
            <a:avLst/>
          </a:prstGeom>
        </p:spPr>
      </p:pic>
      <p:pic>
        <p:nvPicPr>
          <p:cNvPr id="43" name="Picture 42"/>
          <p:cNvPicPr>
            <a:picLocks noChangeAspect="1"/>
          </p:cNvPicPr>
          <p:nvPr/>
        </p:nvPicPr>
        <p:blipFill>
          <a:blip r:embed="rId5"/>
          <a:stretch>
            <a:fillRect/>
          </a:stretch>
        </p:blipFill>
        <p:spPr>
          <a:xfrm>
            <a:off x="399555" y="3285533"/>
            <a:ext cx="557833" cy="557833"/>
          </a:xfrm>
          <a:prstGeom prst="rect">
            <a:avLst/>
          </a:prstGeom>
        </p:spPr>
      </p:pic>
      <p:pic>
        <p:nvPicPr>
          <p:cNvPr id="46" name="Picture 45"/>
          <p:cNvPicPr>
            <a:picLocks noChangeAspect="1"/>
          </p:cNvPicPr>
          <p:nvPr/>
        </p:nvPicPr>
        <p:blipFill>
          <a:blip r:embed="rId6"/>
          <a:stretch>
            <a:fillRect/>
          </a:stretch>
        </p:blipFill>
        <p:spPr>
          <a:xfrm>
            <a:off x="399555" y="3957824"/>
            <a:ext cx="560881" cy="560881"/>
          </a:xfrm>
          <a:prstGeom prst="rect">
            <a:avLst/>
          </a:prstGeom>
        </p:spPr>
      </p:pic>
      <p:pic>
        <p:nvPicPr>
          <p:cNvPr id="47" name="Picture 46"/>
          <p:cNvPicPr>
            <a:picLocks noChangeAspect="1"/>
          </p:cNvPicPr>
          <p:nvPr/>
        </p:nvPicPr>
        <p:blipFill>
          <a:blip r:embed="rId7"/>
          <a:stretch>
            <a:fillRect/>
          </a:stretch>
        </p:blipFill>
        <p:spPr>
          <a:xfrm>
            <a:off x="399555" y="4630115"/>
            <a:ext cx="560881" cy="557833"/>
          </a:xfrm>
          <a:prstGeom prst="rect">
            <a:avLst/>
          </a:prstGeom>
        </p:spPr>
      </p:pic>
      <p:pic>
        <p:nvPicPr>
          <p:cNvPr id="48" name="Picture 47"/>
          <p:cNvPicPr>
            <a:picLocks noChangeAspect="1"/>
          </p:cNvPicPr>
          <p:nvPr/>
        </p:nvPicPr>
        <p:blipFill>
          <a:blip r:embed="rId8"/>
          <a:stretch>
            <a:fillRect/>
          </a:stretch>
        </p:blipFill>
        <p:spPr>
          <a:xfrm>
            <a:off x="399554" y="5299358"/>
            <a:ext cx="557833" cy="560881"/>
          </a:xfrm>
          <a:prstGeom prst="rect">
            <a:avLst/>
          </a:prstGeom>
        </p:spPr>
      </p:pic>
      <p:pic>
        <p:nvPicPr>
          <p:cNvPr id="49" name="Picture 48"/>
          <p:cNvPicPr>
            <a:picLocks noChangeAspect="1"/>
          </p:cNvPicPr>
          <p:nvPr/>
        </p:nvPicPr>
        <p:blipFill>
          <a:blip r:embed="rId9"/>
          <a:stretch>
            <a:fillRect/>
          </a:stretch>
        </p:blipFill>
        <p:spPr>
          <a:xfrm>
            <a:off x="399554" y="5974253"/>
            <a:ext cx="560881" cy="557833"/>
          </a:xfrm>
          <a:prstGeom prst="rect">
            <a:avLst/>
          </a:prstGeom>
        </p:spPr>
      </p:pic>
    </p:spTree>
    <p:extLst>
      <p:ext uri="{BB962C8B-B14F-4D97-AF65-F5344CB8AC3E}">
        <p14:creationId xmlns:p14="http://schemas.microsoft.com/office/powerpoint/2010/main" val="1810070065"/>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curity and Legal</a:t>
            </a:r>
          </a:p>
        </p:txBody>
      </p:sp>
      <p:sp>
        <p:nvSpPr>
          <p:cNvPr id="3" name="Text Placeholder 2"/>
          <p:cNvSpPr>
            <a:spLocks noGrp="1"/>
          </p:cNvSpPr>
          <p:nvPr>
            <p:ph type="body" sz="quarter" idx="10"/>
          </p:nvPr>
        </p:nvSpPr>
        <p:spPr>
          <a:xfrm>
            <a:off x="2484438" y="1212850"/>
            <a:ext cx="9677400" cy="3724096"/>
          </a:xfrm>
          <a:solidFill>
            <a:schemeClr val="bg2">
              <a:lumMod val="90000"/>
            </a:schemeClr>
          </a:solidFill>
        </p:spPr>
        <p:txBody>
          <a:bodyPr/>
          <a:lstStyle/>
          <a:p>
            <a:r>
              <a:rPr lang="en-US" dirty="0">
                <a:solidFill>
                  <a:schemeClr val="tx1"/>
                </a:solidFill>
              </a:rPr>
              <a:t>Experience</a:t>
            </a:r>
          </a:p>
          <a:p>
            <a:pPr marL="342900" indent="-342900">
              <a:buFont typeface="Arial" panose="020B0604020202020204" pitchFamily="34" charset="0"/>
              <a:buChar char="•"/>
            </a:pPr>
            <a:r>
              <a:rPr lang="en-US" sz="2000" b="1" dirty="0">
                <a:solidFill>
                  <a:schemeClr val="tx1"/>
                </a:solidFill>
                <a:latin typeface="+mn-lt"/>
              </a:rPr>
              <a:t>Peer experiences </a:t>
            </a:r>
            <a:r>
              <a:rPr lang="en-US" sz="2000" dirty="0">
                <a:solidFill>
                  <a:schemeClr val="tx1"/>
                </a:solidFill>
                <a:latin typeface="+mn-lt"/>
              </a:rPr>
              <a:t>– Concerns but no concrete risks identified</a:t>
            </a:r>
          </a:p>
          <a:p>
            <a:pPr marL="342900" indent="-342900">
              <a:buFont typeface="Arial" panose="020B0604020202020204" pitchFamily="34" charset="0"/>
              <a:buChar char="•"/>
            </a:pPr>
            <a:r>
              <a:rPr lang="en-US" sz="2000" b="1" dirty="0">
                <a:solidFill>
                  <a:schemeClr val="tx1"/>
                </a:solidFill>
                <a:latin typeface="+mn-lt"/>
              </a:rPr>
              <a:t>Trust Center </a:t>
            </a:r>
            <a:r>
              <a:rPr lang="en-US" sz="2000" dirty="0">
                <a:solidFill>
                  <a:schemeClr val="tx1"/>
                </a:solidFill>
                <a:latin typeface="+mn-lt"/>
              </a:rPr>
              <a:t>– Better security certifications than our own data center</a:t>
            </a:r>
          </a:p>
          <a:p>
            <a:pPr marL="342900" indent="-342900">
              <a:buFont typeface="Arial" panose="020B0604020202020204" pitchFamily="34" charset="0"/>
              <a:buChar char="•"/>
            </a:pPr>
            <a:r>
              <a:rPr lang="en-US" sz="2000" b="1" dirty="0">
                <a:solidFill>
                  <a:schemeClr val="tx1"/>
                </a:solidFill>
                <a:latin typeface="+mn-lt"/>
              </a:rPr>
              <a:t>O365 DC audits </a:t>
            </a:r>
            <a:r>
              <a:rPr lang="en-US" sz="2000" dirty="0">
                <a:solidFill>
                  <a:schemeClr val="tx1"/>
                </a:solidFill>
                <a:latin typeface="+mn-lt"/>
              </a:rPr>
              <a:t>– No comments by independent auditors</a:t>
            </a:r>
          </a:p>
          <a:p>
            <a:pPr marL="342900" indent="-342900">
              <a:buFont typeface="Arial" panose="020B0604020202020204" pitchFamily="34" charset="0"/>
              <a:buChar char="•"/>
            </a:pPr>
            <a:r>
              <a:rPr lang="en-US" sz="2000" b="1" dirty="0">
                <a:solidFill>
                  <a:schemeClr val="tx1"/>
                </a:solidFill>
                <a:latin typeface="+mn-lt"/>
              </a:rPr>
              <a:t>O365 technical design</a:t>
            </a:r>
            <a:r>
              <a:rPr lang="en-US" sz="2000" dirty="0">
                <a:solidFill>
                  <a:schemeClr val="tx1"/>
                </a:solidFill>
                <a:latin typeface="+mn-lt"/>
              </a:rPr>
              <a:t> – End-to-end encryption on critical data and data centers within EU</a:t>
            </a:r>
          </a:p>
          <a:p>
            <a:r>
              <a:rPr lang="en-US" dirty="0">
                <a:solidFill>
                  <a:schemeClr val="tx1"/>
                </a:solidFill>
              </a:rPr>
              <a:t>Decisions</a:t>
            </a:r>
          </a:p>
          <a:p>
            <a:pPr marL="342900" indent="-342900">
              <a:buFont typeface="Arial" panose="020B0604020202020204" pitchFamily="34" charset="0"/>
              <a:buChar char="•"/>
            </a:pPr>
            <a:r>
              <a:rPr lang="en-US" sz="2000" dirty="0">
                <a:solidFill>
                  <a:schemeClr val="tx1"/>
                </a:solidFill>
                <a:latin typeface="+mn-lt"/>
              </a:rPr>
              <a:t>O365 will </a:t>
            </a:r>
            <a:r>
              <a:rPr lang="en-US" sz="2000" b="1" dirty="0">
                <a:solidFill>
                  <a:schemeClr val="tx1"/>
                </a:solidFill>
                <a:latin typeface="+mn-lt"/>
              </a:rPr>
              <a:t>not increase</a:t>
            </a:r>
            <a:r>
              <a:rPr lang="en-US" sz="2000" dirty="0">
                <a:solidFill>
                  <a:schemeClr val="tx1"/>
                </a:solidFill>
                <a:latin typeface="+mn-lt"/>
              </a:rPr>
              <a:t> risks</a:t>
            </a:r>
            <a:endParaRPr lang="en-US" dirty="0">
              <a:solidFill>
                <a:schemeClr val="tx1"/>
              </a:solidFill>
            </a:endParaRPr>
          </a:p>
          <a:p>
            <a:pPr marL="342900" indent="-342900">
              <a:buFont typeface="Arial" panose="020B0604020202020204" pitchFamily="34" charset="0"/>
              <a:buChar char="•"/>
            </a:pPr>
            <a:r>
              <a:rPr lang="en-US" sz="2000" b="1" dirty="0">
                <a:solidFill>
                  <a:schemeClr val="tx1"/>
                </a:solidFill>
                <a:latin typeface="+mn-lt"/>
              </a:rPr>
              <a:t>Approved</a:t>
            </a:r>
            <a:r>
              <a:rPr lang="en-US" sz="2000" dirty="0">
                <a:solidFill>
                  <a:schemeClr val="tx1"/>
                </a:solidFill>
                <a:latin typeface="+mn-lt"/>
              </a:rPr>
              <a:t> by Security and Legal</a:t>
            </a:r>
          </a:p>
        </p:txBody>
      </p:sp>
      <p:sp>
        <p:nvSpPr>
          <p:cNvPr id="4" name="Oval 16"/>
          <p:cNvSpPr>
            <a:spLocks noChangeArrowheads="1"/>
          </p:cNvSpPr>
          <p:nvPr/>
        </p:nvSpPr>
        <p:spPr bwMode="auto">
          <a:xfrm>
            <a:off x="731837" y="1363662"/>
            <a:ext cx="1119124" cy="1119124"/>
          </a:xfrm>
          <a:prstGeom prst="ellipse">
            <a:avLst/>
          </a:prstGeom>
          <a:solidFill>
            <a:srgbClr val="107C10"/>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5" name="Freeform 27"/>
          <p:cNvSpPr>
            <a:spLocks noEditPoints="1"/>
          </p:cNvSpPr>
          <p:nvPr/>
        </p:nvSpPr>
        <p:spPr bwMode="auto">
          <a:xfrm>
            <a:off x="964296" y="1681135"/>
            <a:ext cx="652877" cy="508089"/>
          </a:xfrm>
          <a:custGeom>
            <a:avLst/>
            <a:gdLst>
              <a:gd name="T0" fmla="*/ 249 w 416"/>
              <a:gd name="T1" fmla="*/ 0 h 324"/>
              <a:gd name="T2" fmla="*/ 138 w 416"/>
              <a:gd name="T3" fmla="*/ 45 h 324"/>
              <a:gd name="T4" fmla="*/ 0 w 416"/>
              <a:gd name="T5" fmla="*/ 186 h 324"/>
              <a:gd name="T6" fmla="*/ 185 w 416"/>
              <a:gd name="T7" fmla="*/ 266 h 324"/>
              <a:gd name="T8" fmla="*/ 205 w 416"/>
              <a:gd name="T9" fmla="*/ 324 h 324"/>
              <a:gd name="T10" fmla="*/ 339 w 416"/>
              <a:gd name="T11" fmla="*/ 304 h 324"/>
              <a:gd name="T12" fmla="*/ 345 w 416"/>
              <a:gd name="T13" fmla="*/ 266 h 324"/>
              <a:gd name="T14" fmla="*/ 354 w 416"/>
              <a:gd name="T15" fmla="*/ 108 h 324"/>
              <a:gd name="T16" fmla="*/ 318 w 416"/>
              <a:gd name="T17" fmla="*/ 314 h 324"/>
              <a:gd name="T18" fmla="*/ 195 w 416"/>
              <a:gd name="T19" fmla="*/ 304 h 324"/>
              <a:gd name="T20" fmla="*/ 205 w 416"/>
              <a:gd name="T21" fmla="*/ 203 h 324"/>
              <a:gd name="T22" fmla="*/ 329 w 416"/>
              <a:gd name="T23" fmla="*/ 214 h 324"/>
              <a:gd name="T24" fmla="*/ 219 w 416"/>
              <a:gd name="T25" fmla="*/ 194 h 324"/>
              <a:gd name="T26" fmla="*/ 262 w 416"/>
              <a:gd name="T27" fmla="*/ 129 h 324"/>
              <a:gd name="T28" fmla="*/ 304 w 416"/>
              <a:gd name="T29" fmla="*/ 194 h 324"/>
              <a:gd name="T30" fmla="*/ 344 w 416"/>
              <a:gd name="T31" fmla="*/ 257 h 324"/>
              <a:gd name="T32" fmla="*/ 339 w 416"/>
              <a:gd name="T33" fmla="*/ 214 h 324"/>
              <a:gd name="T34" fmla="*/ 314 w 416"/>
              <a:gd name="T35" fmla="*/ 194 h 324"/>
              <a:gd name="T36" fmla="*/ 262 w 416"/>
              <a:gd name="T37" fmla="*/ 120 h 324"/>
              <a:gd name="T38" fmla="*/ 210 w 416"/>
              <a:gd name="T39" fmla="*/ 194 h 324"/>
              <a:gd name="T40" fmla="*/ 185 w 416"/>
              <a:gd name="T41" fmla="*/ 214 h 324"/>
              <a:gd name="T42" fmla="*/ 77 w 416"/>
              <a:gd name="T43" fmla="*/ 257 h 324"/>
              <a:gd name="T44" fmla="*/ 76 w 416"/>
              <a:gd name="T45" fmla="*/ 115 h 324"/>
              <a:gd name="T46" fmla="*/ 138 w 416"/>
              <a:gd name="T47" fmla="*/ 54 h 324"/>
              <a:gd name="T48" fmla="*/ 167 w 416"/>
              <a:gd name="T49" fmla="*/ 57 h 324"/>
              <a:gd name="T50" fmla="*/ 345 w 416"/>
              <a:gd name="T51" fmla="*/ 112 h 324"/>
              <a:gd name="T52" fmla="*/ 407 w 416"/>
              <a:gd name="T53" fmla="*/ 186 h 324"/>
              <a:gd name="T54" fmla="*/ 262 w 416"/>
              <a:gd name="T55" fmla="*/ 237 h 324"/>
              <a:gd name="T56" fmla="*/ 257 w 416"/>
              <a:gd name="T57" fmla="*/ 261 h 324"/>
              <a:gd name="T58" fmla="*/ 262 w 416"/>
              <a:gd name="T59" fmla="*/ 279 h 324"/>
              <a:gd name="T60" fmla="*/ 267 w 416"/>
              <a:gd name="T61" fmla="*/ 261 h 324"/>
              <a:gd name="T62" fmla="*/ 262 w 416"/>
              <a:gd name="T63" fmla="*/ 237 h 324"/>
              <a:gd name="T64" fmla="*/ 259 w 416"/>
              <a:gd name="T65" fmla="*/ 249 h 324"/>
              <a:gd name="T66" fmla="*/ 265 w 416"/>
              <a:gd name="T67" fmla="*/ 249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16" h="324">
                <a:moveTo>
                  <a:pt x="354" y="108"/>
                </a:moveTo>
                <a:cubicBezTo>
                  <a:pt x="350" y="48"/>
                  <a:pt x="304" y="0"/>
                  <a:pt x="249" y="0"/>
                </a:cubicBezTo>
                <a:cubicBezTo>
                  <a:pt x="213" y="0"/>
                  <a:pt x="182" y="18"/>
                  <a:pt x="161" y="49"/>
                </a:cubicBezTo>
                <a:cubicBezTo>
                  <a:pt x="153" y="46"/>
                  <a:pt x="146" y="45"/>
                  <a:pt x="138" y="45"/>
                </a:cubicBezTo>
                <a:cubicBezTo>
                  <a:pt x="102" y="45"/>
                  <a:pt x="73" y="71"/>
                  <a:pt x="71" y="106"/>
                </a:cubicBezTo>
                <a:cubicBezTo>
                  <a:pt x="32" y="110"/>
                  <a:pt x="0" y="145"/>
                  <a:pt x="0" y="186"/>
                </a:cubicBezTo>
                <a:cubicBezTo>
                  <a:pt x="0" y="231"/>
                  <a:pt x="34" y="266"/>
                  <a:pt x="77" y="266"/>
                </a:cubicBezTo>
                <a:cubicBezTo>
                  <a:pt x="185" y="266"/>
                  <a:pt x="185" y="266"/>
                  <a:pt x="185" y="266"/>
                </a:cubicBezTo>
                <a:cubicBezTo>
                  <a:pt x="185" y="304"/>
                  <a:pt x="185" y="304"/>
                  <a:pt x="185" y="304"/>
                </a:cubicBezTo>
                <a:cubicBezTo>
                  <a:pt x="185" y="315"/>
                  <a:pt x="194" y="324"/>
                  <a:pt x="205" y="324"/>
                </a:cubicBezTo>
                <a:cubicBezTo>
                  <a:pt x="318" y="324"/>
                  <a:pt x="318" y="324"/>
                  <a:pt x="318" y="324"/>
                </a:cubicBezTo>
                <a:cubicBezTo>
                  <a:pt x="330" y="324"/>
                  <a:pt x="339" y="315"/>
                  <a:pt x="339" y="304"/>
                </a:cubicBezTo>
                <a:cubicBezTo>
                  <a:pt x="339" y="266"/>
                  <a:pt x="339" y="266"/>
                  <a:pt x="339" y="266"/>
                </a:cubicBezTo>
                <a:cubicBezTo>
                  <a:pt x="345" y="266"/>
                  <a:pt x="345" y="266"/>
                  <a:pt x="345" y="266"/>
                </a:cubicBezTo>
                <a:cubicBezTo>
                  <a:pt x="384" y="264"/>
                  <a:pt x="416" y="228"/>
                  <a:pt x="416" y="186"/>
                </a:cubicBezTo>
                <a:cubicBezTo>
                  <a:pt x="416" y="147"/>
                  <a:pt x="390" y="115"/>
                  <a:pt x="354" y="108"/>
                </a:cubicBezTo>
                <a:close/>
                <a:moveTo>
                  <a:pt x="329" y="304"/>
                </a:moveTo>
                <a:cubicBezTo>
                  <a:pt x="329" y="309"/>
                  <a:pt x="324" y="314"/>
                  <a:pt x="318" y="314"/>
                </a:cubicBezTo>
                <a:cubicBezTo>
                  <a:pt x="205" y="314"/>
                  <a:pt x="205" y="314"/>
                  <a:pt x="205" y="314"/>
                </a:cubicBezTo>
                <a:cubicBezTo>
                  <a:pt x="200" y="314"/>
                  <a:pt x="195" y="309"/>
                  <a:pt x="195" y="304"/>
                </a:cubicBezTo>
                <a:cubicBezTo>
                  <a:pt x="195" y="214"/>
                  <a:pt x="195" y="214"/>
                  <a:pt x="195" y="214"/>
                </a:cubicBezTo>
                <a:cubicBezTo>
                  <a:pt x="195" y="208"/>
                  <a:pt x="200" y="203"/>
                  <a:pt x="205" y="203"/>
                </a:cubicBezTo>
                <a:cubicBezTo>
                  <a:pt x="318" y="203"/>
                  <a:pt x="318" y="203"/>
                  <a:pt x="318" y="203"/>
                </a:cubicBezTo>
                <a:cubicBezTo>
                  <a:pt x="324" y="203"/>
                  <a:pt x="329" y="208"/>
                  <a:pt x="329" y="214"/>
                </a:cubicBezTo>
                <a:lnTo>
                  <a:pt x="329" y="304"/>
                </a:lnTo>
                <a:close/>
                <a:moveTo>
                  <a:pt x="219" y="194"/>
                </a:moveTo>
                <a:cubicBezTo>
                  <a:pt x="219" y="171"/>
                  <a:pt x="219" y="171"/>
                  <a:pt x="219" y="171"/>
                </a:cubicBezTo>
                <a:cubicBezTo>
                  <a:pt x="219" y="148"/>
                  <a:pt x="239" y="129"/>
                  <a:pt x="262" y="129"/>
                </a:cubicBezTo>
                <a:cubicBezTo>
                  <a:pt x="285" y="129"/>
                  <a:pt x="304" y="148"/>
                  <a:pt x="304" y="171"/>
                </a:cubicBezTo>
                <a:cubicBezTo>
                  <a:pt x="304" y="194"/>
                  <a:pt x="304" y="194"/>
                  <a:pt x="304" y="194"/>
                </a:cubicBezTo>
                <a:lnTo>
                  <a:pt x="219" y="194"/>
                </a:lnTo>
                <a:close/>
                <a:moveTo>
                  <a:pt x="344" y="257"/>
                </a:moveTo>
                <a:cubicBezTo>
                  <a:pt x="339" y="257"/>
                  <a:pt x="339" y="257"/>
                  <a:pt x="339" y="257"/>
                </a:cubicBezTo>
                <a:cubicBezTo>
                  <a:pt x="339" y="214"/>
                  <a:pt x="339" y="214"/>
                  <a:pt x="339" y="214"/>
                </a:cubicBezTo>
                <a:cubicBezTo>
                  <a:pt x="339" y="203"/>
                  <a:pt x="330" y="194"/>
                  <a:pt x="318" y="194"/>
                </a:cubicBezTo>
                <a:cubicBezTo>
                  <a:pt x="314" y="194"/>
                  <a:pt x="314" y="194"/>
                  <a:pt x="314" y="194"/>
                </a:cubicBezTo>
                <a:cubicBezTo>
                  <a:pt x="314" y="171"/>
                  <a:pt x="314" y="171"/>
                  <a:pt x="314" y="171"/>
                </a:cubicBezTo>
                <a:cubicBezTo>
                  <a:pt x="314" y="143"/>
                  <a:pt x="291" y="120"/>
                  <a:pt x="262" y="120"/>
                </a:cubicBezTo>
                <a:cubicBezTo>
                  <a:pt x="233" y="120"/>
                  <a:pt x="210" y="143"/>
                  <a:pt x="210" y="171"/>
                </a:cubicBezTo>
                <a:cubicBezTo>
                  <a:pt x="210" y="194"/>
                  <a:pt x="210" y="194"/>
                  <a:pt x="210" y="194"/>
                </a:cubicBezTo>
                <a:cubicBezTo>
                  <a:pt x="205" y="194"/>
                  <a:pt x="205" y="194"/>
                  <a:pt x="205" y="194"/>
                </a:cubicBezTo>
                <a:cubicBezTo>
                  <a:pt x="194" y="194"/>
                  <a:pt x="185" y="203"/>
                  <a:pt x="185" y="214"/>
                </a:cubicBezTo>
                <a:cubicBezTo>
                  <a:pt x="185" y="257"/>
                  <a:pt x="185" y="257"/>
                  <a:pt x="185" y="257"/>
                </a:cubicBezTo>
                <a:cubicBezTo>
                  <a:pt x="77" y="257"/>
                  <a:pt x="77" y="257"/>
                  <a:pt x="77" y="257"/>
                </a:cubicBezTo>
                <a:cubicBezTo>
                  <a:pt x="39" y="257"/>
                  <a:pt x="10" y="226"/>
                  <a:pt x="10" y="186"/>
                </a:cubicBezTo>
                <a:cubicBezTo>
                  <a:pt x="10" y="148"/>
                  <a:pt x="39" y="117"/>
                  <a:pt x="76" y="115"/>
                </a:cubicBezTo>
                <a:cubicBezTo>
                  <a:pt x="78" y="115"/>
                  <a:pt x="80" y="113"/>
                  <a:pt x="80" y="110"/>
                </a:cubicBezTo>
                <a:cubicBezTo>
                  <a:pt x="80" y="79"/>
                  <a:pt x="106" y="54"/>
                  <a:pt x="138" y="54"/>
                </a:cubicBezTo>
                <a:cubicBezTo>
                  <a:pt x="146" y="54"/>
                  <a:pt x="153" y="56"/>
                  <a:pt x="161" y="59"/>
                </a:cubicBezTo>
                <a:cubicBezTo>
                  <a:pt x="163" y="60"/>
                  <a:pt x="166" y="59"/>
                  <a:pt x="167" y="57"/>
                </a:cubicBezTo>
                <a:cubicBezTo>
                  <a:pt x="186" y="27"/>
                  <a:pt x="215" y="9"/>
                  <a:pt x="249" y="9"/>
                </a:cubicBezTo>
                <a:cubicBezTo>
                  <a:pt x="300" y="9"/>
                  <a:pt x="343" y="55"/>
                  <a:pt x="345" y="112"/>
                </a:cubicBezTo>
                <a:cubicBezTo>
                  <a:pt x="345" y="114"/>
                  <a:pt x="346" y="116"/>
                  <a:pt x="349" y="117"/>
                </a:cubicBezTo>
                <a:cubicBezTo>
                  <a:pt x="382" y="121"/>
                  <a:pt x="407" y="151"/>
                  <a:pt x="407" y="186"/>
                </a:cubicBezTo>
                <a:cubicBezTo>
                  <a:pt x="407" y="223"/>
                  <a:pt x="379" y="255"/>
                  <a:pt x="344" y="257"/>
                </a:cubicBezTo>
                <a:close/>
                <a:moveTo>
                  <a:pt x="262" y="237"/>
                </a:moveTo>
                <a:cubicBezTo>
                  <a:pt x="255" y="237"/>
                  <a:pt x="250" y="242"/>
                  <a:pt x="250" y="249"/>
                </a:cubicBezTo>
                <a:cubicBezTo>
                  <a:pt x="250" y="254"/>
                  <a:pt x="253" y="259"/>
                  <a:pt x="257" y="261"/>
                </a:cubicBezTo>
                <a:cubicBezTo>
                  <a:pt x="257" y="274"/>
                  <a:pt x="257" y="274"/>
                  <a:pt x="257" y="274"/>
                </a:cubicBezTo>
                <a:cubicBezTo>
                  <a:pt x="257" y="277"/>
                  <a:pt x="259" y="279"/>
                  <a:pt x="262" y="279"/>
                </a:cubicBezTo>
                <a:cubicBezTo>
                  <a:pt x="265" y="279"/>
                  <a:pt x="267" y="277"/>
                  <a:pt x="267" y="274"/>
                </a:cubicBezTo>
                <a:cubicBezTo>
                  <a:pt x="267" y="261"/>
                  <a:pt x="267" y="261"/>
                  <a:pt x="267" y="261"/>
                </a:cubicBezTo>
                <a:cubicBezTo>
                  <a:pt x="271" y="259"/>
                  <a:pt x="274" y="254"/>
                  <a:pt x="274" y="249"/>
                </a:cubicBezTo>
                <a:cubicBezTo>
                  <a:pt x="274" y="242"/>
                  <a:pt x="269" y="237"/>
                  <a:pt x="262" y="237"/>
                </a:cubicBezTo>
                <a:close/>
                <a:moveTo>
                  <a:pt x="262" y="252"/>
                </a:moveTo>
                <a:cubicBezTo>
                  <a:pt x="260" y="252"/>
                  <a:pt x="259" y="251"/>
                  <a:pt x="259" y="249"/>
                </a:cubicBezTo>
                <a:cubicBezTo>
                  <a:pt x="259" y="248"/>
                  <a:pt x="260" y="246"/>
                  <a:pt x="262" y="246"/>
                </a:cubicBezTo>
                <a:cubicBezTo>
                  <a:pt x="264" y="246"/>
                  <a:pt x="265" y="248"/>
                  <a:pt x="265" y="249"/>
                </a:cubicBezTo>
                <a:cubicBezTo>
                  <a:pt x="265" y="251"/>
                  <a:pt x="264" y="252"/>
                  <a:pt x="262" y="252"/>
                </a:cubicBez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endParaRPr lang="en-US" sz="1836"/>
          </a:p>
        </p:txBody>
      </p:sp>
      <p:pic>
        <p:nvPicPr>
          <p:cNvPr id="6" name="Picture 5"/>
          <p:cNvPicPr>
            <a:picLocks noChangeAspect="1"/>
          </p:cNvPicPr>
          <p:nvPr/>
        </p:nvPicPr>
        <p:blipFill>
          <a:blip r:embed="rId2"/>
          <a:stretch>
            <a:fillRect/>
          </a:stretch>
        </p:blipFill>
        <p:spPr>
          <a:xfrm>
            <a:off x="6704784" y="4487862"/>
            <a:ext cx="3366947" cy="1075855"/>
          </a:xfrm>
          <a:prstGeom prst="rect">
            <a:avLst/>
          </a:prstGeom>
          <a:ln>
            <a:noFill/>
          </a:ln>
          <a:effectLst>
            <a:outerShdw blurRad="292100" dist="139700" dir="2700000" algn="tl" rotWithShape="0">
              <a:srgbClr val="333333">
                <a:alpha val="65000"/>
              </a:srgbClr>
            </a:outerShdw>
          </a:effectLst>
        </p:spPr>
      </p:pic>
      <p:pic>
        <p:nvPicPr>
          <p:cNvPr id="7" name="Picture 6"/>
          <p:cNvPicPr>
            <a:picLocks noChangeAspect="1"/>
          </p:cNvPicPr>
          <p:nvPr/>
        </p:nvPicPr>
        <p:blipFill>
          <a:blip r:embed="rId3"/>
          <a:stretch>
            <a:fillRect/>
          </a:stretch>
        </p:blipFill>
        <p:spPr>
          <a:xfrm>
            <a:off x="9968627" y="4030662"/>
            <a:ext cx="2113651" cy="2771524"/>
          </a:xfrm>
          <a:prstGeom prst="rect">
            <a:avLst/>
          </a:prstGeom>
          <a:ln>
            <a:noFill/>
          </a:ln>
          <a:effectLst>
            <a:outerShdw blurRad="292100" dist="139700" dir="2700000" algn="tl" rotWithShape="0">
              <a:srgbClr val="333333">
                <a:alpha val="65000"/>
              </a:srgbClr>
            </a:outerShdw>
          </a:effectLst>
        </p:spPr>
      </p:pic>
      <p:pic>
        <p:nvPicPr>
          <p:cNvPr id="8" name="Picture 7"/>
          <p:cNvPicPr>
            <a:picLocks noChangeAspect="1"/>
          </p:cNvPicPr>
          <p:nvPr/>
        </p:nvPicPr>
        <p:blipFill>
          <a:blip r:embed="rId4"/>
          <a:stretch>
            <a:fillRect/>
          </a:stretch>
        </p:blipFill>
        <p:spPr>
          <a:xfrm>
            <a:off x="3475037" y="5282547"/>
            <a:ext cx="4386895" cy="1306160"/>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3479469641"/>
      </p:ext>
    </p:extLst>
  </p:cSld>
  <p:clrMapOvr>
    <a:masterClrMapping/>
  </p:clrMapOvr>
  <p:transition spd="med">
    <p:pull/>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igration</a:t>
            </a:r>
          </a:p>
        </p:txBody>
      </p:sp>
      <p:sp>
        <p:nvSpPr>
          <p:cNvPr id="3" name="Text Placeholder 2"/>
          <p:cNvSpPr>
            <a:spLocks noGrp="1"/>
          </p:cNvSpPr>
          <p:nvPr>
            <p:ph type="body" sz="quarter" idx="10"/>
          </p:nvPr>
        </p:nvSpPr>
        <p:spPr>
          <a:xfrm>
            <a:off x="2484438" y="1212850"/>
            <a:ext cx="9677400" cy="2786917"/>
          </a:xfrm>
          <a:solidFill>
            <a:schemeClr val="bg2">
              <a:lumMod val="90000"/>
            </a:schemeClr>
          </a:solidFill>
        </p:spPr>
        <p:txBody>
          <a:bodyPr/>
          <a:lstStyle/>
          <a:p>
            <a:r>
              <a:rPr lang="en-US" dirty="0">
                <a:solidFill>
                  <a:schemeClr val="tx1"/>
                </a:solidFill>
              </a:rPr>
              <a:t>Experience</a:t>
            </a:r>
          </a:p>
          <a:p>
            <a:pPr marL="342900" indent="-342900">
              <a:buFont typeface="Arial" panose="020B0604020202020204" pitchFamily="34" charset="0"/>
              <a:buChar char="•"/>
            </a:pPr>
            <a:r>
              <a:rPr lang="en-US" sz="2000" b="1" dirty="0">
                <a:solidFill>
                  <a:schemeClr val="tx1"/>
                </a:solidFill>
                <a:latin typeface="+mn-lt"/>
              </a:rPr>
              <a:t>Mature migration tools</a:t>
            </a:r>
          </a:p>
          <a:p>
            <a:pPr marL="342900" indent="-342900">
              <a:buFont typeface="Arial" panose="020B0604020202020204" pitchFamily="34" charset="0"/>
              <a:buChar char="•"/>
            </a:pPr>
            <a:r>
              <a:rPr lang="en-US" sz="2000" b="1" dirty="0">
                <a:solidFill>
                  <a:schemeClr val="tx1"/>
                </a:solidFill>
                <a:latin typeface="+mn-lt"/>
              </a:rPr>
              <a:t>Multiple fallback options</a:t>
            </a:r>
            <a:r>
              <a:rPr lang="en-US" sz="2000" dirty="0">
                <a:solidFill>
                  <a:schemeClr val="tx1"/>
                </a:solidFill>
                <a:latin typeface="+mn-lt"/>
              </a:rPr>
              <a:t>: </a:t>
            </a:r>
            <a:r>
              <a:rPr lang="en-US" sz="2100" dirty="0">
                <a:solidFill>
                  <a:schemeClr val="tx1"/>
                </a:solidFill>
                <a:latin typeface="+mn-lt"/>
              </a:rPr>
              <a:t>Cloud accounts, Outlook PST-files, etc.</a:t>
            </a:r>
          </a:p>
          <a:p>
            <a:r>
              <a:rPr lang="en-US" dirty="0">
                <a:solidFill>
                  <a:schemeClr val="tx1"/>
                </a:solidFill>
              </a:rPr>
              <a:t>Decisions</a:t>
            </a:r>
          </a:p>
          <a:p>
            <a:pPr marL="342900" indent="-342900">
              <a:buFont typeface="Arial" panose="020B0604020202020204" pitchFamily="34" charset="0"/>
              <a:buChar char="•"/>
            </a:pPr>
            <a:r>
              <a:rPr lang="en-US" sz="2000" b="1" dirty="0">
                <a:solidFill>
                  <a:schemeClr val="tx1"/>
                </a:solidFill>
                <a:latin typeface="+mn-lt"/>
              </a:rPr>
              <a:t>Three migrations </a:t>
            </a:r>
            <a:r>
              <a:rPr lang="en-US" sz="2000" dirty="0">
                <a:solidFill>
                  <a:schemeClr val="tx1"/>
                </a:solidFill>
                <a:latin typeface="+mn-lt"/>
              </a:rPr>
              <a:t>– Western Europe, Eastern Europe, and Asia</a:t>
            </a:r>
          </a:p>
          <a:p>
            <a:pPr marL="342900" indent="-342900">
              <a:buFont typeface="Arial" panose="020B0604020202020204" pitchFamily="34" charset="0"/>
              <a:buChar char="•"/>
            </a:pPr>
            <a:r>
              <a:rPr lang="en-US" sz="2000" b="1" dirty="0">
                <a:solidFill>
                  <a:schemeClr val="tx1"/>
                </a:solidFill>
                <a:latin typeface="+mn-lt"/>
              </a:rPr>
              <a:t>Two migration models </a:t>
            </a:r>
            <a:r>
              <a:rPr lang="en-US" sz="2000" dirty="0">
                <a:solidFill>
                  <a:schemeClr val="tx1"/>
                </a:solidFill>
                <a:latin typeface="+mn-lt"/>
              </a:rPr>
              <a:t>– Exchange migration or PST-file copy</a:t>
            </a:r>
          </a:p>
        </p:txBody>
      </p:sp>
      <p:sp>
        <p:nvSpPr>
          <p:cNvPr id="4" name="Oval 16"/>
          <p:cNvSpPr>
            <a:spLocks noChangeArrowheads="1"/>
          </p:cNvSpPr>
          <p:nvPr/>
        </p:nvSpPr>
        <p:spPr bwMode="auto">
          <a:xfrm>
            <a:off x="731837" y="1363662"/>
            <a:ext cx="1119124" cy="1119124"/>
          </a:xfrm>
          <a:prstGeom prst="ellipse">
            <a:avLst/>
          </a:prstGeom>
          <a:solidFill>
            <a:srgbClr val="107C10"/>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8" name="Freeform 38"/>
          <p:cNvSpPr>
            <a:spLocks noEditPoints="1"/>
          </p:cNvSpPr>
          <p:nvPr/>
        </p:nvSpPr>
        <p:spPr bwMode="auto">
          <a:xfrm>
            <a:off x="964960" y="1635477"/>
            <a:ext cx="652877" cy="575493"/>
          </a:xfrm>
          <a:custGeom>
            <a:avLst/>
            <a:gdLst>
              <a:gd name="T0" fmla="*/ 354 w 416"/>
              <a:gd name="T1" fmla="*/ 108 h 367"/>
              <a:gd name="T2" fmla="*/ 248 w 416"/>
              <a:gd name="T3" fmla="*/ 0 h 367"/>
              <a:gd name="T4" fmla="*/ 161 w 416"/>
              <a:gd name="T5" fmla="*/ 49 h 367"/>
              <a:gd name="T6" fmla="*/ 138 w 416"/>
              <a:gd name="T7" fmla="*/ 45 h 367"/>
              <a:gd name="T8" fmla="*/ 71 w 416"/>
              <a:gd name="T9" fmla="*/ 106 h 367"/>
              <a:gd name="T10" fmla="*/ 0 w 416"/>
              <a:gd name="T11" fmla="*/ 186 h 367"/>
              <a:gd name="T12" fmla="*/ 77 w 416"/>
              <a:gd name="T13" fmla="*/ 266 h 367"/>
              <a:gd name="T14" fmla="*/ 209 w 416"/>
              <a:gd name="T15" fmla="*/ 266 h 367"/>
              <a:gd name="T16" fmla="*/ 209 w 416"/>
              <a:gd name="T17" fmla="*/ 362 h 367"/>
              <a:gd name="T18" fmla="*/ 213 w 416"/>
              <a:gd name="T19" fmla="*/ 367 h 367"/>
              <a:gd name="T20" fmla="*/ 218 w 416"/>
              <a:gd name="T21" fmla="*/ 362 h 367"/>
              <a:gd name="T22" fmla="*/ 218 w 416"/>
              <a:gd name="T23" fmla="*/ 266 h 367"/>
              <a:gd name="T24" fmla="*/ 344 w 416"/>
              <a:gd name="T25" fmla="*/ 266 h 367"/>
              <a:gd name="T26" fmla="*/ 344 w 416"/>
              <a:gd name="T27" fmla="*/ 266 h 367"/>
              <a:gd name="T28" fmla="*/ 416 w 416"/>
              <a:gd name="T29" fmla="*/ 186 h 367"/>
              <a:gd name="T30" fmla="*/ 354 w 416"/>
              <a:gd name="T31" fmla="*/ 108 h 367"/>
              <a:gd name="T32" fmla="*/ 344 w 416"/>
              <a:gd name="T33" fmla="*/ 257 h 367"/>
              <a:gd name="T34" fmla="*/ 218 w 416"/>
              <a:gd name="T35" fmla="*/ 257 h 367"/>
              <a:gd name="T36" fmla="*/ 218 w 416"/>
              <a:gd name="T37" fmla="*/ 177 h 367"/>
              <a:gd name="T38" fmla="*/ 267 w 416"/>
              <a:gd name="T39" fmla="*/ 226 h 367"/>
              <a:gd name="T40" fmla="*/ 270 w 416"/>
              <a:gd name="T41" fmla="*/ 227 h 367"/>
              <a:gd name="T42" fmla="*/ 273 w 416"/>
              <a:gd name="T43" fmla="*/ 226 h 367"/>
              <a:gd name="T44" fmla="*/ 273 w 416"/>
              <a:gd name="T45" fmla="*/ 219 h 367"/>
              <a:gd name="T46" fmla="*/ 217 w 416"/>
              <a:gd name="T47" fmla="*/ 162 h 367"/>
              <a:gd name="T48" fmla="*/ 217 w 416"/>
              <a:gd name="T49" fmla="*/ 162 h 367"/>
              <a:gd name="T50" fmla="*/ 213 w 416"/>
              <a:gd name="T51" fmla="*/ 161 h 367"/>
              <a:gd name="T52" fmla="*/ 210 w 416"/>
              <a:gd name="T53" fmla="*/ 162 h 367"/>
              <a:gd name="T54" fmla="*/ 153 w 416"/>
              <a:gd name="T55" fmla="*/ 219 h 367"/>
              <a:gd name="T56" fmla="*/ 153 w 416"/>
              <a:gd name="T57" fmla="*/ 226 h 367"/>
              <a:gd name="T58" fmla="*/ 160 w 416"/>
              <a:gd name="T59" fmla="*/ 226 h 367"/>
              <a:gd name="T60" fmla="*/ 209 w 416"/>
              <a:gd name="T61" fmla="*/ 177 h 367"/>
              <a:gd name="T62" fmla="*/ 209 w 416"/>
              <a:gd name="T63" fmla="*/ 257 h 367"/>
              <a:gd name="T64" fmla="*/ 77 w 416"/>
              <a:gd name="T65" fmla="*/ 257 h 367"/>
              <a:gd name="T66" fmla="*/ 10 w 416"/>
              <a:gd name="T67" fmla="*/ 186 h 367"/>
              <a:gd name="T68" fmla="*/ 76 w 416"/>
              <a:gd name="T69" fmla="*/ 115 h 367"/>
              <a:gd name="T70" fmla="*/ 80 w 416"/>
              <a:gd name="T71" fmla="*/ 110 h 367"/>
              <a:gd name="T72" fmla="*/ 138 w 416"/>
              <a:gd name="T73" fmla="*/ 55 h 367"/>
              <a:gd name="T74" fmla="*/ 161 w 416"/>
              <a:gd name="T75" fmla="*/ 59 h 367"/>
              <a:gd name="T76" fmla="*/ 167 w 416"/>
              <a:gd name="T77" fmla="*/ 57 h 367"/>
              <a:gd name="T78" fmla="*/ 248 w 416"/>
              <a:gd name="T79" fmla="*/ 9 h 367"/>
              <a:gd name="T80" fmla="*/ 345 w 416"/>
              <a:gd name="T81" fmla="*/ 112 h 367"/>
              <a:gd name="T82" fmla="*/ 349 w 416"/>
              <a:gd name="T83" fmla="*/ 117 h 367"/>
              <a:gd name="T84" fmla="*/ 407 w 416"/>
              <a:gd name="T85" fmla="*/ 186 h 367"/>
              <a:gd name="T86" fmla="*/ 344 w 416"/>
              <a:gd name="T87" fmla="*/ 257 h 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16" h="367">
                <a:moveTo>
                  <a:pt x="354" y="108"/>
                </a:moveTo>
                <a:cubicBezTo>
                  <a:pt x="350" y="48"/>
                  <a:pt x="304" y="0"/>
                  <a:pt x="248" y="0"/>
                </a:cubicBezTo>
                <a:cubicBezTo>
                  <a:pt x="213" y="0"/>
                  <a:pt x="181" y="18"/>
                  <a:pt x="161" y="49"/>
                </a:cubicBezTo>
                <a:cubicBezTo>
                  <a:pt x="153" y="47"/>
                  <a:pt x="145" y="45"/>
                  <a:pt x="138" y="45"/>
                </a:cubicBezTo>
                <a:cubicBezTo>
                  <a:pt x="102" y="45"/>
                  <a:pt x="73" y="72"/>
                  <a:pt x="71" y="106"/>
                </a:cubicBezTo>
                <a:cubicBezTo>
                  <a:pt x="31" y="110"/>
                  <a:pt x="0" y="145"/>
                  <a:pt x="0" y="186"/>
                </a:cubicBezTo>
                <a:cubicBezTo>
                  <a:pt x="0" y="231"/>
                  <a:pt x="34" y="266"/>
                  <a:pt x="77" y="266"/>
                </a:cubicBezTo>
                <a:cubicBezTo>
                  <a:pt x="209" y="266"/>
                  <a:pt x="209" y="266"/>
                  <a:pt x="209" y="266"/>
                </a:cubicBezTo>
                <a:cubicBezTo>
                  <a:pt x="209" y="362"/>
                  <a:pt x="209" y="362"/>
                  <a:pt x="209" y="362"/>
                </a:cubicBezTo>
                <a:cubicBezTo>
                  <a:pt x="209" y="364"/>
                  <a:pt x="211" y="367"/>
                  <a:pt x="213" y="367"/>
                </a:cubicBezTo>
                <a:cubicBezTo>
                  <a:pt x="216" y="367"/>
                  <a:pt x="218" y="364"/>
                  <a:pt x="218" y="362"/>
                </a:cubicBezTo>
                <a:cubicBezTo>
                  <a:pt x="218" y="266"/>
                  <a:pt x="218" y="266"/>
                  <a:pt x="218" y="266"/>
                </a:cubicBezTo>
                <a:cubicBezTo>
                  <a:pt x="344" y="266"/>
                  <a:pt x="344" y="266"/>
                  <a:pt x="344" y="266"/>
                </a:cubicBezTo>
                <a:cubicBezTo>
                  <a:pt x="344" y="266"/>
                  <a:pt x="344" y="266"/>
                  <a:pt x="344" y="266"/>
                </a:cubicBezTo>
                <a:cubicBezTo>
                  <a:pt x="384" y="265"/>
                  <a:pt x="416" y="229"/>
                  <a:pt x="416" y="186"/>
                </a:cubicBezTo>
                <a:cubicBezTo>
                  <a:pt x="416" y="147"/>
                  <a:pt x="390" y="115"/>
                  <a:pt x="354" y="108"/>
                </a:cubicBezTo>
                <a:close/>
                <a:moveTo>
                  <a:pt x="344" y="257"/>
                </a:moveTo>
                <a:cubicBezTo>
                  <a:pt x="218" y="257"/>
                  <a:pt x="218" y="257"/>
                  <a:pt x="218" y="257"/>
                </a:cubicBezTo>
                <a:cubicBezTo>
                  <a:pt x="218" y="177"/>
                  <a:pt x="218" y="177"/>
                  <a:pt x="218" y="177"/>
                </a:cubicBezTo>
                <a:cubicBezTo>
                  <a:pt x="267" y="226"/>
                  <a:pt x="267" y="226"/>
                  <a:pt x="267" y="226"/>
                </a:cubicBezTo>
                <a:cubicBezTo>
                  <a:pt x="268" y="227"/>
                  <a:pt x="269" y="227"/>
                  <a:pt x="270" y="227"/>
                </a:cubicBezTo>
                <a:cubicBezTo>
                  <a:pt x="271" y="227"/>
                  <a:pt x="273" y="227"/>
                  <a:pt x="273" y="226"/>
                </a:cubicBezTo>
                <a:cubicBezTo>
                  <a:pt x="275" y="224"/>
                  <a:pt x="275" y="221"/>
                  <a:pt x="273" y="219"/>
                </a:cubicBezTo>
                <a:cubicBezTo>
                  <a:pt x="217" y="162"/>
                  <a:pt x="217" y="162"/>
                  <a:pt x="217" y="162"/>
                </a:cubicBezTo>
                <a:cubicBezTo>
                  <a:pt x="217" y="162"/>
                  <a:pt x="217" y="162"/>
                  <a:pt x="217" y="162"/>
                </a:cubicBezTo>
                <a:cubicBezTo>
                  <a:pt x="216" y="161"/>
                  <a:pt x="215" y="161"/>
                  <a:pt x="213" y="161"/>
                </a:cubicBezTo>
                <a:cubicBezTo>
                  <a:pt x="212" y="161"/>
                  <a:pt x="211" y="161"/>
                  <a:pt x="210" y="162"/>
                </a:cubicBezTo>
                <a:cubicBezTo>
                  <a:pt x="153" y="219"/>
                  <a:pt x="153" y="219"/>
                  <a:pt x="153" y="219"/>
                </a:cubicBezTo>
                <a:cubicBezTo>
                  <a:pt x="151" y="221"/>
                  <a:pt x="151" y="224"/>
                  <a:pt x="153" y="226"/>
                </a:cubicBezTo>
                <a:cubicBezTo>
                  <a:pt x="155" y="228"/>
                  <a:pt x="158" y="228"/>
                  <a:pt x="160" y="226"/>
                </a:cubicBezTo>
                <a:cubicBezTo>
                  <a:pt x="209" y="177"/>
                  <a:pt x="209" y="177"/>
                  <a:pt x="209" y="177"/>
                </a:cubicBezTo>
                <a:cubicBezTo>
                  <a:pt x="209" y="257"/>
                  <a:pt x="209" y="257"/>
                  <a:pt x="209" y="257"/>
                </a:cubicBezTo>
                <a:cubicBezTo>
                  <a:pt x="77" y="257"/>
                  <a:pt x="77" y="257"/>
                  <a:pt x="77" y="257"/>
                </a:cubicBezTo>
                <a:cubicBezTo>
                  <a:pt x="39" y="257"/>
                  <a:pt x="10" y="226"/>
                  <a:pt x="10" y="186"/>
                </a:cubicBezTo>
                <a:cubicBezTo>
                  <a:pt x="10" y="149"/>
                  <a:pt x="39" y="117"/>
                  <a:pt x="76" y="115"/>
                </a:cubicBezTo>
                <a:cubicBezTo>
                  <a:pt x="78" y="115"/>
                  <a:pt x="80" y="113"/>
                  <a:pt x="80" y="110"/>
                </a:cubicBezTo>
                <a:cubicBezTo>
                  <a:pt x="80" y="79"/>
                  <a:pt x="105" y="55"/>
                  <a:pt x="138" y="55"/>
                </a:cubicBezTo>
                <a:cubicBezTo>
                  <a:pt x="145" y="55"/>
                  <a:pt x="153" y="56"/>
                  <a:pt x="161" y="59"/>
                </a:cubicBezTo>
                <a:cubicBezTo>
                  <a:pt x="163" y="60"/>
                  <a:pt x="166" y="59"/>
                  <a:pt x="167" y="57"/>
                </a:cubicBezTo>
                <a:cubicBezTo>
                  <a:pt x="185" y="27"/>
                  <a:pt x="215" y="9"/>
                  <a:pt x="248" y="9"/>
                </a:cubicBezTo>
                <a:cubicBezTo>
                  <a:pt x="300" y="9"/>
                  <a:pt x="343" y="56"/>
                  <a:pt x="345" y="112"/>
                </a:cubicBezTo>
                <a:cubicBezTo>
                  <a:pt x="345" y="115"/>
                  <a:pt x="346" y="116"/>
                  <a:pt x="349" y="117"/>
                </a:cubicBezTo>
                <a:cubicBezTo>
                  <a:pt x="382" y="122"/>
                  <a:pt x="407" y="151"/>
                  <a:pt x="407" y="186"/>
                </a:cubicBezTo>
                <a:cubicBezTo>
                  <a:pt x="407" y="224"/>
                  <a:pt x="379" y="255"/>
                  <a:pt x="344" y="257"/>
                </a:cubicBez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endParaRPr lang="en-US" sz="1836"/>
          </a:p>
        </p:txBody>
      </p:sp>
    </p:spTree>
    <p:extLst>
      <p:ext uri="{BB962C8B-B14F-4D97-AF65-F5344CB8AC3E}">
        <p14:creationId xmlns:p14="http://schemas.microsoft.com/office/powerpoint/2010/main" val="3822983007"/>
      </p:ext>
    </p:extLst>
  </p:cSld>
  <p:clrMapOvr>
    <a:masterClrMapping/>
  </p:clrMapOvr>
  <p:transition spd="med">
    <p:pull/>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Operations</a:t>
            </a:r>
          </a:p>
        </p:txBody>
      </p:sp>
      <p:sp>
        <p:nvSpPr>
          <p:cNvPr id="3" name="Text Placeholder 2"/>
          <p:cNvSpPr>
            <a:spLocks noGrp="1"/>
          </p:cNvSpPr>
          <p:nvPr>
            <p:ph type="body" sz="quarter" idx="10"/>
          </p:nvPr>
        </p:nvSpPr>
        <p:spPr>
          <a:xfrm>
            <a:off x="2484438" y="1212850"/>
            <a:ext cx="9677400" cy="2708434"/>
          </a:xfrm>
          <a:solidFill>
            <a:schemeClr val="bg2">
              <a:lumMod val="90000"/>
            </a:schemeClr>
          </a:solidFill>
        </p:spPr>
        <p:txBody>
          <a:bodyPr/>
          <a:lstStyle/>
          <a:p>
            <a:r>
              <a:rPr lang="en-US" dirty="0">
                <a:solidFill>
                  <a:schemeClr val="tx1"/>
                </a:solidFill>
              </a:rPr>
              <a:t>Experience</a:t>
            </a:r>
          </a:p>
          <a:p>
            <a:pPr marL="342900" indent="-342900">
              <a:buFont typeface="Arial" panose="020B0604020202020204" pitchFamily="34" charset="0"/>
              <a:buChar char="•"/>
            </a:pPr>
            <a:r>
              <a:rPr lang="en-US" sz="2000" dirty="0">
                <a:solidFill>
                  <a:schemeClr val="tx1"/>
                </a:solidFill>
                <a:latin typeface="+mn-lt"/>
              </a:rPr>
              <a:t>Stable environment</a:t>
            </a:r>
          </a:p>
          <a:p>
            <a:pPr marL="342900" indent="-342900">
              <a:buFont typeface="Arial" panose="020B0604020202020204" pitchFamily="34" charset="0"/>
              <a:buChar char="•"/>
            </a:pPr>
            <a:r>
              <a:rPr lang="en-US" sz="2000" dirty="0">
                <a:solidFill>
                  <a:schemeClr val="tx1"/>
                </a:solidFill>
                <a:latin typeface="+mn-lt"/>
              </a:rPr>
              <a:t>Simple responsibility split -&gt; We put the accounts/data in the cloud, and MS operates it</a:t>
            </a:r>
          </a:p>
          <a:p>
            <a:r>
              <a:rPr lang="en-US" dirty="0">
                <a:solidFill>
                  <a:schemeClr val="tx1"/>
                </a:solidFill>
              </a:rPr>
              <a:t>Decisions</a:t>
            </a:r>
          </a:p>
          <a:p>
            <a:pPr marL="342900" indent="-342900">
              <a:buFont typeface="Arial" panose="020B0604020202020204" pitchFamily="34" charset="0"/>
              <a:buChar char="•"/>
            </a:pPr>
            <a:r>
              <a:rPr lang="en-US" sz="2000" dirty="0">
                <a:solidFill>
                  <a:schemeClr val="tx1"/>
                </a:solidFill>
                <a:latin typeface="+mn-lt"/>
              </a:rPr>
              <a:t>Two operating models – Cloud accounts, Integrated accounts</a:t>
            </a:r>
          </a:p>
        </p:txBody>
      </p:sp>
      <p:sp>
        <p:nvSpPr>
          <p:cNvPr id="4" name="Oval 16"/>
          <p:cNvSpPr>
            <a:spLocks noChangeArrowheads="1"/>
          </p:cNvSpPr>
          <p:nvPr/>
        </p:nvSpPr>
        <p:spPr bwMode="auto">
          <a:xfrm>
            <a:off x="731837" y="1363662"/>
            <a:ext cx="1119124" cy="1119124"/>
          </a:xfrm>
          <a:prstGeom prst="ellipse">
            <a:avLst/>
          </a:prstGeom>
          <a:solidFill>
            <a:srgbClr val="107C10"/>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7" name="Freeform 18"/>
          <p:cNvSpPr>
            <a:spLocks noEditPoints="1"/>
          </p:cNvSpPr>
          <p:nvPr/>
        </p:nvSpPr>
        <p:spPr bwMode="auto">
          <a:xfrm>
            <a:off x="896204" y="1508521"/>
            <a:ext cx="790389" cy="677001"/>
          </a:xfrm>
          <a:custGeom>
            <a:avLst/>
            <a:gdLst>
              <a:gd name="T0" fmla="*/ 699 w 750"/>
              <a:gd name="T1" fmla="*/ 563 h 643"/>
              <a:gd name="T2" fmla="*/ 675 w 750"/>
              <a:gd name="T3" fmla="*/ 595 h 643"/>
              <a:gd name="T4" fmla="*/ 669 w 750"/>
              <a:gd name="T5" fmla="*/ 584 h 643"/>
              <a:gd name="T6" fmla="*/ 633 w 750"/>
              <a:gd name="T7" fmla="*/ 532 h 643"/>
              <a:gd name="T8" fmla="*/ 640 w 750"/>
              <a:gd name="T9" fmla="*/ 520 h 643"/>
              <a:gd name="T10" fmla="*/ 736 w 750"/>
              <a:gd name="T11" fmla="*/ 382 h 643"/>
              <a:gd name="T12" fmla="*/ 670 w 750"/>
              <a:gd name="T13" fmla="*/ 375 h 643"/>
              <a:gd name="T14" fmla="*/ 736 w 750"/>
              <a:gd name="T15" fmla="*/ 368 h 643"/>
              <a:gd name="T16" fmla="*/ 640 w 750"/>
              <a:gd name="T17" fmla="*/ 230 h 643"/>
              <a:gd name="T18" fmla="*/ 631 w 750"/>
              <a:gd name="T19" fmla="*/ 228 h 643"/>
              <a:gd name="T20" fmla="*/ 684 w 750"/>
              <a:gd name="T21" fmla="*/ 189 h 643"/>
              <a:gd name="T22" fmla="*/ 532 w 750"/>
              <a:gd name="T23" fmla="*/ 117 h 643"/>
              <a:gd name="T24" fmla="*/ 523 w 750"/>
              <a:gd name="T25" fmla="*/ 119 h 643"/>
              <a:gd name="T26" fmla="*/ 549 w 750"/>
              <a:gd name="T27" fmla="*/ 59 h 643"/>
              <a:gd name="T28" fmla="*/ 382 w 750"/>
              <a:gd name="T29" fmla="*/ 73 h 643"/>
              <a:gd name="T30" fmla="*/ 368 w 750"/>
              <a:gd name="T31" fmla="*/ 73 h 643"/>
              <a:gd name="T32" fmla="*/ 201 w 750"/>
              <a:gd name="T33" fmla="*/ 59 h 643"/>
              <a:gd name="T34" fmla="*/ 227 w 750"/>
              <a:gd name="T35" fmla="*/ 119 h 643"/>
              <a:gd name="T36" fmla="*/ 218 w 750"/>
              <a:gd name="T37" fmla="*/ 117 h 643"/>
              <a:gd name="T38" fmla="*/ 66 w 750"/>
              <a:gd name="T39" fmla="*/ 189 h 643"/>
              <a:gd name="T40" fmla="*/ 119 w 750"/>
              <a:gd name="T41" fmla="*/ 228 h 643"/>
              <a:gd name="T42" fmla="*/ 110 w 750"/>
              <a:gd name="T43" fmla="*/ 230 h 643"/>
              <a:gd name="T44" fmla="*/ 14 w 750"/>
              <a:gd name="T45" fmla="*/ 368 h 643"/>
              <a:gd name="T46" fmla="*/ 80 w 750"/>
              <a:gd name="T47" fmla="*/ 375 h 643"/>
              <a:gd name="T48" fmla="*/ 14 w 750"/>
              <a:gd name="T49" fmla="*/ 382 h 643"/>
              <a:gd name="T50" fmla="*/ 110 w 750"/>
              <a:gd name="T51" fmla="*/ 520 h 643"/>
              <a:gd name="T52" fmla="*/ 117 w 750"/>
              <a:gd name="T53" fmla="*/ 532 h 643"/>
              <a:gd name="T54" fmla="*/ 81 w 750"/>
              <a:gd name="T55" fmla="*/ 584 h 643"/>
              <a:gd name="T56" fmla="*/ 69 w 750"/>
              <a:gd name="T57" fmla="*/ 592 h 643"/>
              <a:gd name="T58" fmla="*/ 50 w 750"/>
              <a:gd name="T59" fmla="*/ 563 h 643"/>
              <a:gd name="T60" fmla="*/ 0 w 750"/>
              <a:gd name="T61" fmla="*/ 375 h 643"/>
              <a:gd name="T62" fmla="*/ 50 w 750"/>
              <a:gd name="T63" fmla="*/ 188 h 643"/>
              <a:gd name="T64" fmla="*/ 186 w 750"/>
              <a:gd name="T65" fmla="*/ 51 h 643"/>
              <a:gd name="T66" fmla="*/ 189 w 750"/>
              <a:gd name="T67" fmla="*/ 50 h 643"/>
              <a:gd name="T68" fmla="*/ 561 w 750"/>
              <a:gd name="T69" fmla="*/ 50 h 643"/>
              <a:gd name="T70" fmla="*/ 564 w 750"/>
              <a:gd name="T71" fmla="*/ 51 h 643"/>
              <a:gd name="T72" fmla="*/ 700 w 750"/>
              <a:gd name="T73" fmla="*/ 188 h 643"/>
              <a:gd name="T74" fmla="*/ 750 w 750"/>
              <a:gd name="T75" fmla="*/ 375 h 643"/>
              <a:gd name="T76" fmla="*/ 700 w 750"/>
              <a:gd name="T77" fmla="*/ 563 h 643"/>
              <a:gd name="T78" fmla="*/ 533 w 750"/>
              <a:gd name="T79" fmla="*/ 636 h 643"/>
              <a:gd name="T80" fmla="*/ 224 w 750"/>
              <a:gd name="T81" fmla="*/ 643 h 643"/>
              <a:gd name="T82" fmla="*/ 217 w 750"/>
              <a:gd name="T83" fmla="*/ 560 h 643"/>
              <a:gd name="T84" fmla="*/ 526 w 750"/>
              <a:gd name="T85" fmla="*/ 553 h 643"/>
              <a:gd name="T86" fmla="*/ 519 w 750"/>
              <a:gd name="T87" fmla="*/ 567 h 643"/>
              <a:gd name="T88" fmla="*/ 231 w 750"/>
              <a:gd name="T89" fmla="*/ 629 h 643"/>
              <a:gd name="T90" fmla="*/ 519 w 750"/>
              <a:gd name="T91" fmla="*/ 567 h 643"/>
              <a:gd name="T92" fmla="*/ 577 w 750"/>
              <a:gd name="T93" fmla="*/ 267 h 643"/>
              <a:gd name="T94" fmla="*/ 449 w 750"/>
              <a:gd name="T95" fmla="*/ 375 h 643"/>
              <a:gd name="T96" fmla="*/ 301 w 750"/>
              <a:gd name="T97" fmla="*/ 375 h 643"/>
              <a:gd name="T98" fmla="*/ 435 w 750"/>
              <a:gd name="T99" fmla="*/ 332 h 643"/>
              <a:gd name="T100" fmla="*/ 579 w 750"/>
              <a:gd name="T101" fmla="*/ 257 h 643"/>
              <a:gd name="T102" fmla="*/ 375 w 750"/>
              <a:gd name="T103" fmla="*/ 315 h 643"/>
              <a:gd name="T104" fmla="*/ 375 w 750"/>
              <a:gd name="T105" fmla="*/ 435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50" h="643">
                <a:moveTo>
                  <a:pt x="700" y="563"/>
                </a:moveTo>
                <a:cubicBezTo>
                  <a:pt x="699" y="563"/>
                  <a:pt x="699" y="563"/>
                  <a:pt x="699" y="563"/>
                </a:cubicBezTo>
                <a:cubicBezTo>
                  <a:pt x="693" y="573"/>
                  <a:pt x="687" y="583"/>
                  <a:pt x="680" y="592"/>
                </a:cubicBezTo>
                <a:cubicBezTo>
                  <a:pt x="679" y="594"/>
                  <a:pt x="677" y="595"/>
                  <a:pt x="675" y="595"/>
                </a:cubicBezTo>
                <a:cubicBezTo>
                  <a:pt x="673" y="595"/>
                  <a:pt x="672" y="595"/>
                  <a:pt x="671" y="594"/>
                </a:cubicBezTo>
                <a:cubicBezTo>
                  <a:pt x="667" y="592"/>
                  <a:pt x="667" y="587"/>
                  <a:pt x="669" y="584"/>
                </a:cubicBezTo>
                <a:cubicBezTo>
                  <a:pt x="674" y="577"/>
                  <a:pt x="679" y="569"/>
                  <a:pt x="684" y="562"/>
                </a:cubicBezTo>
                <a:cubicBezTo>
                  <a:pt x="633" y="532"/>
                  <a:pt x="633" y="532"/>
                  <a:pt x="633" y="532"/>
                </a:cubicBezTo>
                <a:cubicBezTo>
                  <a:pt x="630" y="530"/>
                  <a:pt x="629" y="526"/>
                  <a:pt x="631" y="523"/>
                </a:cubicBezTo>
                <a:cubicBezTo>
                  <a:pt x="633" y="520"/>
                  <a:pt x="637" y="518"/>
                  <a:pt x="640" y="520"/>
                </a:cubicBezTo>
                <a:cubicBezTo>
                  <a:pt x="691" y="550"/>
                  <a:pt x="691" y="550"/>
                  <a:pt x="691" y="550"/>
                </a:cubicBezTo>
                <a:cubicBezTo>
                  <a:pt x="719" y="498"/>
                  <a:pt x="734" y="441"/>
                  <a:pt x="736" y="382"/>
                </a:cubicBezTo>
                <a:cubicBezTo>
                  <a:pt x="677" y="382"/>
                  <a:pt x="677" y="382"/>
                  <a:pt x="677" y="382"/>
                </a:cubicBezTo>
                <a:cubicBezTo>
                  <a:pt x="673" y="382"/>
                  <a:pt x="670" y="379"/>
                  <a:pt x="670" y="375"/>
                </a:cubicBezTo>
                <a:cubicBezTo>
                  <a:pt x="670" y="371"/>
                  <a:pt x="673" y="368"/>
                  <a:pt x="677" y="368"/>
                </a:cubicBezTo>
                <a:cubicBezTo>
                  <a:pt x="736" y="368"/>
                  <a:pt x="736" y="368"/>
                  <a:pt x="736" y="368"/>
                </a:cubicBezTo>
                <a:cubicBezTo>
                  <a:pt x="735" y="308"/>
                  <a:pt x="718" y="251"/>
                  <a:pt x="691" y="201"/>
                </a:cubicBezTo>
                <a:cubicBezTo>
                  <a:pt x="640" y="230"/>
                  <a:pt x="640" y="230"/>
                  <a:pt x="640" y="230"/>
                </a:cubicBezTo>
                <a:cubicBezTo>
                  <a:pt x="639" y="231"/>
                  <a:pt x="638" y="231"/>
                  <a:pt x="637" y="231"/>
                </a:cubicBezTo>
                <a:cubicBezTo>
                  <a:pt x="634" y="231"/>
                  <a:pt x="632" y="230"/>
                  <a:pt x="631" y="228"/>
                </a:cubicBezTo>
                <a:cubicBezTo>
                  <a:pt x="629" y="224"/>
                  <a:pt x="630" y="220"/>
                  <a:pt x="633" y="218"/>
                </a:cubicBezTo>
                <a:cubicBezTo>
                  <a:pt x="684" y="189"/>
                  <a:pt x="684" y="189"/>
                  <a:pt x="684" y="189"/>
                </a:cubicBezTo>
                <a:cubicBezTo>
                  <a:pt x="653" y="139"/>
                  <a:pt x="611" y="97"/>
                  <a:pt x="561" y="66"/>
                </a:cubicBezTo>
                <a:cubicBezTo>
                  <a:pt x="532" y="117"/>
                  <a:pt x="532" y="117"/>
                  <a:pt x="532" y="117"/>
                </a:cubicBezTo>
                <a:cubicBezTo>
                  <a:pt x="531" y="119"/>
                  <a:pt x="528" y="120"/>
                  <a:pt x="526" y="120"/>
                </a:cubicBezTo>
                <a:cubicBezTo>
                  <a:pt x="525" y="120"/>
                  <a:pt x="524" y="120"/>
                  <a:pt x="523" y="119"/>
                </a:cubicBezTo>
                <a:cubicBezTo>
                  <a:pt x="519" y="118"/>
                  <a:pt x="518" y="113"/>
                  <a:pt x="520" y="110"/>
                </a:cubicBezTo>
                <a:cubicBezTo>
                  <a:pt x="549" y="59"/>
                  <a:pt x="549" y="59"/>
                  <a:pt x="549" y="59"/>
                </a:cubicBezTo>
                <a:cubicBezTo>
                  <a:pt x="499" y="32"/>
                  <a:pt x="442" y="16"/>
                  <a:pt x="382" y="14"/>
                </a:cubicBezTo>
                <a:cubicBezTo>
                  <a:pt x="382" y="73"/>
                  <a:pt x="382" y="73"/>
                  <a:pt x="382" y="73"/>
                </a:cubicBezTo>
                <a:cubicBezTo>
                  <a:pt x="382" y="77"/>
                  <a:pt x="379" y="80"/>
                  <a:pt x="375" y="80"/>
                </a:cubicBezTo>
                <a:cubicBezTo>
                  <a:pt x="371" y="80"/>
                  <a:pt x="368" y="77"/>
                  <a:pt x="368" y="73"/>
                </a:cubicBezTo>
                <a:cubicBezTo>
                  <a:pt x="368" y="14"/>
                  <a:pt x="368" y="14"/>
                  <a:pt x="368" y="14"/>
                </a:cubicBezTo>
                <a:cubicBezTo>
                  <a:pt x="307" y="16"/>
                  <a:pt x="250" y="32"/>
                  <a:pt x="201" y="59"/>
                </a:cubicBezTo>
                <a:cubicBezTo>
                  <a:pt x="230" y="110"/>
                  <a:pt x="230" y="110"/>
                  <a:pt x="230" y="110"/>
                </a:cubicBezTo>
                <a:cubicBezTo>
                  <a:pt x="232" y="113"/>
                  <a:pt x="231" y="118"/>
                  <a:pt x="227" y="119"/>
                </a:cubicBezTo>
                <a:cubicBezTo>
                  <a:pt x="226" y="120"/>
                  <a:pt x="225" y="120"/>
                  <a:pt x="224" y="120"/>
                </a:cubicBezTo>
                <a:cubicBezTo>
                  <a:pt x="221" y="120"/>
                  <a:pt x="219" y="119"/>
                  <a:pt x="218" y="117"/>
                </a:cubicBezTo>
                <a:cubicBezTo>
                  <a:pt x="189" y="66"/>
                  <a:pt x="189" y="66"/>
                  <a:pt x="189" y="66"/>
                </a:cubicBezTo>
                <a:cubicBezTo>
                  <a:pt x="139" y="97"/>
                  <a:pt x="96" y="139"/>
                  <a:pt x="66" y="189"/>
                </a:cubicBezTo>
                <a:cubicBezTo>
                  <a:pt x="117" y="218"/>
                  <a:pt x="117" y="218"/>
                  <a:pt x="117" y="218"/>
                </a:cubicBezTo>
                <a:cubicBezTo>
                  <a:pt x="120" y="220"/>
                  <a:pt x="121" y="224"/>
                  <a:pt x="119" y="228"/>
                </a:cubicBezTo>
                <a:cubicBezTo>
                  <a:pt x="118" y="230"/>
                  <a:pt x="116" y="231"/>
                  <a:pt x="113" y="231"/>
                </a:cubicBezTo>
                <a:cubicBezTo>
                  <a:pt x="112" y="231"/>
                  <a:pt x="111" y="231"/>
                  <a:pt x="110" y="230"/>
                </a:cubicBezTo>
                <a:cubicBezTo>
                  <a:pt x="59" y="201"/>
                  <a:pt x="59" y="201"/>
                  <a:pt x="59" y="201"/>
                </a:cubicBezTo>
                <a:cubicBezTo>
                  <a:pt x="32" y="251"/>
                  <a:pt x="15" y="308"/>
                  <a:pt x="14" y="368"/>
                </a:cubicBezTo>
                <a:cubicBezTo>
                  <a:pt x="73" y="368"/>
                  <a:pt x="73" y="368"/>
                  <a:pt x="73" y="368"/>
                </a:cubicBezTo>
                <a:cubicBezTo>
                  <a:pt x="76" y="368"/>
                  <a:pt x="80" y="371"/>
                  <a:pt x="80" y="375"/>
                </a:cubicBezTo>
                <a:cubicBezTo>
                  <a:pt x="80" y="379"/>
                  <a:pt x="76" y="382"/>
                  <a:pt x="73" y="382"/>
                </a:cubicBezTo>
                <a:cubicBezTo>
                  <a:pt x="14" y="382"/>
                  <a:pt x="14" y="382"/>
                  <a:pt x="14" y="382"/>
                </a:cubicBezTo>
                <a:cubicBezTo>
                  <a:pt x="15" y="441"/>
                  <a:pt x="31" y="498"/>
                  <a:pt x="59" y="550"/>
                </a:cubicBezTo>
                <a:cubicBezTo>
                  <a:pt x="110" y="520"/>
                  <a:pt x="110" y="520"/>
                  <a:pt x="110" y="520"/>
                </a:cubicBezTo>
                <a:cubicBezTo>
                  <a:pt x="113" y="518"/>
                  <a:pt x="117" y="520"/>
                  <a:pt x="119" y="523"/>
                </a:cubicBezTo>
                <a:cubicBezTo>
                  <a:pt x="121" y="526"/>
                  <a:pt x="120" y="530"/>
                  <a:pt x="117" y="532"/>
                </a:cubicBezTo>
                <a:cubicBezTo>
                  <a:pt x="66" y="562"/>
                  <a:pt x="66" y="562"/>
                  <a:pt x="66" y="562"/>
                </a:cubicBezTo>
                <a:cubicBezTo>
                  <a:pt x="71" y="569"/>
                  <a:pt x="76" y="577"/>
                  <a:pt x="81" y="584"/>
                </a:cubicBezTo>
                <a:cubicBezTo>
                  <a:pt x="83" y="587"/>
                  <a:pt x="82" y="592"/>
                  <a:pt x="79" y="594"/>
                </a:cubicBezTo>
                <a:cubicBezTo>
                  <a:pt x="76" y="596"/>
                  <a:pt x="72" y="595"/>
                  <a:pt x="69" y="592"/>
                </a:cubicBezTo>
                <a:cubicBezTo>
                  <a:pt x="63" y="583"/>
                  <a:pt x="56" y="573"/>
                  <a:pt x="51" y="563"/>
                </a:cubicBezTo>
                <a:cubicBezTo>
                  <a:pt x="51" y="563"/>
                  <a:pt x="50" y="563"/>
                  <a:pt x="50" y="563"/>
                </a:cubicBezTo>
                <a:cubicBezTo>
                  <a:pt x="50" y="562"/>
                  <a:pt x="50" y="562"/>
                  <a:pt x="50" y="562"/>
                </a:cubicBezTo>
                <a:cubicBezTo>
                  <a:pt x="17" y="505"/>
                  <a:pt x="0" y="441"/>
                  <a:pt x="0" y="375"/>
                </a:cubicBezTo>
                <a:cubicBezTo>
                  <a:pt x="0" y="307"/>
                  <a:pt x="18" y="244"/>
                  <a:pt x="50" y="189"/>
                </a:cubicBezTo>
                <a:cubicBezTo>
                  <a:pt x="50" y="189"/>
                  <a:pt x="50" y="188"/>
                  <a:pt x="50" y="188"/>
                </a:cubicBezTo>
                <a:cubicBezTo>
                  <a:pt x="51" y="187"/>
                  <a:pt x="51" y="187"/>
                  <a:pt x="51" y="187"/>
                </a:cubicBezTo>
                <a:cubicBezTo>
                  <a:pt x="84" y="131"/>
                  <a:pt x="130" y="84"/>
                  <a:pt x="186" y="51"/>
                </a:cubicBezTo>
                <a:cubicBezTo>
                  <a:pt x="187" y="51"/>
                  <a:pt x="187" y="51"/>
                  <a:pt x="187" y="51"/>
                </a:cubicBezTo>
                <a:cubicBezTo>
                  <a:pt x="188" y="50"/>
                  <a:pt x="188" y="50"/>
                  <a:pt x="189" y="50"/>
                </a:cubicBezTo>
                <a:cubicBezTo>
                  <a:pt x="244" y="18"/>
                  <a:pt x="307" y="0"/>
                  <a:pt x="375" y="0"/>
                </a:cubicBezTo>
                <a:cubicBezTo>
                  <a:pt x="443" y="0"/>
                  <a:pt x="506" y="18"/>
                  <a:pt x="561" y="50"/>
                </a:cubicBezTo>
                <a:cubicBezTo>
                  <a:pt x="562" y="50"/>
                  <a:pt x="562" y="50"/>
                  <a:pt x="562" y="51"/>
                </a:cubicBezTo>
                <a:cubicBezTo>
                  <a:pt x="563" y="51"/>
                  <a:pt x="563" y="51"/>
                  <a:pt x="564" y="51"/>
                </a:cubicBezTo>
                <a:cubicBezTo>
                  <a:pt x="619" y="84"/>
                  <a:pt x="666" y="131"/>
                  <a:pt x="699" y="187"/>
                </a:cubicBezTo>
                <a:cubicBezTo>
                  <a:pt x="699" y="187"/>
                  <a:pt x="699" y="187"/>
                  <a:pt x="700" y="188"/>
                </a:cubicBezTo>
                <a:cubicBezTo>
                  <a:pt x="700" y="188"/>
                  <a:pt x="700" y="189"/>
                  <a:pt x="700" y="189"/>
                </a:cubicBezTo>
                <a:cubicBezTo>
                  <a:pt x="732" y="244"/>
                  <a:pt x="750" y="307"/>
                  <a:pt x="750" y="375"/>
                </a:cubicBezTo>
                <a:cubicBezTo>
                  <a:pt x="750" y="441"/>
                  <a:pt x="733" y="505"/>
                  <a:pt x="700" y="562"/>
                </a:cubicBezTo>
                <a:cubicBezTo>
                  <a:pt x="700" y="562"/>
                  <a:pt x="700" y="562"/>
                  <a:pt x="700" y="563"/>
                </a:cubicBezTo>
                <a:close/>
                <a:moveTo>
                  <a:pt x="533" y="560"/>
                </a:moveTo>
                <a:cubicBezTo>
                  <a:pt x="533" y="636"/>
                  <a:pt x="533" y="636"/>
                  <a:pt x="533" y="636"/>
                </a:cubicBezTo>
                <a:cubicBezTo>
                  <a:pt x="533" y="640"/>
                  <a:pt x="530" y="643"/>
                  <a:pt x="526" y="643"/>
                </a:cubicBezTo>
                <a:cubicBezTo>
                  <a:pt x="224" y="643"/>
                  <a:pt x="224" y="643"/>
                  <a:pt x="224" y="643"/>
                </a:cubicBezTo>
                <a:cubicBezTo>
                  <a:pt x="220" y="643"/>
                  <a:pt x="217" y="640"/>
                  <a:pt x="217" y="636"/>
                </a:cubicBezTo>
                <a:cubicBezTo>
                  <a:pt x="217" y="560"/>
                  <a:pt x="217" y="560"/>
                  <a:pt x="217" y="560"/>
                </a:cubicBezTo>
                <a:cubicBezTo>
                  <a:pt x="217" y="556"/>
                  <a:pt x="220" y="553"/>
                  <a:pt x="224" y="553"/>
                </a:cubicBezTo>
                <a:cubicBezTo>
                  <a:pt x="526" y="553"/>
                  <a:pt x="526" y="553"/>
                  <a:pt x="526" y="553"/>
                </a:cubicBezTo>
                <a:cubicBezTo>
                  <a:pt x="530" y="553"/>
                  <a:pt x="533" y="556"/>
                  <a:pt x="533" y="560"/>
                </a:cubicBezTo>
                <a:close/>
                <a:moveTo>
                  <a:pt x="519" y="567"/>
                </a:moveTo>
                <a:cubicBezTo>
                  <a:pt x="231" y="567"/>
                  <a:pt x="231" y="567"/>
                  <a:pt x="231" y="567"/>
                </a:cubicBezTo>
                <a:cubicBezTo>
                  <a:pt x="231" y="629"/>
                  <a:pt x="231" y="629"/>
                  <a:pt x="231" y="629"/>
                </a:cubicBezTo>
                <a:cubicBezTo>
                  <a:pt x="519" y="629"/>
                  <a:pt x="519" y="629"/>
                  <a:pt x="519" y="629"/>
                </a:cubicBezTo>
                <a:lnTo>
                  <a:pt x="519" y="567"/>
                </a:lnTo>
                <a:close/>
                <a:moveTo>
                  <a:pt x="579" y="257"/>
                </a:moveTo>
                <a:cubicBezTo>
                  <a:pt x="581" y="261"/>
                  <a:pt x="580" y="265"/>
                  <a:pt x="577" y="267"/>
                </a:cubicBezTo>
                <a:cubicBezTo>
                  <a:pt x="442" y="344"/>
                  <a:pt x="442" y="344"/>
                  <a:pt x="442" y="344"/>
                </a:cubicBezTo>
                <a:cubicBezTo>
                  <a:pt x="447" y="354"/>
                  <a:pt x="449" y="364"/>
                  <a:pt x="449" y="375"/>
                </a:cubicBezTo>
                <a:cubicBezTo>
                  <a:pt x="449" y="416"/>
                  <a:pt x="416" y="449"/>
                  <a:pt x="375" y="449"/>
                </a:cubicBezTo>
                <a:cubicBezTo>
                  <a:pt x="334" y="449"/>
                  <a:pt x="301" y="416"/>
                  <a:pt x="301" y="375"/>
                </a:cubicBezTo>
                <a:cubicBezTo>
                  <a:pt x="301" y="334"/>
                  <a:pt x="334" y="301"/>
                  <a:pt x="375" y="301"/>
                </a:cubicBezTo>
                <a:cubicBezTo>
                  <a:pt x="400" y="301"/>
                  <a:pt x="422" y="313"/>
                  <a:pt x="435" y="332"/>
                </a:cubicBezTo>
                <a:cubicBezTo>
                  <a:pt x="570" y="255"/>
                  <a:pt x="570" y="255"/>
                  <a:pt x="570" y="255"/>
                </a:cubicBezTo>
                <a:cubicBezTo>
                  <a:pt x="573" y="253"/>
                  <a:pt x="577" y="254"/>
                  <a:pt x="579" y="257"/>
                </a:cubicBezTo>
                <a:close/>
                <a:moveTo>
                  <a:pt x="435" y="375"/>
                </a:moveTo>
                <a:cubicBezTo>
                  <a:pt x="435" y="342"/>
                  <a:pt x="408" y="315"/>
                  <a:pt x="375" y="315"/>
                </a:cubicBezTo>
                <a:cubicBezTo>
                  <a:pt x="342" y="315"/>
                  <a:pt x="315" y="342"/>
                  <a:pt x="315" y="375"/>
                </a:cubicBezTo>
                <a:cubicBezTo>
                  <a:pt x="315" y="408"/>
                  <a:pt x="342" y="435"/>
                  <a:pt x="375" y="435"/>
                </a:cubicBezTo>
                <a:cubicBezTo>
                  <a:pt x="408" y="435"/>
                  <a:pt x="435" y="408"/>
                  <a:pt x="435" y="375"/>
                </a:cubicBez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endParaRPr lang="en-US" sz="1836"/>
          </a:p>
        </p:txBody>
      </p:sp>
    </p:spTree>
    <p:extLst>
      <p:ext uri="{BB962C8B-B14F-4D97-AF65-F5344CB8AC3E}">
        <p14:creationId xmlns:p14="http://schemas.microsoft.com/office/powerpoint/2010/main" val="2170030433"/>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Oval 15"/>
          <p:cNvSpPr>
            <a:spLocks noChangeArrowheads="1"/>
          </p:cNvSpPr>
          <p:nvPr/>
        </p:nvSpPr>
        <p:spPr bwMode="auto">
          <a:xfrm>
            <a:off x="729472" y="1363662"/>
            <a:ext cx="1119124" cy="1119124"/>
          </a:xfrm>
          <a:prstGeom prst="ellipse">
            <a:avLst/>
          </a:prstGeom>
          <a:solidFill>
            <a:schemeClr val="accent6"/>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7" name="Freeform 34"/>
          <p:cNvSpPr>
            <a:spLocks noEditPoints="1"/>
          </p:cNvSpPr>
          <p:nvPr/>
        </p:nvSpPr>
        <p:spPr bwMode="auto">
          <a:xfrm>
            <a:off x="908585" y="1543545"/>
            <a:ext cx="761562" cy="570846"/>
          </a:xfrm>
          <a:custGeom>
            <a:avLst/>
            <a:gdLst>
              <a:gd name="T0" fmla="*/ 419 w 486"/>
              <a:gd name="T1" fmla="*/ 279 h 364"/>
              <a:gd name="T2" fmla="*/ 390 w 486"/>
              <a:gd name="T3" fmla="*/ 171 h 364"/>
              <a:gd name="T4" fmla="*/ 363 w 486"/>
              <a:gd name="T5" fmla="*/ 279 h 364"/>
              <a:gd name="T6" fmla="*/ 295 w 486"/>
              <a:gd name="T7" fmla="*/ 359 h 364"/>
              <a:gd name="T8" fmla="*/ 481 w 486"/>
              <a:gd name="T9" fmla="*/ 364 h 364"/>
              <a:gd name="T10" fmla="*/ 434 w 486"/>
              <a:gd name="T11" fmla="*/ 312 h 364"/>
              <a:gd name="T12" fmla="*/ 390 w 486"/>
              <a:gd name="T13" fmla="*/ 181 h 364"/>
              <a:gd name="T14" fmla="*/ 390 w 486"/>
              <a:gd name="T15" fmla="*/ 283 h 364"/>
              <a:gd name="T16" fmla="*/ 305 w 486"/>
              <a:gd name="T17" fmla="*/ 355 h 364"/>
              <a:gd name="T18" fmla="*/ 351 w 486"/>
              <a:gd name="T19" fmla="*/ 320 h 364"/>
              <a:gd name="T20" fmla="*/ 390 w 486"/>
              <a:gd name="T21" fmla="*/ 292 h 364"/>
              <a:gd name="T22" fmla="*/ 431 w 486"/>
              <a:gd name="T23" fmla="*/ 321 h 364"/>
              <a:gd name="T24" fmla="*/ 476 w 486"/>
              <a:gd name="T25" fmla="*/ 355 h 364"/>
              <a:gd name="T26" fmla="*/ 322 w 486"/>
              <a:gd name="T27" fmla="*/ 216 h 364"/>
              <a:gd name="T28" fmla="*/ 327 w 486"/>
              <a:gd name="T29" fmla="*/ 215 h 364"/>
              <a:gd name="T30" fmla="*/ 321 w 486"/>
              <a:gd name="T31" fmla="*/ 177 h 364"/>
              <a:gd name="T32" fmla="*/ 297 w 486"/>
              <a:gd name="T33" fmla="*/ 37 h 364"/>
              <a:gd name="T34" fmla="*/ 204 w 486"/>
              <a:gd name="T35" fmla="*/ 0 h 364"/>
              <a:gd name="T36" fmla="*/ 171 w 486"/>
              <a:gd name="T37" fmla="*/ 137 h 364"/>
              <a:gd name="T38" fmla="*/ 154 w 486"/>
              <a:gd name="T39" fmla="*/ 189 h 364"/>
              <a:gd name="T40" fmla="*/ 208 w 486"/>
              <a:gd name="T41" fmla="*/ 143 h 364"/>
              <a:gd name="T42" fmla="*/ 289 w 486"/>
              <a:gd name="T43" fmla="*/ 179 h 364"/>
              <a:gd name="T44" fmla="*/ 293 w 486"/>
              <a:gd name="T45" fmla="*/ 170 h 364"/>
              <a:gd name="T46" fmla="*/ 227 w 486"/>
              <a:gd name="T47" fmla="*/ 130 h 364"/>
              <a:gd name="T48" fmla="*/ 205 w 486"/>
              <a:gd name="T49" fmla="*/ 133 h 364"/>
              <a:gd name="T50" fmla="*/ 200 w 486"/>
              <a:gd name="T51" fmla="*/ 139 h 364"/>
              <a:gd name="T52" fmla="*/ 181 w 486"/>
              <a:gd name="T53" fmla="*/ 134 h 364"/>
              <a:gd name="T54" fmla="*/ 178 w 486"/>
              <a:gd name="T55" fmla="*/ 129 h 364"/>
              <a:gd name="T56" fmla="*/ 204 w 486"/>
              <a:gd name="T57" fmla="*/ 9 h 364"/>
              <a:gd name="T58" fmla="*/ 276 w 486"/>
              <a:gd name="T59" fmla="*/ 49 h 364"/>
              <a:gd name="T60" fmla="*/ 369 w 486"/>
              <a:gd name="T61" fmla="*/ 108 h 364"/>
              <a:gd name="T62" fmla="*/ 311 w 486"/>
              <a:gd name="T63" fmla="*/ 173 h 364"/>
              <a:gd name="T64" fmla="*/ 297 w 486"/>
              <a:gd name="T65" fmla="*/ 173 h 364"/>
              <a:gd name="T66" fmla="*/ 139 w 486"/>
              <a:gd name="T67" fmla="*/ 312 h 364"/>
              <a:gd name="T68" fmla="*/ 142 w 486"/>
              <a:gd name="T69" fmla="*/ 232 h 364"/>
              <a:gd name="T70" fmla="*/ 49 w 486"/>
              <a:gd name="T71" fmla="*/ 232 h 364"/>
              <a:gd name="T72" fmla="*/ 54 w 486"/>
              <a:gd name="T73" fmla="*/ 311 h 364"/>
              <a:gd name="T74" fmla="*/ 5 w 486"/>
              <a:gd name="T75" fmla="*/ 364 h 364"/>
              <a:gd name="T76" fmla="*/ 191 w 486"/>
              <a:gd name="T77" fmla="*/ 359 h 364"/>
              <a:gd name="T78" fmla="*/ 59 w 486"/>
              <a:gd name="T79" fmla="*/ 232 h 364"/>
              <a:gd name="T80" fmla="*/ 132 w 486"/>
              <a:gd name="T81" fmla="*/ 232 h 364"/>
              <a:gd name="T82" fmla="*/ 59 w 486"/>
              <a:gd name="T83" fmla="*/ 232 h 364"/>
              <a:gd name="T84" fmla="*/ 56 w 486"/>
              <a:gd name="T85" fmla="*/ 320 h 364"/>
              <a:gd name="T86" fmla="*/ 77 w 486"/>
              <a:gd name="T87" fmla="*/ 286 h 364"/>
              <a:gd name="T88" fmla="*/ 115 w 486"/>
              <a:gd name="T89" fmla="*/ 286 h 364"/>
              <a:gd name="T90" fmla="*/ 137 w 486"/>
              <a:gd name="T91" fmla="*/ 321 h 364"/>
              <a:gd name="T92" fmla="*/ 10 w 486"/>
              <a:gd name="T93" fmla="*/ 355 h 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86" h="364">
                <a:moveTo>
                  <a:pt x="434" y="312"/>
                </a:moveTo>
                <a:cubicBezTo>
                  <a:pt x="423" y="309"/>
                  <a:pt x="419" y="290"/>
                  <a:pt x="419" y="279"/>
                </a:cubicBezTo>
                <a:cubicBezTo>
                  <a:pt x="429" y="267"/>
                  <a:pt x="437" y="250"/>
                  <a:pt x="437" y="232"/>
                </a:cubicBezTo>
                <a:cubicBezTo>
                  <a:pt x="437" y="195"/>
                  <a:pt x="419" y="171"/>
                  <a:pt x="390" y="171"/>
                </a:cubicBezTo>
                <a:cubicBezTo>
                  <a:pt x="362" y="171"/>
                  <a:pt x="344" y="195"/>
                  <a:pt x="344" y="232"/>
                </a:cubicBezTo>
                <a:cubicBezTo>
                  <a:pt x="344" y="251"/>
                  <a:pt x="352" y="268"/>
                  <a:pt x="363" y="279"/>
                </a:cubicBezTo>
                <a:cubicBezTo>
                  <a:pt x="362" y="293"/>
                  <a:pt x="358" y="308"/>
                  <a:pt x="348" y="311"/>
                </a:cubicBezTo>
                <a:cubicBezTo>
                  <a:pt x="304" y="320"/>
                  <a:pt x="295" y="342"/>
                  <a:pt x="295" y="359"/>
                </a:cubicBezTo>
                <a:cubicBezTo>
                  <a:pt x="295" y="362"/>
                  <a:pt x="297" y="364"/>
                  <a:pt x="300" y="364"/>
                </a:cubicBezTo>
                <a:cubicBezTo>
                  <a:pt x="481" y="364"/>
                  <a:pt x="481" y="364"/>
                  <a:pt x="481" y="364"/>
                </a:cubicBezTo>
                <a:cubicBezTo>
                  <a:pt x="483" y="364"/>
                  <a:pt x="486" y="362"/>
                  <a:pt x="486" y="359"/>
                </a:cubicBezTo>
                <a:cubicBezTo>
                  <a:pt x="486" y="343"/>
                  <a:pt x="477" y="321"/>
                  <a:pt x="434" y="312"/>
                </a:cubicBezTo>
                <a:close/>
                <a:moveTo>
                  <a:pt x="354" y="232"/>
                </a:moveTo>
                <a:cubicBezTo>
                  <a:pt x="354" y="185"/>
                  <a:pt x="382" y="181"/>
                  <a:pt x="390" y="181"/>
                </a:cubicBezTo>
                <a:cubicBezTo>
                  <a:pt x="399" y="181"/>
                  <a:pt x="427" y="185"/>
                  <a:pt x="427" y="232"/>
                </a:cubicBezTo>
                <a:cubicBezTo>
                  <a:pt x="427" y="261"/>
                  <a:pt x="408" y="283"/>
                  <a:pt x="390" y="283"/>
                </a:cubicBezTo>
                <a:cubicBezTo>
                  <a:pt x="373" y="283"/>
                  <a:pt x="354" y="261"/>
                  <a:pt x="354" y="232"/>
                </a:cubicBezTo>
                <a:close/>
                <a:moveTo>
                  <a:pt x="305" y="355"/>
                </a:moveTo>
                <a:cubicBezTo>
                  <a:pt x="307" y="338"/>
                  <a:pt x="323" y="326"/>
                  <a:pt x="351" y="320"/>
                </a:cubicBezTo>
                <a:cubicBezTo>
                  <a:pt x="351" y="320"/>
                  <a:pt x="351" y="320"/>
                  <a:pt x="351" y="320"/>
                </a:cubicBezTo>
                <a:cubicBezTo>
                  <a:pt x="364" y="316"/>
                  <a:pt x="370" y="301"/>
                  <a:pt x="372" y="286"/>
                </a:cubicBezTo>
                <a:cubicBezTo>
                  <a:pt x="377" y="290"/>
                  <a:pt x="384" y="292"/>
                  <a:pt x="390" y="292"/>
                </a:cubicBezTo>
                <a:cubicBezTo>
                  <a:pt x="397" y="292"/>
                  <a:pt x="404" y="290"/>
                  <a:pt x="410" y="286"/>
                </a:cubicBezTo>
                <a:cubicBezTo>
                  <a:pt x="412" y="302"/>
                  <a:pt x="418" y="317"/>
                  <a:pt x="431" y="321"/>
                </a:cubicBezTo>
                <a:cubicBezTo>
                  <a:pt x="431" y="321"/>
                  <a:pt x="431" y="321"/>
                  <a:pt x="432" y="321"/>
                </a:cubicBezTo>
                <a:cubicBezTo>
                  <a:pt x="459" y="326"/>
                  <a:pt x="474" y="338"/>
                  <a:pt x="476" y="355"/>
                </a:cubicBezTo>
                <a:lnTo>
                  <a:pt x="305" y="355"/>
                </a:lnTo>
                <a:close/>
                <a:moveTo>
                  <a:pt x="322" y="216"/>
                </a:moveTo>
                <a:cubicBezTo>
                  <a:pt x="323" y="216"/>
                  <a:pt x="323" y="216"/>
                  <a:pt x="324" y="216"/>
                </a:cubicBezTo>
                <a:cubicBezTo>
                  <a:pt x="325" y="216"/>
                  <a:pt x="327" y="216"/>
                  <a:pt x="327" y="215"/>
                </a:cubicBezTo>
                <a:cubicBezTo>
                  <a:pt x="329" y="214"/>
                  <a:pt x="330" y="212"/>
                  <a:pt x="329" y="210"/>
                </a:cubicBezTo>
                <a:cubicBezTo>
                  <a:pt x="329" y="210"/>
                  <a:pt x="322" y="195"/>
                  <a:pt x="321" y="177"/>
                </a:cubicBezTo>
                <a:cubicBezTo>
                  <a:pt x="355" y="168"/>
                  <a:pt x="378" y="140"/>
                  <a:pt x="378" y="108"/>
                </a:cubicBezTo>
                <a:cubicBezTo>
                  <a:pt x="378" y="69"/>
                  <a:pt x="342" y="37"/>
                  <a:pt x="297" y="37"/>
                </a:cubicBezTo>
                <a:cubicBezTo>
                  <a:pt x="290" y="37"/>
                  <a:pt x="283" y="37"/>
                  <a:pt x="277" y="39"/>
                </a:cubicBezTo>
                <a:cubicBezTo>
                  <a:pt x="263" y="15"/>
                  <a:pt x="235" y="0"/>
                  <a:pt x="204" y="0"/>
                </a:cubicBezTo>
                <a:cubicBezTo>
                  <a:pt x="159" y="0"/>
                  <a:pt x="123" y="32"/>
                  <a:pt x="123" y="71"/>
                </a:cubicBezTo>
                <a:cubicBezTo>
                  <a:pt x="123" y="100"/>
                  <a:pt x="142" y="125"/>
                  <a:pt x="171" y="137"/>
                </a:cubicBezTo>
                <a:cubicBezTo>
                  <a:pt x="170" y="163"/>
                  <a:pt x="154" y="183"/>
                  <a:pt x="154" y="183"/>
                </a:cubicBezTo>
                <a:cubicBezTo>
                  <a:pt x="153" y="185"/>
                  <a:pt x="153" y="188"/>
                  <a:pt x="154" y="189"/>
                </a:cubicBezTo>
                <a:cubicBezTo>
                  <a:pt x="156" y="191"/>
                  <a:pt x="158" y="191"/>
                  <a:pt x="160" y="191"/>
                </a:cubicBezTo>
                <a:cubicBezTo>
                  <a:pt x="185" y="179"/>
                  <a:pt x="201" y="164"/>
                  <a:pt x="208" y="143"/>
                </a:cubicBezTo>
                <a:cubicBezTo>
                  <a:pt x="214" y="142"/>
                  <a:pt x="219" y="142"/>
                  <a:pt x="224" y="141"/>
                </a:cubicBezTo>
                <a:cubicBezTo>
                  <a:pt x="237" y="163"/>
                  <a:pt x="261" y="177"/>
                  <a:pt x="289" y="179"/>
                </a:cubicBezTo>
                <a:cubicBezTo>
                  <a:pt x="296" y="193"/>
                  <a:pt x="306" y="205"/>
                  <a:pt x="322" y="216"/>
                </a:cubicBezTo>
                <a:close/>
                <a:moveTo>
                  <a:pt x="293" y="170"/>
                </a:moveTo>
                <a:cubicBezTo>
                  <a:pt x="266" y="169"/>
                  <a:pt x="242" y="155"/>
                  <a:pt x="231" y="133"/>
                </a:cubicBezTo>
                <a:cubicBezTo>
                  <a:pt x="230" y="131"/>
                  <a:pt x="228" y="130"/>
                  <a:pt x="227" y="130"/>
                </a:cubicBezTo>
                <a:cubicBezTo>
                  <a:pt x="226" y="130"/>
                  <a:pt x="226" y="130"/>
                  <a:pt x="225" y="131"/>
                </a:cubicBezTo>
                <a:cubicBezTo>
                  <a:pt x="219" y="132"/>
                  <a:pt x="212" y="133"/>
                  <a:pt x="205" y="133"/>
                </a:cubicBezTo>
                <a:cubicBezTo>
                  <a:pt x="202" y="133"/>
                  <a:pt x="201" y="135"/>
                  <a:pt x="200" y="137"/>
                </a:cubicBezTo>
                <a:cubicBezTo>
                  <a:pt x="200" y="138"/>
                  <a:pt x="200" y="138"/>
                  <a:pt x="200" y="139"/>
                </a:cubicBezTo>
                <a:cubicBezTo>
                  <a:pt x="195" y="154"/>
                  <a:pt x="185" y="165"/>
                  <a:pt x="170" y="175"/>
                </a:cubicBezTo>
                <a:cubicBezTo>
                  <a:pt x="175" y="165"/>
                  <a:pt x="180" y="150"/>
                  <a:pt x="181" y="134"/>
                </a:cubicBezTo>
                <a:cubicBezTo>
                  <a:pt x="181" y="134"/>
                  <a:pt x="181" y="134"/>
                  <a:pt x="181" y="134"/>
                </a:cubicBezTo>
                <a:cubicBezTo>
                  <a:pt x="181" y="132"/>
                  <a:pt x="180" y="130"/>
                  <a:pt x="178" y="129"/>
                </a:cubicBezTo>
                <a:cubicBezTo>
                  <a:pt x="150" y="120"/>
                  <a:pt x="132" y="97"/>
                  <a:pt x="132" y="71"/>
                </a:cubicBezTo>
                <a:cubicBezTo>
                  <a:pt x="132" y="37"/>
                  <a:pt x="164" y="9"/>
                  <a:pt x="204" y="9"/>
                </a:cubicBezTo>
                <a:cubicBezTo>
                  <a:pt x="233" y="9"/>
                  <a:pt x="259" y="24"/>
                  <a:pt x="270" y="47"/>
                </a:cubicBezTo>
                <a:cubicBezTo>
                  <a:pt x="271" y="48"/>
                  <a:pt x="273" y="49"/>
                  <a:pt x="276" y="49"/>
                </a:cubicBezTo>
                <a:cubicBezTo>
                  <a:pt x="282" y="47"/>
                  <a:pt x="290" y="46"/>
                  <a:pt x="297" y="46"/>
                </a:cubicBezTo>
                <a:cubicBezTo>
                  <a:pt x="337" y="46"/>
                  <a:pt x="369" y="74"/>
                  <a:pt x="369" y="108"/>
                </a:cubicBezTo>
                <a:cubicBezTo>
                  <a:pt x="369" y="137"/>
                  <a:pt x="347" y="162"/>
                  <a:pt x="315" y="169"/>
                </a:cubicBezTo>
                <a:cubicBezTo>
                  <a:pt x="313" y="169"/>
                  <a:pt x="311" y="171"/>
                  <a:pt x="311" y="173"/>
                </a:cubicBezTo>
                <a:cubicBezTo>
                  <a:pt x="311" y="183"/>
                  <a:pt x="313" y="191"/>
                  <a:pt x="315" y="198"/>
                </a:cubicBezTo>
                <a:cubicBezTo>
                  <a:pt x="306" y="190"/>
                  <a:pt x="301" y="182"/>
                  <a:pt x="297" y="173"/>
                </a:cubicBezTo>
                <a:cubicBezTo>
                  <a:pt x="296" y="171"/>
                  <a:pt x="295" y="170"/>
                  <a:pt x="293" y="170"/>
                </a:cubicBezTo>
                <a:close/>
                <a:moveTo>
                  <a:pt x="139" y="312"/>
                </a:moveTo>
                <a:cubicBezTo>
                  <a:pt x="128" y="309"/>
                  <a:pt x="124" y="290"/>
                  <a:pt x="124" y="279"/>
                </a:cubicBezTo>
                <a:cubicBezTo>
                  <a:pt x="135" y="267"/>
                  <a:pt x="142" y="250"/>
                  <a:pt x="142" y="232"/>
                </a:cubicBezTo>
                <a:cubicBezTo>
                  <a:pt x="142" y="195"/>
                  <a:pt x="124" y="171"/>
                  <a:pt x="96" y="171"/>
                </a:cubicBezTo>
                <a:cubicBezTo>
                  <a:pt x="67" y="171"/>
                  <a:pt x="49" y="195"/>
                  <a:pt x="49" y="232"/>
                </a:cubicBezTo>
                <a:cubicBezTo>
                  <a:pt x="49" y="251"/>
                  <a:pt x="57" y="268"/>
                  <a:pt x="68" y="279"/>
                </a:cubicBezTo>
                <a:cubicBezTo>
                  <a:pt x="67" y="293"/>
                  <a:pt x="63" y="308"/>
                  <a:pt x="54" y="311"/>
                </a:cubicBezTo>
                <a:cubicBezTo>
                  <a:pt x="10" y="320"/>
                  <a:pt x="0" y="342"/>
                  <a:pt x="0" y="359"/>
                </a:cubicBezTo>
                <a:cubicBezTo>
                  <a:pt x="0" y="362"/>
                  <a:pt x="3" y="364"/>
                  <a:pt x="5" y="364"/>
                </a:cubicBezTo>
                <a:cubicBezTo>
                  <a:pt x="186" y="364"/>
                  <a:pt x="186" y="364"/>
                  <a:pt x="186" y="364"/>
                </a:cubicBezTo>
                <a:cubicBezTo>
                  <a:pt x="189" y="364"/>
                  <a:pt x="191" y="362"/>
                  <a:pt x="191" y="359"/>
                </a:cubicBezTo>
                <a:cubicBezTo>
                  <a:pt x="191" y="343"/>
                  <a:pt x="182" y="321"/>
                  <a:pt x="139" y="312"/>
                </a:cubicBezTo>
                <a:close/>
                <a:moveTo>
                  <a:pt x="59" y="232"/>
                </a:moveTo>
                <a:cubicBezTo>
                  <a:pt x="59" y="185"/>
                  <a:pt x="87" y="181"/>
                  <a:pt x="96" y="181"/>
                </a:cubicBezTo>
                <a:cubicBezTo>
                  <a:pt x="104" y="181"/>
                  <a:pt x="132" y="185"/>
                  <a:pt x="132" y="232"/>
                </a:cubicBezTo>
                <a:cubicBezTo>
                  <a:pt x="132" y="261"/>
                  <a:pt x="113" y="283"/>
                  <a:pt x="96" y="283"/>
                </a:cubicBezTo>
                <a:cubicBezTo>
                  <a:pt x="78" y="283"/>
                  <a:pt x="59" y="261"/>
                  <a:pt x="59" y="232"/>
                </a:cubicBezTo>
                <a:close/>
                <a:moveTo>
                  <a:pt x="10" y="355"/>
                </a:moveTo>
                <a:cubicBezTo>
                  <a:pt x="12" y="338"/>
                  <a:pt x="28" y="326"/>
                  <a:pt x="56" y="320"/>
                </a:cubicBezTo>
                <a:cubicBezTo>
                  <a:pt x="56" y="320"/>
                  <a:pt x="56" y="320"/>
                  <a:pt x="56" y="320"/>
                </a:cubicBezTo>
                <a:cubicBezTo>
                  <a:pt x="69" y="316"/>
                  <a:pt x="75" y="301"/>
                  <a:pt x="77" y="286"/>
                </a:cubicBezTo>
                <a:cubicBezTo>
                  <a:pt x="83" y="290"/>
                  <a:pt x="89" y="292"/>
                  <a:pt x="96" y="292"/>
                </a:cubicBezTo>
                <a:cubicBezTo>
                  <a:pt x="102" y="292"/>
                  <a:pt x="109" y="290"/>
                  <a:pt x="115" y="286"/>
                </a:cubicBezTo>
                <a:cubicBezTo>
                  <a:pt x="117" y="302"/>
                  <a:pt x="123" y="317"/>
                  <a:pt x="136" y="321"/>
                </a:cubicBezTo>
                <a:cubicBezTo>
                  <a:pt x="137" y="321"/>
                  <a:pt x="137" y="321"/>
                  <a:pt x="137" y="321"/>
                </a:cubicBezTo>
                <a:cubicBezTo>
                  <a:pt x="164" y="326"/>
                  <a:pt x="179" y="338"/>
                  <a:pt x="181" y="355"/>
                </a:cubicBezTo>
                <a:lnTo>
                  <a:pt x="10" y="355"/>
                </a:ln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2" name="Title 1"/>
          <p:cNvSpPr>
            <a:spLocks noGrp="1"/>
          </p:cNvSpPr>
          <p:nvPr>
            <p:ph type="title"/>
          </p:nvPr>
        </p:nvSpPr>
        <p:spPr/>
        <p:txBody>
          <a:bodyPr/>
          <a:lstStyle/>
          <a:p>
            <a:r>
              <a:rPr lang="en-US" dirty="0"/>
              <a:t>Support</a:t>
            </a:r>
          </a:p>
        </p:txBody>
      </p:sp>
      <p:sp>
        <p:nvSpPr>
          <p:cNvPr id="3" name="Text Placeholder 2"/>
          <p:cNvSpPr>
            <a:spLocks noGrp="1"/>
          </p:cNvSpPr>
          <p:nvPr>
            <p:ph type="body" sz="quarter" idx="10"/>
          </p:nvPr>
        </p:nvSpPr>
        <p:spPr>
          <a:xfrm>
            <a:off x="2484438" y="1212850"/>
            <a:ext cx="9677400" cy="3724096"/>
          </a:xfrm>
          <a:solidFill>
            <a:schemeClr val="bg2">
              <a:lumMod val="90000"/>
            </a:schemeClr>
          </a:solidFill>
        </p:spPr>
        <p:txBody>
          <a:bodyPr/>
          <a:lstStyle/>
          <a:p>
            <a:r>
              <a:rPr lang="en-US" dirty="0">
                <a:solidFill>
                  <a:schemeClr val="tx1"/>
                </a:solidFill>
              </a:rPr>
              <a:t>Experience</a:t>
            </a:r>
          </a:p>
          <a:p>
            <a:pPr marL="342900" indent="-342900">
              <a:buFont typeface="Arial" panose="020B0604020202020204" pitchFamily="34" charset="0"/>
              <a:buChar char="•"/>
            </a:pPr>
            <a:r>
              <a:rPr lang="en-US" sz="2000" dirty="0">
                <a:solidFill>
                  <a:schemeClr val="tx1"/>
                </a:solidFill>
                <a:latin typeface="+mn-lt"/>
              </a:rPr>
              <a:t>We had no global service desk</a:t>
            </a:r>
          </a:p>
          <a:p>
            <a:pPr marL="342900" indent="-342900">
              <a:buFont typeface="Arial" panose="020B0604020202020204" pitchFamily="34" charset="0"/>
              <a:buChar char="•"/>
            </a:pPr>
            <a:r>
              <a:rPr lang="en-US" sz="2000" dirty="0">
                <a:solidFill>
                  <a:schemeClr val="tx1"/>
                </a:solidFill>
                <a:latin typeface="+mn-lt"/>
              </a:rPr>
              <a:t>We had no global incident management</a:t>
            </a:r>
          </a:p>
          <a:p>
            <a:pPr marL="342900" indent="-342900">
              <a:buFont typeface="Arial" panose="020B0604020202020204" pitchFamily="34" charset="0"/>
              <a:buChar char="•"/>
            </a:pPr>
            <a:r>
              <a:rPr lang="en-US" sz="2000" dirty="0">
                <a:solidFill>
                  <a:schemeClr val="tx1"/>
                </a:solidFill>
                <a:latin typeface="+mn-lt"/>
              </a:rPr>
              <a:t>We had no history of operating across regions</a:t>
            </a:r>
          </a:p>
          <a:p>
            <a:r>
              <a:rPr lang="en-US" dirty="0">
                <a:solidFill>
                  <a:schemeClr val="tx1"/>
                </a:solidFill>
              </a:rPr>
              <a:t>Decisions</a:t>
            </a:r>
          </a:p>
          <a:p>
            <a:pPr marL="342900" indent="-342900">
              <a:buFont typeface="Arial" panose="020B0604020202020204" pitchFamily="34" charset="0"/>
              <a:buChar char="•"/>
            </a:pPr>
            <a:r>
              <a:rPr lang="en-US" sz="2000" dirty="0">
                <a:solidFill>
                  <a:schemeClr val="tx1"/>
                </a:solidFill>
                <a:latin typeface="+mn-lt"/>
              </a:rPr>
              <a:t>Leveraged as-is processes in each markets</a:t>
            </a:r>
          </a:p>
          <a:p>
            <a:pPr marL="342900" indent="-342900">
              <a:buFont typeface="Arial" panose="020B0604020202020204" pitchFamily="34" charset="0"/>
              <a:buChar char="•"/>
            </a:pPr>
            <a:r>
              <a:rPr lang="en-US" sz="2000" dirty="0">
                <a:solidFill>
                  <a:schemeClr val="tx1"/>
                </a:solidFill>
                <a:latin typeface="+mn-lt"/>
              </a:rPr>
              <a:t>Changed as-is role-names to a global standard and added two global roles: Global SDM and Global Operations (TCS)</a:t>
            </a:r>
          </a:p>
          <a:p>
            <a:pPr marL="342900" indent="-342900">
              <a:buFont typeface="Arial" panose="020B0604020202020204" pitchFamily="34" charset="0"/>
              <a:buChar char="•"/>
            </a:pPr>
            <a:r>
              <a:rPr lang="en-US" sz="2000" dirty="0">
                <a:solidFill>
                  <a:schemeClr val="tx1"/>
                </a:solidFill>
                <a:latin typeface="+mn-lt"/>
              </a:rPr>
              <a:t>Designed very simple global workflows</a:t>
            </a:r>
          </a:p>
        </p:txBody>
      </p:sp>
      <p:pic>
        <p:nvPicPr>
          <p:cNvPr id="10" name="Picture 9"/>
          <p:cNvPicPr>
            <a:picLocks noChangeAspect="1"/>
          </p:cNvPicPr>
          <p:nvPr/>
        </p:nvPicPr>
        <p:blipFill>
          <a:blip r:embed="rId2">
            <a:clrChange>
              <a:clrFrom>
                <a:srgbClr val="FFFFFF"/>
              </a:clrFrom>
              <a:clrTo>
                <a:srgbClr val="FFFFFF">
                  <a:alpha val="0"/>
                </a:srgbClr>
              </a:clrTo>
            </a:clrChange>
          </a:blip>
          <a:stretch>
            <a:fillRect/>
          </a:stretch>
        </p:blipFill>
        <p:spPr>
          <a:xfrm>
            <a:off x="2479619" y="5326062"/>
            <a:ext cx="5321109" cy="1844513"/>
          </a:xfrm>
          <a:prstGeom prst="rect">
            <a:avLst/>
          </a:prstGeom>
        </p:spPr>
      </p:pic>
      <p:pic>
        <p:nvPicPr>
          <p:cNvPr id="11" name="Picture 10"/>
          <p:cNvPicPr>
            <a:picLocks noChangeAspect="1"/>
          </p:cNvPicPr>
          <p:nvPr/>
        </p:nvPicPr>
        <p:blipFill>
          <a:blip r:embed="rId3">
            <a:clrChange>
              <a:clrFrom>
                <a:srgbClr val="FFFFFF"/>
              </a:clrFrom>
              <a:clrTo>
                <a:srgbClr val="FFFFFF">
                  <a:alpha val="0"/>
                </a:srgbClr>
              </a:clrTo>
            </a:clrChange>
          </a:blip>
          <a:stretch>
            <a:fillRect/>
          </a:stretch>
        </p:blipFill>
        <p:spPr>
          <a:xfrm>
            <a:off x="8123237" y="4945062"/>
            <a:ext cx="3427816" cy="1881282"/>
          </a:xfrm>
          <a:prstGeom prst="rect">
            <a:avLst/>
          </a:prstGeom>
        </p:spPr>
      </p:pic>
    </p:spTree>
    <p:extLst>
      <p:ext uri="{BB962C8B-B14F-4D97-AF65-F5344CB8AC3E}">
        <p14:creationId xmlns:p14="http://schemas.microsoft.com/office/powerpoint/2010/main" val="3054920010"/>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Our journey to Office 365</a:t>
            </a:r>
          </a:p>
        </p:txBody>
      </p:sp>
      <p:sp>
        <p:nvSpPr>
          <p:cNvPr id="5" name="Text Placeholder 4"/>
          <p:cNvSpPr>
            <a:spLocks noGrp="1"/>
          </p:cNvSpPr>
          <p:nvPr>
            <p:ph type="body" sz="quarter" idx="12"/>
          </p:nvPr>
        </p:nvSpPr>
        <p:spPr/>
        <p:txBody>
          <a:bodyPr/>
          <a:lstStyle/>
          <a:p>
            <a:r>
              <a:rPr lang="en-US" dirty="0"/>
              <a:t>Anders L. Munck</a:t>
            </a:r>
          </a:p>
          <a:p>
            <a:r>
              <a:rPr lang="en-US" dirty="0"/>
              <a:t>Workplace Enterprise Architect</a:t>
            </a:r>
          </a:p>
        </p:txBody>
      </p:sp>
      <p:pic>
        <p:nvPicPr>
          <p:cNvPr id="6" name="Picture 33" descr="Logo_GROUP_White"/>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11399837" y="144462"/>
            <a:ext cx="889000" cy="504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7607559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Oval 33"/>
          <p:cNvSpPr>
            <a:spLocks noChangeArrowheads="1"/>
          </p:cNvSpPr>
          <p:nvPr/>
        </p:nvSpPr>
        <p:spPr bwMode="auto">
          <a:xfrm>
            <a:off x="733020" y="1363662"/>
            <a:ext cx="1119124" cy="1119124"/>
          </a:xfrm>
          <a:prstGeom prst="ellipse">
            <a:avLst/>
          </a:prstGeom>
          <a:solidFill>
            <a:schemeClr val="accent6"/>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7" name="Freeform 110"/>
          <p:cNvSpPr>
            <a:spLocks noEditPoints="1"/>
          </p:cNvSpPr>
          <p:nvPr/>
        </p:nvSpPr>
        <p:spPr bwMode="auto">
          <a:xfrm>
            <a:off x="989688" y="1583230"/>
            <a:ext cx="607004" cy="679990"/>
          </a:xfrm>
          <a:custGeom>
            <a:avLst/>
            <a:gdLst>
              <a:gd name="T0" fmla="*/ 196 w 577"/>
              <a:gd name="T1" fmla="*/ 432 h 646"/>
              <a:gd name="T2" fmla="*/ 292 w 577"/>
              <a:gd name="T3" fmla="*/ 304 h 646"/>
              <a:gd name="T4" fmla="*/ 361 w 577"/>
              <a:gd name="T5" fmla="*/ 355 h 646"/>
              <a:gd name="T6" fmla="*/ 292 w 577"/>
              <a:gd name="T7" fmla="*/ 318 h 646"/>
              <a:gd name="T8" fmla="*/ 210 w 577"/>
              <a:gd name="T9" fmla="*/ 432 h 646"/>
              <a:gd name="T10" fmla="*/ 351 w 577"/>
              <a:gd name="T11" fmla="*/ 511 h 646"/>
              <a:gd name="T12" fmla="*/ 363 w 577"/>
              <a:gd name="T13" fmla="*/ 519 h 646"/>
              <a:gd name="T14" fmla="*/ 299 w 577"/>
              <a:gd name="T15" fmla="*/ 406 h 646"/>
              <a:gd name="T16" fmla="*/ 169 w 577"/>
              <a:gd name="T17" fmla="*/ 399 h 646"/>
              <a:gd name="T18" fmla="*/ 169 w 577"/>
              <a:gd name="T19" fmla="*/ 413 h 646"/>
              <a:gd name="T20" fmla="*/ 299 w 577"/>
              <a:gd name="T21" fmla="*/ 406 h 646"/>
              <a:gd name="T22" fmla="*/ 299 w 577"/>
              <a:gd name="T23" fmla="*/ 460 h 646"/>
              <a:gd name="T24" fmla="*/ 169 w 577"/>
              <a:gd name="T25" fmla="*/ 453 h 646"/>
              <a:gd name="T26" fmla="*/ 169 w 577"/>
              <a:gd name="T27" fmla="*/ 467 h 646"/>
              <a:gd name="T28" fmla="*/ 364 w 577"/>
              <a:gd name="T29" fmla="*/ 219 h 646"/>
              <a:gd name="T30" fmla="*/ 350 w 577"/>
              <a:gd name="T31" fmla="*/ 216 h 646"/>
              <a:gd name="T32" fmla="*/ 226 w 577"/>
              <a:gd name="T33" fmla="*/ 216 h 646"/>
              <a:gd name="T34" fmla="*/ 213 w 577"/>
              <a:gd name="T35" fmla="*/ 219 h 646"/>
              <a:gd name="T36" fmla="*/ 364 w 577"/>
              <a:gd name="T37" fmla="*/ 219 h 646"/>
              <a:gd name="T38" fmla="*/ 364 w 577"/>
              <a:gd name="T39" fmla="*/ 213 h 646"/>
              <a:gd name="T40" fmla="*/ 447 w 577"/>
              <a:gd name="T41" fmla="*/ 80 h 646"/>
              <a:gd name="T42" fmla="*/ 430 w 577"/>
              <a:gd name="T43" fmla="*/ 37 h 646"/>
              <a:gd name="T44" fmla="*/ 377 w 577"/>
              <a:gd name="T45" fmla="*/ 51 h 646"/>
              <a:gd name="T46" fmla="*/ 341 w 577"/>
              <a:gd name="T47" fmla="*/ 28 h 646"/>
              <a:gd name="T48" fmla="*/ 236 w 577"/>
              <a:gd name="T49" fmla="*/ 28 h 646"/>
              <a:gd name="T50" fmla="*/ 200 w 577"/>
              <a:gd name="T51" fmla="*/ 51 h 646"/>
              <a:gd name="T52" fmla="*/ 185 w 577"/>
              <a:gd name="T53" fmla="*/ 47 h 646"/>
              <a:gd name="T54" fmla="*/ 119 w 577"/>
              <a:gd name="T55" fmla="*/ 51 h 646"/>
              <a:gd name="T56" fmla="*/ 134 w 577"/>
              <a:gd name="T57" fmla="*/ 83 h 646"/>
              <a:gd name="T58" fmla="*/ 0 w 577"/>
              <a:gd name="T59" fmla="*/ 462 h 646"/>
              <a:gd name="T60" fmla="*/ 577 w 577"/>
              <a:gd name="T61" fmla="*/ 462 h 646"/>
              <a:gd name="T62" fmla="*/ 200 w 577"/>
              <a:gd name="T63" fmla="*/ 65 h 646"/>
              <a:gd name="T64" fmla="*/ 243 w 577"/>
              <a:gd name="T65" fmla="*/ 41 h 646"/>
              <a:gd name="T66" fmla="*/ 288 w 577"/>
              <a:gd name="T67" fmla="*/ 14 h 646"/>
              <a:gd name="T68" fmla="*/ 334 w 577"/>
              <a:gd name="T69" fmla="*/ 41 h 646"/>
              <a:gd name="T70" fmla="*/ 398 w 577"/>
              <a:gd name="T71" fmla="*/ 59 h 646"/>
              <a:gd name="T72" fmla="*/ 445 w 577"/>
              <a:gd name="T73" fmla="*/ 56 h 646"/>
              <a:gd name="T74" fmla="*/ 435 w 577"/>
              <a:gd name="T75" fmla="*/ 72 h 646"/>
              <a:gd name="T76" fmla="*/ 355 w 577"/>
              <a:gd name="T77" fmla="*/ 224 h 646"/>
              <a:gd name="T78" fmla="*/ 288 w 577"/>
              <a:gd name="T79" fmla="*/ 632 h 646"/>
              <a:gd name="T80" fmla="*/ 222 w 577"/>
              <a:gd name="T81" fmla="*/ 224 h 646"/>
              <a:gd name="T82" fmla="*/ 142 w 577"/>
              <a:gd name="T83" fmla="*/ 72 h 646"/>
              <a:gd name="T84" fmla="*/ 132 w 577"/>
              <a:gd name="T85" fmla="*/ 56 h 646"/>
              <a:gd name="T86" fmla="*/ 179 w 577"/>
              <a:gd name="T87" fmla="*/ 59 h 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77" h="646">
                <a:moveTo>
                  <a:pt x="292" y="561"/>
                </a:moveTo>
                <a:cubicBezTo>
                  <a:pt x="233" y="561"/>
                  <a:pt x="196" y="510"/>
                  <a:pt x="196" y="432"/>
                </a:cubicBezTo>
                <a:cubicBezTo>
                  <a:pt x="196" y="395"/>
                  <a:pt x="204" y="363"/>
                  <a:pt x="221" y="340"/>
                </a:cubicBezTo>
                <a:cubicBezTo>
                  <a:pt x="238" y="316"/>
                  <a:pt x="263" y="304"/>
                  <a:pt x="292" y="304"/>
                </a:cubicBezTo>
                <a:cubicBezTo>
                  <a:pt x="320" y="304"/>
                  <a:pt x="344" y="317"/>
                  <a:pt x="363" y="345"/>
                </a:cubicBezTo>
                <a:cubicBezTo>
                  <a:pt x="365" y="348"/>
                  <a:pt x="364" y="353"/>
                  <a:pt x="361" y="355"/>
                </a:cubicBezTo>
                <a:cubicBezTo>
                  <a:pt x="358" y="357"/>
                  <a:pt x="354" y="356"/>
                  <a:pt x="351" y="353"/>
                </a:cubicBezTo>
                <a:cubicBezTo>
                  <a:pt x="335" y="329"/>
                  <a:pt x="316" y="318"/>
                  <a:pt x="292" y="318"/>
                </a:cubicBezTo>
                <a:cubicBezTo>
                  <a:pt x="267" y="318"/>
                  <a:pt x="247" y="328"/>
                  <a:pt x="232" y="348"/>
                </a:cubicBezTo>
                <a:cubicBezTo>
                  <a:pt x="218" y="369"/>
                  <a:pt x="210" y="398"/>
                  <a:pt x="210" y="432"/>
                </a:cubicBezTo>
                <a:cubicBezTo>
                  <a:pt x="210" y="502"/>
                  <a:pt x="242" y="547"/>
                  <a:pt x="292" y="547"/>
                </a:cubicBezTo>
                <a:cubicBezTo>
                  <a:pt x="316" y="547"/>
                  <a:pt x="335" y="535"/>
                  <a:pt x="351" y="511"/>
                </a:cubicBezTo>
                <a:cubicBezTo>
                  <a:pt x="354" y="508"/>
                  <a:pt x="358" y="507"/>
                  <a:pt x="361" y="509"/>
                </a:cubicBezTo>
                <a:cubicBezTo>
                  <a:pt x="364" y="512"/>
                  <a:pt x="365" y="516"/>
                  <a:pt x="363" y="519"/>
                </a:cubicBezTo>
                <a:cubicBezTo>
                  <a:pt x="344" y="547"/>
                  <a:pt x="320" y="561"/>
                  <a:pt x="292" y="561"/>
                </a:cubicBezTo>
                <a:close/>
                <a:moveTo>
                  <a:pt x="299" y="406"/>
                </a:moveTo>
                <a:cubicBezTo>
                  <a:pt x="299" y="402"/>
                  <a:pt x="296" y="399"/>
                  <a:pt x="292" y="399"/>
                </a:cubicBezTo>
                <a:cubicBezTo>
                  <a:pt x="169" y="399"/>
                  <a:pt x="169" y="399"/>
                  <a:pt x="169" y="399"/>
                </a:cubicBezTo>
                <a:cubicBezTo>
                  <a:pt x="165" y="399"/>
                  <a:pt x="162" y="402"/>
                  <a:pt x="162" y="406"/>
                </a:cubicBezTo>
                <a:cubicBezTo>
                  <a:pt x="162" y="410"/>
                  <a:pt x="165" y="413"/>
                  <a:pt x="169" y="413"/>
                </a:cubicBezTo>
                <a:cubicBezTo>
                  <a:pt x="292" y="413"/>
                  <a:pt x="292" y="413"/>
                  <a:pt x="292" y="413"/>
                </a:cubicBezTo>
                <a:cubicBezTo>
                  <a:pt x="296" y="413"/>
                  <a:pt x="299" y="410"/>
                  <a:pt x="299" y="406"/>
                </a:cubicBezTo>
                <a:close/>
                <a:moveTo>
                  <a:pt x="292" y="467"/>
                </a:moveTo>
                <a:cubicBezTo>
                  <a:pt x="296" y="467"/>
                  <a:pt x="299" y="464"/>
                  <a:pt x="299" y="460"/>
                </a:cubicBezTo>
                <a:cubicBezTo>
                  <a:pt x="299" y="456"/>
                  <a:pt x="296" y="453"/>
                  <a:pt x="292" y="453"/>
                </a:cubicBezTo>
                <a:cubicBezTo>
                  <a:pt x="169" y="453"/>
                  <a:pt x="169" y="453"/>
                  <a:pt x="169" y="453"/>
                </a:cubicBezTo>
                <a:cubicBezTo>
                  <a:pt x="165" y="453"/>
                  <a:pt x="162" y="456"/>
                  <a:pt x="162" y="460"/>
                </a:cubicBezTo>
                <a:cubicBezTo>
                  <a:pt x="162" y="464"/>
                  <a:pt x="165" y="467"/>
                  <a:pt x="169" y="467"/>
                </a:cubicBezTo>
                <a:lnTo>
                  <a:pt x="292" y="467"/>
                </a:lnTo>
                <a:close/>
                <a:moveTo>
                  <a:pt x="364" y="219"/>
                </a:moveTo>
                <a:cubicBezTo>
                  <a:pt x="350" y="216"/>
                  <a:pt x="350" y="216"/>
                  <a:pt x="350" y="216"/>
                </a:cubicBezTo>
                <a:cubicBezTo>
                  <a:pt x="350" y="216"/>
                  <a:pt x="350" y="216"/>
                  <a:pt x="350" y="216"/>
                </a:cubicBezTo>
                <a:cubicBezTo>
                  <a:pt x="350" y="216"/>
                  <a:pt x="344" y="231"/>
                  <a:pt x="288" y="231"/>
                </a:cubicBezTo>
                <a:cubicBezTo>
                  <a:pt x="233" y="231"/>
                  <a:pt x="227" y="216"/>
                  <a:pt x="226" y="216"/>
                </a:cubicBezTo>
                <a:cubicBezTo>
                  <a:pt x="227" y="216"/>
                  <a:pt x="227" y="216"/>
                  <a:pt x="227" y="216"/>
                </a:cubicBezTo>
                <a:cubicBezTo>
                  <a:pt x="213" y="219"/>
                  <a:pt x="213" y="219"/>
                  <a:pt x="213" y="219"/>
                </a:cubicBezTo>
                <a:cubicBezTo>
                  <a:pt x="214" y="224"/>
                  <a:pt x="222" y="245"/>
                  <a:pt x="288" y="245"/>
                </a:cubicBezTo>
                <a:cubicBezTo>
                  <a:pt x="355" y="245"/>
                  <a:pt x="363" y="224"/>
                  <a:pt x="364" y="219"/>
                </a:cubicBezTo>
                <a:close/>
                <a:moveTo>
                  <a:pt x="577" y="462"/>
                </a:moveTo>
                <a:cubicBezTo>
                  <a:pt x="577" y="344"/>
                  <a:pt x="452" y="245"/>
                  <a:pt x="364" y="213"/>
                </a:cubicBezTo>
                <a:cubicBezTo>
                  <a:pt x="366" y="181"/>
                  <a:pt x="381" y="134"/>
                  <a:pt x="443" y="83"/>
                </a:cubicBezTo>
                <a:cubicBezTo>
                  <a:pt x="445" y="81"/>
                  <a:pt x="447" y="80"/>
                  <a:pt x="447" y="80"/>
                </a:cubicBezTo>
                <a:cubicBezTo>
                  <a:pt x="461" y="67"/>
                  <a:pt x="461" y="57"/>
                  <a:pt x="458" y="51"/>
                </a:cubicBezTo>
                <a:cubicBezTo>
                  <a:pt x="455" y="42"/>
                  <a:pt x="444" y="37"/>
                  <a:pt x="430" y="37"/>
                </a:cubicBezTo>
                <a:cubicBezTo>
                  <a:pt x="418" y="37"/>
                  <a:pt x="405" y="41"/>
                  <a:pt x="392" y="47"/>
                </a:cubicBezTo>
                <a:cubicBezTo>
                  <a:pt x="387" y="49"/>
                  <a:pt x="382" y="51"/>
                  <a:pt x="377" y="51"/>
                </a:cubicBezTo>
                <a:cubicBezTo>
                  <a:pt x="365" y="51"/>
                  <a:pt x="355" y="43"/>
                  <a:pt x="344" y="31"/>
                </a:cubicBezTo>
                <a:cubicBezTo>
                  <a:pt x="341" y="28"/>
                  <a:pt x="341" y="28"/>
                  <a:pt x="341" y="28"/>
                </a:cubicBezTo>
                <a:cubicBezTo>
                  <a:pt x="328" y="15"/>
                  <a:pt x="314" y="0"/>
                  <a:pt x="288" y="0"/>
                </a:cubicBezTo>
                <a:cubicBezTo>
                  <a:pt x="263" y="0"/>
                  <a:pt x="249" y="15"/>
                  <a:pt x="236" y="28"/>
                </a:cubicBezTo>
                <a:cubicBezTo>
                  <a:pt x="233" y="31"/>
                  <a:pt x="233" y="31"/>
                  <a:pt x="233" y="31"/>
                </a:cubicBezTo>
                <a:cubicBezTo>
                  <a:pt x="222" y="43"/>
                  <a:pt x="212" y="51"/>
                  <a:pt x="200" y="51"/>
                </a:cubicBezTo>
                <a:cubicBezTo>
                  <a:pt x="200" y="51"/>
                  <a:pt x="200" y="51"/>
                  <a:pt x="200" y="51"/>
                </a:cubicBezTo>
                <a:cubicBezTo>
                  <a:pt x="195" y="51"/>
                  <a:pt x="190" y="49"/>
                  <a:pt x="185" y="47"/>
                </a:cubicBezTo>
                <a:cubicBezTo>
                  <a:pt x="172" y="41"/>
                  <a:pt x="159" y="37"/>
                  <a:pt x="147" y="37"/>
                </a:cubicBezTo>
                <a:cubicBezTo>
                  <a:pt x="133" y="37"/>
                  <a:pt x="122" y="42"/>
                  <a:pt x="119" y="51"/>
                </a:cubicBezTo>
                <a:cubicBezTo>
                  <a:pt x="116" y="57"/>
                  <a:pt x="116" y="67"/>
                  <a:pt x="130" y="80"/>
                </a:cubicBezTo>
                <a:cubicBezTo>
                  <a:pt x="130" y="80"/>
                  <a:pt x="132" y="81"/>
                  <a:pt x="134" y="83"/>
                </a:cubicBezTo>
                <a:cubicBezTo>
                  <a:pt x="196" y="134"/>
                  <a:pt x="211" y="181"/>
                  <a:pt x="213" y="213"/>
                </a:cubicBezTo>
                <a:cubicBezTo>
                  <a:pt x="125" y="245"/>
                  <a:pt x="0" y="344"/>
                  <a:pt x="0" y="462"/>
                </a:cubicBezTo>
                <a:cubicBezTo>
                  <a:pt x="0" y="579"/>
                  <a:pt x="47" y="646"/>
                  <a:pt x="288" y="646"/>
                </a:cubicBezTo>
                <a:cubicBezTo>
                  <a:pt x="530" y="646"/>
                  <a:pt x="577" y="579"/>
                  <a:pt x="577" y="462"/>
                </a:cubicBezTo>
                <a:close/>
                <a:moveTo>
                  <a:pt x="179" y="59"/>
                </a:moveTo>
                <a:cubicBezTo>
                  <a:pt x="186" y="63"/>
                  <a:pt x="193" y="65"/>
                  <a:pt x="200" y="65"/>
                </a:cubicBezTo>
                <a:cubicBezTo>
                  <a:pt x="200" y="65"/>
                  <a:pt x="200" y="65"/>
                  <a:pt x="200" y="65"/>
                </a:cubicBezTo>
                <a:cubicBezTo>
                  <a:pt x="218" y="65"/>
                  <a:pt x="231" y="53"/>
                  <a:pt x="243" y="41"/>
                </a:cubicBezTo>
                <a:cubicBezTo>
                  <a:pt x="246" y="37"/>
                  <a:pt x="246" y="37"/>
                  <a:pt x="246" y="37"/>
                </a:cubicBezTo>
                <a:cubicBezTo>
                  <a:pt x="258" y="25"/>
                  <a:pt x="269" y="14"/>
                  <a:pt x="288" y="14"/>
                </a:cubicBezTo>
                <a:cubicBezTo>
                  <a:pt x="308" y="14"/>
                  <a:pt x="319" y="25"/>
                  <a:pt x="331" y="37"/>
                </a:cubicBezTo>
                <a:cubicBezTo>
                  <a:pt x="334" y="41"/>
                  <a:pt x="334" y="41"/>
                  <a:pt x="334" y="41"/>
                </a:cubicBezTo>
                <a:cubicBezTo>
                  <a:pt x="346" y="53"/>
                  <a:pt x="359" y="65"/>
                  <a:pt x="377" y="65"/>
                </a:cubicBezTo>
                <a:cubicBezTo>
                  <a:pt x="384" y="65"/>
                  <a:pt x="391" y="63"/>
                  <a:pt x="398" y="59"/>
                </a:cubicBezTo>
                <a:cubicBezTo>
                  <a:pt x="409" y="54"/>
                  <a:pt x="420" y="51"/>
                  <a:pt x="430" y="51"/>
                </a:cubicBezTo>
                <a:cubicBezTo>
                  <a:pt x="439" y="51"/>
                  <a:pt x="444" y="54"/>
                  <a:pt x="445" y="56"/>
                </a:cubicBezTo>
                <a:cubicBezTo>
                  <a:pt x="446" y="58"/>
                  <a:pt x="444" y="63"/>
                  <a:pt x="438" y="70"/>
                </a:cubicBezTo>
                <a:cubicBezTo>
                  <a:pt x="437" y="70"/>
                  <a:pt x="436" y="71"/>
                  <a:pt x="435" y="72"/>
                </a:cubicBezTo>
                <a:cubicBezTo>
                  <a:pt x="365" y="129"/>
                  <a:pt x="350" y="183"/>
                  <a:pt x="350" y="218"/>
                </a:cubicBezTo>
                <a:cubicBezTo>
                  <a:pt x="350" y="221"/>
                  <a:pt x="352" y="223"/>
                  <a:pt x="355" y="224"/>
                </a:cubicBezTo>
                <a:cubicBezTo>
                  <a:pt x="439" y="253"/>
                  <a:pt x="563" y="349"/>
                  <a:pt x="563" y="462"/>
                </a:cubicBezTo>
                <a:cubicBezTo>
                  <a:pt x="563" y="573"/>
                  <a:pt x="519" y="632"/>
                  <a:pt x="288" y="632"/>
                </a:cubicBezTo>
                <a:cubicBezTo>
                  <a:pt x="58" y="632"/>
                  <a:pt x="14" y="573"/>
                  <a:pt x="14" y="462"/>
                </a:cubicBezTo>
                <a:cubicBezTo>
                  <a:pt x="14" y="349"/>
                  <a:pt x="138" y="253"/>
                  <a:pt x="222" y="224"/>
                </a:cubicBezTo>
                <a:cubicBezTo>
                  <a:pt x="225" y="223"/>
                  <a:pt x="227" y="221"/>
                  <a:pt x="227" y="218"/>
                </a:cubicBezTo>
                <a:cubicBezTo>
                  <a:pt x="227" y="183"/>
                  <a:pt x="212" y="129"/>
                  <a:pt x="142" y="72"/>
                </a:cubicBezTo>
                <a:cubicBezTo>
                  <a:pt x="141" y="71"/>
                  <a:pt x="140" y="70"/>
                  <a:pt x="139" y="70"/>
                </a:cubicBezTo>
                <a:cubicBezTo>
                  <a:pt x="133" y="63"/>
                  <a:pt x="131" y="58"/>
                  <a:pt x="132" y="56"/>
                </a:cubicBezTo>
                <a:cubicBezTo>
                  <a:pt x="133" y="54"/>
                  <a:pt x="138" y="51"/>
                  <a:pt x="147" y="51"/>
                </a:cubicBezTo>
                <a:cubicBezTo>
                  <a:pt x="157" y="51"/>
                  <a:pt x="168" y="54"/>
                  <a:pt x="179" y="59"/>
                </a:cubicBez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2" name="Title 1"/>
          <p:cNvSpPr>
            <a:spLocks noGrp="1"/>
          </p:cNvSpPr>
          <p:nvPr>
            <p:ph type="title"/>
          </p:nvPr>
        </p:nvSpPr>
        <p:spPr/>
        <p:txBody>
          <a:bodyPr/>
          <a:lstStyle/>
          <a:p>
            <a:r>
              <a:rPr lang="en-US" dirty="0"/>
              <a:t>License management</a:t>
            </a:r>
          </a:p>
        </p:txBody>
      </p:sp>
      <p:sp>
        <p:nvSpPr>
          <p:cNvPr id="3" name="Text Placeholder 2"/>
          <p:cNvSpPr>
            <a:spLocks noGrp="1"/>
          </p:cNvSpPr>
          <p:nvPr>
            <p:ph type="body" sz="quarter" idx="10"/>
          </p:nvPr>
        </p:nvSpPr>
        <p:spPr>
          <a:xfrm>
            <a:off x="2484438" y="1212850"/>
            <a:ext cx="9677400" cy="3385542"/>
          </a:xfrm>
          <a:solidFill>
            <a:schemeClr val="bg2">
              <a:lumMod val="90000"/>
            </a:schemeClr>
          </a:solidFill>
        </p:spPr>
        <p:txBody>
          <a:bodyPr/>
          <a:lstStyle/>
          <a:p>
            <a:r>
              <a:rPr lang="en-US" dirty="0">
                <a:solidFill>
                  <a:schemeClr val="tx1"/>
                </a:solidFill>
              </a:rPr>
              <a:t>Experience</a:t>
            </a:r>
          </a:p>
          <a:p>
            <a:pPr marL="342900" indent="-342900">
              <a:buFont typeface="Arial" panose="020B0604020202020204" pitchFamily="34" charset="0"/>
              <a:buChar char="•"/>
            </a:pPr>
            <a:r>
              <a:rPr lang="en-US" sz="2000" b="1" dirty="0">
                <a:solidFill>
                  <a:schemeClr val="tx1"/>
                </a:solidFill>
                <a:latin typeface="+mn-lt"/>
              </a:rPr>
              <a:t>Unclear license rules </a:t>
            </a:r>
            <a:r>
              <a:rPr lang="en-US" sz="2000" dirty="0">
                <a:solidFill>
                  <a:schemeClr val="tx1"/>
                </a:solidFill>
                <a:latin typeface="+mn-lt"/>
              </a:rPr>
              <a:t>– Qualified user/device</a:t>
            </a:r>
          </a:p>
          <a:p>
            <a:pPr marL="342900" indent="-342900">
              <a:buFont typeface="Arial" panose="020B0604020202020204" pitchFamily="34" charset="0"/>
              <a:buChar char="•"/>
            </a:pPr>
            <a:r>
              <a:rPr lang="en-US" sz="2000" b="1" dirty="0">
                <a:solidFill>
                  <a:schemeClr val="tx1"/>
                </a:solidFill>
                <a:latin typeface="+mn-lt"/>
              </a:rPr>
              <a:t>Changing license rules </a:t>
            </a:r>
            <a:r>
              <a:rPr lang="en-US" sz="2000" dirty="0">
                <a:solidFill>
                  <a:schemeClr val="tx1"/>
                </a:solidFill>
                <a:latin typeface="+mn-lt"/>
              </a:rPr>
              <a:t>– New plan details every year</a:t>
            </a:r>
          </a:p>
          <a:p>
            <a:pPr marL="342900" indent="-342900">
              <a:buFont typeface="Arial" panose="020B0604020202020204" pitchFamily="34" charset="0"/>
              <a:buChar char="•"/>
            </a:pPr>
            <a:r>
              <a:rPr lang="en-US" sz="2000" b="1" dirty="0">
                <a:solidFill>
                  <a:schemeClr val="tx1"/>
                </a:solidFill>
                <a:latin typeface="+mn-lt"/>
              </a:rPr>
              <a:t>Licenses not fitting real world </a:t>
            </a:r>
            <a:r>
              <a:rPr lang="en-US" sz="2000" dirty="0">
                <a:solidFill>
                  <a:schemeClr val="tx1"/>
                </a:solidFill>
                <a:latin typeface="+mn-lt"/>
              </a:rPr>
              <a:t>– Shared department accounts, meeting rooms with active accounts</a:t>
            </a:r>
          </a:p>
          <a:p>
            <a:r>
              <a:rPr lang="en-US" dirty="0">
                <a:solidFill>
                  <a:schemeClr val="tx1"/>
                </a:solidFill>
              </a:rPr>
              <a:t>Decisions</a:t>
            </a:r>
          </a:p>
          <a:p>
            <a:pPr marL="342900" indent="-342900">
              <a:buFont typeface="Arial" panose="020B0604020202020204" pitchFamily="34" charset="0"/>
              <a:buChar char="•"/>
            </a:pPr>
            <a:r>
              <a:rPr lang="en-US" sz="2000" dirty="0">
                <a:solidFill>
                  <a:schemeClr val="tx1"/>
                </a:solidFill>
                <a:latin typeface="+mn-lt"/>
              </a:rPr>
              <a:t>We have to do a LOT of employee training (incl. of MS own people)</a:t>
            </a:r>
          </a:p>
          <a:p>
            <a:pPr marL="342900" indent="-342900">
              <a:buFont typeface="Arial" panose="020B0604020202020204" pitchFamily="34" charset="0"/>
              <a:buChar char="•"/>
            </a:pPr>
            <a:r>
              <a:rPr lang="en-US" sz="2000" dirty="0">
                <a:solidFill>
                  <a:schemeClr val="tx1"/>
                </a:solidFill>
                <a:latin typeface="+mn-lt"/>
              </a:rPr>
              <a:t>We have to be creative and triple-check individual cases with MS licensing</a:t>
            </a:r>
          </a:p>
        </p:txBody>
      </p:sp>
      <p:pic>
        <p:nvPicPr>
          <p:cNvPr id="9" name="Picture 8"/>
          <p:cNvPicPr>
            <a:picLocks noChangeAspect="1"/>
          </p:cNvPicPr>
          <p:nvPr/>
        </p:nvPicPr>
        <p:blipFill>
          <a:blip r:embed="rId2"/>
          <a:stretch>
            <a:fillRect/>
          </a:stretch>
        </p:blipFill>
        <p:spPr>
          <a:xfrm>
            <a:off x="2942544" y="4487862"/>
            <a:ext cx="2635268" cy="2381153"/>
          </a:xfrm>
          <a:prstGeom prst="rect">
            <a:avLst/>
          </a:prstGeom>
        </p:spPr>
      </p:pic>
      <p:pic>
        <p:nvPicPr>
          <p:cNvPr id="10" name="Picture 9"/>
          <p:cNvPicPr>
            <a:picLocks noChangeAspect="1"/>
          </p:cNvPicPr>
          <p:nvPr/>
        </p:nvPicPr>
        <p:blipFill>
          <a:blip r:embed="rId3"/>
          <a:stretch>
            <a:fillRect/>
          </a:stretch>
        </p:blipFill>
        <p:spPr>
          <a:xfrm>
            <a:off x="5151437" y="5200244"/>
            <a:ext cx="2636208" cy="1436017"/>
          </a:xfrm>
          <a:prstGeom prst="rect">
            <a:avLst/>
          </a:prstGeom>
          <a:ln>
            <a:noFill/>
          </a:ln>
          <a:effectLst>
            <a:outerShdw blurRad="292100" dist="139700" dir="2700000" algn="tl" rotWithShape="0">
              <a:srgbClr val="333333">
                <a:alpha val="65000"/>
              </a:srgbClr>
            </a:outerShdw>
          </a:effectLst>
        </p:spPr>
      </p:pic>
      <p:pic>
        <p:nvPicPr>
          <p:cNvPr id="11" name="Picture 10"/>
          <p:cNvPicPr>
            <a:picLocks noChangeAspect="1"/>
          </p:cNvPicPr>
          <p:nvPr/>
        </p:nvPicPr>
        <p:blipFill>
          <a:blip r:embed="rId4"/>
          <a:stretch>
            <a:fillRect/>
          </a:stretch>
        </p:blipFill>
        <p:spPr>
          <a:xfrm>
            <a:off x="7537193" y="4713584"/>
            <a:ext cx="2422255" cy="1318581"/>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3625958742"/>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Oval 76"/>
          <p:cNvSpPr>
            <a:spLocks noChangeArrowheads="1"/>
          </p:cNvSpPr>
          <p:nvPr/>
        </p:nvSpPr>
        <p:spPr bwMode="auto">
          <a:xfrm>
            <a:off x="729472" y="1363662"/>
            <a:ext cx="1119124" cy="1119124"/>
          </a:xfrm>
          <a:prstGeom prst="ellipse">
            <a:avLst/>
          </a:prstGeom>
          <a:solidFill>
            <a:schemeClr val="accent6"/>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7" name="Freeform 152"/>
          <p:cNvSpPr>
            <a:spLocks noEditPoints="1"/>
          </p:cNvSpPr>
          <p:nvPr/>
        </p:nvSpPr>
        <p:spPr bwMode="auto">
          <a:xfrm>
            <a:off x="1015335" y="1642228"/>
            <a:ext cx="547398" cy="536450"/>
          </a:xfrm>
          <a:custGeom>
            <a:avLst/>
            <a:gdLst>
              <a:gd name="T0" fmla="*/ 396 w 520"/>
              <a:gd name="T1" fmla="*/ 294 h 510"/>
              <a:gd name="T2" fmla="*/ 385 w 520"/>
              <a:gd name="T3" fmla="*/ 283 h 510"/>
              <a:gd name="T4" fmla="*/ 370 w 520"/>
              <a:gd name="T5" fmla="*/ 297 h 510"/>
              <a:gd name="T6" fmla="*/ 342 w 520"/>
              <a:gd name="T7" fmla="*/ 326 h 510"/>
              <a:gd name="T8" fmla="*/ 414 w 520"/>
              <a:gd name="T9" fmla="*/ 161 h 510"/>
              <a:gd name="T10" fmla="*/ 491 w 520"/>
              <a:gd name="T11" fmla="*/ 140 h 510"/>
              <a:gd name="T12" fmla="*/ 506 w 520"/>
              <a:gd name="T13" fmla="*/ 52 h 510"/>
              <a:gd name="T14" fmla="*/ 465 w 520"/>
              <a:gd name="T15" fmla="*/ 88 h 510"/>
              <a:gd name="T16" fmla="*/ 428 w 520"/>
              <a:gd name="T17" fmla="*/ 50 h 510"/>
              <a:gd name="T18" fmla="*/ 463 w 520"/>
              <a:gd name="T19" fmla="*/ 9 h 510"/>
              <a:gd name="T20" fmla="*/ 433 w 520"/>
              <a:gd name="T21" fmla="*/ 0 h 510"/>
              <a:gd name="T22" fmla="*/ 354 w 520"/>
              <a:gd name="T23" fmla="*/ 101 h 510"/>
              <a:gd name="T24" fmla="*/ 123 w 520"/>
              <a:gd name="T25" fmla="*/ 107 h 510"/>
              <a:gd name="T26" fmla="*/ 133 w 520"/>
              <a:gd name="T27" fmla="*/ 85 h 510"/>
              <a:gd name="T28" fmla="*/ 45 w 520"/>
              <a:gd name="T29" fmla="*/ 8 h 510"/>
              <a:gd name="T30" fmla="*/ 11 w 520"/>
              <a:gd name="T31" fmla="*/ 45 h 510"/>
              <a:gd name="T32" fmla="*/ 90 w 520"/>
              <a:gd name="T33" fmla="*/ 128 h 510"/>
              <a:gd name="T34" fmla="*/ 102 w 520"/>
              <a:gd name="T35" fmla="*/ 128 h 510"/>
              <a:gd name="T36" fmla="*/ 224 w 520"/>
              <a:gd name="T37" fmla="*/ 230 h 510"/>
              <a:gd name="T38" fmla="*/ 87 w 520"/>
              <a:gd name="T39" fmla="*/ 346 h 510"/>
              <a:gd name="T40" fmla="*/ 9 w 520"/>
              <a:gd name="T41" fmla="*/ 452 h 510"/>
              <a:gd name="T42" fmla="*/ 22 w 520"/>
              <a:gd name="T43" fmla="*/ 455 h 510"/>
              <a:gd name="T44" fmla="*/ 85 w 520"/>
              <a:gd name="T45" fmla="*/ 430 h 510"/>
              <a:gd name="T46" fmla="*/ 60 w 520"/>
              <a:gd name="T47" fmla="*/ 493 h 510"/>
              <a:gd name="T48" fmla="*/ 63 w 520"/>
              <a:gd name="T49" fmla="*/ 506 h 510"/>
              <a:gd name="T50" fmla="*/ 145 w 520"/>
              <a:gd name="T51" fmla="*/ 486 h 510"/>
              <a:gd name="T52" fmla="*/ 285 w 520"/>
              <a:gd name="T53" fmla="*/ 291 h 510"/>
              <a:gd name="T54" fmla="*/ 288 w 520"/>
              <a:gd name="T55" fmla="*/ 380 h 510"/>
              <a:gd name="T56" fmla="*/ 293 w 520"/>
              <a:gd name="T57" fmla="*/ 394 h 510"/>
              <a:gd name="T58" fmla="*/ 308 w 520"/>
              <a:gd name="T59" fmla="*/ 382 h 510"/>
              <a:gd name="T60" fmla="*/ 452 w 520"/>
              <a:gd name="T61" fmla="*/ 502 h 510"/>
              <a:gd name="T62" fmla="*/ 508 w 520"/>
              <a:gd name="T63" fmla="*/ 447 h 510"/>
              <a:gd name="T64" fmla="*/ 387 w 520"/>
              <a:gd name="T65" fmla="*/ 303 h 510"/>
              <a:gd name="T66" fmla="*/ 30 w 520"/>
              <a:gd name="T67" fmla="*/ 45 h 510"/>
              <a:gd name="T68" fmla="*/ 116 w 520"/>
              <a:gd name="T69" fmla="*/ 91 h 510"/>
              <a:gd name="T70" fmla="*/ 150 w 520"/>
              <a:gd name="T71" fmla="*/ 409 h 510"/>
              <a:gd name="T72" fmla="*/ 87 w 520"/>
              <a:gd name="T73" fmla="*/ 494 h 510"/>
              <a:gd name="T74" fmla="*/ 107 w 520"/>
              <a:gd name="T75" fmla="*/ 468 h 510"/>
              <a:gd name="T76" fmla="*/ 99 w 520"/>
              <a:gd name="T77" fmla="*/ 421 h 510"/>
              <a:gd name="T78" fmla="*/ 54 w 520"/>
              <a:gd name="T79" fmla="*/ 406 h 510"/>
              <a:gd name="T80" fmla="*/ 21 w 520"/>
              <a:gd name="T81" fmla="*/ 433 h 510"/>
              <a:gd name="T82" fmla="*/ 87 w 520"/>
              <a:gd name="T83" fmla="*/ 362 h 510"/>
              <a:gd name="T84" fmla="*/ 114 w 520"/>
              <a:gd name="T85" fmla="*/ 363 h 510"/>
              <a:gd name="T86" fmla="*/ 370 w 520"/>
              <a:gd name="T87" fmla="*/ 101 h 510"/>
              <a:gd name="T88" fmla="*/ 433 w 520"/>
              <a:gd name="T89" fmla="*/ 16 h 510"/>
              <a:gd name="T90" fmla="*/ 413 w 520"/>
              <a:gd name="T91" fmla="*/ 42 h 510"/>
              <a:gd name="T92" fmla="*/ 421 w 520"/>
              <a:gd name="T93" fmla="*/ 88 h 510"/>
              <a:gd name="T94" fmla="*/ 466 w 520"/>
              <a:gd name="T95" fmla="*/ 104 h 510"/>
              <a:gd name="T96" fmla="*/ 499 w 520"/>
              <a:gd name="T97" fmla="*/ 76 h 510"/>
              <a:gd name="T98" fmla="*/ 433 w 520"/>
              <a:gd name="T99" fmla="*/ 147 h 510"/>
              <a:gd name="T100" fmla="*/ 406 w 520"/>
              <a:gd name="T101" fmla="*/ 147 h 510"/>
              <a:gd name="T102" fmla="*/ 150 w 520"/>
              <a:gd name="T103" fmla="*/ 409 h 510"/>
              <a:gd name="T104" fmla="*/ 424 w 520"/>
              <a:gd name="T105" fmla="*/ 475 h 510"/>
              <a:gd name="T106" fmla="*/ 376 w 520"/>
              <a:gd name="T107" fmla="*/ 314 h 510"/>
              <a:gd name="T108" fmla="*/ 492 w 520"/>
              <a:gd name="T109" fmla="*/ 44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20" h="510">
                <a:moveTo>
                  <a:pt x="387" y="303"/>
                </a:moveTo>
                <a:cubicBezTo>
                  <a:pt x="396" y="294"/>
                  <a:pt x="396" y="294"/>
                  <a:pt x="396" y="294"/>
                </a:cubicBezTo>
                <a:cubicBezTo>
                  <a:pt x="399" y="291"/>
                  <a:pt x="399" y="286"/>
                  <a:pt x="396" y="283"/>
                </a:cubicBezTo>
                <a:cubicBezTo>
                  <a:pt x="393" y="279"/>
                  <a:pt x="388" y="279"/>
                  <a:pt x="385" y="283"/>
                </a:cubicBezTo>
                <a:cubicBezTo>
                  <a:pt x="370" y="297"/>
                  <a:pt x="370" y="297"/>
                  <a:pt x="370" y="297"/>
                </a:cubicBezTo>
                <a:cubicBezTo>
                  <a:pt x="370" y="297"/>
                  <a:pt x="370" y="297"/>
                  <a:pt x="370" y="297"/>
                </a:cubicBezTo>
                <a:cubicBezTo>
                  <a:pt x="370" y="297"/>
                  <a:pt x="370" y="297"/>
                  <a:pt x="370" y="297"/>
                </a:cubicBezTo>
                <a:cubicBezTo>
                  <a:pt x="342" y="326"/>
                  <a:pt x="342" y="326"/>
                  <a:pt x="342" y="326"/>
                </a:cubicBezTo>
                <a:cubicBezTo>
                  <a:pt x="296" y="280"/>
                  <a:pt x="296" y="280"/>
                  <a:pt x="296" y="280"/>
                </a:cubicBezTo>
                <a:cubicBezTo>
                  <a:pt x="414" y="161"/>
                  <a:pt x="414" y="161"/>
                  <a:pt x="414" y="161"/>
                </a:cubicBezTo>
                <a:cubicBezTo>
                  <a:pt x="421" y="163"/>
                  <a:pt x="427" y="163"/>
                  <a:pt x="433" y="163"/>
                </a:cubicBezTo>
                <a:cubicBezTo>
                  <a:pt x="455" y="163"/>
                  <a:pt x="476" y="155"/>
                  <a:pt x="491" y="140"/>
                </a:cubicBezTo>
                <a:cubicBezTo>
                  <a:pt x="513" y="118"/>
                  <a:pt x="520" y="87"/>
                  <a:pt x="512" y="58"/>
                </a:cubicBezTo>
                <a:cubicBezTo>
                  <a:pt x="511" y="55"/>
                  <a:pt x="509" y="53"/>
                  <a:pt x="506" y="52"/>
                </a:cubicBezTo>
                <a:cubicBezTo>
                  <a:pt x="503" y="52"/>
                  <a:pt x="500" y="53"/>
                  <a:pt x="498" y="55"/>
                </a:cubicBezTo>
                <a:cubicBezTo>
                  <a:pt x="465" y="88"/>
                  <a:pt x="465" y="88"/>
                  <a:pt x="465" y="88"/>
                </a:cubicBezTo>
                <a:cubicBezTo>
                  <a:pt x="435" y="80"/>
                  <a:pt x="435" y="80"/>
                  <a:pt x="435" y="80"/>
                </a:cubicBezTo>
                <a:cubicBezTo>
                  <a:pt x="428" y="50"/>
                  <a:pt x="428" y="50"/>
                  <a:pt x="428" y="50"/>
                </a:cubicBezTo>
                <a:cubicBezTo>
                  <a:pt x="461" y="17"/>
                  <a:pt x="461" y="17"/>
                  <a:pt x="461" y="17"/>
                </a:cubicBezTo>
                <a:cubicBezTo>
                  <a:pt x="463" y="15"/>
                  <a:pt x="463" y="12"/>
                  <a:pt x="463" y="9"/>
                </a:cubicBezTo>
                <a:cubicBezTo>
                  <a:pt x="462" y="6"/>
                  <a:pt x="460" y="4"/>
                  <a:pt x="457" y="3"/>
                </a:cubicBezTo>
                <a:cubicBezTo>
                  <a:pt x="449" y="1"/>
                  <a:pt x="441" y="0"/>
                  <a:pt x="433" y="0"/>
                </a:cubicBezTo>
                <a:cubicBezTo>
                  <a:pt x="411" y="0"/>
                  <a:pt x="391" y="8"/>
                  <a:pt x="376" y="24"/>
                </a:cubicBezTo>
                <a:cubicBezTo>
                  <a:pt x="355" y="44"/>
                  <a:pt x="347" y="73"/>
                  <a:pt x="354" y="101"/>
                </a:cubicBezTo>
                <a:cubicBezTo>
                  <a:pt x="236" y="219"/>
                  <a:pt x="236" y="219"/>
                  <a:pt x="236" y="219"/>
                </a:cubicBezTo>
                <a:cubicBezTo>
                  <a:pt x="123" y="107"/>
                  <a:pt x="123" y="107"/>
                  <a:pt x="123" y="107"/>
                </a:cubicBezTo>
                <a:cubicBezTo>
                  <a:pt x="133" y="97"/>
                  <a:pt x="133" y="97"/>
                  <a:pt x="133" y="97"/>
                </a:cubicBezTo>
                <a:cubicBezTo>
                  <a:pt x="137" y="93"/>
                  <a:pt x="137" y="88"/>
                  <a:pt x="133" y="85"/>
                </a:cubicBezTo>
                <a:cubicBezTo>
                  <a:pt x="56" y="8"/>
                  <a:pt x="56" y="8"/>
                  <a:pt x="56" y="8"/>
                </a:cubicBezTo>
                <a:cubicBezTo>
                  <a:pt x="53" y="5"/>
                  <a:pt x="48" y="5"/>
                  <a:pt x="45" y="8"/>
                </a:cubicBezTo>
                <a:cubicBezTo>
                  <a:pt x="13" y="40"/>
                  <a:pt x="13" y="40"/>
                  <a:pt x="13" y="40"/>
                </a:cubicBezTo>
                <a:cubicBezTo>
                  <a:pt x="12" y="41"/>
                  <a:pt x="11" y="43"/>
                  <a:pt x="11" y="45"/>
                </a:cubicBezTo>
                <a:cubicBezTo>
                  <a:pt x="11" y="47"/>
                  <a:pt x="12" y="50"/>
                  <a:pt x="13" y="51"/>
                </a:cubicBezTo>
                <a:cubicBezTo>
                  <a:pt x="90" y="128"/>
                  <a:pt x="90" y="128"/>
                  <a:pt x="90" y="128"/>
                </a:cubicBezTo>
                <a:cubicBezTo>
                  <a:pt x="92" y="130"/>
                  <a:pt x="94" y="131"/>
                  <a:pt x="96" y="131"/>
                </a:cubicBezTo>
                <a:cubicBezTo>
                  <a:pt x="98" y="131"/>
                  <a:pt x="100" y="130"/>
                  <a:pt x="102" y="128"/>
                </a:cubicBezTo>
                <a:cubicBezTo>
                  <a:pt x="112" y="118"/>
                  <a:pt x="112" y="118"/>
                  <a:pt x="112" y="118"/>
                </a:cubicBezTo>
                <a:cubicBezTo>
                  <a:pt x="224" y="230"/>
                  <a:pt x="224" y="230"/>
                  <a:pt x="224" y="230"/>
                </a:cubicBezTo>
                <a:cubicBezTo>
                  <a:pt x="106" y="349"/>
                  <a:pt x="106" y="349"/>
                  <a:pt x="106" y="349"/>
                </a:cubicBezTo>
                <a:cubicBezTo>
                  <a:pt x="100" y="347"/>
                  <a:pt x="93" y="346"/>
                  <a:pt x="87" y="346"/>
                </a:cubicBezTo>
                <a:cubicBezTo>
                  <a:pt x="65" y="346"/>
                  <a:pt x="44" y="355"/>
                  <a:pt x="29" y="370"/>
                </a:cubicBezTo>
                <a:cubicBezTo>
                  <a:pt x="8" y="392"/>
                  <a:pt x="0" y="423"/>
                  <a:pt x="9" y="452"/>
                </a:cubicBezTo>
                <a:cubicBezTo>
                  <a:pt x="9" y="455"/>
                  <a:pt x="12" y="457"/>
                  <a:pt x="14" y="457"/>
                </a:cubicBezTo>
                <a:cubicBezTo>
                  <a:pt x="17" y="458"/>
                  <a:pt x="20" y="457"/>
                  <a:pt x="22" y="455"/>
                </a:cubicBezTo>
                <a:cubicBezTo>
                  <a:pt x="55" y="422"/>
                  <a:pt x="55" y="422"/>
                  <a:pt x="55" y="422"/>
                </a:cubicBezTo>
                <a:cubicBezTo>
                  <a:pt x="85" y="430"/>
                  <a:pt x="85" y="430"/>
                  <a:pt x="85" y="430"/>
                </a:cubicBezTo>
                <a:cubicBezTo>
                  <a:pt x="93" y="460"/>
                  <a:pt x="93" y="460"/>
                  <a:pt x="93" y="460"/>
                </a:cubicBezTo>
                <a:cubicBezTo>
                  <a:pt x="60" y="493"/>
                  <a:pt x="60" y="493"/>
                  <a:pt x="60" y="493"/>
                </a:cubicBezTo>
                <a:cubicBezTo>
                  <a:pt x="58" y="495"/>
                  <a:pt x="57" y="498"/>
                  <a:pt x="58" y="501"/>
                </a:cubicBezTo>
                <a:cubicBezTo>
                  <a:pt x="58" y="503"/>
                  <a:pt x="60" y="506"/>
                  <a:pt x="63" y="506"/>
                </a:cubicBezTo>
                <a:cubicBezTo>
                  <a:pt x="71" y="509"/>
                  <a:pt x="79" y="510"/>
                  <a:pt x="87" y="510"/>
                </a:cubicBezTo>
                <a:cubicBezTo>
                  <a:pt x="109" y="510"/>
                  <a:pt x="129" y="502"/>
                  <a:pt x="145" y="486"/>
                </a:cubicBezTo>
                <a:cubicBezTo>
                  <a:pt x="165" y="466"/>
                  <a:pt x="173" y="437"/>
                  <a:pt x="166" y="409"/>
                </a:cubicBezTo>
                <a:cubicBezTo>
                  <a:pt x="285" y="291"/>
                  <a:pt x="285" y="291"/>
                  <a:pt x="285" y="291"/>
                </a:cubicBezTo>
                <a:cubicBezTo>
                  <a:pt x="331" y="337"/>
                  <a:pt x="331" y="337"/>
                  <a:pt x="331" y="337"/>
                </a:cubicBezTo>
                <a:cubicBezTo>
                  <a:pt x="288" y="380"/>
                  <a:pt x="288" y="380"/>
                  <a:pt x="288" y="380"/>
                </a:cubicBezTo>
                <a:cubicBezTo>
                  <a:pt x="285" y="383"/>
                  <a:pt x="285" y="388"/>
                  <a:pt x="288" y="391"/>
                </a:cubicBezTo>
                <a:cubicBezTo>
                  <a:pt x="289" y="393"/>
                  <a:pt x="291" y="394"/>
                  <a:pt x="293" y="394"/>
                </a:cubicBezTo>
                <a:cubicBezTo>
                  <a:pt x="295" y="394"/>
                  <a:pt x="298" y="393"/>
                  <a:pt x="299" y="391"/>
                </a:cubicBezTo>
                <a:cubicBezTo>
                  <a:pt x="308" y="382"/>
                  <a:pt x="308" y="382"/>
                  <a:pt x="308" y="382"/>
                </a:cubicBezTo>
                <a:cubicBezTo>
                  <a:pt x="412" y="486"/>
                  <a:pt x="412" y="486"/>
                  <a:pt x="412" y="486"/>
                </a:cubicBezTo>
                <a:cubicBezTo>
                  <a:pt x="423" y="497"/>
                  <a:pt x="437" y="502"/>
                  <a:pt x="452" y="502"/>
                </a:cubicBezTo>
                <a:cubicBezTo>
                  <a:pt x="466" y="502"/>
                  <a:pt x="480" y="497"/>
                  <a:pt x="491" y="486"/>
                </a:cubicBezTo>
                <a:cubicBezTo>
                  <a:pt x="502" y="475"/>
                  <a:pt x="508" y="461"/>
                  <a:pt x="508" y="447"/>
                </a:cubicBezTo>
                <a:cubicBezTo>
                  <a:pt x="508" y="432"/>
                  <a:pt x="502" y="418"/>
                  <a:pt x="491" y="407"/>
                </a:cubicBezTo>
                <a:lnTo>
                  <a:pt x="387" y="303"/>
                </a:lnTo>
                <a:close/>
                <a:moveTo>
                  <a:pt x="96" y="111"/>
                </a:moveTo>
                <a:cubicBezTo>
                  <a:pt x="30" y="45"/>
                  <a:pt x="30" y="45"/>
                  <a:pt x="30" y="45"/>
                </a:cubicBezTo>
                <a:cubicBezTo>
                  <a:pt x="51" y="25"/>
                  <a:pt x="51" y="25"/>
                  <a:pt x="51" y="25"/>
                </a:cubicBezTo>
                <a:cubicBezTo>
                  <a:pt x="116" y="91"/>
                  <a:pt x="116" y="91"/>
                  <a:pt x="116" y="91"/>
                </a:cubicBezTo>
                <a:lnTo>
                  <a:pt x="96" y="111"/>
                </a:lnTo>
                <a:close/>
                <a:moveTo>
                  <a:pt x="150" y="409"/>
                </a:moveTo>
                <a:cubicBezTo>
                  <a:pt x="157" y="432"/>
                  <a:pt x="151" y="458"/>
                  <a:pt x="133" y="475"/>
                </a:cubicBezTo>
                <a:cubicBezTo>
                  <a:pt x="121" y="487"/>
                  <a:pt x="104" y="494"/>
                  <a:pt x="87" y="494"/>
                </a:cubicBezTo>
                <a:cubicBezTo>
                  <a:pt x="85" y="494"/>
                  <a:pt x="83" y="494"/>
                  <a:pt x="82" y="494"/>
                </a:cubicBezTo>
                <a:cubicBezTo>
                  <a:pt x="107" y="468"/>
                  <a:pt x="107" y="468"/>
                  <a:pt x="107" y="468"/>
                </a:cubicBezTo>
                <a:cubicBezTo>
                  <a:pt x="109" y="466"/>
                  <a:pt x="110" y="463"/>
                  <a:pt x="109" y="461"/>
                </a:cubicBezTo>
                <a:cubicBezTo>
                  <a:pt x="99" y="421"/>
                  <a:pt x="99" y="421"/>
                  <a:pt x="99" y="421"/>
                </a:cubicBezTo>
                <a:cubicBezTo>
                  <a:pt x="99" y="419"/>
                  <a:pt x="96" y="416"/>
                  <a:pt x="94" y="416"/>
                </a:cubicBezTo>
                <a:cubicBezTo>
                  <a:pt x="54" y="406"/>
                  <a:pt x="54" y="406"/>
                  <a:pt x="54" y="406"/>
                </a:cubicBezTo>
                <a:cubicBezTo>
                  <a:pt x="52" y="405"/>
                  <a:pt x="49" y="406"/>
                  <a:pt x="47" y="408"/>
                </a:cubicBezTo>
                <a:cubicBezTo>
                  <a:pt x="21" y="433"/>
                  <a:pt x="21" y="433"/>
                  <a:pt x="21" y="433"/>
                </a:cubicBezTo>
                <a:cubicBezTo>
                  <a:pt x="20" y="414"/>
                  <a:pt x="27" y="395"/>
                  <a:pt x="40" y="382"/>
                </a:cubicBezTo>
                <a:cubicBezTo>
                  <a:pt x="53" y="369"/>
                  <a:pt x="69" y="362"/>
                  <a:pt x="87" y="362"/>
                </a:cubicBezTo>
                <a:cubicBezTo>
                  <a:pt x="93" y="362"/>
                  <a:pt x="100" y="363"/>
                  <a:pt x="106" y="365"/>
                </a:cubicBezTo>
                <a:cubicBezTo>
                  <a:pt x="109" y="366"/>
                  <a:pt x="112" y="365"/>
                  <a:pt x="114" y="363"/>
                </a:cubicBezTo>
                <a:cubicBezTo>
                  <a:pt x="368" y="109"/>
                  <a:pt x="368" y="109"/>
                  <a:pt x="368" y="109"/>
                </a:cubicBezTo>
                <a:cubicBezTo>
                  <a:pt x="371" y="107"/>
                  <a:pt x="371" y="104"/>
                  <a:pt x="370" y="101"/>
                </a:cubicBezTo>
                <a:cubicBezTo>
                  <a:pt x="363" y="78"/>
                  <a:pt x="370" y="52"/>
                  <a:pt x="387" y="35"/>
                </a:cubicBezTo>
                <a:cubicBezTo>
                  <a:pt x="399" y="23"/>
                  <a:pt x="416" y="16"/>
                  <a:pt x="433" y="16"/>
                </a:cubicBezTo>
                <a:cubicBezTo>
                  <a:pt x="435" y="16"/>
                  <a:pt x="437" y="16"/>
                  <a:pt x="439" y="16"/>
                </a:cubicBezTo>
                <a:cubicBezTo>
                  <a:pt x="413" y="42"/>
                  <a:pt x="413" y="42"/>
                  <a:pt x="413" y="42"/>
                </a:cubicBezTo>
                <a:cubicBezTo>
                  <a:pt x="411" y="44"/>
                  <a:pt x="410" y="47"/>
                  <a:pt x="411" y="49"/>
                </a:cubicBezTo>
                <a:cubicBezTo>
                  <a:pt x="421" y="88"/>
                  <a:pt x="421" y="88"/>
                  <a:pt x="421" y="88"/>
                </a:cubicBezTo>
                <a:cubicBezTo>
                  <a:pt x="421" y="91"/>
                  <a:pt x="424" y="94"/>
                  <a:pt x="427" y="94"/>
                </a:cubicBezTo>
                <a:cubicBezTo>
                  <a:pt x="466" y="104"/>
                  <a:pt x="466" y="104"/>
                  <a:pt x="466" y="104"/>
                </a:cubicBezTo>
                <a:cubicBezTo>
                  <a:pt x="469" y="105"/>
                  <a:pt x="471" y="104"/>
                  <a:pt x="473" y="102"/>
                </a:cubicBezTo>
                <a:cubicBezTo>
                  <a:pt x="499" y="76"/>
                  <a:pt x="499" y="76"/>
                  <a:pt x="499" y="76"/>
                </a:cubicBezTo>
                <a:cubicBezTo>
                  <a:pt x="500" y="95"/>
                  <a:pt x="494" y="114"/>
                  <a:pt x="480" y="128"/>
                </a:cubicBezTo>
                <a:cubicBezTo>
                  <a:pt x="467" y="141"/>
                  <a:pt x="451" y="147"/>
                  <a:pt x="433" y="147"/>
                </a:cubicBezTo>
                <a:cubicBezTo>
                  <a:pt x="427" y="147"/>
                  <a:pt x="420" y="147"/>
                  <a:pt x="414" y="145"/>
                </a:cubicBezTo>
                <a:cubicBezTo>
                  <a:pt x="411" y="144"/>
                  <a:pt x="408" y="145"/>
                  <a:pt x="406" y="147"/>
                </a:cubicBezTo>
                <a:cubicBezTo>
                  <a:pt x="152" y="401"/>
                  <a:pt x="152" y="401"/>
                  <a:pt x="152" y="401"/>
                </a:cubicBezTo>
                <a:cubicBezTo>
                  <a:pt x="150" y="403"/>
                  <a:pt x="149" y="406"/>
                  <a:pt x="150" y="409"/>
                </a:cubicBezTo>
                <a:close/>
                <a:moveTo>
                  <a:pt x="480" y="475"/>
                </a:moveTo>
                <a:cubicBezTo>
                  <a:pt x="464" y="490"/>
                  <a:pt x="439" y="490"/>
                  <a:pt x="424" y="475"/>
                </a:cubicBezTo>
                <a:cubicBezTo>
                  <a:pt x="320" y="371"/>
                  <a:pt x="320" y="371"/>
                  <a:pt x="320" y="371"/>
                </a:cubicBezTo>
                <a:cubicBezTo>
                  <a:pt x="376" y="314"/>
                  <a:pt x="376" y="314"/>
                  <a:pt x="376" y="314"/>
                </a:cubicBezTo>
                <a:cubicBezTo>
                  <a:pt x="480" y="418"/>
                  <a:pt x="480" y="418"/>
                  <a:pt x="480" y="418"/>
                </a:cubicBezTo>
                <a:cubicBezTo>
                  <a:pt x="487" y="426"/>
                  <a:pt x="492" y="436"/>
                  <a:pt x="492" y="447"/>
                </a:cubicBezTo>
                <a:cubicBezTo>
                  <a:pt x="492" y="457"/>
                  <a:pt x="487" y="467"/>
                  <a:pt x="480" y="475"/>
                </a:cubicBez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2" name="Title 1"/>
          <p:cNvSpPr>
            <a:spLocks noGrp="1"/>
          </p:cNvSpPr>
          <p:nvPr>
            <p:ph type="title"/>
          </p:nvPr>
        </p:nvSpPr>
        <p:spPr/>
        <p:txBody>
          <a:bodyPr/>
          <a:lstStyle/>
          <a:p>
            <a:r>
              <a:rPr lang="en-US" dirty="0"/>
              <a:t>Maintenance</a:t>
            </a:r>
          </a:p>
        </p:txBody>
      </p:sp>
      <p:sp>
        <p:nvSpPr>
          <p:cNvPr id="3" name="Text Placeholder 2"/>
          <p:cNvSpPr>
            <a:spLocks noGrp="1"/>
          </p:cNvSpPr>
          <p:nvPr>
            <p:ph type="body" sz="quarter" idx="10"/>
          </p:nvPr>
        </p:nvSpPr>
        <p:spPr>
          <a:xfrm>
            <a:off x="2484438" y="1212850"/>
            <a:ext cx="9677400" cy="5170646"/>
          </a:xfrm>
          <a:solidFill>
            <a:schemeClr val="bg2">
              <a:lumMod val="90000"/>
            </a:schemeClr>
          </a:solidFill>
        </p:spPr>
        <p:txBody>
          <a:bodyPr/>
          <a:lstStyle/>
          <a:p>
            <a:r>
              <a:rPr lang="en-US" dirty="0">
                <a:solidFill>
                  <a:schemeClr val="tx1"/>
                </a:solidFill>
              </a:rPr>
              <a:t>Experience</a:t>
            </a:r>
          </a:p>
          <a:p>
            <a:pPr marL="342900" indent="-342900">
              <a:buFont typeface="Arial" panose="020B0604020202020204" pitchFamily="34" charset="0"/>
              <a:buChar char="•"/>
            </a:pPr>
            <a:r>
              <a:rPr lang="en-US" sz="2000" b="1" dirty="0">
                <a:solidFill>
                  <a:schemeClr val="tx1"/>
                </a:solidFill>
                <a:latin typeface="+mn-lt"/>
              </a:rPr>
              <a:t>Things get better </a:t>
            </a:r>
            <a:r>
              <a:rPr lang="en-US" sz="2000" dirty="0">
                <a:solidFill>
                  <a:schemeClr val="tx1"/>
                </a:solidFill>
                <a:latin typeface="+mn-lt"/>
              </a:rPr>
              <a:t>– Groups, SPO libraries, SharePoint overview, Delve</a:t>
            </a:r>
          </a:p>
          <a:p>
            <a:pPr marL="342900" indent="-342900">
              <a:buFont typeface="Arial" panose="020B0604020202020204" pitchFamily="34" charset="0"/>
              <a:buChar char="•"/>
            </a:pPr>
            <a:r>
              <a:rPr lang="en-US" sz="2000" b="1" dirty="0">
                <a:solidFill>
                  <a:schemeClr val="tx1"/>
                </a:solidFill>
                <a:latin typeface="+mn-lt"/>
              </a:rPr>
              <a:t>Things get worse </a:t>
            </a:r>
            <a:r>
              <a:rPr lang="en-US" sz="2000" dirty="0">
                <a:solidFill>
                  <a:schemeClr val="tx1"/>
                </a:solidFill>
                <a:latin typeface="+mn-lt"/>
              </a:rPr>
              <a:t>– Blogs disappeared, “sway pages” launched before ready, Akamai IP ranges keep changing.</a:t>
            </a:r>
          </a:p>
          <a:p>
            <a:pPr marL="342900" indent="-342900">
              <a:buFont typeface="Arial" panose="020B0604020202020204" pitchFamily="34" charset="0"/>
              <a:buChar char="•"/>
            </a:pPr>
            <a:r>
              <a:rPr lang="en-US" sz="2000" b="1" dirty="0">
                <a:solidFill>
                  <a:schemeClr val="tx1"/>
                </a:solidFill>
                <a:latin typeface="+mn-lt"/>
              </a:rPr>
              <a:t>Roadmap is clearer, but not entirely clear </a:t>
            </a:r>
            <a:r>
              <a:rPr lang="en-US" sz="2000" dirty="0">
                <a:solidFill>
                  <a:schemeClr val="tx1"/>
                </a:solidFill>
                <a:latin typeface="+mn-lt"/>
              </a:rPr>
              <a:t>– Roadmap, service pages, but very difficult to make detailed impact analysis of each change.</a:t>
            </a:r>
          </a:p>
          <a:p>
            <a:pPr marL="342900" indent="-342900">
              <a:buFont typeface="Arial" panose="020B0604020202020204" pitchFamily="34" charset="0"/>
              <a:buChar char="•"/>
            </a:pPr>
            <a:r>
              <a:rPr lang="en-US" sz="2000" b="1" dirty="0">
                <a:solidFill>
                  <a:schemeClr val="tx1"/>
                </a:solidFill>
                <a:latin typeface="+mn-lt"/>
              </a:rPr>
              <a:t>Support is great, but doesn’t know us </a:t>
            </a:r>
            <a:r>
              <a:rPr lang="en-US" sz="2000" dirty="0">
                <a:solidFill>
                  <a:schemeClr val="tx1"/>
                </a:solidFill>
                <a:latin typeface="+mn-lt"/>
              </a:rPr>
              <a:t>– The time’s we’ve had to explain that we have one tenant with three separate AD forests…</a:t>
            </a:r>
          </a:p>
          <a:p>
            <a:pPr marL="342900" indent="-342900">
              <a:buFont typeface="Arial" panose="020B0604020202020204" pitchFamily="34" charset="0"/>
              <a:buChar char="•"/>
            </a:pPr>
            <a:r>
              <a:rPr lang="en-US" sz="2000" b="1" dirty="0">
                <a:solidFill>
                  <a:schemeClr val="tx1"/>
                </a:solidFill>
                <a:latin typeface="+mn-lt"/>
              </a:rPr>
              <a:t>Monitoring is not good, but getting better </a:t>
            </a:r>
            <a:r>
              <a:rPr lang="en-US" sz="2000" dirty="0">
                <a:solidFill>
                  <a:schemeClr val="tx1"/>
                </a:solidFill>
                <a:latin typeface="+mn-lt"/>
              </a:rPr>
              <a:t>– The new reporting is better, but doesn’t allow any drilling into data.</a:t>
            </a:r>
          </a:p>
          <a:p>
            <a:r>
              <a:rPr lang="en-US" dirty="0">
                <a:solidFill>
                  <a:schemeClr val="tx1"/>
                </a:solidFill>
              </a:rPr>
              <a:t>Decisions</a:t>
            </a:r>
          </a:p>
          <a:p>
            <a:pPr marL="342900" indent="-342900">
              <a:buFont typeface="Arial" panose="020B0604020202020204" pitchFamily="34" charset="0"/>
              <a:buChar char="•"/>
            </a:pPr>
            <a:r>
              <a:rPr lang="en-US" sz="2000" b="1" dirty="0">
                <a:solidFill>
                  <a:schemeClr val="tx1"/>
                </a:solidFill>
                <a:latin typeface="+mn-lt"/>
              </a:rPr>
              <a:t>We purchased separate reporting platform </a:t>
            </a:r>
            <a:r>
              <a:rPr lang="en-US" sz="2000" dirty="0">
                <a:solidFill>
                  <a:schemeClr val="tx1"/>
                </a:solidFill>
                <a:latin typeface="+mn-lt"/>
              </a:rPr>
              <a:t>based on </a:t>
            </a:r>
            <a:r>
              <a:rPr lang="en-US" sz="2000" dirty="0" err="1">
                <a:solidFill>
                  <a:schemeClr val="tx1"/>
                </a:solidFill>
                <a:latin typeface="+mn-lt"/>
              </a:rPr>
              <a:t>Cogmotive</a:t>
            </a:r>
            <a:endParaRPr lang="en-US" sz="2000" dirty="0">
              <a:solidFill>
                <a:schemeClr val="tx1"/>
              </a:solidFill>
              <a:latin typeface="+mn-lt"/>
            </a:endParaRPr>
          </a:p>
          <a:p>
            <a:pPr marL="342900" indent="-342900">
              <a:buFont typeface="Arial" panose="020B0604020202020204" pitchFamily="34" charset="0"/>
              <a:buChar char="•"/>
            </a:pPr>
            <a:r>
              <a:rPr lang="en-US" sz="2000" b="1" dirty="0">
                <a:solidFill>
                  <a:schemeClr val="tx1"/>
                </a:solidFill>
                <a:latin typeface="+mn-lt"/>
              </a:rPr>
              <a:t>We’ve postponed adoption activities of key features </a:t>
            </a:r>
            <a:r>
              <a:rPr lang="en-US" sz="2000" dirty="0">
                <a:solidFill>
                  <a:schemeClr val="tx1"/>
                </a:solidFill>
                <a:latin typeface="+mn-lt"/>
              </a:rPr>
              <a:t>due to uncertainty about what they will look like in future.</a:t>
            </a:r>
          </a:p>
        </p:txBody>
      </p:sp>
    </p:spTree>
    <p:extLst>
      <p:ext uri="{BB962C8B-B14F-4D97-AF65-F5344CB8AC3E}">
        <p14:creationId xmlns:p14="http://schemas.microsoft.com/office/powerpoint/2010/main" val="496794735"/>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Oval 18"/>
          <p:cNvSpPr>
            <a:spLocks noChangeArrowheads="1"/>
          </p:cNvSpPr>
          <p:nvPr/>
        </p:nvSpPr>
        <p:spPr bwMode="auto">
          <a:xfrm>
            <a:off x="733020" y="1363662"/>
            <a:ext cx="1119124" cy="1119124"/>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7" name="Freeform 114"/>
          <p:cNvSpPr>
            <a:spLocks noEditPoints="1"/>
          </p:cNvSpPr>
          <p:nvPr/>
        </p:nvSpPr>
        <p:spPr bwMode="auto">
          <a:xfrm>
            <a:off x="923459" y="1588191"/>
            <a:ext cx="738246" cy="671240"/>
          </a:xfrm>
          <a:custGeom>
            <a:avLst/>
            <a:gdLst>
              <a:gd name="T0" fmla="*/ 589 w 701"/>
              <a:gd name="T1" fmla="*/ 526 h 638"/>
              <a:gd name="T2" fmla="*/ 375 w 701"/>
              <a:gd name="T3" fmla="*/ 310 h 638"/>
              <a:gd name="T4" fmla="*/ 436 w 701"/>
              <a:gd name="T5" fmla="*/ 280 h 638"/>
              <a:gd name="T6" fmla="*/ 563 w 701"/>
              <a:gd name="T7" fmla="*/ 257 h 638"/>
              <a:gd name="T8" fmla="*/ 432 w 701"/>
              <a:gd name="T9" fmla="*/ 257 h 638"/>
              <a:gd name="T10" fmla="*/ 371 w 701"/>
              <a:gd name="T11" fmla="*/ 282 h 638"/>
              <a:gd name="T12" fmla="*/ 382 w 701"/>
              <a:gd name="T13" fmla="*/ 128 h 638"/>
              <a:gd name="T14" fmla="*/ 469 w 701"/>
              <a:gd name="T15" fmla="*/ 66 h 638"/>
              <a:gd name="T16" fmla="*/ 338 w 701"/>
              <a:gd name="T17" fmla="*/ 66 h 638"/>
              <a:gd name="T18" fmla="*/ 319 w 701"/>
              <a:gd name="T19" fmla="*/ 229 h 638"/>
              <a:gd name="T20" fmla="*/ 206 w 701"/>
              <a:gd name="T21" fmla="*/ 283 h 638"/>
              <a:gd name="T22" fmla="*/ 131 w 701"/>
              <a:gd name="T23" fmla="*/ 257 h 638"/>
              <a:gd name="T24" fmla="*/ 0 w 701"/>
              <a:gd name="T25" fmla="*/ 257 h 638"/>
              <a:gd name="T26" fmla="*/ 127 w 701"/>
              <a:gd name="T27" fmla="*/ 280 h 638"/>
              <a:gd name="T28" fmla="*/ 201 w 701"/>
              <a:gd name="T29" fmla="*/ 310 h 638"/>
              <a:gd name="T30" fmla="*/ 210 w 701"/>
              <a:gd name="T31" fmla="*/ 472 h 638"/>
              <a:gd name="T32" fmla="*/ 131 w 701"/>
              <a:gd name="T33" fmla="*/ 536 h 638"/>
              <a:gd name="T34" fmla="*/ 262 w 701"/>
              <a:gd name="T35" fmla="*/ 536 h 638"/>
              <a:gd name="T36" fmla="*/ 259 w 701"/>
              <a:gd name="T37" fmla="*/ 392 h 638"/>
              <a:gd name="T38" fmla="*/ 348 w 701"/>
              <a:gd name="T39" fmla="*/ 374 h 638"/>
              <a:gd name="T40" fmla="*/ 570 w 701"/>
              <a:gd name="T41" fmla="*/ 572 h 638"/>
              <a:gd name="T42" fmla="*/ 701 w 701"/>
              <a:gd name="T43" fmla="*/ 572 h 638"/>
              <a:gd name="T44" fmla="*/ 498 w 701"/>
              <a:gd name="T45" fmla="*/ 206 h 638"/>
              <a:gd name="T46" fmla="*/ 498 w 701"/>
              <a:gd name="T47" fmla="*/ 309 h 638"/>
              <a:gd name="T48" fmla="*/ 448 w 701"/>
              <a:gd name="T49" fmla="*/ 270 h 638"/>
              <a:gd name="T50" fmla="*/ 446 w 701"/>
              <a:gd name="T51" fmla="*/ 257 h 638"/>
              <a:gd name="T52" fmla="*/ 352 w 701"/>
              <a:gd name="T53" fmla="*/ 66 h 638"/>
              <a:gd name="T54" fmla="*/ 455 w 701"/>
              <a:gd name="T55" fmla="*/ 66 h 638"/>
              <a:gd name="T56" fmla="*/ 352 w 701"/>
              <a:gd name="T57" fmla="*/ 66 h 638"/>
              <a:gd name="T58" fmla="*/ 14 w 701"/>
              <a:gd name="T59" fmla="*/ 257 h 638"/>
              <a:gd name="T60" fmla="*/ 117 w 701"/>
              <a:gd name="T61" fmla="*/ 257 h 638"/>
              <a:gd name="T62" fmla="*/ 248 w 701"/>
              <a:gd name="T63" fmla="*/ 536 h 638"/>
              <a:gd name="T64" fmla="*/ 145 w 701"/>
              <a:gd name="T65" fmla="*/ 536 h 638"/>
              <a:gd name="T66" fmla="*/ 248 w 701"/>
              <a:gd name="T67" fmla="*/ 536 h 638"/>
              <a:gd name="T68" fmla="*/ 288 w 701"/>
              <a:gd name="T69" fmla="*/ 237 h 638"/>
              <a:gd name="T70" fmla="*/ 288 w 701"/>
              <a:gd name="T71" fmla="*/ 383 h 638"/>
              <a:gd name="T72" fmla="*/ 636 w 701"/>
              <a:gd name="T73" fmla="*/ 624 h 638"/>
              <a:gd name="T74" fmla="*/ 636 w 701"/>
              <a:gd name="T75" fmla="*/ 520 h 638"/>
              <a:gd name="T76" fmla="*/ 636 w 701"/>
              <a:gd name="T77" fmla="*/ 624 h 6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01" h="638">
                <a:moveTo>
                  <a:pt x="636" y="506"/>
                </a:moveTo>
                <a:cubicBezTo>
                  <a:pt x="617" y="506"/>
                  <a:pt x="600" y="514"/>
                  <a:pt x="589" y="526"/>
                </a:cubicBezTo>
                <a:cubicBezTo>
                  <a:pt x="357" y="363"/>
                  <a:pt x="357" y="363"/>
                  <a:pt x="357" y="363"/>
                </a:cubicBezTo>
                <a:cubicBezTo>
                  <a:pt x="369" y="349"/>
                  <a:pt x="375" y="330"/>
                  <a:pt x="375" y="310"/>
                </a:cubicBezTo>
                <a:cubicBezTo>
                  <a:pt x="375" y="305"/>
                  <a:pt x="375" y="300"/>
                  <a:pt x="374" y="296"/>
                </a:cubicBezTo>
                <a:cubicBezTo>
                  <a:pt x="436" y="280"/>
                  <a:pt x="436" y="280"/>
                  <a:pt x="436" y="280"/>
                </a:cubicBezTo>
                <a:cubicBezTo>
                  <a:pt x="445" y="305"/>
                  <a:pt x="469" y="323"/>
                  <a:pt x="498" y="323"/>
                </a:cubicBezTo>
                <a:cubicBezTo>
                  <a:pt x="534" y="323"/>
                  <a:pt x="563" y="294"/>
                  <a:pt x="563" y="257"/>
                </a:cubicBezTo>
                <a:cubicBezTo>
                  <a:pt x="563" y="221"/>
                  <a:pt x="534" y="192"/>
                  <a:pt x="498" y="192"/>
                </a:cubicBezTo>
                <a:cubicBezTo>
                  <a:pt x="461" y="192"/>
                  <a:pt x="432" y="221"/>
                  <a:pt x="432" y="257"/>
                </a:cubicBezTo>
                <a:cubicBezTo>
                  <a:pt x="432" y="261"/>
                  <a:pt x="432" y="264"/>
                  <a:pt x="433" y="267"/>
                </a:cubicBezTo>
                <a:cubicBezTo>
                  <a:pt x="371" y="282"/>
                  <a:pt x="371" y="282"/>
                  <a:pt x="371" y="282"/>
                </a:cubicBezTo>
                <a:cubicBezTo>
                  <a:pt x="364" y="262"/>
                  <a:pt x="350" y="245"/>
                  <a:pt x="332" y="235"/>
                </a:cubicBezTo>
                <a:cubicBezTo>
                  <a:pt x="382" y="128"/>
                  <a:pt x="382" y="128"/>
                  <a:pt x="382" y="128"/>
                </a:cubicBezTo>
                <a:cubicBezTo>
                  <a:pt x="389" y="130"/>
                  <a:pt x="396" y="131"/>
                  <a:pt x="403" y="131"/>
                </a:cubicBezTo>
                <a:cubicBezTo>
                  <a:pt x="440" y="131"/>
                  <a:pt x="469" y="102"/>
                  <a:pt x="469" y="66"/>
                </a:cubicBezTo>
                <a:cubicBezTo>
                  <a:pt x="469" y="29"/>
                  <a:pt x="440" y="0"/>
                  <a:pt x="403" y="0"/>
                </a:cubicBezTo>
                <a:cubicBezTo>
                  <a:pt x="367" y="0"/>
                  <a:pt x="338" y="29"/>
                  <a:pt x="338" y="66"/>
                </a:cubicBezTo>
                <a:cubicBezTo>
                  <a:pt x="338" y="89"/>
                  <a:pt x="350" y="110"/>
                  <a:pt x="369" y="122"/>
                </a:cubicBezTo>
                <a:cubicBezTo>
                  <a:pt x="319" y="229"/>
                  <a:pt x="319" y="229"/>
                  <a:pt x="319" y="229"/>
                </a:cubicBezTo>
                <a:cubicBezTo>
                  <a:pt x="309" y="225"/>
                  <a:pt x="299" y="223"/>
                  <a:pt x="288" y="223"/>
                </a:cubicBezTo>
                <a:cubicBezTo>
                  <a:pt x="250" y="223"/>
                  <a:pt x="217" y="248"/>
                  <a:pt x="206" y="283"/>
                </a:cubicBezTo>
                <a:cubicBezTo>
                  <a:pt x="130" y="266"/>
                  <a:pt x="130" y="266"/>
                  <a:pt x="130" y="266"/>
                </a:cubicBezTo>
                <a:cubicBezTo>
                  <a:pt x="131" y="263"/>
                  <a:pt x="131" y="260"/>
                  <a:pt x="131" y="257"/>
                </a:cubicBezTo>
                <a:cubicBezTo>
                  <a:pt x="131" y="221"/>
                  <a:pt x="102" y="192"/>
                  <a:pt x="65" y="192"/>
                </a:cubicBezTo>
                <a:cubicBezTo>
                  <a:pt x="29" y="192"/>
                  <a:pt x="0" y="221"/>
                  <a:pt x="0" y="257"/>
                </a:cubicBezTo>
                <a:cubicBezTo>
                  <a:pt x="0" y="294"/>
                  <a:pt x="29" y="323"/>
                  <a:pt x="65" y="323"/>
                </a:cubicBezTo>
                <a:cubicBezTo>
                  <a:pt x="94" y="323"/>
                  <a:pt x="118" y="305"/>
                  <a:pt x="127" y="280"/>
                </a:cubicBezTo>
                <a:cubicBezTo>
                  <a:pt x="202" y="297"/>
                  <a:pt x="202" y="297"/>
                  <a:pt x="202" y="297"/>
                </a:cubicBezTo>
                <a:cubicBezTo>
                  <a:pt x="201" y="301"/>
                  <a:pt x="201" y="306"/>
                  <a:pt x="201" y="310"/>
                </a:cubicBezTo>
                <a:cubicBezTo>
                  <a:pt x="201" y="343"/>
                  <a:pt x="219" y="371"/>
                  <a:pt x="246" y="386"/>
                </a:cubicBezTo>
                <a:cubicBezTo>
                  <a:pt x="210" y="472"/>
                  <a:pt x="210" y="472"/>
                  <a:pt x="210" y="472"/>
                </a:cubicBezTo>
                <a:cubicBezTo>
                  <a:pt x="206" y="471"/>
                  <a:pt x="201" y="470"/>
                  <a:pt x="196" y="470"/>
                </a:cubicBezTo>
                <a:cubicBezTo>
                  <a:pt x="160" y="470"/>
                  <a:pt x="131" y="500"/>
                  <a:pt x="131" y="536"/>
                </a:cubicBezTo>
                <a:cubicBezTo>
                  <a:pt x="131" y="572"/>
                  <a:pt x="160" y="602"/>
                  <a:pt x="196" y="602"/>
                </a:cubicBezTo>
                <a:cubicBezTo>
                  <a:pt x="232" y="602"/>
                  <a:pt x="262" y="572"/>
                  <a:pt x="262" y="536"/>
                </a:cubicBezTo>
                <a:cubicBezTo>
                  <a:pt x="262" y="510"/>
                  <a:pt x="246" y="487"/>
                  <a:pt x="224" y="476"/>
                </a:cubicBezTo>
                <a:cubicBezTo>
                  <a:pt x="259" y="392"/>
                  <a:pt x="259" y="392"/>
                  <a:pt x="259" y="392"/>
                </a:cubicBezTo>
                <a:cubicBezTo>
                  <a:pt x="268" y="396"/>
                  <a:pt x="278" y="397"/>
                  <a:pt x="288" y="397"/>
                </a:cubicBezTo>
                <a:cubicBezTo>
                  <a:pt x="311" y="397"/>
                  <a:pt x="332" y="388"/>
                  <a:pt x="348" y="374"/>
                </a:cubicBezTo>
                <a:cubicBezTo>
                  <a:pt x="580" y="537"/>
                  <a:pt x="580" y="537"/>
                  <a:pt x="580" y="537"/>
                </a:cubicBezTo>
                <a:cubicBezTo>
                  <a:pt x="574" y="547"/>
                  <a:pt x="570" y="559"/>
                  <a:pt x="570" y="572"/>
                </a:cubicBezTo>
                <a:cubicBezTo>
                  <a:pt x="570" y="608"/>
                  <a:pt x="599" y="638"/>
                  <a:pt x="636" y="638"/>
                </a:cubicBezTo>
                <a:cubicBezTo>
                  <a:pt x="672" y="638"/>
                  <a:pt x="701" y="608"/>
                  <a:pt x="701" y="572"/>
                </a:cubicBezTo>
                <a:cubicBezTo>
                  <a:pt x="701" y="536"/>
                  <a:pt x="672" y="506"/>
                  <a:pt x="636" y="506"/>
                </a:cubicBezTo>
                <a:close/>
                <a:moveTo>
                  <a:pt x="498" y="206"/>
                </a:moveTo>
                <a:cubicBezTo>
                  <a:pt x="526" y="206"/>
                  <a:pt x="549" y="229"/>
                  <a:pt x="549" y="257"/>
                </a:cubicBezTo>
                <a:cubicBezTo>
                  <a:pt x="549" y="286"/>
                  <a:pt x="526" y="309"/>
                  <a:pt x="498" y="309"/>
                </a:cubicBezTo>
                <a:cubicBezTo>
                  <a:pt x="474" y="309"/>
                  <a:pt x="453" y="292"/>
                  <a:pt x="448" y="270"/>
                </a:cubicBezTo>
                <a:cubicBezTo>
                  <a:pt x="448" y="270"/>
                  <a:pt x="448" y="270"/>
                  <a:pt x="448" y="270"/>
                </a:cubicBezTo>
                <a:cubicBezTo>
                  <a:pt x="448" y="270"/>
                  <a:pt x="448" y="270"/>
                  <a:pt x="448" y="270"/>
                </a:cubicBezTo>
                <a:cubicBezTo>
                  <a:pt x="447" y="266"/>
                  <a:pt x="446" y="262"/>
                  <a:pt x="446" y="257"/>
                </a:cubicBezTo>
                <a:cubicBezTo>
                  <a:pt x="446" y="229"/>
                  <a:pt x="469" y="206"/>
                  <a:pt x="498" y="206"/>
                </a:cubicBezTo>
                <a:close/>
                <a:moveTo>
                  <a:pt x="352" y="66"/>
                </a:moveTo>
                <a:cubicBezTo>
                  <a:pt x="352" y="37"/>
                  <a:pt x="375" y="14"/>
                  <a:pt x="403" y="14"/>
                </a:cubicBezTo>
                <a:cubicBezTo>
                  <a:pt x="432" y="14"/>
                  <a:pt x="455" y="37"/>
                  <a:pt x="455" y="66"/>
                </a:cubicBezTo>
                <a:cubicBezTo>
                  <a:pt x="455" y="94"/>
                  <a:pt x="432" y="117"/>
                  <a:pt x="403" y="117"/>
                </a:cubicBezTo>
                <a:cubicBezTo>
                  <a:pt x="375" y="117"/>
                  <a:pt x="352" y="94"/>
                  <a:pt x="352" y="66"/>
                </a:cubicBezTo>
                <a:close/>
                <a:moveTo>
                  <a:pt x="65" y="309"/>
                </a:moveTo>
                <a:cubicBezTo>
                  <a:pt x="37" y="309"/>
                  <a:pt x="14" y="286"/>
                  <a:pt x="14" y="257"/>
                </a:cubicBezTo>
                <a:cubicBezTo>
                  <a:pt x="14" y="229"/>
                  <a:pt x="37" y="206"/>
                  <a:pt x="65" y="206"/>
                </a:cubicBezTo>
                <a:cubicBezTo>
                  <a:pt x="94" y="206"/>
                  <a:pt x="117" y="229"/>
                  <a:pt x="117" y="257"/>
                </a:cubicBezTo>
                <a:cubicBezTo>
                  <a:pt x="117" y="286"/>
                  <a:pt x="94" y="309"/>
                  <a:pt x="65" y="309"/>
                </a:cubicBezTo>
                <a:close/>
                <a:moveTo>
                  <a:pt x="248" y="536"/>
                </a:moveTo>
                <a:cubicBezTo>
                  <a:pt x="248" y="564"/>
                  <a:pt x="225" y="588"/>
                  <a:pt x="196" y="588"/>
                </a:cubicBezTo>
                <a:cubicBezTo>
                  <a:pt x="168" y="588"/>
                  <a:pt x="145" y="564"/>
                  <a:pt x="145" y="536"/>
                </a:cubicBezTo>
                <a:cubicBezTo>
                  <a:pt x="145" y="508"/>
                  <a:pt x="168" y="484"/>
                  <a:pt x="196" y="484"/>
                </a:cubicBezTo>
                <a:cubicBezTo>
                  <a:pt x="225" y="484"/>
                  <a:pt x="248" y="508"/>
                  <a:pt x="248" y="536"/>
                </a:cubicBezTo>
                <a:close/>
                <a:moveTo>
                  <a:pt x="215" y="310"/>
                </a:moveTo>
                <a:cubicBezTo>
                  <a:pt x="215" y="270"/>
                  <a:pt x="248" y="237"/>
                  <a:pt x="288" y="237"/>
                </a:cubicBezTo>
                <a:cubicBezTo>
                  <a:pt x="329" y="237"/>
                  <a:pt x="361" y="270"/>
                  <a:pt x="361" y="310"/>
                </a:cubicBezTo>
                <a:cubicBezTo>
                  <a:pt x="361" y="351"/>
                  <a:pt x="329" y="383"/>
                  <a:pt x="288" y="383"/>
                </a:cubicBezTo>
                <a:cubicBezTo>
                  <a:pt x="248" y="383"/>
                  <a:pt x="215" y="351"/>
                  <a:pt x="215" y="310"/>
                </a:cubicBezTo>
                <a:close/>
                <a:moveTo>
                  <a:pt x="636" y="624"/>
                </a:moveTo>
                <a:cubicBezTo>
                  <a:pt x="607" y="624"/>
                  <a:pt x="584" y="600"/>
                  <a:pt x="584" y="572"/>
                </a:cubicBezTo>
                <a:cubicBezTo>
                  <a:pt x="584" y="544"/>
                  <a:pt x="607" y="520"/>
                  <a:pt x="636" y="520"/>
                </a:cubicBezTo>
                <a:cubicBezTo>
                  <a:pt x="664" y="520"/>
                  <a:pt x="687" y="544"/>
                  <a:pt x="687" y="572"/>
                </a:cubicBezTo>
                <a:cubicBezTo>
                  <a:pt x="687" y="600"/>
                  <a:pt x="664" y="624"/>
                  <a:pt x="636" y="624"/>
                </a:cubicBez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2" name="Title 1"/>
          <p:cNvSpPr>
            <a:spLocks noGrp="1"/>
          </p:cNvSpPr>
          <p:nvPr>
            <p:ph type="title"/>
          </p:nvPr>
        </p:nvSpPr>
        <p:spPr/>
        <p:txBody>
          <a:bodyPr/>
          <a:lstStyle/>
          <a:p>
            <a:r>
              <a:rPr lang="en-US" dirty="0"/>
              <a:t>Network</a:t>
            </a:r>
          </a:p>
        </p:txBody>
      </p:sp>
      <p:sp>
        <p:nvSpPr>
          <p:cNvPr id="3" name="Text Placeholder 2"/>
          <p:cNvSpPr>
            <a:spLocks noGrp="1"/>
          </p:cNvSpPr>
          <p:nvPr>
            <p:ph type="body" sz="quarter" idx="10"/>
          </p:nvPr>
        </p:nvSpPr>
        <p:spPr>
          <a:xfrm>
            <a:off x="2484438" y="1212850"/>
            <a:ext cx="9677400" cy="5293757"/>
          </a:xfrm>
          <a:solidFill>
            <a:schemeClr val="bg2">
              <a:lumMod val="90000"/>
            </a:schemeClr>
          </a:solidFill>
        </p:spPr>
        <p:txBody>
          <a:bodyPr/>
          <a:lstStyle/>
          <a:p>
            <a:r>
              <a:rPr lang="en-US" dirty="0">
                <a:solidFill>
                  <a:schemeClr val="tx1"/>
                </a:solidFill>
              </a:rPr>
              <a:t>Experience</a:t>
            </a:r>
          </a:p>
          <a:p>
            <a:pPr marL="342900" indent="-342900">
              <a:buFont typeface="Arial" panose="020B0604020202020204" pitchFamily="34" charset="0"/>
              <a:buChar char="•"/>
            </a:pPr>
            <a:r>
              <a:rPr lang="en-US" sz="2000" b="1" dirty="0">
                <a:solidFill>
                  <a:schemeClr val="tx1"/>
                </a:solidFill>
                <a:latin typeface="+mn-lt"/>
              </a:rPr>
              <a:t>Our networks were not ready for cloud </a:t>
            </a:r>
            <a:r>
              <a:rPr lang="en-US" sz="2000" dirty="0">
                <a:solidFill>
                  <a:schemeClr val="tx1"/>
                </a:solidFill>
                <a:latin typeface="+mn-lt"/>
              </a:rPr>
              <a:t>– </a:t>
            </a:r>
            <a:r>
              <a:rPr lang="en-US" sz="2000" dirty="0" err="1">
                <a:solidFill>
                  <a:schemeClr val="tx1"/>
                </a:solidFill>
                <a:latin typeface="+mn-lt"/>
              </a:rPr>
              <a:t>Hub’n’spoke</a:t>
            </a:r>
            <a:r>
              <a:rPr lang="en-US" sz="2000" dirty="0">
                <a:solidFill>
                  <a:schemeClr val="tx1"/>
                </a:solidFill>
                <a:latin typeface="+mn-lt"/>
              </a:rPr>
              <a:t>, minimal bandwidth, IP-based firewall rules</a:t>
            </a:r>
          </a:p>
          <a:p>
            <a:pPr marL="342900" indent="-342900">
              <a:buFont typeface="Arial" panose="020B0604020202020204" pitchFamily="34" charset="0"/>
              <a:buChar char="•"/>
            </a:pPr>
            <a:r>
              <a:rPr lang="en-US" sz="2000" b="1" dirty="0">
                <a:solidFill>
                  <a:schemeClr val="tx1"/>
                </a:solidFill>
                <a:latin typeface="+mn-lt"/>
              </a:rPr>
              <a:t>O365 services not ready for traditional networks </a:t>
            </a:r>
            <a:r>
              <a:rPr lang="en-US" sz="2000" dirty="0">
                <a:solidFill>
                  <a:schemeClr val="tx1"/>
                </a:solidFill>
                <a:latin typeface="+mn-lt"/>
              </a:rPr>
              <a:t>– Very difficult to separate internal traffic, inconsistent “Excel traffic calculators” per service</a:t>
            </a:r>
          </a:p>
          <a:p>
            <a:pPr marL="342900" indent="-342900">
              <a:buFont typeface="Arial" panose="020B0604020202020204" pitchFamily="34" charset="0"/>
              <a:buChar char="•"/>
            </a:pPr>
            <a:r>
              <a:rPr lang="en-US" sz="2000" b="1" dirty="0">
                <a:solidFill>
                  <a:schemeClr val="tx1"/>
                </a:solidFill>
                <a:latin typeface="+mn-lt"/>
              </a:rPr>
              <a:t>ExpressRoute </a:t>
            </a:r>
            <a:r>
              <a:rPr lang="en-US" sz="2000" dirty="0">
                <a:solidFill>
                  <a:schemeClr val="tx1"/>
                </a:solidFill>
                <a:latin typeface="+mn-lt"/>
              </a:rPr>
              <a:t>is too expensive for general use</a:t>
            </a:r>
          </a:p>
          <a:p>
            <a:pPr marL="342900" indent="-342900">
              <a:buFont typeface="Arial" panose="020B0604020202020204" pitchFamily="34" charset="0"/>
              <a:buChar char="•"/>
            </a:pPr>
            <a:r>
              <a:rPr lang="en-US" sz="2000" b="1" dirty="0">
                <a:solidFill>
                  <a:schemeClr val="tx1"/>
                </a:solidFill>
                <a:latin typeface="+mn-lt"/>
              </a:rPr>
              <a:t>Skype is very susceptible </a:t>
            </a:r>
            <a:r>
              <a:rPr lang="en-US" sz="2000" dirty="0">
                <a:solidFill>
                  <a:schemeClr val="tx1"/>
                </a:solidFill>
                <a:latin typeface="+mn-lt"/>
              </a:rPr>
              <a:t>to network issues and impossible to use in some locations.</a:t>
            </a:r>
          </a:p>
          <a:p>
            <a:pPr marL="342900" indent="-342900">
              <a:buFont typeface="Arial" panose="020B0604020202020204" pitchFamily="34" charset="0"/>
              <a:buChar char="•"/>
            </a:pPr>
            <a:r>
              <a:rPr lang="en-US" sz="2000" b="1" dirty="0">
                <a:solidFill>
                  <a:schemeClr val="tx1"/>
                </a:solidFill>
                <a:latin typeface="+mn-lt"/>
              </a:rPr>
              <a:t>SharePoint intranets are risky </a:t>
            </a:r>
            <a:r>
              <a:rPr lang="en-US" sz="2000" dirty="0">
                <a:solidFill>
                  <a:schemeClr val="tx1"/>
                </a:solidFill>
                <a:latin typeface="+mn-lt"/>
              </a:rPr>
              <a:t>unless </a:t>
            </a:r>
            <a:r>
              <a:rPr lang="en-US" sz="2000" dirty="0" err="1">
                <a:solidFill>
                  <a:schemeClr val="tx1"/>
                </a:solidFill>
                <a:latin typeface="+mn-lt"/>
              </a:rPr>
              <a:t>frontpages</a:t>
            </a:r>
            <a:r>
              <a:rPr lang="en-US" sz="2000" dirty="0">
                <a:solidFill>
                  <a:schemeClr val="tx1"/>
                </a:solidFill>
                <a:latin typeface="+mn-lt"/>
              </a:rPr>
              <a:t>/news are Azure hosted.</a:t>
            </a:r>
          </a:p>
          <a:p>
            <a:r>
              <a:rPr lang="en-US" dirty="0">
                <a:solidFill>
                  <a:schemeClr val="tx1"/>
                </a:solidFill>
              </a:rPr>
              <a:t>Decisions</a:t>
            </a:r>
          </a:p>
          <a:p>
            <a:pPr marL="342900" indent="-342900">
              <a:buFont typeface="Arial" panose="020B0604020202020204" pitchFamily="34" charset="0"/>
              <a:buChar char="•"/>
            </a:pPr>
            <a:r>
              <a:rPr lang="en-US" sz="2000" b="1" dirty="0">
                <a:solidFill>
                  <a:schemeClr val="tx1"/>
                </a:solidFill>
                <a:latin typeface="+mn-lt"/>
              </a:rPr>
              <a:t>Upgrade firewalls</a:t>
            </a:r>
            <a:r>
              <a:rPr lang="en-US" sz="2000" dirty="0">
                <a:solidFill>
                  <a:schemeClr val="tx1"/>
                </a:solidFill>
                <a:latin typeface="+mn-lt"/>
              </a:rPr>
              <a:t>, bandwidth, and a lot of other components.</a:t>
            </a:r>
          </a:p>
          <a:p>
            <a:pPr marL="342900" indent="-342900">
              <a:buFont typeface="Arial" panose="020B0604020202020204" pitchFamily="34" charset="0"/>
              <a:buChar char="•"/>
            </a:pPr>
            <a:r>
              <a:rPr lang="en-US" sz="2000" b="1" dirty="0">
                <a:solidFill>
                  <a:schemeClr val="tx1"/>
                </a:solidFill>
                <a:latin typeface="+mn-lt"/>
              </a:rPr>
              <a:t>Planning to move end-user devices outside </a:t>
            </a:r>
            <a:r>
              <a:rPr lang="en-US" sz="2000" dirty="0">
                <a:solidFill>
                  <a:schemeClr val="tx1"/>
                </a:solidFill>
                <a:latin typeface="+mn-lt"/>
              </a:rPr>
              <a:t>internal network – Always on VPN</a:t>
            </a:r>
          </a:p>
          <a:p>
            <a:pPr marL="342900" indent="-342900">
              <a:buFont typeface="Arial" panose="020B0604020202020204" pitchFamily="34" charset="0"/>
              <a:buChar char="•"/>
            </a:pPr>
            <a:r>
              <a:rPr lang="en-US" sz="2000" b="1" dirty="0">
                <a:solidFill>
                  <a:schemeClr val="tx1"/>
                </a:solidFill>
                <a:latin typeface="+mn-lt"/>
              </a:rPr>
              <a:t>Volunteer to test ANY initiative </a:t>
            </a:r>
            <a:r>
              <a:rPr lang="en-US" sz="2000" dirty="0">
                <a:solidFill>
                  <a:schemeClr val="tx1"/>
                </a:solidFill>
                <a:latin typeface="+mn-lt"/>
              </a:rPr>
              <a:t>that MS does to improve in this area</a:t>
            </a:r>
          </a:p>
          <a:p>
            <a:pPr marL="342900" indent="-342900">
              <a:buFont typeface="Arial" panose="020B0604020202020204" pitchFamily="34" charset="0"/>
              <a:buChar char="•"/>
            </a:pPr>
            <a:r>
              <a:rPr lang="en-US" sz="2000" b="1" dirty="0">
                <a:solidFill>
                  <a:schemeClr val="tx1"/>
                </a:solidFill>
                <a:latin typeface="+mn-lt"/>
              </a:rPr>
              <a:t>No roll-out </a:t>
            </a:r>
            <a:r>
              <a:rPr lang="en-US" sz="2000" dirty="0">
                <a:solidFill>
                  <a:schemeClr val="tx1"/>
                </a:solidFill>
                <a:latin typeface="+mn-lt"/>
              </a:rPr>
              <a:t>of Skype in Asia, and EE still using hybrid.</a:t>
            </a:r>
          </a:p>
        </p:txBody>
      </p:sp>
    </p:spTree>
    <p:extLst>
      <p:ext uri="{BB962C8B-B14F-4D97-AF65-F5344CB8AC3E}">
        <p14:creationId xmlns:p14="http://schemas.microsoft.com/office/powerpoint/2010/main" val="3985855674"/>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Oval 18"/>
          <p:cNvSpPr>
            <a:spLocks noChangeArrowheads="1"/>
          </p:cNvSpPr>
          <p:nvPr/>
        </p:nvSpPr>
        <p:spPr bwMode="auto">
          <a:xfrm>
            <a:off x="729472" y="1363662"/>
            <a:ext cx="1119124" cy="1119124"/>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7" name="Freeform 42"/>
          <p:cNvSpPr>
            <a:spLocks noEditPoints="1"/>
          </p:cNvSpPr>
          <p:nvPr/>
        </p:nvSpPr>
        <p:spPr bwMode="auto">
          <a:xfrm>
            <a:off x="960075" y="1537778"/>
            <a:ext cx="657918" cy="770893"/>
          </a:xfrm>
          <a:custGeom>
            <a:avLst/>
            <a:gdLst>
              <a:gd name="T0" fmla="*/ 122 w 419"/>
              <a:gd name="T1" fmla="*/ 141 h 491"/>
              <a:gd name="T2" fmla="*/ 156 w 419"/>
              <a:gd name="T3" fmla="*/ 239 h 491"/>
              <a:gd name="T4" fmla="*/ 169 w 419"/>
              <a:gd name="T5" fmla="*/ 276 h 491"/>
              <a:gd name="T6" fmla="*/ 194 w 419"/>
              <a:gd name="T7" fmla="*/ 293 h 491"/>
              <a:gd name="T8" fmla="*/ 220 w 419"/>
              <a:gd name="T9" fmla="*/ 276 h 491"/>
              <a:gd name="T10" fmla="*/ 233 w 419"/>
              <a:gd name="T11" fmla="*/ 239 h 491"/>
              <a:gd name="T12" fmla="*/ 266 w 419"/>
              <a:gd name="T13" fmla="*/ 141 h 491"/>
              <a:gd name="T14" fmla="*/ 194 w 419"/>
              <a:gd name="T15" fmla="*/ 283 h 491"/>
              <a:gd name="T16" fmla="*/ 207 w 419"/>
              <a:gd name="T17" fmla="*/ 276 h 491"/>
              <a:gd name="T18" fmla="*/ 223 w 419"/>
              <a:gd name="T19" fmla="*/ 263 h 491"/>
              <a:gd name="T20" fmla="*/ 169 w 419"/>
              <a:gd name="T21" fmla="*/ 266 h 491"/>
              <a:gd name="T22" fmla="*/ 165 w 419"/>
              <a:gd name="T23" fmla="*/ 244 h 491"/>
              <a:gd name="T24" fmla="*/ 223 w 419"/>
              <a:gd name="T25" fmla="*/ 263 h 491"/>
              <a:gd name="T26" fmla="*/ 223 w 419"/>
              <a:gd name="T27" fmla="*/ 235 h 491"/>
              <a:gd name="T28" fmla="*/ 199 w 419"/>
              <a:gd name="T29" fmla="*/ 168 h 491"/>
              <a:gd name="T30" fmla="*/ 221 w 419"/>
              <a:gd name="T31" fmla="*/ 134 h 491"/>
              <a:gd name="T32" fmla="*/ 194 w 419"/>
              <a:gd name="T33" fmla="*/ 159 h 491"/>
              <a:gd name="T34" fmla="*/ 168 w 419"/>
              <a:gd name="T35" fmla="*/ 134 h 491"/>
              <a:gd name="T36" fmla="*/ 190 w 419"/>
              <a:gd name="T37" fmla="*/ 168 h 491"/>
              <a:gd name="T38" fmla="*/ 165 w 419"/>
              <a:gd name="T39" fmla="*/ 235 h 491"/>
              <a:gd name="T40" fmla="*/ 132 w 419"/>
              <a:gd name="T41" fmla="*/ 141 h 491"/>
              <a:gd name="T42" fmla="*/ 257 w 419"/>
              <a:gd name="T43" fmla="*/ 141 h 491"/>
              <a:gd name="T44" fmla="*/ 407 w 419"/>
              <a:gd name="T45" fmla="*/ 250 h 491"/>
              <a:gd name="T46" fmla="*/ 374 w 419"/>
              <a:gd name="T47" fmla="*/ 183 h 491"/>
              <a:gd name="T48" fmla="*/ 374 w 419"/>
              <a:gd name="T49" fmla="*/ 118 h 491"/>
              <a:gd name="T50" fmla="*/ 193 w 419"/>
              <a:gd name="T51" fmla="*/ 0 h 491"/>
              <a:gd name="T52" fmla="*/ 61 w 419"/>
              <a:gd name="T53" fmla="*/ 288 h 491"/>
              <a:gd name="T54" fmla="*/ 72 w 419"/>
              <a:gd name="T55" fmla="*/ 454 h 491"/>
              <a:gd name="T56" fmla="*/ 197 w 419"/>
              <a:gd name="T57" fmla="*/ 491 h 491"/>
              <a:gd name="T58" fmla="*/ 259 w 419"/>
              <a:gd name="T59" fmla="*/ 480 h 491"/>
              <a:gd name="T60" fmla="*/ 345 w 419"/>
              <a:gd name="T61" fmla="*/ 413 h 491"/>
              <a:gd name="T62" fmla="*/ 378 w 419"/>
              <a:gd name="T63" fmla="*/ 391 h 491"/>
              <a:gd name="T64" fmla="*/ 378 w 419"/>
              <a:gd name="T65" fmla="*/ 360 h 491"/>
              <a:gd name="T66" fmla="*/ 388 w 419"/>
              <a:gd name="T67" fmla="*/ 339 h 491"/>
              <a:gd name="T68" fmla="*/ 394 w 419"/>
              <a:gd name="T69" fmla="*/ 319 h 491"/>
              <a:gd name="T70" fmla="*/ 390 w 419"/>
              <a:gd name="T71" fmla="*/ 304 h 491"/>
              <a:gd name="T72" fmla="*/ 409 w 419"/>
              <a:gd name="T73" fmla="*/ 289 h 491"/>
              <a:gd name="T74" fmla="*/ 407 w 419"/>
              <a:gd name="T75" fmla="*/ 250 h 491"/>
              <a:gd name="T76" fmla="*/ 385 w 419"/>
              <a:gd name="T77" fmla="*/ 286 h 491"/>
              <a:gd name="T78" fmla="*/ 380 w 419"/>
              <a:gd name="T79" fmla="*/ 307 h 491"/>
              <a:gd name="T80" fmla="*/ 385 w 419"/>
              <a:gd name="T81" fmla="*/ 317 h 491"/>
              <a:gd name="T82" fmla="*/ 376 w 419"/>
              <a:gd name="T83" fmla="*/ 331 h 491"/>
              <a:gd name="T84" fmla="*/ 375 w 419"/>
              <a:gd name="T85" fmla="*/ 344 h 491"/>
              <a:gd name="T86" fmla="*/ 369 w 419"/>
              <a:gd name="T87" fmla="*/ 365 h 491"/>
              <a:gd name="T88" fmla="*/ 347 w 419"/>
              <a:gd name="T89" fmla="*/ 404 h 491"/>
              <a:gd name="T90" fmla="*/ 261 w 419"/>
              <a:gd name="T91" fmla="*/ 386 h 491"/>
              <a:gd name="T92" fmla="*/ 250 w 419"/>
              <a:gd name="T93" fmla="*/ 476 h 491"/>
              <a:gd name="T94" fmla="*/ 89 w 419"/>
              <a:gd name="T95" fmla="*/ 307 h 491"/>
              <a:gd name="T96" fmla="*/ 9 w 419"/>
              <a:gd name="T97" fmla="*/ 167 h 491"/>
              <a:gd name="T98" fmla="*/ 193 w 419"/>
              <a:gd name="T99" fmla="*/ 9 h 491"/>
              <a:gd name="T100" fmla="*/ 365 w 419"/>
              <a:gd name="T101" fmla="*/ 120 h 491"/>
              <a:gd name="T102" fmla="*/ 365 w 419"/>
              <a:gd name="T103" fmla="*/ 180 h 491"/>
              <a:gd name="T104" fmla="*/ 399 w 419"/>
              <a:gd name="T105" fmla="*/ 255 h 491"/>
              <a:gd name="T106" fmla="*/ 405 w 419"/>
              <a:gd name="T107" fmla="*/ 281 h 4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19" h="491">
                <a:moveTo>
                  <a:pt x="194" y="69"/>
                </a:moveTo>
                <a:cubicBezTo>
                  <a:pt x="155" y="69"/>
                  <a:pt x="122" y="101"/>
                  <a:pt x="122" y="141"/>
                </a:cubicBezTo>
                <a:cubicBezTo>
                  <a:pt x="122" y="161"/>
                  <a:pt x="130" y="180"/>
                  <a:pt x="144" y="195"/>
                </a:cubicBezTo>
                <a:cubicBezTo>
                  <a:pt x="148" y="199"/>
                  <a:pt x="156" y="210"/>
                  <a:pt x="156" y="239"/>
                </a:cubicBezTo>
                <a:cubicBezTo>
                  <a:pt x="156" y="263"/>
                  <a:pt x="156" y="263"/>
                  <a:pt x="156" y="263"/>
                </a:cubicBezTo>
                <a:cubicBezTo>
                  <a:pt x="156" y="270"/>
                  <a:pt x="162" y="276"/>
                  <a:pt x="169" y="276"/>
                </a:cubicBezTo>
                <a:cubicBezTo>
                  <a:pt x="172" y="276"/>
                  <a:pt x="172" y="276"/>
                  <a:pt x="172" y="276"/>
                </a:cubicBezTo>
                <a:cubicBezTo>
                  <a:pt x="174" y="285"/>
                  <a:pt x="183" y="293"/>
                  <a:pt x="194" y="293"/>
                </a:cubicBezTo>
                <a:cubicBezTo>
                  <a:pt x="205" y="293"/>
                  <a:pt x="214" y="285"/>
                  <a:pt x="217" y="276"/>
                </a:cubicBezTo>
                <a:cubicBezTo>
                  <a:pt x="220" y="276"/>
                  <a:pt x="220" y="276"/>
                  <a:pt x="220" y="276"/>
                </a:cubicBezTo>
                <a:cubicBezTo>
                  <a:pt x="227" y="276"/>
                  <a:pt x="233" y="270"/>
                  <a:pt x="233" y="263"/>
                </a:cubicBezTo>
                <a:cubicBezTo>
                  <a:pt x="233" y="239"/>
                  <a:pt x="233" y="239"/>
                  <a:pt x="233" y="239"/>
                </a:cubicBezTo>
                <a:cubicBezTo>
                  <a:pt x="233" y="210"/>
                  <a:pt x="241" y="199"/>
                  <a:pt x="244" y="195"/>
                </a:cubicBezTo>
                <a:cubicBezTo>
                  <a:pt x="258" y="180"/>
                  <a:pt x="266" y="161"/>
                  <a:pt x="266" y="141"/>
                </a:cubicBezTo>
                <a:cubicBezTo>
                  <a:pt x="266" y="101"/>
                  <a:pt x="234" y="69"/>
                  <a:pt x="194" y="69"/>
                </a:cubicBezTo>
                <a:close/>
                <a:moveTo>
                  <a:pt x="194" y="283"/>
                </a:moveTo>
                <a:cubicBezTo>
                  <a:pt x="189" y="283"/>
                  <a:pt x="184" y="280"/>
                  <a:pt x="182" y="276"/>
                </a:cubicBezTo>
                <a:cubicBezTo>
                  <a:pt x="207" y="276"/>
                  <a:pt x="207" y="276"/>
                  <a:pt x="207" y="276"/>
                </a:cubicBezTo>
                <a:cubicBezTo>
                  <a:pt x="205" y="280"/>
                  <a:pt x="200" y="283"/>
                  <a:pt x="194" y="283"/>
                </a:cubicBezTo>
                <a:close/>
                <a:moveTo>
                  <a:pt x="223" y="263"/>
                </a:moveTo>
                <a:cubicBezTo>
                  <a:pt x="223" y="265"/>
                  <a:pt x="222" y="266"/>
                  <a:pt x="220" y="266"/>
                </a:cubicBezTo>
                <a:cubicBezTo>
                  <a:pt x="169" y="266"/>
                  <a:pt x="169" y="266"/>
                  <a:pt x="169" y="266"/>
                </a:cubicBezTo>
                <a:cubicBezTo>
                  <a:pt x="167" y="266"/>
                  <a:pt x="165" y="265"/>
                  <a:pt x="165" y="263"/>
                </a:cubicBezTo>
                <a:cubicBezTo>
                  <a:pt x="165" y="244"/>
                  <a:pt x="165" y="244"/>
                  <a:pt x="165" y="244"/>
                </a:cubicBezTo>
                <a:cubicBezTo>
                  <a:pt x="223" y="244"/>
                  <a:pt x="223" y="244"/>
                  <a:pt x="223" y="244"/>
                </a:cubicBezTo>
                <a:lnTo>
                  <a:pt x="223" y="263"/>
                </a:lnTo>
                <a:close/>
                <a:moveTo>
                  <a:pt x="237" y="188"/>
                </a:moveTo>
                <a:cubicBezTo>
                  <a:pt x="232" y="194"/>
                  <a:pt x="224" y="207"/>
                  <a:pt x="223" y="235"/>
                </a:cubicBezTo>
                <a:cubicBezTo>
                  <a:pt x="199" y="235"/>
                  <a:pt x="199" y="235"/>
                  <a:pt x="199" y="235"/>
                </a:cubicBezTo>
                <a:cubicBezTo>
                  <a:pt x="199" y="168"/>
                  <a:pt x="199" y="168"/>
                  <a:pt x="199" y="168"/>
                </a:cubicBezTo>
                <a:cubicBezTo>
                  <a:pt x="218" y="165"/>
                  <a:pt x="224" y="141"/>
                  <a:pt x="224" y="140"/>
                </a:cubicBezTo>
                <a:cubicBezTo>
                  <a:pt x="225" y="137"/>
                  <a:pt x="223" y="135"/>
                  <a:pt x="221" y="134"/>
                </a:cubicBezTo>
                <a:cubicBezTo>
                  <a:pt x="218" y="133"/>
                  <a:pt x="216" y="135"/>
                  <a:pt x="215" y="137"/>
                </a:cubicBezTo>
                <a:cubicBezTo>
                  <a:pt x="215" y="138"/>
                  <a:pt x="210" y="159"/>
                  <a:pt x="194" y="159"/>
                </a:cubicBezTo>
                <a:cubicBezTo>
                  <a:pt x="179" y="159"/>
                  <a:pt x="173" y="138"/>
                  <a:pt x="173" y="137"/>
                </a:cubicBezTo>
                <a:cubicBezTo>
                  <a:pt x="173" y="135"/>
                  <a:pt x="170" y="133"/>
                  <a:pt x="168" y="134"/>
                </a:cubicBezTo>
                <a:cubicBezTo>
                  <a:pt x="165" y="135"/>
                  <a:pt x="164" y="137"/>
                  <a:pt x="164" y="140"/>
                </a:cubicBezTo>
                <a:cubicBezTo>
                  <a:pt x="165" y="141"/>
                  <a:pt x="170" y="165"/>
                  <a:pt x="190" y="168"/>
                </a:cubicBezTo>
                <a:cubicBezTo>
                  <a:pt x="190" y="235"/>
                  <a:pt x="190" y="235"/>
                  <a:pt x="190" y="235"/>
                </a:cubicBezTo>
                <a:cubicBezTo>
                  <a:pt x="165" y="235"/>
                  <a:pt x="165" y="235"/>
                  <a:pt x="165" y="235"/>
                </a:cubicBezTo>
                <a:cubicBezTo>
                  <a:pt x="164" y="207"/>
                  <a:pt x="156" y="194"/>
                  <a:pt x="151" y="188"/>
                </a:cubicBezTo>
                <a:cubicBezTo>
                  <a:pt x="139" y="176"/>
                  <a:pt x="132" y="158"/>
                  <a:pt x="132" y="141"/>
                </a:cubicBezTo>
                <a:cubicBezTo>
                  <a:pt x="132" y="107"/>
                  <a:pt x="160" y="79"/>
                  <a:pt x="194" y="79"/>
                </a:cubicBezTo>
                <a:cubicBezTo>
                  <a:pt x="229" y="79"/>
                  <a:pt x="257" y="107"/>
                  <a:pt x="257" y="141"/>
                </a:cubicBezTo>
                <a:cubicBezTo>
                  <a:pt x="257" y="158"/>
                  <a:pt x="250" y="176"/>
                  <a:pt x="237" y="188"/>
                </a:cubicBezTo>
                <a:close/>
                <a:moveTo>
                  <a:pt x="407" y="250"/>
                </a:moveTo>
                <a:cubicBezTo>
                  <a:pt x="395" y="232"/>
                  <a:pt x="374" y="197"/>
                  <a:pt x="372" y="188"/>
                </a:cubicBezTo>
                <a:cubicBezTo>
                  <a:pt x="373" y="187"/>
                  <a:pt x="373" y="185"/>
                  <a:pt x="374" y="183"/>
                </a:cubicBezTo>
                <a:cubicBezTo>
                  <a:pt x="376" y="176"/>
                  <a:pt x="379" y="166"/>
                  <a:pt x="379" y="158"/>
                </a:cubicBezTo>
                <a:cubicBezTo>
                  <a:pt x="379" y="146"/>
                  <a:pt x="377" y="129"/>
                  <a:pt x="374" y="118"/>
                </a:cubicBezTo>
                <a:cubicBezTo>
                  <a:pt x="373" y="112"/>
                  <a:pt x="364" y="83"/>
                  <a:pt x="338" y="55"/>
                </a:cubicBezTo>
                <a:cubicBezTo>
                  <a:pt x="303" y="18"/>
                  <a:pt x="255" y="0"/>
                  <a:pt x="193" y="0"/>
                </a:cubicBezTo>
                <a:cubicBezTo>
                  <a:pt x="65" y="0"/>
                  <a:pt x="0" y="56"/>
                  <a:pt x="0" y="167"/>
                </a:cubicBezTo>
                <a:cubicBezTo>
                  <a:pt x="0" y="231"/>
                  <a:pt x="37" y="266"/>
                  <a:pt x="61" y="288"/>
                </a:cubicBezTo>
                <a:cubicBezTo>
                  <a:pt x="70" y="297"/>
                  <a:pt x="78" y="304"/>
                  <a:pt x="80" y="310"/>
                </a:cubicBezTo>
                <a:cubicBezTo>
                  <a:pt x="97" y="376"/>
                  <a:pt x="82" y="429"/>
                  <a:pt x="72" y="454"/>
                </a:cubicBezTo>
                <a:cubicBezTo>
                  <a:pt x="71" y="456"/>
                  <a:pt x="72" y="459"/>
                  <a:pt x="74" y="460"/>
                </a:cubicBezTo>
                <a:cubicBezTo>
                  <a:pt x="112" y="480"/>
                  <a:pt x="154" y="491"/>
                  <a:pt x="197" y="491"/>
                </a:cubicBezTo>
                <a:cubicBezTo>
                  <a:pt x="217" y="491"/>
                  <a:pt x="236" y="489"/>
                  <a:pt x="256" y="484"/>
                </a:cubicBezTo>
                <a:cubicBezTo>
                  <a:pt x="258" y="484"/>
                  <a:pt x="259" y="482"/>
                  <a:pt x="259" y="480"/>
                </a:cubicBezTo>
                <a:cubicBezTo>
                  <a:pt x="259" y="438"/>
                  <a:pt x="260" y="406"/>
                  <a:pt x="262" y="396"/>
                </a:cubicBezTo>
                <a:cubicBezTo>
                  <a:pt x="280" y="401"/>
                  <a:pt x="335" y="413"/>
                  <a:pt x="345" y="413"/>
                </a:cubicBezTo>
                <a:cubicBezTo>
                  <a:pt x="346" y="413"/>
                  <a:pt x="347" y="413"/>
                  <a:pt x="347" y="413"/>
                </a:cubicBezTo>
                <a:cubicBezTo>
                  <a:pt x="355" y="413"/>
                  <a:pt x="374" y="413"/>
                  <a:pt x="378" y="391"/>
                </a:cubicBezTo>
                <a:cubicBezTo>
                  <a:pt x="381" y="380"/>
                  <a:pt x="380" y="370"/>
                  <a:pt x="379" y="364"/>
                </a:cubicBezTo>
                <a:cubicBezTo>
                  <a:pt x="379" y="362"/>
                  <a:pt x="378" y="360"/>
                  <a:pt x="378" y="360"/>
                </a:cubicBezTo>
                <a:cubicBezTo>
                  <a:pt x="379" y="356"/>
                  <a:pt x="382" y="352"/>
                  <a:pt x="384" y="348"/>
                </a:cubicBezTo>
                <a:cubicBezTo>
                  <a:pt x="386" y="344"/>
                  <a:pt x="387" y="342"/>
                  <a:pt x="388" y="339"/>
                </a:cubicBezTo>
                <a:cubicBezTo>
                  <a:pt x="388" y="337"/>
                  <a:pt x="387" y="333"/>
                  <a:pt x="386" y="330"/>
                </a:cubicBezTo>
                <a:cubicBezTo>
                  <a:pt x="389" y="327"/>
                  <a:pt x="393" y="323"/>
                  <a:pt x="394" y="319"/>
                </a:cubicBezTo>
                <a:cubicBezTo>
                  <a:pt x="394" y="315"/>
                  <a:pt x="392" y="310"/>
                  <a:pt x="390" y="305"/>
                </a:cubicBezTo>
                <a:cubicBezTo>
                  <a:pt x="390" y="305"/>
                  <a:pt x="390" y="305"/>
                  <a:pt x="390" y="304"/>
                </a:cubicBezTo>
                <a:cubicBezTo>
                  <a:pt x="390" y="303"/>
                  <a:pt x="390" y="299"/>
                  <a:pt x="390" y="294"/>
                </a:cubicBezTo>
                <a:cubicBezTo>
                  <a:pt x="396" y="293"/>
                  <a:pt x="406" y="291"/>
                  <a:pt x="409" y="289"/>
                </a:cubicBezTo>
                <a:cubicBezTo>
                  <a:pt x="415" y="286"/>
                  <a:pt x="419" y="277"/>
                  <a:pt x="419" y="272"/>
                </a:cubicBezTo>
                <a:cubicBezTo>
                  <a:pt x="419" y="270"/>
                  <a:pt x="418" y="270"/>
                  <a:pt x="407" y="250"/>
                </a:cubicBezTo>
                <a:close/>
                <a:moveTo>
                  <a:pt x="405" y="281"/>
                </a:moveTo>
                <a:cubicBezTo>
                  <a:pt x="403" y="282"/>
                  <a:pt x="393" y="284"/>
                  <a:pt x="385" y="286"/>
                </a:cubicBezTo>
                <a:cubicBezTo>
                  <a:pt x="383" y="286"/>
                  <a:pt x="381" y="288"/>
                  <a:pt x="381" y="290"/>
                </a:cubicBezTo>
                <a:cubicBezTo>
                  <a:pt x="380" y="305"/>
                  <a:pt x="380" y="306"/>
                  <a:pt x="380" y="307"/>
                </a:cubicBezTo>
                <a:cubicBezTo>
                  <a:pt x="381" y="308"/>
                  <a:pt x="381" y="308"/>
                  <a:pt x="382" y="310"/>
                </a:cubicBezTo>
                <a:cubicBezTo>
                  <a:pt x="384" y="314"/>
                  <a:pt x="385" y="316"/>
                  <a:pt x="385" y="317"/>
                </a:cubicBezTo>
                <a:cubicBezTo>
                  <a:pt x="384" y="319"/>
                  <a:pt x="381" y="322"/>
                  <a:pt x="377" y="325"/>
                </a:cubicBezTo>
                <a:cubicBezTo>
                  <a:pt x="376" y="326"/>
                  <a:pt x="375" y="329"/>
                  <a:pt x="376" y="331"/>
                </a:cubicBezTo>
                <a:cubicBezTo>
                  <a:pt x="377" y="334"/>
                  <a:pt x="378" y="337"/>
                  <a:pt x="378" y="338"/>
                </a:cubicBezTo>
                <a:cubicBezTo>
                  <a:pt x="378" y="339"/>
                  <a:pt x="377" y="342"/>
                  <a:pt x="375" y="344"/>
                </a:cubicBezTo>
                <a:cubicBezTo>
                  <a:pt x="373" y="348"/>
                  <a:pt x="371" y="353"/>
                  <a:pt x="369" y="357"/>
                </a:cubicBezTo>
                <a:cubicBezTo>
                  <a:pt x="369" y="359"/>
                  <a:pt x="369" y="362"/>
                  <a:pt x="369" y="365"/>
                </a:cubicBezTo>
                <a:cubicBezTo>
                  <a:pt x="370" y="371"/>
                  <a:pt x="371" y="379"/>
                  <a:pt x="369" y="389"/>
                </a:cubicBezTo>
                <a:cubicBezTo>
                  <a:pt x="367" y="401"/>
                  <a:pt x="359" y="404"/>
                  <a:pt x="347" y="404"/>
                </a:cubicBezTo>
                <a:cubicBezTo>
                  <a:pt x="347" y="404"/>
                  <a:pt x="346" y="404"/>
                  <a:pt x="345" y="404"/>
                </a:cubicBezTo>
                <a:cubicBezTo>
                  <a:pt x="335" y="403"/>
                  <a:pt x="271" y="389"/>
                  <a:pt x="261" y="386"/>
                </a:cubicBezTo>
                <a:cubicBezTo>
                  <a:pt x="259" y="386"/>
                  <a:pt x="257" y="386"/>
                  <a:pt x="256" y="387"/>
                </a:cubicBezTo>
                <a:cubicBezTo>
                  <a:pt x="250" y="394"/>
                  <a:pt x="249" y="449"/>
                  <a:pt x="250" y="476"/>
                </a:cubicBezTo>
                <a:cubicBezTo>
                  <a:pt x="193" y="488"/>
                  <a:pt x="133" y="480"/>
                  <a:pt x="83" y="454"/>
                </a:cubicBezTo>
                <a:cubicBezTo>
                  <a:pt x="93" y="426"/>
                  <a:pt x="105" y="373"/>
                  <a:pt x="89" y="307"/>
                </a:cubicBezTo>
                <a:cubicBezTo>
                  <a:pt x="87" y="299"/>
                  <a:pt x="79" y="292"/>
                  <a:pt x="68" y="282"/>
                </a:cubicBezTo>
                <a:cubicBezTo>
                  <a:pt x="44" y="260"/>
                  <a:pt x="9" y="227"/>
                  <a:pt x="9" y="167"/>
                </a:cubicBezTo>
                <a:cubicBezTo>
                  <a:pt x="9" y="119"/>
                  <a:pt x="22" y="82"/>
                  <a:pt x="47" y="56"/>
                </a:cubicBezTo>
                <a:cubicBezTo>
                  <a:pt x="78" y="25"/>
                  <a:pt x="127" y="9"/>
                  <a:pt x="193" y="9"/>
                </a:cubicBezTo>
                <a:cubicBezTo>
                  <a:pt x="252" y="9"/>
                  <a:pt x="298" y="27"/>
                  <a:pt x="331" y="61"/>
                </a:cubicBezTo>
                <a:cubicBezTo>
                  <a:pt x="357" y="88"/>
                  <a:pt x="364" y="117"/>
                  <a:pt x="365" y="120"/>
                </a:cubicBezTo>
                <a:cubicBezTo>
                  <a:pt x="367" y="130"/>
                  <a:pt x="370" y="147"/>
                  <a:pt x="370" y="158"/>
                </a:cubicBezTo>
                <a:cubicBezTo>
                  <a:pt x="370" y="165"/>
                  <a:pt x="367" y="174"/>
                  <a:pt x="365" y="180"/>
                </a:cubicBezTo>
                <a:cubicBezTo>
                  <a:pt x="363" y="185"/>
                  <a:pt x="363" y="187"/>
                  <a:pt x="363" y="189"/>
                </a:cubicBezTo>
                <a:cubicBezTo>
                  <a:pt x="364" y="198"/>
                  <a:pt x="380" y="224"/>
                  <a:pt x="399" y="255"/>
                </a:cubicBezTo>
                <a:cubicBezTo>
                  <a:pt x="403" y="263"/>
                  <a:pt x="408" y="271"/>
                  <a:pt x="409" y="273"/>
                </a:cubicBezTo>
                <a:cubicBezTo>
                  <a:pt x="409" y="275"/>
                  <a:pt x="406" y="280"/>
                  <a:pt x="405" y="281"/>
                </a:cubicBez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2" name="Title 1"/>
          <p:cNvSpPr>
            <a:spLocks noGrp="1"/>
          </p:cNvSpPr>
          <p:nvPr>
            <p:ph type="title"/>
          </p:nvPr>
        </p:nvSpPr>
        <p:spPr/>
        <p:txBody>
          <a:bodyPr/>
          <a:lstStyle/>
          <a:p>
            <a:r>
              <a:rPr lang="en-US" dirty="0"/>
              <a:t>Adoption</a:t>
            </a:r>
          </a:p>
        </p:txBody>
      </p:sp>
      <p:sp>
        <p:nvSpPr>
          <p:cNvPr id="3" name="Text Placeholder 2"/>
          <p:cNvSpPr>
            <a:spLocks noGrp="1"/>
          </p:cNvSpPr>
          <p:nvPr>
            <p:ph type="body" sz="quarter" idx="10"/>
          </p:nvPr>
        </p:nvSpPr>
        <p:spPr>
          <a:xfrm>
            <a:off x="2484438" y="1212850"/>
            <a:ext cx="9677400" cy="4216539"/>
          </a:xfrm>
          <a:solidFill>
            <a:schemeClr val="bg2">
              <a:lumMod val="90000"/>
            </a:schemeClr>
          </a:solidFill>
        </p:spPr>
        <p:txBody>
          <a:bodyPr/>
          <a:lstStyle/>
          <a:p>
            <a:r>
              <a:rPr lang="en-US" dirty="0">
                <a:solidFill>
                  <a:schemeClr val="tx1"/>
                </a:solidFill>
              </a:rPr>
              <a:t>Experience</a:t>
            </a:r>
          </a:p>
          <a:p>
            <a:pPr marL="342900" indent="-342900">
              <a:buFont typeface="Arial" panose="020B0604020202020204" pitchFamily="34" charset="0"/>
              <a:buChar char="•"/>
            </a:pPr>
            <a:r>
              <a:rPr lang="en-US" sz="2000" b="1" dirty="0">
                <a:solidFill>
                  <a:schemeClr val="tx1"/>
                </a:solidFill>
                <a:latin typeface="+mn-lt"/>
              </a:rPr>
              <a:t>Exchange adoption is very easy </a:t>
            </a:r>
            <a:r>
              <a:rPr lang="en-US" sz="2000" dirty="0">
                <a:solidFill>
                  <a:schemeClr val="tx1"/>
                </a:solidFill>
                <a:latin typeface="+mn-lt"/>
              </a:rPr>
              <a:t>– People don’t notice the difference</a:t>
            </a:r>
          </a:p>
          <a:p>
            <a:pPr marL="342900" indent="-342900">
              <a:buFont typeface="Arial" panose="020B0604020202020204" pitchFamily="34" charset="0"/>
              <a:buChar char="•"/>
            </a:pPr>
            <a:r>
              <a:rPr lang="en-US" sz="2000" b="1" dirty="0">
                <a:solidFill>
                  <a:schemeClr val="tx1"/>
                </a:solidFill>
                <a:latin typeface="+mn-lt"/>
              </a:rPr>
              <a:t>Skype adoption is somewhat easy </a:t>
            </a:r>
            <a:r>
              <a:rPr lang="en-US" sz="2000" dirty="0">
                <a:solidFill>
                  <a:schemeClr val="tx1"/>
                </a:solidFill>
                <a:latin typeface="+mn-lt"/>
              </a:rPr>
              <a:t>– People complain about performance and complex UI (yes, still)</a:t>
            </a:r>
          </a:p>
          <a:p>
            <a:pPr marL="342900" indent="-342900">
              <a:buFont typeface="Arial" panose="020B0604020202020204" pitchFamily="34" charset="0"/>
              <a:buChar char="•"/>
            </a:pPr>
            <a:r>
              <a:rPr lang="en-US" sz="2000" b="1" dirty="0">
                <a:solidFill>
                  <a:schemeClr val="tx1"/>
                </a:solidFill>
                <a:latin typeface="+mn-lt"/>
              </a:rPr>
              <a:t>SharePoint/Yammer adoption requires a lot of work </a:t>
            </a:r>
            <a:r>
              <a:rPr lang="en-US" sz="2000" dirty="0">
                <a:solidFill>
                  <a:schemeClr val="tx1"/>
                </a:solidFill>
                <a:latin typeface="+mn-lt"/>
              </a:rPr>
              <a:t>– Too many options, buttons, and overlapping functionality to give a simple message</a:t>
            </a:r>
          </a:p>
          <a:p>
            <a:pPr marL="342900" indent="-342900">
              <a:buFont typeface="Arial" panose="020B0604020202020204" pitchFamily="34" charset="0"/>
              <a:buChar char="•"/>
            </a:pPr>
            <a:r>
              <a:rPr lang="en-US" sz="2000" b="1" dirty="0">
                <a:solidFill>
                  <a:schemeClr val="tx1"/>
                </a:solidFill>
                <a:latin typeface="+mn-lt"/>
              </a:rPr>
              <a:t>New features are invisible unless we promote them</a:t>
            </a:r>
            <a:r>
              <a:rPr lang="en-US" sz="2000" dirty="0">
                <a:solidFill>
                  <a:schemeClr val="tx1"/>
                </a:solidFill>
                <a:latin typeface="+mn-lt"/>
              </a:rPr>
              <a:t>, and we don’t promote them until we feel they won’t get updated for a while - Delve, Planner, Blog, Video, etc.</a:t>
            </a:r>
          </a:p>
          <a:p>
            <a:r>
              <a:rPr lang="en-US" dirty="0">
                <a:solidFill>
                  <a:schemeClr val="tx1"/>
                </a:solidFill>
              </a:rPr>
              <a:t>Results</a:t>
            </a:r>
          </a:p>
          <a:p>
            <a:pPr marL="342900" indent="-342900">
              <a:buFont typeface="Arial" panose="020B0604020202020204" pitchFamily="34" charset="0"/>
              <a:buChar char="•"/>
            </a:pPr>
            <a:r>
              <a:rPr lang="en-US" sz="2000" b="1" dirty="0">
                <a:solidFill>
                  <a:schemeClr val="tx1"/>
                </a:solidFill>
                <a:latin typeface="+mn-lt"/>
              </a:rPr>
              <a:t>Adoption is very hard work and will never stop</a:t>
            </a:r>
          </a:p>
        </p:txBody>
      </p:sp>
    </p:spTree>
    <p:extLst>
      <p:ext uri="{BB962C8B-B14F-4D97-AF65-F5344CB8AC3E}">
        <p14:creationId xmlns:p14="http://schemas.microsoft.com/office/powerpoint/2010/main" val="1486143458"/>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2">
            <a:extLst>
              <a:ext uri="{BEBA8EAE-BF5A-486C-A8C5-ECC9F3942E4B}">
                <a14:imgProps xmlns:a14="http://schemas.microsoft.com/office/drawing/2010/main">
                  <a14:imgLayer r:embed="rId3">
                    <a14:imgEffect>
                      <a14:brightnessContrast bright="-40000" contrast="20000"/>
                    </a14:imgEffect>
                  </a14:imgLayer>
                </a14:imgProps>
              </a:ext>
            </a:extLst>
          </a:blip>
          <a:stretch>
            <a:fillRect/>
          </a:stretch>
        </p:blipFill>
        <p:spPr>
          <a:xfrm>
            <a:off x="883" y="-11188"/>
            <a:ext cx="12434711" cy="7016900"/>
          </a:xfrm>
          <a:prstGeom prst="rect">
            <a:avLst/>
          </a:prstGeom>
        </p:spPr>
      </p:pic>
      <p:sp>
        <p:nvSpPr>
          <p:cNvPr id="7" name="Title 1"/>
          <p:cNvSpPr>
            <a:spLocks noGrp="1"/>
          </p:cNvSpPr>
          <p:nvPr>
            <p:ph type="title"/>
          </p:nvPr>
        </p:nvSpPr>
        <p:spPr/>
        <p:txBody>
          <a:bodyPr/>
          <a:lstStyle/>
          <a:p>
            <a:r>
              <a:rPr lang="en-US" dirty="0"/>
              <a:t>Today</a:t>
            </a:r>
          </a:p>
        </p:txBody>
      </p:sp>
    </p:spTree>
    <p:extLst>
      <p:ext uri="{BB962C8B-B14F-4D97-AF65-F5344CB8AC3E}">
        <p14:creationId xmlns:p14="http://schemas.microsoft.com/office/powerpoint/2010/main" val="27573890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wrap="square" lIns="146304" tIns="91440" rIns="146304" bIns="91440" rtlCol="0" anchor="t">
            <a:noAutofit/>
          </a:bodyPr>
          <a:lstStyle/>
          <a:p>
            <a:r>
              <a:rPr lang="en-US" dirty="0"/>
              <a:t>It’s no longer about </a:t>
            </a:r>
            <a:r>
              <a:rPr lang="en-US" b="1" dirty="0"/>
              <a:t>technology</a:t>
            </a:r>
          </a:p>
        </p:txBody>
      </p:sp>
      <p:sp>
        <p:nvSpPr>
          <p:cNvPr id="3" name="Content Placeholder 2"/>
          <p:cNvSpPr>
            <a:spLocks noGrp="1"/>
          </p:cNvSpPr>
          <p:nvPr>
            <p:ph idx="1"/>
          </p:nvPr>
        </p:nvSpPr>
        <p:spPr>
          <a:xfrm>
            <a:off x="2234313" y="1243471"/>
            <a:ext cx="7946324" cy="4719686"/>
          </a:xfrm>
        </p:spPr>
        <p:txBody>
          <a:bodyPr anchor="ctr"/>
          <a:lstStyle/>
          <a:p>
            <a:pPr marL="0" indent="0" algn="ctr">
              <a:spcBef>
                <a:spcPts val="0"/>
              </a:spcBef>
              <a:buNone/>
            </a:pPr>
            <a:r>
              <a:rPr lang="en-US" sz="2400" dirty="0"/>
              <a:t>In only </a:t>
            </a:r>
            <a:r>
              <a:rPr lang="en-US" sz="2400" dirty="0">
                <a:solidFill>
                  <a:schemeClr val="accent6"/>
                </a:solidFill>
              </a:rPr>
              <a:t>four years </a:t>
            </a:r>
            <a:r>
              <a:rPr lang="en-US" sz="2400" dirty="0"/>
              <a:t>we’ve moved </a:t>
            </a:r>
            <a:r>
              <a:rPr lang="en-US" sz="2400" dirty="0">
                <a:solidFill>
                  <a:schemeClr val="accent6"/>
                </a:solidFill>
              </a:rPr>
              <a:t>25.000 people</a:t>
            </a:r>
            <a:r>
              <a:rPr lang="en-US" sz="2400" dirty="0"/>
              <a:t>, across three continents, to </a:t>
            </a:r>
            <a:r>
              <a:rPr lang="en-US" sz="2400" dirty="0">
                <a:solidFill>
                  <a:schemeClr val="accent6"/>
                </a:solidFill>
              </a:rPr>
              <a:t>one</a:t>
            </a:r>
            <a:r>
              <a:rPr lang="en-US" sz="2400" dirty="0"/>
              <a:t> state-of-the-art collaboration platform.</a:t>
            </a:r>
            <a:endParaRPr lang="en-US" sz="2400" dirty="0">
              <a:solidFill>
                <a:schemeClr val="accent6"/>
              </a:solidFill>
            </a:endParaRPr>
          </a:p>
        </p:txBody>
      </p:sp>
    </p:spTree>
    <p:extLst>
      <p:ext uri="{BB962C8B-B14F-4D97-AF65-F5344CB8AC3E}">
        <p14:creationId xmlns:p14="http://schemas.microsoft.com/office/powerpoint/2010/main" val="149955734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2000"/>
                                        <p:tgtEl>
                                          <p:spTgt spid="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p:cNvPicPr>
          <p:nvPr/>
        </p:nvPicPr>
        <p:blipFill rotWithShape="1">
          <a:blip r:embed="rId3">
            <a:extLst>
              <a:ext uri="{28A0092B-C50C-407E-A947-70E740481C1C}">
                <a14:useLocalDpi xmlns:a14="http://schemas.microsoft.com/office/drawing/2010/main"/>
              </a:ext>
            </a:extLst>
          </a:blip>
          <a:srcRect/>
          <a:stretch/>
        </p:blipFill>
        <p:spPr>
          <a:xfrm>
            <a:off x="1420093" y="2116355"/>
            <a:ext cx="2797810" cy="2797810"/>
          </a:xfrm>
          <a:prstGeom prst="ellipse">
            <a:avLst/>
          </a:prstGeom>
        </p:spPr>
      </p:pic>
      <p:pic>
        <p:nvPicPr>
          <p:cNvPr id="1026" name="Picture 2" descr="http://theinstitute.ieee.org/img/iStock_000061236956Large-1437142389713.jpg"/>
          <p:cNvPicPr>
            <a:picLocks noChangeAspect="1" noChangeArrowheads="1"/>
          </p:cNvPicPr>
          <p:nvPr/>
        </p:nvPicPr>
        <p:blipFill rotWithShape="1">
          <a:blip r:embed="rId4" cstate="screen">
            <a:extLst>
              <a:ext uri="{28A0092B-C50C-407E-A947-70E740481C1C}">
                <a14:useLocalDpi xmlns:a14="http://schemas.microsoft.com/office/drawing/2010/main"/>
              </a:ext>
            </a:extLst>
          </a:blip>
          <a:srcRect/>
          <a:stretch/>
        </p:blipFill>
        <p:spPr bwMode="auto">
          <a:xfrm>
            <a:off x="8218571" y="2116355"/>
            <a:ext cx="2797810" cy="2797810"/>
          </a:xfrm>
          <a:prstGeom prst="ellipse">
            <a:avLst/>
          </a:prstGeom>
          <a:noFill/>
          <a:extLst>
            <a:ext uri="{909E8E84-426E-40DD-AFC4-6F175D3DCCD1}">
              <a14:hiddenFill xmlns:a14="http://schemas.microsoft.com/office/drawing/2010/main">
                <a:solidFill>
                  <a:srgbClr val="FFFFFF"/>
                </a:solidFill>
              </a14:hiddenFill>
            </a:ext>
          </a:extLst>
        </p:spPr>
      </p:pic>
      <p:sp>
        <p:nvSpPr>
          <p:cNvPr id="24" name="Title 1"/>
          <p:cNvSpPr>
            <a:spLocks noGrp="1"/>
          </p:cNvSpPr>
          <p:nvPr>
            <p:ph type="title"/>
          </p:nvPr>
        </p:nvSpPr>
        <p:spPr/>
        <p:txBody>
          <a:bodyPr/>
          <a:lstStyle/>
          <a:p>
            <a:r>
              <a:rPr lang="en-US" dirty="0"/>
              <a:t>It’s about the </a:t>
            </a:r>
            <a:r>
              <a:rPr lang="en-US" b="1" dirty="0"/>
              <a:t>workplace</a:t>
            </a:r>
          </a:p>
        </p:txBody>
      </p:sp>
      <p:pic>
        <p:nvPicPr>
          <p:cNvPr id="4" name="Picture 3"/>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4819332" y="2116355"/>
            <a:ext cx="2797810" cy="2797810"/>
          </a:xfrm>
          <a:prstGeom prst="ellipse">
            <a:avLst/>
          </a:prstGeom>
        </p:spPr>
      </p:pic>
      <p:sp>
        <p:nvSpPr>
          <p:cNvPr id="7" name="TextBox 6"/>
          <p:cNvSpPr txBox="1"/>
          <p:nvPr/>
        </p:nvSpPr>
        <p:spPr>
          <a:xfrm>
            <a:off x="1130034" y="4931296"/>
            <a:ext cx="3377928" cy="574443"/>
          </a:xfrm>
          <a:prstGeom prst="rect">
            <a:avLst/>
          </a:prstGeom>
          <a:noFill/>
        </p:spPr>
        <p:txBody>
          <a:bodyPr wrap="square" rtlCol="0">
            <a:spAutoFit/>
          </a:bodyPr>
          <a:lstStyle/>
          <a:p>
            <a:pPr algn="ctr"/>
            <a:r>
              <a:rPr lang="en-US" sz="1836" dirty="0"/>
              <a:t>Increasing demand</a:t>
            </a:r>
          </a:p>
          <a:p>
            <a:pPr algn="ctr"/>
            <a:r>
              <a:rPr lang="en-US" sz="1224" dirty="0"/>
              <a:t>Backlog, new technology, changing market</a:t>
            </a:r>
          </a:p>
        </p:txBody>
      </p:sp>
      <p:sp>
        <p:nvSpPr>
          <p:cNvPr id="8" name="TextBox 7"/>
          <p:cNvSpPr txBox="1"/>
          <p:nvPr/>
        </p:nvSpPr>
        <p:spPr>
          <a:xfrm>
            <a:off x="4529273" y="4931296"/>
            <a:ext cx="3377928" cy="574443"/>
          </a:xfrm>
          <a:prstGeom prst="rect">
            <a:avLst/>
          </a:prstGeom>
          <a:noFill/>
        </p:spPr>
        <p:txBody>
          <a:bodyPr wrap="square" rtlCol="0">
            <a:spAutoFit/>
          </a:bodyPr>
          <a:lstStyle/>
          <a:p>
            <a:pPr algn="ctr"/>
            <a:r>
              <a:rPr lang="en-US" sz="1836" dirty="0"/>
              <a:t>Easier access</a:t>
            </a:r>
          </a:p>
          <a:p>
            <a:pPr algn="ctr"/>
            <a:r>
              <a:rPr lang="en-US" sz="1224" dirty="0"/>
              <a:t>Online/portable apps, systems of innovation</a:t>
            </a:r>
          </a:p>
        </p:txBody>
      </p:sp>
      <p:sp>
        <p:nvSpPr>
          <p:cNvPr id="9" name="TextBox 8"/>
          <p:cNvSpPr txBox="1"/>
          <p:nvPr/>
        </p:nvSpPr>
        <p:spPr>
          <a:xfrm>
            <a:off x="7928512" y="4931296"/>
            <a:ext cx="3377928" cy="574443"/>
          </a:xfrm>
          <a:prstGeom prst="rect">
            <a:avLst/>
          </a:prstGeom>
          <a:noFill/>
        </p:spPr>
        <p:txBody>
          <a:bodyPr wrap="square" rtlCol="0">
            <a:spAutoFit/>
          </a:bodyPr>
          <a:lstStyle/>
          <a:p>
            <a:pPr algn="ctr"/>
            <a:r>
              <a:rPr lang="en-US" sz="1836" dirty="0"/>
              <a:t>Finite change-capacity</a:t>
            </a:r>
          </a:p>
          <a:p>
            <a:pPr algn="ctr"/>
            <a:r>
              <a:rPr lang="en-US" sz="1224" dirty="0"/>
              <a:t>Generational gap, complexity, inertia</a:t>
            </a:r>
          </a:p>
        </p:txBody>
      </p:sp>
    </p:spTree>
    <p:extLst>
      <p:ext uri="{BB962C8B-B14F-4D97-AF65-F5344CB8AC3E}">
        <p14:creationId xmlns:p14="http://schemas.microsoft.com/office/powerpoint/2010/main" val="832308026"/>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50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10" presetClass="entr" presetSubtype="0" fill="hold" grpId="0" nodeType="withEffect">
                                  <p:stCondLst>
                                    <p:cond delay="50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childTnLst>
                          </p:cTn>
                        </p:par>
                        <p:par>
                          <p:cTn id="11" fill="hold">
                            <p:stCondLst>
                              <p:cond delay="1000"/>
                            </p:stCondLst>
                            <p:childTnLst>
                              <p:par>
                                <p:cTn id="12" presetID="10" presetClass="entr" presetSubtype="0" fill="hold" nodeType="afterEffect">
                                  <p:stCondLst>
                                    <p:cond delay="0"/>
                                  </p:stCondLst>
                                  <p:childTnLst>
                                    <p:set>
                                      <p:cBhvr>
                                        <p:cTn id="13" dur="1" fill="hold">
                                          <p:stCondLst>
                                            <p:cond delay="0"/>
                                          </p:stCondLst>
                                        </p:cTn>
                                        <p:tgtEl>
                                          <p:spTgt spid="4"/>
                                        </p:tgtEl>
                                        <p:attrNameLst>
                                          <p:attrName>style.visibility</p:attrName>
                                        </p:attrNameLst>
                                      </p:cBhvr>
                                      <p:to>
                                        <p:strVal val="visible"/>
                                      </p:to>
                                    </p:set>
                                    <p:animEffect transition="in" filter="fade">
                                      <p:cBhvr>
                                        <p:cTn id="14" dur="500"/>
                                        <p:tgtEl>
                                          <p:spTgt spid="4"/>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8"/>
                                        </p:tgtEl>
                                        <p:attrNameLst>
                                          <p:attrName>style.visibility</p:attrName>
                                        </p:attrNameLst>
                                      </p:cBhvr>
                                      <p:to>
                                        <p:strVal val="visible"/>
                                      </p:to>
                                    </p:set>
                                    <p:animEffect transition="in" filter="fade">
                                      <p:cBhvr>
                                        <p:cTn id="17" dur="500"/>
                                        <p:tgtEl>
                                          <p:spTgt spid="8"/>
                                        </p:tgtEl>
                                      </p:cBhvr>
                                    </p:animEffect>
                                  </p:childTnLst>
                                </p:cTn>
                              </p:par>
                            </p:childTnLst>
                          </p:cTn>
                        </p:par>
                        <p:par>
                          <p:cTn id="18" fill="hold">
                            <p:stCondLst>
                              <p:cond delay="1500"/>
                            </p:stCondLst>
                            <p:childTnLst>
                              <p:par>
                                <p:cTn id="19" presetID="10" presetClass="entr" presetSubtype="0" fill="hold" nodeType="afterEffect">
                                  <p:stCondLst>
                                    <p:cond delay="0"/>
                                  </p:stCondLst>
                                  <p:childTnLst>
                                    <p:set>
                                      <p:cBhvr>
                                        <p:cTn id="20" dur="1" fill="hold">
                                          <p:stCondLst>
                                            <p:cond delay="0"/>
                                          </p:stCondLst>
                                        </p:cTn>
                                        <p:tgtEl>
                                          <p:spTgt spid="1026"/>
                                        </p:tgtEl>
                                        <p:attrNameLst>
                                          <p:attrName>style.visibility</p:attrName>
                                        </p:attrNameLst>
                                      </p:cBhvr>
                                      <p:to>
                                        <p:strVal val="visible"/>
                                      </p:to>
                                    </p:set>
                                    <p:animEffect transition="in" filter="fade">
                                      <p:cBhvr>
                                        <p:cTn id="21" dur="500"/>
                                        <p:tgtEl>
                                          <p:spTgt spid="1026"/>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9"/>
                                        </p:tgtEl>
                                        <p:attrNameLst>
                                          <p:attrName>style.visibility</p:attrName>
                                        </p:attrNameLst>
                                      </p:cBhvr>
                                      <p:to>
                                        <p:strVal val="visible"/>
                                      </p:to>
                                    </p:set>
                                    <p:animEffect transition="in" filter="fade">
                                      <p:cBhvr>
                                        <p:cTn id="24"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8" grpId="0"/>
      <p:bldP spid="9" grpId="0"/>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p:cNvGrpSpPr/>
          <p:nvPr/>
        </p:nvGrpSpPr>
        <p:grpSpPr>
          <a:xfrm>
            <a:off x="6064015" y="2487975"/>
            <a:ext cx="2191097" cy="2171024"/>
            <a:chOff x="5005708" y="2492897"/>
            <a:chExt cx="2148329" cy="2128648"/>
          </a:xfrm>
          <a:solidFill>
            <a:schemeClr val="bg1">
              <a:lumMod val="50000"/>
              <a:lumOff val="50000"/>
            </a:schemeClr>
          </a:solidFill>
        </p:grpSpPr>
        <p:sp>
          <p:nvSpPr>
            <p:cNvPr id="18" name="Circular Arrow 17"/>
            <p:cNvSpPr/>
            <p:nvPr/>
          </p:nvSpPr>
          <p:spPr>
            <a:xfrm>
              <a:off x="5084675" y="2492897"/>
              <a:ext cx="2055442" cy="2128648"/>
            </a:xfrm>
            <a:prstGeom prst="circularArrow">
              <a:avLst>
                <a:gd name="adj1" fmla="val 12414"/>
                <a:gd name="adj2" fmla="val 1117027"/>
                <a:gd name="adj3" fmla="val 8153157"/>
                <a:gd name="adj4" fmla="val 4418858"/>
                <a:gd name="adj5" fmla="val 15455"/>
              </a:avLst>
            </a:prstGeom>
            <a:grp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21" name="Circular Arrow 20"/>
            <p:cNvSpPr/>
            <p:nvPr/>
          </p:nvSpPr>
          <p:spPr>
            <a:xfrm rot="7200000">
              <a:off x="5061992" y="2492897"/>
              <a:ext cx="2055442" cy="2128648"/>
            </a:xfrm>
            <a:prstGeom prst="circularArrow">
              <a:avLst>
                <a:gd name="adj1" fmla="val 12414"/>
                <a:gd name="adj2" fmla="val 1117027"/>
                <a:gd name="adj3" fmla="val 8153157"/>
                <a:gd name="adj4" fmla="val 4418858"/>
                <a:gd name="adj5" fmla="val 15455"/>
              </a:avLst>
            </a:prstGeom>
            <a:grp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22" name="Circular Arrow 21"/>
            <p:cNvSpPr/>
            <p:nvPr/>
          </p:nvSpPr>
          <p:spPr>
            <a:xfrm rot="14400000">
              <a:off x="5042311" y="2495060"/>
              <a:ext cx="2055442" cy="2128648"/>
            </a:xfrm>
            <a:prstGeom prst="circularArrow">
              <a:avLst>
                <a:gd name="adj1" fmla="val 12414"/>
                <a:gd name="adj2" fmla="val 1117027"/>
                <a:gd name="adj3" fmla="val 8153157"/>
                <a:gd name="adj4" fmla="val 4418858"/>
                <a:gd name="adj5" fmla="val 15455"/>
              </a:avLst>
            </a:prstGeom>
            <a:grp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grpSp>
      <p:pic>
        <p:nvPicPr>
          <p:cNvPr id="1026" name="Picture 2" descr="http://theinstitute.ieee.org/img/iStock_000061236956Large-1437142389713.jpg"/>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a:stretch/>
        </p:blipFill>
        <p:spPr bwMode="auto">
          <a:xfrm>
            <a:off x="6576846" y="3945462"/>
            <a:ext cx="1865207" cy="1865207"/>
          </a:xfrm>
          <a:prstGeom prst="ellipse">
            <a:avLst/>
          </a:prstGeom>
          <a:noFill/>
          <a:extLst>
            <a:ext uri="{909E8E84-426E-40DD-AFC4-6F175D3DCCD1}">
              <a14:hiddenFill xmlns:a14="http://schemas.microsoft.com/office/drawing/2010/main">
                <a:solidFill>
                  <a:srgbClr val="FFFFFF"/>
                </a:solidFill>
              </a14:hiddenFill>
            </a:ext>
          </a:extLst>
        </p:spPr>
      </p:pic>
      <p:pic>
        <p:nvPicPr>
          <p:cNvPr id="5" name="Picture 4"/>
          <p:cNvPicPr>
            <a:picLocks/>
          </p:cNvPicPr>
          <p:nvPr/>
        </p:nvPicPr>
        <p:blipFill rotWithShape="1">
          <a:blip r:embed="rId4">
            <a:extLst>
              <a:ext uri="{BEBA8EAE-BF5A-486C-A8C5-ECC9F3942E4B}">
                <a14:imgProps xmlns:a14="http://schemas.microsoft.com/office/drawing/2010/main">
                  <a14:imgLayer r:embed="rId5"/>
                </a14:imgProps>
              </a:ext>
              <a:ext uri="{28A0092B-C50C-407E-A947-70E740481C1C}">
                <a14:useLocalDpi xmlns:a14="http://schemas.microsoft.com/office/drawing/2010/main"/>
              </a:ext>
            </a:extLst>
          </a:blip>
          <a:srcRect/>
          <a:stretch/>
        </p:blipFill>
        <p:spPr>
          <a:xfrm>
            <a:off x="4988430" y="2286775"/>
            <a:ext cx="1865207" cy="1865207"/>
          </a:xfrm>
          <a:prstGeom prst="ellipse">
            <a:avLst/>
          </a:prstGeom>
        </p:spPr>
      </p:pic>
      <p:sp>
        <p:nvSpPr>
          <p:cNvPr id="24" name="Title 1"/>
          <p:cNvSpPr>
            <a:spLocks noGrp="1"/>
          </p:cNvSpPr>
          <p:nvPr>
            <p:ph type="title"/>
          </p:nvPr>
        </p:nvSpPr>
        <p:spPr/>
        <p:txBody>
          <a:bodyPr/>
          <a:lstStyle/>
          <a:p>
            <a:r>
              <a:rPr lang="en-US" dirty="0"/>
              <a:t>We’re seeing a </a:t>
            </a:r>
            <a:r>
              <a:rPr lang="en-US" b="1" dirty="0"/>
              <a:t>negative cycle </a:t>
            </a:r>
          </a:p>
        </p:txBody>
      </p:sp>
      <p:sp>
        <p:nvSpPr>
          <p:cNvPr id="13" name="TextBox 12"/>
          <p:cNvSpPr txBox="1"/>
          <p:nvPr/>
        </p:nvSpPr>
        <p:spPr>
          <a:xfrm>
            <a:off x="1741722" y="2167436"/>
            <a:ext cx="3377928" cy="382308"/>
          </a:xfrm>
          <a:prstGeom prst="rect">
            <a:avLst/>
          </a:prstGeom>
          <a:noFill/>
        </p:spPr>
        <p:txBody>
          <a:bodyPr wrap="square" rtlCol="0">
            <a:spAutoFit/>
          </a:bodyPr>
          <a:lstStyle/>
          <a:p>
            <a:pPr marL="348105" indent="-348105">
              <a:buFont typeface="+mj-lt"/>
              <a:buAutoNum type="arabicPeriod"/>
            </a:pPr>
            <a:r>
              <a:rPr lang="en-US" sz="1836" dirty="0"/>
              <a:t>Increasing demand</a:t>
            </a:r>
          </a:p>
        </p:txBody>
      </p:sp>
      <p:sp>
        <p:nvSpPr>
          <p:cNvPr id="14" name="TextBox 13"/>
          <p:cNvSpPr txBox="1"/>
          <p:nvPr/>
        </p:nvSpPr>
        <p:spPr>
          <a:xfrm>
            <a:off x="9412516" y="2194489"/>
            <a:ext cx="2607599" cy="382308"/>
          </a:xfrm>
          <a:prstGeom prst="rect">
            <a:avLst/>
          </a:prstGeom>
          <a:noFill/>
        </p:spPr>
        <p:txBody>
          <a:bodyPr wrap="square" rtlCol="0">
            <a:spAutoFit/>
          </a:bodyPr>
          <a:lstStyle>
            <a:defPPr>
              <a:defRPr lang="en-US"/>
            </a:defPPr>
            <a:lvl1pPr marL="341313" indent="-341313">
              <a:buFont typeface="+mj-lt"/>
              <a:buAutoNum type="arabicPeriod"/>
            </a:lvl1pPr>
          </a:lstStyle>
          <a:p>
            <a:pPr>
              <a:buFont typeface="+mj-lt"/>
              <a:buAutoNum type="arabicPeriod" startAt="2"/>
            </a:pPr>
            <a:r>
              <a:rPr lang="en-US" sz="1836" dirty="0"/>
              <a:t>Easier access</a:t>
            </a:r>
          </a:p>
        </p:txBody>
      </p:sp>
      <p:sp>
        <p:nvSpPr>
          <p:cNvPr id="17" name="TextBox 16"/>
          <p:cNvSpPr txBox="1"/>
          <p:nvPr/>
        </p:nvSpPr>
        <p:spPr>
          <a:xfrm>
            <a:off x="8837219" y="4507615"/>
            <a:ext cx="2965607" cy="894625"/>
          </a:xfrm>
          <a:prstGeom prst="rect">
            <a:avLst/>
          </a:prstGeom>
          <a:noFill/>
        </p:spPr>
        <p:txBody>
          <a:bodyPr wrap="square" rtlCol="0">
            <a:spAutoFit/>
          </a:bodyPr>
          <a:lstStyle>
            <a:defPPr>
              <a:defRPr lang="en-US"/>
            </a:defPPr>
            <a:lvl1pPr marL="341313" indent="-341313">
              <a:buFont typeface="+mj-lt"/>
              <a:buAutoNum type="arabicPeriod"/>
            </a:lvl1pPr>
          </a:lstStyle>
          <a:p>
            <a:pPr marL="291436" indent="-291436">
              <a:buFont typeface="+mj-lt"/>
              <a:buAutoNum type="arabicPeriod" startAt="3"/>
            </a:pPr>
            <a:r>
              <a:rPr lang="en-US" sz="1836" dirty="0"/>
              <a:t> </a:t>
            </a:r>
            <a:r>
              <a:rPr lang="en-US" sz="3264" dirty="0">
                <a:solidFill>
                  <a:srgbClr val="FF0000"/>
                </a:solidFill>
              </a:rPr>
              <a:t>Finite</a:t>
            </a:r>
            <a:r>
              <a:rPr lang="en-US" sz="1836" dirty="0"/>
              <a:t> change-capacity</a:t>
            </a:r>
          </a:p>
        </p:txBody>
      </p:sp>
      <p:sp>
        <p:nvSpPr>
          <p:cNvPr id="19" name="TextBox 18"/>
          <p:cNvSpPr txBox="1"/>
          <p:nvPr/>
        </p:nvSpPr>
        <p:spPr>
          <a:xfrm>
            <a:off x="141504" y="4693732"/>
            <a:ext cx="7071056" cy="1342853"/>
          </a:xfrm>
          <a:prstGeom prst="rect">
            <a:avLst/>
          </a:prstGeom>
          <a:noFill/>
        </p:spPr>
        <p:txBody>
          <a:bodyPr wrap="square" rtlCol="0">
            <a:spAutoFit/>
          </a:bodyPr>
          <a:lstStyle/>
          <a:p>
            <a:r>
              <a:rPr lang="en-US" sz="1836" dirty="0"/>
              <a:t>Impact:</a:t>
            </a:r>
          </a:p>
          <a:p>
            <a:pPr marL="466298" indent="-466298">
              <a:buFont typeface="Arial" panose="020B0604020202020204" pitchFamily="34" charset="0"/>
              <a:buChar char="•"/>
            </a:pPr>
            <a:r>
              <a:rPr lang="en-US" sz="2040" dirty="0"/>
              <a:t>We </a:t>
            </a:r>
            <a:r>
              <a:rPr lang="en-US" sz="2040" dirty="0">
                <a:solidFill>
                  <a:srgbClr val="FF0000"/>
                </a:solidFill>
              </a:rPr>
              <a:t>don’t know </a:t>
            </a:r>
            <a:r>
              <a:rPr lang="en-US" sz="2040" dirty="0"/>
              <a:t>what we have or how to use it</a:t>
            </a:r>
          </a:p>
          <a:p>
            <a:pPr marL="466298" indent="-466298">
              <a:buFont typeface="Arial" panose="020B0604020202020204" pitchFamily="34" charset="0"/>
              <a:buChar char="•"/>
            </a:pPr>
            <a:r>
              <a:rPr lang="en-US" sz="2040" dirty="0"/>
              <a:t>We </a:t>
            </a:r>
            <a:r>
              <a:rPr lang="en-US" sz="2040" dirty="0">
                <a:solidFill>
                  <a:srgbClr val="FF0000"/>
                </a:solidFill>
              </a:rPr>
              <a:t>don’t use </a:t>
            </a:r>
            <a:r>
              <a:rPr lang="en-US" sz="2040" dirty="0"/>
              <a:t>what we’ve bought</a:t>
            </a:r>
          </a:p>
          <a:p>
            <a:pPr marL="466298" indent="-466298">
              <a:buFont typeface="Arial" panose="020B0604020202020204" pitchFamily="34" charset="0"/>
              <a:buChar char="•"/>
            </a:pPr>
            <a:r>
              <a:rPr lang="en-US" sz="2040" dirty="0"/>
              <a:t>We </a:t>
            </a:r>
            <a:r>
              <a:rPr lang="en-US" sz="2040" dirty="0">
                <a:solidFill>
                  <a:srgbClr val="FF0000"/>
                </a:solidFill>
              </a:rPr>
              <a:t>buy</a:t>
            </a:r>
            <a:r>
              <a:rPr lang="en-US" sz="2040" dirty="0"/>
              <a:t> what we already have, adding to the confusion</a:t>
            </a:r>
          </a:p>
        </p:txBody>
      </p:sp>
      <p:pic>
        <p:nvPicPr>
          <p:cNvPr id="4" name="Picture 3"/>
          <p:cNvPicPr>
            <a:picLocks noChangeAspect="1"/>
          </p:cNvPicPr>
          <p:nvPr/>
        </p:nvPicPr>
        <p:blipFill rotWithShape="1">
          <a:blip r:embed="rId6" cstate="screen">
            <a:extLst>
              <a:ext uri="{BEBA8EAE-BF5A-486C-A8C5-ECC9F3942E4B}">
                <a14:imgProps xmlns:a14="http://schemas.microsoft.com/office/drawing/2010/main">
                  <a14:imgLayer r:embed="rId7"/>
                </a14:imgProps>
              </a:ext>
              <a:ext uri="{28A0092B-C50C-407E-A947-70E740481C1C}">
                <a14:useLocalDpi xmlns:a14="http://schemas.microsoft.com/office/drawing/2010/main"/>
              </a:ext>
            </a:extLst>
          </a:blip>
          <a:srcRect/>
          <a:stretch/>
        </p:blipFill>
        <p:spPr>
          <a:xfrm>
            <a:off x="7200124" y="1704234"/>
            <a:ext cx="1865207" cy="1865207"/>
          </a:xfrm>
          <a:prstGeom prst="ellipse">
            <a:avLst/>
          </a:prstGeom>
        </p:spPr>
      </p:pic>
    </p:spTree>
    <p:extLst>
      <p:ext uri="{BB962C8B-B14F-4D97-AF65-F5344CB8AC3E}">
        <p14:creationId xmlns:p14="http://schemas.microsoft.com/office/powerpoint/2010/main" val="114853722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3"/>
                                        </p:tgtEl>
                                        <p:attrNameLst>
                                          <p:attrName>style.visibility</p:attrName>
                                        </p:attrNameLst>
                                      </p:cBhvr>
                                      <p:to>
                                        <p:strVal val="visible"/>
                                      </p:to>
                                    </p:set>
                                    <p:animEffect transition="in" filter="fade">
                                      <p:cBhvr>
                                        <p:cTn id="10" dur="500"/>
                                        <p:tgtEl>
                                          <p:spTgt spid="13"/>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4"/>
                                        </p:tgtEl>
                                        <p:attrNameLst>
                                          <p:attrName>style.visibility</p:attrName>
                                        </p:attrNameLst>
                                      </p:cBhvr>
                                      <p:to>
                                        <p:strVal val="visible"/>
                                      </p:to>
                                    </p:set>
                                    <p:animEffect transition="in" filter="fade">
                                      <p:cBhvr>
                                        <p:cTn id="13" dur="500"/>
                                        <p:tgtEl>
                                          <p:spTgt spid="14"/>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17"/>
                                        </p:tgtEl>
                                        <p:attrNameLst>
                                          <p:attrName>style.visibility</p:attrName>
                                        </p:attrNameLst>
                                      </p:cBhvr>
                                      <p:to>
                                        <p:strVal val="visible"/>
                                      </p:to>
                                    </p:set>
                                    <p:animEffect transition="in" filter="fade">
                                      <p:cBhvr>
                                        <p:cTn id="16" dur="500"/>
                                        <p:tgtEl>
                                          <p:spTgt spid="17"/>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19"/>
                                        </p:tgtEl>
                                        <p:attrNameLst>
                                          <p:attrName>style.visibility</p:attrName>
                                        </p:attrNameLst>
                                      </p:cBhvr>
                                      <p:to>
                                        <p:strVal val="visible"/>
                                      </p:to>
                                    </p:set>
                                    <p:animEffect transition="in" filter="fade">
                                      <p:cBhvr>
                                        <p:cTn id="21"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P spid="14" grpId="0"/>
      <p:bldP spid="17" grpId="0"/>
      <p:bldP spid="19" grpId="0"/>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stead of </a:t>
            </a:r>
            <a:r>
              <a:rPr lang="en-US" b="1" dirty="0"/>
              <a:t>many options</a:t>
            </a:r>
          </a:p>
        </p:txBody>
      </p:sp>
      <p:sp>
        <p:nvSpPr>
          <p:cNvPr id="86" name="Freeform 16"/>
          <p:cNvSpPr/>
          <p:nvPr/>
        </p:nvSpPr>
        <p:spPr>
          <a:xfrm>
            <a:off x="3269432" y="1329630"/>
            <a:ext cx="1254052" cy="405613"/>
          </a:xfrm>
          <a:custGeom>
            <a:avLst/>
            <a:gdLst>
              <a:gd name="connsiteX0" fmla="*/ 0 w 2873986"/>
              <a:gd name="connsiteY0" fmla="*/ 57395 h 573954"/>
              <a:gd name="connsiteX1" fmla="*/ 57395 w 2873986"/>
              <a:gd name="connsiteY1" fmla="*/ 0 h 573954"/>
              <a:gd name="connsiteX2" fmla="*/ 2816591 w 2873986"/>
              <a:gd name="connsiteY2" fmla="*/ 0 h 573954"/>
              <a:gd name="connsiteX3" fmla="*/ 2873986 w 2873986"/>
              <a:gd name="connsiteY3" fmla="*/ 57395 h 573954"/>
              <a:gd name="connsiteX4" fmla="*/ 2873986 w 2873986"/>
              <a:gd name="connsiteY4" fmla="*/ 516559 h 573954"/>
              <a:gd name="connsiteX5" fmla="*/ 2816591 w 2873986"/>
              <a:gd name="connsiteY5" fmla="*/ 573954 h 573954"/>
              <a:gd name="connsiteX6" fmla="*/ 57395 w 2873986"/>
              <a:gd name="connsiteY6" fmla="*/ 573954 h 573954"/>
              <a:gd name="connsiteX7" fmla="*/ 0 w 2873986"/>
              <a:gd name="connsiteY7" fmla="*/ 516559 h 573954"/>
              <a:gd name="connsiteX8" fmla="*/ 0 w 2873986"/>
              <a:gd name="connsiteY8" fmla="*/ 57395 h 5739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73986" h="573954">
                <a:moveTo>
                  <a:pt x="0" y="57395"/>
                </a:moveTo>
                <a:cubicBezTo>
                  <a:pt x="0" y="25697"/>
                  <a:pt x="25697" y="0"/>
                  <a:pt x="57395" y="0"/>
                </a:cubicBezTo>
                <a:lnTo>
                  <a:pt x="2816591" y="0"/>
                </a:lnTo>
                <a:cubicBezTo>
                  <a:pt x="2848289" y="0"/>
                  <a:pt x="2873986" y="25697"/>
                  <a:pt x="2873986" y="57395"/>
                </a:cubicBezTo>
                <a:lnTo>
                  <a:pt x="2873986" y="516559"/>
                </a:lnTo>
                <a:cubicBezTo>
                  <a:pt x="2873986" y="548257"/>
                  <a:pt x="2848289" y="573954"/>
                  <a:pt x="2816591" y="573954"/>
                </a:cubicBezTo>
                <a:lnTo>
                  <a:pt x="57395" y="573954"/>
                </a:lnTo>
                <a:cubicBezTo>
                  <a:pt x="25697" y="573954"/>
                  <a:pt x="0" y="548257"/>
                  <a:pt x="0" y="516559"/>
                </a:cubicBezTo>
                <a:lnTo>
                  <a:pt x="0" y="57395"/>
                </a:lnTo>
                <a:close/>
              </a:path>
            </a:pathLst>
          </a:custGeom>
          <a:noFill/>
          <a:ln>
            <a:noFill/>
          </a:ln>
          <a:effectLst>
            <a:outerShdw blurRad="40000" dist="23000" dir="5400000" rotWithShape="0">
              <a:srgbClr val="000000">
                <a:alpha val="35000"/>
              </a:srgbClr>
            </a:outerShdw>
          </a:effectLst>
        </p:spPr>
        <p:txBody>
          <a:bodyPr spcFirstLastPara="0" vert="horz" wrap="square" lIns="114292" tIns="114292" rIns="114292" bIns="114292" numCol="1" spcCol="1270" anchor="ctr" anchorCtr="0">
            <a:noAutofit/>
          </a:bodyPr>
          <a:lstStyle/>
          <a:p>
            <a:pPr algn="ctr" defTabSz="1133364" eaLnBrk="0" fontAlgn="base" hangingPunct="0">
              <a:lnSpc>
                <a:spcPct val="90000"/>
              </a:lnSpc>
              <a:spcBef>
                <a:spcPct val="0"/>
              </a:spcBef>
              <a:defRPr/>
            </a:pPr>
            <a:r>
              <a:rPr lang="en-US" sz="918" kern="0" dirty="0">
                <a:solidFill>
                  <a:srgbClr val="FFFFFF"/>
                </a:solidFill>
                <a:latin typeface="Verdana"/>
              </a:rPr>
              <a:t>Skype and </a:t>
            </a:r>
          </a:p>
          <a:p>
            <a:pPr algn="ctr" defTabSz="1133364" eaLnBrk="0" fontAlgn="base" hangingPunct="0">
              <a:lnSpc>
                <a:spcPct val="90000"/>
              </a:lnSpc>
              <a:spcBef>
                <a:spcPct val="0"/>
              </a:spcBef>
              <a:defRPr/>
            </a:pPr>
            <a:r>
              <a:rPr lang="en-US" sz="918" kern="0" dirty="0">
                <a:solidFill>
                  <a:srgbClr val="FFFFFF"/>
                </a:solidFill>
                <a:latin typeface="Verdana"/>
              </a:rPr>
              <a:t>telephony</a:t>
            </a:r>
          </a:p>
        </p:txBody>
      </p:sp>
      <p:sp>
        <p:nvSpPr>
          <p:cNvPr id="87" name="Freeform 17"/>
          <p:cNvSpPr/>
          <p:nvPr/>
        </p:nvSpPr>
        <p:spPr>
          <a:xfrm>
            <a:off x="2486423" y="2627122"/>
            <a:ext cx="1254052" cy="405613"/>
          </a:xfrm>
          <a:custGeom>
            <a:avLst/>
            <a:gdLst>
              <a:gd name="connsiteX0" fmla="*/ 0 w 2873986"/>
              <a:gd name="connsiteY0" fmla="*/ 57395 h 573954"/>
              <a:gd name="connsiteX1" fmla="*/ 57395 w 2873986"/>
              <a:gd name="connsiteY1" fmla="*/ 0 h 573954"/>
              <a:gd name="connsiteX2" fmla="*/ 2816591 w 2873986"/>
              <a:gd name="connsiteY2" fmla="*/ 0 h 573954"/>
              <a:gd name="connsiteX3" fmla="*/ 2873986 w 2873986"/>
              <a:gd name="connsiteY3" fmla="*/ 57395 h 573954"/>
              <a:gd name="connsiteX4" fmla="*/ 2873986 w 2873986"/>
              <a:gd name="connsiteY4" fmla="*/ 516559 h 573954"/>
              <a:gd name="connsiteX5" fmla="*/ 2816591 w 2873986"/>
              <a:gd name="connsiteY5" fmla="*/ 573954 h 573954"/>
              <a:gd name="connsiteX6" fmla="*/ 57395 w 2873986"/>
              <a:gd name="connsiteY6" fmla="*/ 573954 h 573954"/>
              <a:gd name="connsiteX7" fmla="*/ 0 w 2873986"/>
              <a:gd name="connsiteY7" fmla="*/ 516559 h 573954"/>
              <a:gd name="connsiteX8" fmla="*/ 0 w 2873986"/>
              <a:gd name="connsiteY8" fmla="*/ 57395 h 5739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73986" h="573954">
                <a:moveTo>
                  <a:pt x="0" y="57395"/>
                </a:moveTo>
                <a:cubicBezTo>
                  <a:pt x="0" y="25697"/>
                  <a:pt x="25697" y="0"/>
                  <a:pt x="57395" y="0"/>
                </a:cubicBezTo>
                <a:lnTo>
                  <a:pt x="2816591" y="0"/>
                </a:lnTo>
                <a:cubicBezTo>
                  <a:pt x="2848289" y="0"/>
                  <a:pt x="2873986" y="25697"/>
                  <a:pt x="2873986" y="57395"/>
                </a:cubicBezTo>
                <a:lnTo>
                  <a:pt x="2873986" y="516559"/>
                </a:lnTo>
                <a:cubicBezTo>
                  <a:pt x="2873986" y="548257"/>
                  <a:pt x="2848289" y="573954"/>
                  <a:pt x="2816591" y="573954"/>
                </a:cubicBezTo>
                <a:lnTo>
                  <a:pt x="57395" y="573954"/>
                </a:lnTo>
                <a:cubicBezTo>
                  <a:pt x="25697" y="573954"/>
                  <a:pt x="0" y="548257"/>
                  <a:pt x="0" y="516559"/>
                </a:cubicBezTo>
                <a:lnTo>
                  <a:pt x="0" y="57395"/>
                </a:lnTo>
                <a:close/>
              </a:path>
            </a:pathLst>
          </a:custGeom>
          <a:noFill/>
          <a:ln>
            <a:noFill/>
          </a:ln>
          <a:effectLst>
            <a:outerShdw blurRad="40000" dist="23000" dir="5400000" rotWithShape="0">
              <a:srgbClr val="000000">
                <a:alpha val="35000"/>
              </a:srgbClr>
            </a:outerShdw>
          </a:effectLst>
        </p:spPr>
        <p:txBody>
          <a:bodyPr spcFirstLastPara="0" vert="horz" wrap="square" lIns="114292" tIns="114292" rIns="114292" bIns="114292" numCol="1" spcCol="1270" anchor="ctr" anchorCtr="0">
            <a:noAutofit/>
          </a:bodyPr>
          <a:lstStyle/>
          <a:p>
            <a:pPr algn="ctr" defTabSz="1133364" eaLnBrk="0" fontAlgn="base" hangingPunct="0">
              <a:lnSpc>
                <a:spcPct val="90000"/>
              </a:lnSpc>
              <a:spcBef>
                <a:spcPct val="0"/>
              </a:spcBef>
              <a:defRPr/>
            </a:pPr>
            <a:r>
              <a:rPr lang="en-US" sz="918" kern="0" dirty="0">
                <a:solidFill>
                  <a:srgbClr val="FFFFFF"/>
                </a:solidFill>
                <a:latin typeface="Verdana"/>
              </a:rPr>
              <a:t>Mail and</a:t>
            </a:r>
          </a:p>
          <a:p>
            <a:pPr algn="ctr" defTabSz="1133364" eaLnBrk="0" fontAlgn="base" hangingPunct="0">
              <a:lnSpc>
                <a:spcPct val="90000"/>
              </a:lnSpc>
              <a:spcBef>
                <a:spcPct val="0"/>
              </a:spcBef>
              <a:defRPr/>
            </a:pPr>
            <a:r>
              <a:rPr lang="en-US" sz="918" kern="0" dirty="0">
                <a:solidFill>
                  <a:srgbClr val="FFFFFF"/>
                </a:solidFill>
                <a:latin typeface="Verdana"/>
              </a:rPr>
              <a:t>calendars</a:t>
            </a:r>
          </a:p>
        </p:txBody>
      </p:sp>
      <p:sp>
        <p:nvSpPr>
          <p:cNvPr id="88" name="Freeform 18"/>
          <p:cNvSpPr/>
          <p:nvPr/>
        </p:nvSpPr>
        <p:spPr>
          <a:xfrm>
            <a:off x="1611593" y="1399615"/>
            <a:ext cx="1254052" cy="405613"/>
          </a:xfrm>
          <a:custGeom>
            <a:avLst/>
            <a:gdLst>
              <a:gd name="connsiteX0" fmla="*/ 0 w 2873986"/>
              <a:gd name="connsiteY0" fmla="*/ 57395 h 573954"/>
              <a:gd name="connsiteX1" fmla="*/ 57395 w 2873986"/>
              <a:gd name="connsiteY1" fmla="*/ 0 h 573954"/>
              <a:gd name="connsiteX2" fmla="*/ 2816591 w 2873986"/>
              <a:gd name="connsiteY2" fmla="*/ 0 h 573954"/>
              <a:gd name="connsiteX3" fmla="*/ 2873986 w 2873986"/>
              <a:gd name="connsiteY3" fmla="*/ 57395 h 573954"/>
              <a:gd name="connsiteX4" fmla="*/ 2873986 w 2873986"/>
              <a:gd name="connsiteY4" fmla="*/ 516559 h 573954"/>
              <a:gd name="connsiteX5" fmla="*/ 2816591 w 2873986"/>
              <a:gd name="connsiteY5" fmla="*/ 573954 h 573954"/>
              <a:gd name="connsiteX6" fmla="*/ 57395 w 2873986"/>
              <a:gd name="connsiteY6" fmla="*/ 573954 h 573954"/>
              <a:gd name="connsiteX7" fmla="*/ 0 w 2873986"/>
              <a:gd name="connsiteY7" fmla="*/ 516559 h 573954"/>
              <a:gd name="connsiteX8" fmla="*/ 0 w 2873986"/>
              <a:gd name="connsiteY8" fmla="*/ 57395 h 5739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73986" h="573954">
                <a:moveTo>
                  <a:pt x="0" y="57395"/>
                </a:moveTo>
                <a:cubicBezTo>
                  <a:pt x="0" y="25697"/>
                  <a:pt x="25697" y="0"/>
                  <a:pt x="57395" y="0"/>
                </a:cubicBezTo>
                <a:lnTo>
                  <a:pt x="2816591" y="0"/>
                </a:lnTo>
                <a:cubicBezTo>
                  <a:pt x="2848289" y="0"/>
                  <a:pt x="2873986" y="25697"/>
                  <a:pt x="2873986" y="57395"/>
                </a:cubicBezTo>
                <a:lnTo>
                  <a:pt x="2873986" y="516559"/>
                </a:lnTo>
                <a:cubicBezTo>
                  <a:pt x="2873986" y="548257"/>
                  <a:pt x="2848289" y="573954"/>
                  <a:pt x="2816591" y="573954"/>
                </a:cubicBezTo>
                <a:lnTo>
                  <a:pt x="57395" y="573954"/>
                </a:lnTo>
                <a:cubicBezTo>
                  <a:pt x="25697" y="573954"/>
                  <a:pt x="0" y="548257"/>
                  <a:pt x="0" y="516559"/>
                </a:cubicBezTo>
                <a:lnTo>
                  <a:pt x="0" y="57395"/>
                </a:lnTo>
                <a:close/>
              </a:path>
            </a:pathLst>
          </a:custGeom>
          <a:noFill/>
          <a:ln>
            <a:noFill/>
          </a:ln>
          <a:effectLst>
            <a:outerShdw blurRad="40000" dist="23000" dir="5400000" rotWithShape="0">
              <a:srgbClr val="000000">
                <a:alpha val="35000"/>
              </a:srgbClr>
            </a:outerShdw>
          </a:effectLst>
        </p:spPr>
        <p:txBody>
          <a:bodyPr spcFirstLastPara="0" vert="horz" wrap="square" lIns="114292" tIns="114292" rIns="114292" bIns="114292" numCol="1" spcCol="1270" anchor="ctr" anchorCtr="0">
            <a:noAutofit/>
          </a:bodyPr>
          <a:lstStyle/>
          <a:p>
            <a:pPr algn="ctr" defTabSz="1133364" eaLnBrk="0" fontAlgn="base" hangingPunct="0">
              <a:lnSpc>
                <a:spcPct val="90000"/>
              </a:lnSpc>
              <a:spcBef>
                <a:spcPct val="0"/>
              </a:spcBef>
              <a:defRPr/>
            </a:pPr>
            <a:r>
              <a:rPr lang="en-US" sz="918" kern="0" dirty="0">
                <a:solidFill>
                  <a:srgbClr val="FFFFFF"/>
                </a:solidFill>
                <a:latin typeface="Verdana"/>
              </a:rPr>
              <a:t>Social</a:t>
            </a:r>
          </a:p>
        </p:txBody>
      </p:sp>
      <p:sp>
        <p:nvSpPr>
          <p:cNvPr id="89" name="Freeform 19"/>
          <p:cNvSpPr/>
          <p:nvPr/>
        </p:nvSpPr>
        <p:spPr>
          <a:xfrm>
            <a:off x="6606419" y="6001295"/>
            <a:ext cx="1254052" cy="405613"/>
          </a:xfrm>
          <a:custGeom>
            <a:avLst/>
            <a:gdLst>
              <a:gd name="connsiteX0" fmla="*/ 0 w 2873986"/>
              <a:gd name="connsiteY0" fmla="*/ 57395 h 573954"/>
              <a:gd name="connsiteX1" fmla="*/ 57395 w 2873986"/>
              <a:gd name="connsiteY1" fmla="*/ 0 h 573954"/>
              <a:gd name="connsiteX2" fmla="*/ 2816591 w 2873986"/>
              <a:gd name="connsiteY2" fmla="*/ 0 h 573954"/>
              <a:gd name="connsiteX3" fmla="*/ 2873986 w 2873986"/>
              <a:gd name="connsiteY3" fmla="*/ 57395 h 573954"/>
              <a:gd name="connsiteX4" fmla="*/ 2873986 w 2873986"/>
              <a:gd name="connsiteY4" fmla="*/ 516559 h 573954"/>
              <a:gd name="connsiteX5" fmla="*/ 2816591 w 2873986"/>
              <a:gd name="connsiteY5" fmla="*/ 573954 h 573954"/>
              <a:gd name="connsiteX6" fmla="*/ 57395 w 2873986"/>
              <a:gd name="connsiteY6" fmla="*/ 573954 h 573954"/>
              <a:gd name="connsiteX7" fmla="*/ 0 w 2873986"/>
              <a:gd name="connsiteY7" fmla="*/ 516559 h 573954"/>
              <a:gd name="connsiteX8" fmla="*/ 0 w 2873986"/>
              <a:gd name="connsiteY8" fmla="*/ 57395 h 5739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73986" h="573954">
                <a:moveTo>
                  <a:pt x="0" y="57395"/>
                </a:moveTo>
                <a:cubicBezTo>
                  <a:pt x="0" y="25697"/>
                  <a:pt x="25697" y="0"/>
                  <a:pt x="57395" y="0"/>
                </a:cubicBezTo>
                <a:lnTo>
                  <a:pt x="2816591" y="0"/>
                </a:lnTo>
                <a:cubicBezTo>
                  <a:pt x="2848289" y="0"/>
                  <a:pt x="2873986" y="25697"/>
                  <a:pt x="2873986" y="57395"/>
                </a:cubicBezTo>
                <a:lnTo>
                  <a:pt x="2873986" y="516559"/>
                </a:lnTo>
                <a:cubicBezTo>
                  <a:pt x="2873986" y="548257"/>
                  <a:pt x="2848289" y="573954"/>
                  <a:pt x="2816591" y="573954"/>
                </a:cubicBezTo>
                <a:lnTo>
                  <a:pt x="57395" y="573954"/>
                </a:lnTo>
                <a:cubicBezTo>
                  <a:pt x="25697" y="573954"/>
                  <a:pt x="0" y="548257"/>
                  <a:pt x="0" y="516559"/>
                </a:cubicBezTo>
                <a:lnTo>
                  <a:pt x="0" y="57395"/>
                </a:lnTo>
                <a:close/>
              </a:path>
            </a:pathLst>
          </a:custGeom>
          <a:noFill/>
          <a:ln>
            <a:noFill/>
          </a:ln>
          <a:effectLst>
            <a:outerShdw blurRad="40000" dist="23000" dir="5400000" rotWithShape="0">
              <a:srgbClr val="000000">
                <a:alpha val="35000"/>
              </a:srgbClr>
            </a:outerShdw>
          </a:effectLst>
        </p:spPr>
        <p:txBody>
          <a:bodyPr spcFirstLastPara="0" vert="horz" wrap="square" lIns="114292" tIns="114292" rIns="114292" bIns="114292" numCol="1" spcCol="1270" anchor="ctr" anchorCtr="0">
            <a:noAutofit/>
          </a:bodyPr>
          <a:lstStyle/>
          <a:p>
            <a:pPr algn="ctr" defTabSz="1133364" eaLnBrk="0" fontAlgn="base" hangingPunct="0">
              <a:lnSpc>
                <a:spcPct val="90000"/>
              </a:lnSpc>
              <a:spcBef>
                <a:spcPct val="0"/>
              </a:spcBef>
              <a:defRPr/>
            </a:pPr>
            <a:r>
              <a:rPr lang="en-US" sz="918" kern="0" dirty="0">
                <a:solidFill>
                  <a:srgbClr val="FFFFFF"/>
                </a:solidFill>
                <a:latin typeface="Verdana"/>
              </a:rPr>
              <a:t>Intranets</a:t>
            </a:r>
          </a:p>
          <a:p>
            <a:pPr algn="ctr" defTabSz="1133364" eaLnBrk="0" fontAlgn="base" hangingPunct="0">
              <a:lnSpc>
                <a:spcPct val="90000"/>
              </a:lnSpc>
              <a:spcBef>
                <a:spcPct val="0"/>
              </a:spcBef>
              <a:defRPr/>
            </a:pPr>
            <a:r>
              <a:rPr lang="en-US" sz="918" kern="0" dirty="0">
                <a:solidFill>
                  <a:srgbClr val="FFFFFF"/>
                </a:solidFill>
                <a:latin typeface="Verdana"/>
              </a:rPr>
              <a:t>and websites</a:t>
            </a:r>
          </a:p>
        </p:txBody>
      </p:sp>
      <p:sp>
        <p:nvSpPr>
          <p:cNvPr id="90" name="Freeform 20"/>
          <p:cNvSpPr/>
          <p:nvPr/>
        </p:nvSpPr>
        <p:spPr>
          <a:xfrm>
            <a:off x="2015380" y="3862527"/>
            <a:ext cx="1254052" cy="405613"/>
          </a:xfrm>
          <a:custGeom>
            <a:avLst/>
            <a:gdLst>
              <a:gd name="connsiteX0" fmla="*/ 0 w 2873986"/>
              <a:gd name="connsiteY0" fmla="*/ 57395 h 573954"/>
              <a:gd name="connsiteX1" fmla="*/ 57395 w 2873986"/>
              <a:gd name="connsiteY1" fmla="*/ 0 h 573954"/>
              <a:gd name="connsiteX2" fmla="*/ 2816591 w 2873986"/>
              <a:gd name="connsiteY2" fmla="*/ 0 h 573954"/>
              <a:gd name="connsiteX3" fmla="*/ 2873986 w 2873986"/>
              <a:gd name="connsiteY3" fmla="*/ 57395 h 573954"/>
              <a:gd name="connsiteX4" fmla="*/ 2873986 w 2873986"/>
              <a:gd name="connsiteY4" fmla="*/ 516559 h 573954"/>
              <a:gd name="connsiteX5" fmla="*/ 2816591 w 2873986"/>
              <a:gd name="connsiteY5" fmla="*/ 573954 h 573954"/>
              <a:gd name="connsiteX6" fmla="*/ 57395 w 2873986"/>
              <a:gd name="connsiteY6" fmla="*/ 573954 h 573954"/>
              <a:gd name="connsiteX7" fmla="*/ 0 w 2873986"/>
              <a:gd name="connsiteY7" fmla="*/ 516559 h 573954"/>
              <a:gd name="connsiteX8" fmla="*/ 0 w 2873986"/>
              <a:gd name="connsiteY8" fmla="*/ 57395 h 5739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73986" h="573954">
                <a:moveTo>
                  <a:pt x="0" y="57395"/>
                </a:moveTo>
                <a:cubicBezTo>
                  <a:pt x="0" y="25697"/>
                  <a:pt x="25697" y="0"/>
                  <a:pt x="57395" y="0"/>
                </a:cubicBezTo>
                <a:lnTo>
                  <a:pt x="2816591" y="0"/>
                </a:lnTo>
                <a:cubicBezTo>
                  <a:pt x="2848289" y="0"/>
                  <a:pt x="2873986" y="25697"/>
                  <a:pt x="2873986" y="57395"/>
                </a:cubicBezTo>
                <a:lnTo>
                  <a:pt x="2873986" y="516559"/>
                </a:lnTo>
                <a:cubicBezTo>
                  <a:pt x="2873986" y="548257"/>
                  <a:pt x="2848289" y="573954"/>
                  <a:pt x="2816591" y="573954"/>
                </a:cubicBezTo>
                <a:lnTo>
                  <a:pt x="57395" y="573954"/>
                </a:lnTo>
                <a:cubicBezTo>
                  <a:pt x="25697" y="573954"/>
                  <a:pt x="0" y="548257"/>
                  <a:pt x="0" y="516559"/>
                </a:cubicBezTo>
                <a:lnTo>
                  <a:pt x="0" y="57395"/>
                </a:lnTo>
                <a:close/>
              </a:path>
            </a:pathLst>
          </a:custGeom>
          <a:noFill/>
          <a:ln>
            <a:noFill/>
          </a:ln>
          <a:effectLst>
            <a:outerShdw blurRad="40000" dist="23000" dir="5400000" rotWithShape="0">
              <a:srgbClr val="000000">
                <a:alpha val="35000"/>
              </a:srgbClr>
            </a:outerShdw>
          </a:effectLst>
        </p:spPr>
        <p:txBody>
          <a:bodyPr spcFirstLastPara="0" vert="horz" wrap="square" lIns="114292" tIns="114292" rIns="114292" bIns="114292" numCol="1" spcCol="1270" anchor="ctr" anchorCtr="0">
            <a:noAutofit/>
          </a:bodyPr>
          <a:lstStyle/>
          <a:p>
            <a:pPr algn="ctr" defTabSz="1133364" eaLnBrk="0" fontAlgn="base" hangingPunct="0">
              <a:lnSpc>
                <a:spcPct val="90000"/>
              </a:lnSpc>
              <a:spcBef>
                <a:spcPct val="0"/>
              </a:spcBef>
              <a:defRPr/>
            </a:pPr>
            <a:r>
              <a:rPr lang="en-US" sz="918" kern="0" dirty="0">
                <a:solidFill>
                  <a:srgbClr val="FFFFFF"/>
                </a:solidFill>
                <a:latin typeface="Verdana"/>
              </a:rPr>
              <a:t>Team-work</a:t>
            </a:r>
          </a:p>
          <a:p>
            <a:pPr algn="ctr" defTabSz="1133364" eaLnBrk="0" fontAlgn="base" hangingPunct="0">
              <a:lnSpc>
                <a:spcPct val="90000"/>
              </a:lnSpc>
              <a:spcBef>
                <a:spcPct val="0"/>
              </a:spcBef>
              <a:defRPr/>
            </a:pPr>
            <a:r>
              <a:rPr lang="en-US" sz="918" kern="0" dirty="0">
                <a:solidFill>
                  <a:srgbClr val="FFFFFF"/>
                </a:solidFill>
                <a:latin typeface="Verdana"/>
              </a:rPr>
              <a:t>and calendars</a:t>
            </a:r>
          </a:p>
        </p:txBody>
      </p:sp>
      <p:sp>
        <p:nvSpPr>
          <p:cNvPr id="92" name="Freeform 22"/>
          <p:cNvSpPr/>
          <p:nvPr/>
        </p:nvSpPr>
        <p:spPr>
          <a:xfrm>
            <a:off x="3283249" y="5928273"/>
            <a:ext cx="1254052" cy="405613"/>
          </a:xfrm>
          <a:custGeom>
            <a:avLst/>
            <a:gdLst>
              <a:gd name="connsiteX0" fmla="*/ 0 w 2873986"/>
              <a:gd name="connsiteY0" fmla="*/ 57395 h 573954"/>
              <a:gd name="connsiteX1" fmla="*/ 57395 w 2873986"/>
              <a:gd name="connsiteY1" fmla="*/ 0 h 573954"/>
              <a:gd name="connsiteX2" fmla="*/ 2816591 w 2873986"/>
              <a:gd name="connsiteY2" fmla="*/ 0 h 573954"/>
              <a:gd name="connsiteX3" fmla="*/ 2873986 w 2873986"/>
              <a:gd name="connsiteY3" fmla="*/ 57395 h 573954"/>
              <a:gd name="connsiteX4" fmla="*/ 2873986 w 2873986"/>
              <a:gd name="connsiteY4" fmla="*/ 516559 h 573954"/>
              <a:gd name="connsiteX5" fmla="*/ 2816591 w 2873986"/>
              <a:gd name="connsiteY5" fmla="*/ 573954 h 573954"/>
              <a:gd name="connsiteX6" fmla="*/ 57395 w 2873986"/>
              <a:gd name="connsiteY6" fmla="*/ 573954 h 573954"/>
              <a:gd name="connsiteX7" fmla="*/ 0 w 2873986"/>
              <a:gd name="connsiteY7" fmla="*/ 516559 h 573954"/>
              <a:gd name="connsiteX8" fmla="*/ 0 w 2873986"/>
              <a:gd name="connsiteY8" fmla="*/ 57395 h 5739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73986" h="573954">
                <a:moveTo>
                  <a:pt x="0" y="57395"/>
                </a:moveTo>
                <a:cubicBezTo>
                  <a:pt x="0" y="25697"/>
                  <a:pt x="25697" y="0"/>
                  <a:pt x="57395" y="0"/>
                </a:cubicBezTo>
                <a:lnTo>
                  <a:pt x="2816591" y="0"/>
                </a:lnTo>
                <a:cubicBezTo>
                  <a:pt x="2848289" y="0"/>
                  <a:pt x="2873986" y="25697"/>
                  <a:pt x="2873986" y="57395"/>
                </a:cubicBezTo>
                <a:lnTo>
                  <a:pt x="2873986" y="516559"/>
                </a:lnTo>
                <a:cubicBezTo>
                  <a:pt x="2873986" y="548257"/>
                  <a:pt x="2848289" y="573954"/>
                  <a:pt x="2816591" y="573954"/>
                </a:cubicBezTo>
                <a:lnTo>
                  <a:pt x="57395" y="573954"/>
                </a:lnTo>
                <a:cubicBezTo>
                  <a:pt x="25697" y="573954"/>
                  <a:pt x="0" y="548257"/>
                  <a:pt x="0" y="516559"/>
                </a:cubicBezTo>
                <a:lnTo>
                  <a:pt x="0" y="57395"/>
                </a:lnTo>
                <a:close/>
              </a:path>
            </a:pathLst>
          </a:custGeom>
          <a:noFill/>
          <a:ln>
            <a:noFill/>
          </a:ln>
          <a:effectLst>
            <a:outerShdw blurRad="40000" dist="23000" dir="5400000" rotWithShape="0">
              <a:srgbClr val="000000">
                <a:alpha val="35000"/>
              </a:srgbClr>
            </a:outerShdw>
          </a:effectLst>
        </p:spPr>
        <p:txBody>
          <a:bodyPr spcFirstLastPara="0" vert="horz" wrap="square" lIns="114292" tIns="114292" rIns="114292" bIns="114292" numCol="1" spcCol="1270" anchor="ctr" anchorCtr="0">
            <a:noAutofit/>
          </a:bodyPr>
          <a:lstStyle/>
          <a:p>
            <a:pPr algn="ctr" defTabSz="1133364" eaLnBrk="0" fontAlgn="base" hangingPunct="0">
              <a:lnSpc>
                <a:spcPct val="90000"/>
              </a:lnSpc>
              <a:spcBef>
                <a:spcPct val="0"/>
              </a:spcBef>
              <a:defRPr/>
            </a:pPr>
            <a:r>
              <a:rPr lang="en-US" sz="918" kern="0" dirty="0">
                <a:solidFill>
                  <a:srgbClr val="FFFFFF"/>
                </a:solidFill>
                <a:latin typeface="Verdana"/>
              </a:rPr>
              <a:t>Documents</a:t>
            </a:r>
          </a:p>
          <a:p>
            <a:pPr algn="ctr" defTabSz="1133364" eaLnBrk="0" fontAlgn="base" hangingPunct="0">
              <a:lnSpc>
                <a:spcPct val="90000"/>
              </a:lnSpc>
              <a:spcBef>
                <a:spcPct val="0"/>
              </a:spcBef>
              <a:defRPr/>
            </a:pPr>
            <a:r>
              <a:rPr lang="en-US" sz="918" kern="0" dirty="0">
                <a:solidFill>
                  <a:srgbClr val="FFFFFF"/>
                </a:solidFill>
                <a:latin typeface="Verdana"/>
              </a:rPr>
              <a:t>and file-sharing</a:t>
            </a:r>
          </a:p>
        </p:txBody>
      </p:sp>
      <p:sp>
        <p:nvSpPr>
          <p:cNvPr id="93" name="Freeform 23"/>
          <p:cNvSpPr/>
          <p:nvPr/>
        </p:nvSpPr>
        <p:spPr>
          <a:xfrm>
            <a:off x="8491992" y="1504699"/>
            <a:ext cx="1254052" cy="405613"/>
          </a:xfrm>
          <a:custGeom>
            <a:avLst/>
            <a:gdLst>
              <a:gd name="connsiteX0" fmla="*/ 0 w 2873986"/>
              <a:gd name="connsiteY0" fmla="*/ 57395 h 573954"/>
              <a:gd name="connsiteX1" fmla="*/ 57395 w 2873986"/>
              <a:gd name="connsiteY1" fmla="*/ 0 h 573954"/>
              <a:gd name="connsiteX2" fmla="*/ 2816591 w 2873986"/>
              <a:gd name="connsiteY2" fmla="*/ 0 h 573954"/>
              <a:gd name="connsiteX3" fmla="*/ 2873986 w 2873986"/>
              <a:gd name="connsiteY3" fmla="*/ 57395 h 573954"/>
              <a:gd name="connsiteX4" fmla="*/ 2873986 w 2873986"/>
              <a:gd name="connsiteY4" fmla="*/ 516559 h 573954"/>
              <a:gd name="connsiteX5" fmla="*/ 2816591 w 2873986"/>
              <a:gd name="connsiteY5" fmla="*/ 573954 h 573954"/>
              <a:gd name="connsiteX6" fmla="*/ 57395 w 2873986"/>
              <a:gd name="connsiteY6" fmla="*/ 573954 h 573954"/>
              <a:gd name="connsiteX7" fmla="*/ 0 w 2873986"/>
              <a:gd name="connsiteY7" fmla="*/ 516559 h 573954"/>
              <a:gd name="connsiteX8" fmla="*/ 0 w 2873986"/>
              <a:gd name="connsiteY8" fmla="*/ 57395 h 5739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73986" h="573954">
                <a:moveTo>
                  <a:pt x="0" y="57395"/>
                </a:moveTo>
                <a:cubicBezTo>
                  <a:pt x="0" y="25697"/>
                  <a:pt x="25697" y="0"/>
                  <a:pt x="57395" y="0"/>
                </a:cubicBezTo>
                <a:lnTo>
                  <a:pt x="2816591" y="0"/>
                </a:lnTo>
                <a:cubicBezTo>
                  <a:pt x="2848289" y="0"/>
                  <a:pt x="2873986" y="25697"/>
                  <a:pt x="2873986" y="57395"/>
                </a:cubicBezTo>
                <a:lnTo>
                  <a:pt x="2873986" y="516559"/>
                </a:lnTo>
                <a:cubicBezTo>
                  <a:pt x="2873986" y="548257"/>
                  <a:pt x="2848289" y="573954"/>
                  <a:pt x="2816591" y="573954"/>
                </a:cubicBezTo>
                <a:lnTo>
                  <a:pt x="57395" y="573954"/>
                </a:lnTo>
                <a:cubicBezTo>
                  <a:pt x="25697" y="573954"/>
                  <a:pt x="0" y="548257"/>
                  <a:pt x="0" y="516559"/>
                </a:cubicBezTo>
                <a:lnTo>
                  <a:pt x="0" y="57395"/>
                </a:lnTo>
                <a:close/>
              </a:path>
            </a:pathLst>
          </a:custGeom>
          <a:noFill/>
          <a:ln>
            <a:noFill/>
          </a:ln>
          <a:effectLst>
            <a:outerShdw blurRad="40000" dist="23000" dir="5400000" rotWithShape="0">
              <a:srgbClr val="000000">
                <a:alpha val="35000"/>
              </a:srgbClr>
            </a:outerShdw>
          </a:effectLst>
        </p:spPr>
        <p:txBody>
          <a:bodyPr spcFirstLastPara="0" vert="horz" wrap="square" lIns="114292" tIns="114292" rIns="114292" bIns="114292" numCol="1" spcCol="1270" anchor="ctr" anchorCtr="0">
            <a:noAutofit/>
          </a:bodyPr>
          <a:lstStyle/>
          <a:p>
            <a:pPr algn="ctr" defTabSz="1133364" eaLnBrk="0" fontAlgn="base" hangingPunct="0">
              <a:lnSpc>
                <a:spcPct val="90000"/>
              </a:lnSpc>
              <a:spcBef>
                <a:spcPct val="0"/>
              </a:spcBef>
              <a:defRPr/>
            </a:pPr>
            <a:r>
              <a:rPr lang="en-US" sz="918" kern="0" dirty="0">
                <a:solidFill>
                  <a:srgbClr val="FFFFFF"/>
                </a:solidFill>
                <a:latin typeface="Verdana"/>
              </a:rPr>
              <a:t>Devices </a:t>
            </a:r>
          </a:p>
          <a:p>
            <a:pPr algn="ctr" defTabSz="1133364" eaLnBrk="0" fontAlgn="base" hangingPunct="0">
              <a:lnSpc>
                <a:spcPct val="90000"/>
              </a:lnSpc>
              <a:spcBef>
                <a:spcPct val="0"/>
              </a:spcBef>
              <a:defRPr/>
            </a:pPr>
            <a:r>
              <a:rPr lang="en-US" sz="918" kern="0" dirty="0">
                <a:solidFill>
                  <a:srgbClr val="FFFFFF"/>
                </a:solidFill>
                <a:latin typeface="Verdana"/>
              </a:rPr>
              <a:t>and apps</a:t>
            </a:r>
          </a:p>
        </p:txBody>
      </p:sp>
      <p:sp>
        <p:nvSpPr>
          <p:cNvPr id="94" name="Freeform 24"/>
          <p:cNvSpPr/>
          <p:nvPr/>
        </p:nvSpPr>
        <p:spPr>
          <a:xfrm>
            <a:off x="9665360" y="2749961"/>
            <a:ext cx="1254052" cy="405613"/>
          </a:xfrm>
          <a:custGeom>
            <a:avLst/>
            <a:gdLst>
              <a:gd name="connsiteX0" fmla="*/ 0 w 2873986"/>
              <a:gd name="connsiteY0" fmla="*/ 57395 h 573954"/>
              <a:gd name="connsiteX1" fmla="*/ 57395 w 2873986"/>
              <a:gd name="connsiteY1" fmla="*/ 0 h 573954"/>
              <a:gd name="connsiteX2" fmla="*/ 2816591 w 2873986"/>
              <a:gd name="connsiteY2" fmla="*/ 0 h 573954"/>
              <a:gd name="connsiteX3" fmla="*/ 2873986 w 2873986"/>
              <a:gd name="connsiteY3" fmla="*/ 57395 h 573954"/>
              <a:gd name="connsiteX4" fmla="*/ 2873986 w 2873986"/>
              <a:gd name="connsiteY4" fmla="*/ 516559 h 573954"/>
              <a:gd name="connsiteX5" fmla="*/ 2816591 w 2873986"/>
              <a:gd name="connsiteY5" fmla="*/ 573954 h 573954"/>
              <a:gd name="connsiteX6" fmla="*/ 57395 w 2873986"/>
              <a:gd name="connsiteY6" fmla="*/ 573954 h 573954"/>
              <a:gd name="connsiteX7" fmla="*/ 0 w 2873986"/>
              <a:gd name="connsiteY7" fmla="*/ 516559 h 573954"/>
              <a:gd name="connsiteX8" fmla="*/ 0 w 2873986"/>
              <a:gd name="connsiteY8" fmla="*/ 57395 h 5739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73986" h="573954">
                <a:moveTo>
                  <a:pt x="0" y="57395"/>
                </a:moveTo>
                <a:cubicBezTo>
                  <a:pt x="0" y="25697"/>
                  <a:pt x="25697" y="0"/>
                  <a:pt x="57395" y="0"/>
                </a:cubicBezTo>
                <a:lnTo>
                  <a:pt x="2816591" y="0"/>
                </a:lnTo>
                <a:cubicBezTo>
                  <a:pt x="2848289" y="0"/>
                  <a:pt x="2873986" y="25697"/>
                  <a:pt x="2873986" y="57395"/>
                </a:cubicBezTo>
                <a:lnTo>
                  <a:pt x="2873986" y="516559"/>
                </a:lnTo>
                <a:cubicBezTo>
                  <a:pt x="2873986" y="548257"/>
                  <a:pt x="2848289" y="573954"/>
                  <a:pt x="2816591" y="573954"/>
                </a:cubicBezTo>
                <a:lnTo>
                  <a:pt x="57395" y="573954"/>
                </a:lnTo>
                <a:cubicBezTo>
                  <a:pt x="25697" y="573954"/>
                  <a:pt x="0" y="548257"/>
                  <a:pt x="0" y="516559"/>
                </a:cubicBezTo>
                <a:lnTo>
                  <a:pt x="0" y="57395"/>
                </a:lnTo>
                <a:close/>
              </a:path>
            </a:pathLst>
          </a:custGeom>
          <a:noFill/>
          <a:ln>
            <a:noFill/>
          </a:ln>
          <a:effectLst>
            <a:outerShdw blurRad="40000" dist="23000" dir="5400000" rotWithShape="0">
              <a:srgbClr val="000000">
                <a:alpha val="35000"/>
              </a:srgbClr>
            </a:outerShdw>
          </a:effectLst>
        </p:spPr>
        <p:txBody>
          <a:bodyPr spcFirstLastPara="0" vert="horz" wrap="square" lIns="114292" tIns="114292" rIns="114292" bIns="114292" numCol="1" spcCol="1270" anchor="ctr" anchorCtr="0">
            <a:noAutofit/>
          </a:bodyPr>
          <a:lstStyle/>
          <a:p>
            <a:pPr algn="ctr" defTabSz="1133364" eaLnBrk="0" fontAlgn="base" hangingPunct="0">
              <a:lnSpc>
                <a:spcPct val="90000"/>
              </a:lnSpc>
              <a:spcBef>
                <a:spcPct val="0"/>
              </a:spcBef>
              <a:defRPr/>
            </a:pPr>
            <a:r>
              <a:rPr lang="en-US" sz="918" kern="0" dirty="0">
                <a:solidFill>
                  <a:srgbClr val="FFFFFF"/>
                </a:solidFill>
                <a:latin typeface="Verdana"/>
              </a:rPr>
              <a:t>Identity and authentication</a:t>
            </a:r>
          </a:p>
        </p:txBody>
      </p:sp>
      <p:sp>
        <p:nvSpPr>
          <p:cNvPr id="95" name="Freeform 25"/>
          <p:cNvSpPr/>
          <p:nvPr/>
        </p:nvSpPr>
        <p:spPr>
          <a:xfrm>
            <a:off x="8687801" y="5433605"/>
            <a:ext cx="1254052" cy="405613"/>
          </a:xfrm>
          <a:custGeom>
            <a:avLst/>
            <a:gdLst>
              <a:gd name="connsiteX0" fmla="*/ 0 w 2873986"/>
              <a:gd name="connsiteY0" fmla="*/ 57395 h 573954"/>
              <a:gd name="connsiteX1" fmla="*/ 57395 w 2873986"/>
              <a:gd name="connsiteY1" fmla="*/ 0 h 573954"/>
              <a:gd name="connsiteX2" fmla="*/ 2816591 w 2873986"/>
              <a:gd name="connsiteY2" fmla="*/ 0 h 573954"/>
              <a:gd name="connsiteX3" fmla="*/ 2873986 w 2873986"/>
              <a:gd name="connsiteY3" fmla="*/ 57395 h 573954"/>
              <a:gd name="connsiteX4" fmla="*/ 2873986 w 2873986"/>
              <a:gd name="connsiteY4" fmla="*/ 516559 h 573954"/>
              <a:gd name="connsiteX5" fmla="*/ 2816591 w 2873986"/>
              <a:gd name="connsiteY5" fmla="*/ 573954 h 573954"/>
              <a:gd name="connsiteX6" fmla="*/ 57395 w 2873986"/>
              <a:gd name="connsiteY6" fmla="*/ 573954 h 573954"/>
              <a:gd name="connsiteX7" fmla="*/ 0 w 2873986"/>
              <a:gd name="connsiteY7" fmla="*/ 516559 h 573954"/>
              <a:gd name="connsiteX8" fmla="*/ 0 w 2873986"/>
              <a:gd name="connsiteY8" fmla="*/ 57395 h 5739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73986" h="573954">
                <a:moveTo>
                  <a:pt x="0" y="57395"/>
                </a:moveTo>
                <a:cubicBezTo>
                  <a:pt x="0" y="25697"/>
                  <a:pt x="25697" y="0"/>
                  <a:pt x="57395" y="0"/>
                </a:cubicBezTo>
                <a:lnTo>
                  <a:pt x="2816591" y="0"/>
                </a:lnTo>
                <a:cubicBezTo>
                  <a:pt x="2848289" y="0"/>
                  <a:pt x="2873986" y="25697"/>
                  <a:pt x="2873986" y="57395"/>
                </a:cubicBezTo>
                <a:lnTo>
                  <a:pt x="2873986" y="516559"/>
                </a:lnTo>
                <a:cubicBezTo>
                  <a:pt x="2873986" y="548257"/>
                  <a:pt x="2848289" y="573954"/>
                  <a:pt x="2816591" y="573954"/>
                </a:cubicBezTo>
                <a:lnTo>
                  <a:pt x="57395" y="573954"/>
                </a:lnTo>
                <a:cubicBezTo>
                  <a:pt x="25697" y="573954"/>
                  <a:pt x="0" y="548257"/>
                  <a:pt x="0" y="516559"/>
                </a:cubicBezTo>
                <a:lnTo>
                  <a:pt x="0" y="57395"/>
                </a:lnTo>
                <a:close/>
              </a:path>
            </a:pathLst>
          </a:custGeom>
          <a:noFill/>
          <a:ln>
            <a:noFill/>
          </a:ln>
          <a:effectLst>
            <a:outerShdw blurRad="40000" dist="23000" dir="5400000" rotWithShape="0">
              <a:srgbClr val="000000">
                <a:alpha val="35000"/>
              </a:srgbClr>
            </a:outerShdw>
          </a:effectLst>
        </p:spPr>
        <p:txBody>
          <a:bodyPr spcFirstLastPara="0" vert="horz" wrap="square" lIns="114292" tIns="114292" rIns="114292" bIns="114292" numCol="1" spcCol="1270" anchor="ctr" anchorCtr="0">
            <a:noAutofit/>
          </a:bodyPr>
          <a:lstStyle/>
          <a:p>
            <a:pPr algn="ctr" defTabSz="1133364" eaLnBrk="0" fontAlgn="base" hangingPunct="0">
              <a:lnSpc>
                <a:spcPct val="90000"/>
              </a:lnSpc>
              <a:spcBef>
                <a:spcPct val="0"/>
              </a:spcBef>
              <a:defRPr/>
            </a:pPr>
            <a:r>
              <a:rPr lang="en-US" sz="918" kern="0" dirty="0">
                <a:solidFill>
                  <a:srgbClr val="FFFFFF"/>
                </a:solidFill>
                <a:latin typeface="Verdana"/>
              </a:rPr>
              <a:t>Facilities and</a:t>
            </a:r>
          </a:p>
          <a:p>
            <a:pPr algn="ctr" defTabSz="1133364" eaLnBrk="0" fontAlgn="base" hangingPunct="0">
              <a:lnSpc>
                <a:spcPct val="90000"/>
              </a:lnSpc>
              <a:spcBef>
                <a:spcPct val="0"/>
              </a:spcBef>
              <a:defRPr/>
            </a:pPr>
            <a:r>
              <a:rPr lang="en-US" sz="918" kern="0" dirty="0">
                <a:solidFill>
                  <a:srgbClr val="FFFFFF"/>
                </a:solidFill>
                <a:latin typeface="Verdana"/>
              </a:rPr>
              <a:t>meeting-rooms</a:t>
            </a:r>
          </a:p>
        </p:txBody>
      </p:sp>
      <p:pic>
        <p:nvPicPr>
          <p:cNvPr id="96" name="Picture 95"/>
          <p:cNvPicPr>
            <a:picLocks noChangeAspect="1"/>
          </p:cNvPicPr>
          <p:nvPr/>
        </p:nvPicPr>
        <p:blipFill>
          <a:blip r:embed="rId2" cstate="print">
            <a:extLst>
              <a:ext uri="{BEBA8EAE-BF5A-486C-A8C5-ECC9F3942E4B}">
                <a14:imgProps xmlns:a14="http://schemas.microsoft.com/office/drawing/2010/main">
                  <a14:imgLayer r:embed="rId3">
                    <a14:imgEffect>
                      <a14:saturation sat="400000"/>
                    </a14:imgEffect>
                  </a14:imgLayer>
                </a14:imgProps>
              </a:ext>
              <a:ext uri="{28A0092B-C50C-407E-A947-70E740481C1C}">
                <a14:useLocalDpi xmlns:a14="http://schemas.microsoft.com/office/drawing/2010/main" val="0"/>
              </a:ext>
            </a:extLst>
          </a:blip>
          <a:stretch>
            <a:fillRect/>
          </a:stretch>
        </p:blipFill>
        <p:spPr>
          <a:xfrm>
            <a:off x="7462980" y="1051203"/>
            <a:ext cx="371334" cy="371334"/>
          </a:xfrm>
          <a:prstGeom prst="rect">
            <a:avLst/>
          </a:prstGeom>
        </p:spPr>
      </p:pic>
      <p:pic>
        <p:nvPicPr>
          <p:cNvPr id="97" name="Picture 4" descr="http://dhaka.newhorizons.com/portals/186/Images/Home/Product%20Logo/partner-cisco-logo.png"/>
          <p:cNvPicPr>
            <a:picLocks noChangeAspect="1" noChangeArrowheads="1"/>
          </p:cNvPicPr>
          <p:nvPr/>
        </p:nvPicPr>
        <p:blipFill>
          <a:blip r:embed="rId4" cstate="print">
            <a:biLevel thresh="25000"/>
            <a:extLst>
              <a:ext uri="{28A0092B-C50C-407E-A947-70E740481C1C}">
                <a14:useLocalDpi xmlns:a14="http://schemas.microsoft.com/office/drawing/2010/main" val="0"/>
              </a:ext>
            </a:extLst>
          </a:blip>
          <a:srcRect/>
          <a:stretch>
            <a:fillRect/>
          </a:stretch>
        </p:blipFill>
        <p:spPr bwMode="auto">
          <a:xfrm>
            <a:off x="650530" y="1536016"/>
            <a:ext cx="664119" cy="350654"/>
          </a:xfrm>
          <a:prstGeom prst="rect">
            <a:avLst/>
          </a:prstGeom>
          <a:noFill/>
          <a:extLst>
            <a:ext uri="{909E8E84-426E-40DD-AFC4-6F175D3DCCD1}">
              <a14:hiddenFill xmlns:a14="http://schemas.microsoft.com/office/drawing/2010/main">
                <a:solidFill>
                  <a:srgbClr val="FFFFFF"/>
                </a:solidFill>
              </a14:hiddenFill>
            </a:ext>
          </a:extLst>
        </p:spPr>
      </p:pic>
      <p:pic>
        <p:nvPicPr>
          <p:cNvPr id="98" name="Picture 97"/>
          <p:cNvPicPr>
            <a:picLocks noChangeAspect="1"/>
          </p:cNvPicPr>
          <p:nvPr/>
        </p:nvPicPr>
        <p:blipFill rotWithShape="1">
          <a:blip r:embed="rId5">
            <a:extLst>
              <a:ext uri="{BEBA8EAE-BF5A-486C-A8C5-ECC9F3942E4B}">
                <a14:imgProps xmlns:a14="http://schemas.microsoft.com/office/drawing/2010/main">
                  <a14:imgLayer r:embed="rId6">
                    <a14:imgEffect>
                      <a14:saturation sat="200000"/>
                    </a14:imgEffect>
                  </a14:imgLayer>
                </a14:imgProps>
              </a:ext>
            </a:extLst>
          </a:blip>
          <a:srcRect l="-1" r="185"/>
          <a:stretch/>
        </p:blipFill>
        <p:spPr>
          <a:xfrm>
            <a:off x="6933648" y="2177576"/>
            <a:ext cx="264344" cy="198790"/>
          </a:xfrm>
          <a:prstGeom prst="rect">
            <a:avLst/>
          </a:prstGeom>
        </p:spPr>
      </p:pic>
      <p:pic>
        <p:nvPicPr>
          <p:cNvPr id="99" name="Picture 9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613631" y="3422875"/>
            <a:ext cx="264344" cy="264344"/>
          </a:xfrm>
          <a:prstGeom prst="rect">
            <a:avLst/>
          </a:prstGeom>
        </p:spPr>
      </p:pic>
      <p:pic>
        <p:nvPicPr>
          <p:cNvPr id="106" name="Picture 105"/>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695804" y="2065186"/>
            <a:ext cx="264344" cy="264344"/>
          </a:xfrm>
          <a:prstGeom prst="rect">
            <a:avLst/>
          </a:prstGeom>
        </p:spPr>
      </p:pic>
      <p:pic>
        <p:nvPicPr>
          <p:cNvPr id="107" name="Picture 106"/>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953893" y="1413839"/>
            <a:ext cx="264344" cy="264344"/>
          </a:xfrm>
          <a:prstGeom prst="rect">
            <a:avLst/>
          </a:prstGeom>
        </p:spPr>
      </p:pic>
      <p:pic>
        <p:nvPicPr>
          <p:cNvPr id="108" name="Picture 107"/>
          <p:cNvPicPr>
            <a:picLocks noChangeAspect="1"/>
          </p:cNvPicPr>
          <p:nvPr/>
        </p:nvPicPr>
        <p:blipFill>
          <a:blip r:embed="rId10" cstate="print">
            <a:clrChange>
              <a:clrFrom>
                <a:srgbClr val="FCFCFC"/>
              </a:clrFrom>
              <a:clrTo>
                <a:srgbClr val="FCFCFC">
                  <a:alpha val="0"/>
                </a:srgbClr>
              </a:clrTo>
            </a:clrChange>
            <a:extLst>
              <a:ext uri="{28A0092B-C50C-407E-A947-70E740481C1C}">
                <a14:useLocalDpi xmlns:a14="http://schemas.microsoft.com/office/drawing/2010/main" val="0"/>
              </a:ext>
            </a:extLst>
          </a:blip>
          <a:stretch>
            <a:fillRect/>
          </a:stretch>
        </p:blipFill>
        <p:spPr>
          <a:xfrm>
            <a:off x="3253216" y="4455963"/>
            <a:ext cx="598952" cy="598952"/>
          </a:xfrm>
          <a:prstGeom prst="rect">
            <a:avLst/>
          </a:prstGeom>
        </p:spPr>
      </p:pic>
      <p:pic>
        <p:nvPicPr>
          <p:cNvPr id="109" name="Picture 108"/>
          <p:cNvPicPr>
            <a:picLocks noChangeAspect="1"/>
          </p:cNvPicPr>
          <p:nvPr/>
        </p:nvPicPr>
        <p:blipFill>
          <a:blip r:embed="rId11" cstate="print">
            <a:clrChange>
              <a:clrFrom>
                <a:srgbClr val="C3C3C3"/>
              </a:clrFrom>
              <a:clrTo>
                <a:srgbClr val="C3C3C3">
                  <a:alpha val="0"/>
                </a:srgbClr>
              </a:clrTo>
            </a:clrChange>
            <a:extLst>
              <a:ext uri="{28A0092B-C50C-407E-A947-70E740481C1C}">
                <a14:useLocalDpi xmlns:a14="http://schemas.microsoft.com/office/drawing/2010/main" val="0"/>
              </a:ext>
            </a:extLst>
          </a:blip>
          <a:stretch>
            <a:fillRect/>
          </a:stretch>
        </p:blipFill>
        <p:spPr>
          <a:xfrm>
            <a:off x="9136586" y="2146256"/>
            <a:ext cx="504006" cy="504006"/>
          </a:xfrm>
          <a:prstGeom prst="rect">
            <a:avLst/>
          </a:prstGeom>
        </p:spPr>
      </p:pic>
      <p:pic>
        <p:nvPicPr>
          <p:cNvPr id="110" name="Picture 109"/>
          <p:cNvPicPr>
            <a:picLocks noChangeAspect="1"/>
          </p:cNvPicPr>
          <p:nvPr/>
        </p:nvPicPr>
        <p:blipFill>
          <a:blip r:embed="rId12" cstate="print">
            <a:clrChange>
              <a:clrFrom>
                <a:srgbClr val="C3C3C3"/>
              </a:clrFrom>
              <a:clrTo>
                <a:srgbClr val="C3C3C3">
                  <a:alpha val="0"/>
                </a:srgbClr>
              </a:clrTo>
            </a:clrChange>
            <a:extLst>
              <a:ext uri="{28A0092B-C50C-407E-A947-70E740481C1C}">
                <a14:useLocalDpi xmlns:a14="http://schemas.microsoft.com/office/drawing/2010/main" val="0"/>
              </a:ext>
            </a:extLst>
          </a:blip>
          <a:stretch>
            <a:fillRect/>
          </a:stretch>
        </p:blipFill>
        <p:spPr>
          <a:xfrm>
            <a:off x="8800676" y="3021688"/>
            <a:ext cx="401188" cy="401188"/>
          </a:xfrm>
          <a:prstGeom prst="rect">
            <a:avLst/>
          </a:prstGeom>
        </p:spPr>
      </p:pic>
      <p:pic>
        <p:nvPicPr>
          <p:cNvPr id="111" name="Picture 110"/>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10409431" y="4296023"/>
            <a:ext cx="490141" cy="490141"/>
          </a:xfrm>
          <a:prstGeom prst="rect">
            <a:avLst/>
          </a:prstGeom>
        </p:spPr>
      </p:pic>
      <p:pic>
        <p:nvPicPr>
          <p:cNvPr id="112" name="Picture 6" descr="http://www.aidanfinn.com/wp-content/uploads/2015/06/azure-active-directory1-620x264.png"/>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7771841" y="5651129"/>
            <a:ext cx="883446" cy="376178"/>
          </a:xfrm>
          <a:prstGeom prst="rect">
            <a:avLst/>
          </a:prstGeom>
          <a:noFill/>
          <a:extLst>
            <a:ext uri="{909E8E84-426E-40DD-AFC4-6F175D3DCCD1}">
              <a14:hiddenFill xmlns:a14="http://schemas.microsoft.com/office/drawing/2010/main">
                <a:solidFill>
                  <a:srgbClr val="FFFFFF"/>
                </a:solidFill>
              </a14:hiddenFill>
            </a:ext>
          </a:extLst>
        </p:spPr>
      </p:pic>
      <p:pic>
        <p:nvPicPr>
          <p:cNvPr id="113" name="Picture 112"/>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8850010" y="3858486"/>
            <a:ext cx="607438" cy="607438"/>
          </a:xfrm>
          <a:prstGeom prst="rect">
            <a:avLst/>
          </a:prstGeom>
        </p:spPr>
      </p:pic>
      <p:pic>
        <p:nvPicPr>
          <p:cNvPr id="114" name="Picture 8" descr="http://blogs-images.forbes.com/jenniferrooney/files/2012/05/polycom-logo.jpg"/>
          <p:cNvPicPr>
            <a:picLocks noChangeAspect="1" noChangeArrowheads="1"/>
          </p:cNvPicPr>
          <p:nvPr/>
        </p:nvPicPr>
        <p:blipFill>
          <a:blip r:embed="rId16" cstate="print">
            <a:clrChange>
              <a:clrFrom>
                <a:srgbClr val="FEFEFE"/>
              </a:clrFrom>
              <a:clrTo>
                <a:srgbClr val="FEFEFE">
                  <a:alpha val="0"/>
                </a:srgbClr>
              </a:clrTo>
            </a:clrChange>
            <a:extLst>
              <a:ext uri="{28A0092B-C50C-407E-A947-70E740481C1C}">
                <a14:useLocalDpi xmlns:a14="http://schemas.microsoft.com/office/drawing/2010/main" val="0"/>
              </a:ext>
            </a:extLst>
          </a:blip>
          <a:srcRect/>
          <a:stretch>
            <a:fillRect/>
          </a:stretch>
        </p:blipFill>
        <p:spPr bwMode="auto">
          <a:xfrm>
            <a:off x="6606419" y="1647869"/>
            <a:ext cx="1165423" cy="557227"/>
          </a:xfrm>
          <a:prstGeom prst="rect">
            <a:avLst/>
          </a:prstGeom>
          <a:noFill/>
          <a:extLst>
            <a:ext uri="{909E8E84-426E-40DD-AFC4-6F175D3DCCD1}">
              <a14:hiddenFill xmlns:a14="http://schemas.microsoft.com/office/drawing/2010/main">
                <a:solidFill>
                  <a:srgbClr val="FFFFFF"/>
                </a:solidFill>
              </a14:hiddenFill>
            </a:ext>
          </a:extLst>
        </p:spPr>
      </p:pic>
      <p:pic>
        <p:nvPicPr>
          <p:cNvPr id="115" name="Picture 114"/>
          <p:cNvPicPr>
            <a:picLocks noChangeAspect="1"/>
          </p:cNvPicPr>
          <p:nvPr/>
        </p:nvPicPr>
        <p:blipFill>
          <a:blip r:embed="rId17"/>
          <a:stretch>
            <a:fillRect/>
          </a:stretch>
        </p:blipFill>
        <p:spPr>
          <a:xfrm>
            <a:off x="3612720" y="2187916"/>
            <a:ext cx="842882" cy="420685"/>
          </a:xfrm>
          <a:prstGeom prst="rect">
            <a:avLst/>
          </a:prstGeom>
        </p:spPr>
      </p:pic>
      <p:pic>
        <p:nvPicPr>
          <p:cNvPr id="116" name="Picture 115"/>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5076477" y="1047143"/>
            <a:ext cx="473669" cy="473669"/>
          </a:xfrm>
          <a:prstGeom prst="rect">
            <a:avLst/>
          </a:prstGeom>
        </p:spPr>
      </p:pic>
      <p:pic>
        <p:nvPicPr>
          <p:cNvPr id="117" name="Picture 116"/>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2015380" y="5090616"/>
            <a:ext cx="731922" cy="731922"/>
          </a:xfrm>
          <a:prstGeom prst="rect">
            <a:avLst/>
          </a:prstGeom>
        </p:spPr>
      </p:pic>
      <p:pic>
        <p:nvPicPr>
          <p:cNvPr id="118" name="Picture 117"/>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3900486" y="3303885"/>
            <a:ext cx="558642" cy="558642"/>
          </a:xfrm>
          <a:prstGeom prst="rect">
            <a:avLst/>
          </a:prstGeom>
        </p:spPr>
      </p:pic>
      <p:sp>
        <p:nvSpPr>
          <p:cNvPr id="77" name="Donut 7"/>
          <p:cNvSpPr/>
          <p:nvPr/>
        </p:nvSpPr>
        <p:spPr bwMode="auto">
          <a:xfrm>
            <a:off x="2986812" y="688853"/>
            <a:ext cx="6451189" cy="6451189"/>
          </a:xfrm>
          <a:prstGeom prst="donut">
            <a:avLst>
              <a:gd name="adj" fmla="val 45247"/>
            </a:avLst>
          </a:prstGeom>
          <a:noFill/>
          <a:ln w="9525" cap="flat" cmpd="sng" algn="ctr">
            <a:noFill/>
            <a:prstDash val="solid"/>
            <a:round/>
            <a:headEnd type="none" w="med" len="med"/>
            <a:tailEnd type="none" w="med" len="med"/>
          </a:ln>
          <a:effectLst/>
        </p:spPr>
        <p:txBody>
          <a:bodyPr vert="horz" wrap="square" lIns="93260" tIns="46630" rIns="93260" bIns="46630" numCol="1" rtlCol="0" anchor="t" anchorCtr="0" compatLnSpc="1">
            <a:prstTxWarp prst="textNoShape">
              <a:avLst/>
            </a:prstTxWarp>
          </a:bodyPr>
          <a:lstStyle/>
          <a:p>
            <a:pPr defTabSz="932597" eaLnBrk="0" fontAlgn="base" hangingPunct="0">
              <a:spcBef>
                <a:spcPct val="0"/>
              </a:spcBef>
              <a:spcAft>
                <a:spcPct val="0"/>
              </a:spcAft>
            </a:pPr>
            <a:endParaRPr lang="en-GB" sz="1428" dirty="0">
              <a:solidFill>
                <a:srgbClr val="FFFFFF"/>
              </a:solidFill>
              <a:latin typeface="Verdana" pitchFamily="34" charset="0"/>
            </a:endParaRPr>
          </a:p>
        </p:txBody>
      </p:sp>
      <p:grpSp>
        <p:nvGrpSpPr>
          <p:cNvPr id="3" name="Group 2"/>
          <p:cNvGrpSpPr/>
          <p:nvPr/>
        </p:nvGrpSpPr>
        <p:grpSpPr>
          <a:xfrm>
            <a:off x="5013766" y="2679534"/>
            <a:ext cx="2443764" cy="2443764"/>
            <a:chOff x="4915038" y="2627232"/>
            <a:chExt cx="2396065" cy="2396065"/>
          </a:xfrm>
        </p:grpSpPr>
        <p:sp>
          <p:nvSpPr>
            <p:cNvPr id="79" name="Donut 9"/>
            <p:cNvSpPr/>
            <p:nvPr/>
          </p:nvSpPr>
          <p:spPr bwMode="auto">
            <a:xfrm>
              <a:off x="4915038" y="2627232"/>
              <a:ext cx="2396065" cy="2396065"/>
            </a:xfrm>
            <a:prstGeom prst="donut">
              <a:avLst>
                <a:gd name="adj" fmla="val 42646"/>
              </a:avLst>
            </a:prstGeom>
            <a:gradFill flip="none" rotWithShape="1">
              <a:gsLst>
                <a:gs pos="28000">
                  <a:srgbClr val="FFFFFF">
                    <a:alpha val="20000"/>
                  </a:srgbClr>
                </a:gs>
                <a:gs pos="100000">
                  <a:srgbClr val="FFFFFF">
                    <a:alpha val="80000"/>
                  </a:srgbClr>
                </a:gs>
              </a:gsLst>
              <a:path path="circle">
                <a:fillToRect l="50000" t="50000" r="50000" b="50000"/>
              </a:path>
              <a:tileRect/>
            </a:gradFill>
            <a:ln w="9525" cap="flat" cmpd="sng" algn="ctr">
              <a:noFill/>
              <a:prstDash val="solid"/>
              <a:round/>
              <a:headEnd type="none" w="med" len="med"/>
              <a:tailEnd type="none" w="med" len="med"/>
            </a:ln>
            <a:effectLst/>
          </p:spPr>
          <p:txBody>
            <a:bodyPr vert="horz" wrap="square" lIns="93260" tIns="46630" rIns="93260" bIns="46630" numCol="1" rtlCol="0" anchor="t" anchorCtr="0" compatLnSpc="1">
              <a:prstTxWarp prst="textNoShape">
                <a:avLst/>
              </a:prstTxWarp>
            </a:bodyPr>
            <a:lstStyle/>
            <a:p>
              <a:pPr defTabSz="932597" eaLnBrk="0" fontAlgn="base" hangingPunct="0">
                <a:spcBef>
                  <a:spcPct val="0"/>
                </a:spcBef>
                <a:spcAft>
                  <a:spcPct val="0"/>
                </a:spcAft>
                <a:defRPr/>
              </a:pPr>
              <a:endParaRPr lang="en-GB" sz="1428" kern="0" dirty="0">
                <a:solidFill>
                  <a:srgbClr val="FFFFFF"/>
                </a:solidFill>
                <a:latin typeface="Verdana" pitchFamily="34" charset="0"/>
              </a:endParaRPr>
            </a:p>
          </p:txBody>
        </p:sp>
        <p:sp>
          <p:nvSpPr>
            <p:cNvPr id="80" name="TextBox 79"/>
            <p:cNvSpPr txBox="1"/>
            <p:nvPr/>
          </p:nvSpPr>
          <p:spPr>
            <a:xfrm>
              <a:off x="5274709" y="4474800"/>
              <a:ext cx="1632839" cy="502317"/>
            </a:xfrm>
            <a:prstGeom prst="rect">
              <a:avLst/>
            </a:prstGeom>
            <a:noFill/>
            <a:effectLst/>
          </p:spPr>
          <p:txBody>
            <a:bodyPr wrap="square" lIns="0" tIns="0" rIns="0" bIns="0" rtlCol="0">
              <a:spAutoFit/>
            </a:bodyPr>
            <a:lstStyle/>
            <a:p>
              <a:pPr algn="ctr" defTabSz="932597" eaLnBrk="0" fontAlgn="base" hangingPunct="0">
                <a:spcBef>
                  <a:spcPct val="0"/>
                </a:spcBef>
                <a:spcAft>
                  <a:spcPct val="0"/>
                </a:spcAft>
              </a:pPr>
              <a:r>
                <a:rPr lang="en-GB" sz="1632" dirty="0">
                  <a:solidFill>
                    <a:srgbClr val="FFFFFF"/>
                  </a:solidFill>
                </a:rPr>
                <a:t>From</a:t>
              </a:r>
              <a:r>
                <a:rPr lang="en-GB" sz="1632" b="1" dirty="0">
                  <a:solidFill>
                    <a:srgbClr val="FFFFFF"/>
                  </a:solidFill>
                </a:rPr>
                <a:t> any place </a:t>
              </a:r>
              <a:r>
                <a:rPr lang="en-GB" sz="1632" dirty="0">
                  <a:solidFill>
                    <a:srgbClr val="FFFFFF"/>
                  </a:solidFill>
                </a:rPr>
                <a:t>and</a:t>
              </a:r>
              <a:r>
                <a:rPr lang="en-GB" sz="1632" b="1" dirty="0">
                  <a:solidFill>
                    <a:srgbClr val="FFFFFF"/>
                  </a:solidFill>
                </a:rPr>
                <a:t> any time</a:t>
              </a:r>
            </a:p>
          </p:txBody>
        </p:sp>
        <p:pic>
          <p:nvPicPr>
            <p:cNvPr id="100" name="Picture 99"/>
            <p:cNvPicPr>
              <a:picLocks noChangeAspect="1"/>
            </p:cNvPicPr>
            <p:nvPr/>
          </p:nvPicPr>
          <p:blipFill>
            <a:blip r:embed="rId21" cstate="print">
              <a:duotone>
                <a:srgbClr val="636363">
                  <a:shade val="45000"/>
                  <a:satMod val="135000"/>
                </a:srgbClr>
                <a:prstClr val="white"/>
              </a:duotone>
              <a:extLst>
                <a:ext uri="{28A0092B-C50C-407E-A947-70E740481C1C}">
                  <a14:useLocalDpi xmlns:a14="http://schemas.microsoft.com/office/drawing/2010/main" val="0"/>
                </a:ext>
              </a:extLst>
            </a:blip>
            <a:stretch>
              <a:fillRect/>
            </a:stretch>
          </p:blipFill>
          <p:spPr>
            <a:xfrm>
              <a:off x="6636422" y="3016330"/>
              <a:ext cx="409589" cy="409589"/>
            </a:xfrm>
            <a:prstGeom prst="rect">
              <a:avLst/>
            </a:prstGeom>
          </p:spPr>
        </p:pic>
        <p:pic>
          <p:nvPicPr>
            <p:cNvPr id="101" name="Picture 100"/>
            <p:cNvPicPr>
              <a:picLocks noChangeAspect="1"/>
            </p:cNvPicPr>
            <p:nvPr/>
          </p:nvPicPr>
          <p:blipFill>
            <a:blip r:embed="rId22" cstate="print">
              <a:duotone>
                <a:srgbClr val="636363">
                  <a:shade val="45000"/>
                  <a:satMod val="135000"/>
                </a:srgbClr>
                <a:prstClr val="white"/>
              </a:duotone>
              <a:extLst>
                <a:ext uri="{28A0092B-C50C-407E-A947-70E740481C1C}">
                  <a14:useLocalDpi xmlns:a14="http://schemas.microsoft.com/office/drawing/2010/main" val="0"/>
                </a:ext>
              </a:extLst>
            </a:blip>
            <a:stretch>
              <a:fillRect/>
            </a:stretch>
          </p:blipFill>
          <p:spPr>
            <a:xfrm>
              <a:off x="6704871" y="4080964"/>
              <a:ext cx="335024" cy="335024"/>
            </a:xfrm>
            <a:prstGeom prst="rect">
              <a:avLst/>
            </a:prstGeom>
          </p:spPr>
        </p:pic>
        <p:pic>
          <p:nvPicPr>
            <p:cNvPr id="102" name="Picture 101"/>
            <p:cNvPicPr>
              <a:picLocks noChangeAspect="1"/>
            </p:cNvPicPr>
            <p:nvPr/>
          </p:nvPicPr>
          <p:blipFill>
            <a:blip r:embed="rId23" cstate="print">
              <a:duotone>
                <a:srgbClr val="636363">
                  <a:shade val="45000"/>
                  <a:satMod val="135000"/>
                </a:srgbClr>
                <a:prstClr val="white"/>
              </a:duotone>
              <a:extLst>
                <a:ext uri="{28A0092B-C50C-407E-A947-70E740481C1C}">
                  <a14:useLocalDpi xmlns:a14="http://schemas.microsoft.com/office/drawing/2010/main" val="0"/>
                </a:ext>
              </a:extLst>
            </a:blip>
            <a:stretch>
              <a:fillRect/>
            </a:stretch>
          </p:blipFill>
          <p:spPr>
            <a:xfrm>
              <a:off x="5301967" y="3023738"/>
              <a:ext cx="306193" cy="306193"/>
            </a:xfrm>
            <a:prstGeom prst="rect">
              <a:avLst/>
            </a:prstGeom>
          </p:spPr>
        </p:pic>
        <p:pic>
          <p:nvPicPr>
            <p:cNvPr id="103" name="Picture 102"/>
            <p:cNvPicPr>
              <a:picLocks noChangeAspect="1"/>
            </p:cNvPicPr>
            <p:nvPr/>
          </p:nvPicPr>
          <p:blipFill>
            <a:blip r:embed="rId24" cstate="print">
              <a:duotone>
                <a:srgbClr val="636363">
                  <a:shade val="45000"/>
                  <a:satMod val="135000"/>
                </a:srgbClr>
                <a:prstClr val="white"/>
              </a:duotone>
              <a:extLst>
                <a:ext uri="{28A0092B-C50C-407E-A947-70E740481C1C}">
                  <a14:useLocalDpi xmlns:a14="http://schemas.microsoft.com/office/drawing/2010/main" val="0"/>
                </a:ext>
              </a:extLst>
            </a:blip>
            <a:stretch>
              <a:fillRect/>
            </a:stretch>
          </p:blipFill>
          <p:spPr>
            <a:xfrm>
              <a:off x="6841216" y="3553630"/>
              <a:ext cx="332694" cy="332694"/>
            </a:xfrm>
            <a:prstGeom prst="rect">
              <a:avLst/>
            </a:prstGeom>
          </p:spPr>
        </p:pic>
        <p:pic>
          <p:nvPicPr>
            <p:cNvPr id="104" name="Picture 103"/>
            <p:cNvPicPr>
              <a:picLocks noChangeAspect="1"/>
            </p:cNvPicPr>
            <p:nvPr/>
          </p:nvPicPr>
          <p:blipFill>
            <a:blip r:embed="rId25" cstate="print">
              <a:duotone>
                <a:srgbClr val="636363">
                  <a:shade val="45000"/>
                  <a:satMod val="135000"/>
                </a:srgbClr>
                <a:prstClr val="white"/>
              </a:duotone>
              <a:extLst>
                <a:ext uri="{28A0092B-C50C-407E-A947-70E740481C1C}">
                  <a14:useLocalDpi xmlns:a14="http://schemas.microsoft.com/office/drawing/2010/main" val="0"/>
                </a:ext>
              </a:extLst>
            </a:blip>
            <a:stretch>
              <a:fillRect/>
            </a:stretch>
          </p:blipFill>
          <p:spPr>
            <a:xfrm>
              <a:off x="5081846" y="3513907"/>
              <a:ext cx="307729" cy="307729"/>
            </a:xfrm>
            <a:prstGeom prst="rect">
              <a:avLst/>
            </a:prstGeom>
          </p:spPr>
        </p:pic>
        <p:pic>
          <p:nvPicPr>
            <p:cNvPr id="105" name="Picture 104"/>
            <p:cNvPicPr>
              <a:picLocks noChangeAspect="1"/>
            </p:cNvPicPr>
            <p:nvPr/>
          </p:nvPicPr>
          <p:blipFill>
            <a:blip r:embed="rId26" cstate="print">
              <a:duotone>
                <a:srgbClr val="636363">
                  <a:shade val="45000"/>
                  <a:satMod val="135000"/>
                </a:srgbClr>
                <a:prstClr val="white"/>
              </a:duotone>
              <a:extLst>
                <a:ext uri="{28A0092B-C50C-407E-A947-70E740481C1C}">
                  <a14:useLocalDpi xmlns:a14="http://schemas.microsoft.com/office/drawing/2010/main" val="0"/>
                </a:ext>
              </a:extLst>
            </a:blip>
            <a:stretch>
              <a:fillRect/>
            </a:stretch>
          </p:blipFill>
          <p:spPr>
            <a:xfrm>
              <a:off x="5211384" y="4103182"/>
              <a:ext cx="265806" cy="265806"/>
            </a:xfrm>
            <a:prstGeom prst="rect">
              <a:avLst/>
            </a:prstGeom>
          </p:spPr>
        </p:pic>
      </p:grpSp>
      <p:sp>
        <p:nvSpPr>
          <p:cNvPr id="22" name="TextBox 21"/>
          <p:cNvSpPr txBox="1"/>
          <p:nvPr/>
        </p:nvSpPr>
        <p:spPr>
          <a:xfrm>
            <a:off x="9630887" y="6743402"/>
            <a:ext cx="2790777" cy="254262"/>
          </a:xfrm>
          <a:prstGeom prst="rect">
            <a:avLst/>
          </a:prstGeom>
          <a:noFill/>
          <a:ln>
            <a:noFill/>
          </a:ln>
        </p:spPr>
        <p:txBody>
          <a:bodyPr wrap="square" rtlCol="0">
            <a:spAutoFit/>
          </a:bodyPr>
          <a:lstStyle/>
          <a:p>
            <a:pPr algn="r"/>
            <a:r>
              <a:rPr lang="en-US" sz="1020" dirty="0">
                <a:solidFill>
                  <a:schemeClr val="bg2"/>
                </a:solidFill>
              </a:rPr>
              <a:t>Photo: </a:t>
            </a:r>
            <a:r>
              <a:rPr lang="en-US" sz="1020" dirty="0">
                <a:solidFill>
                  <a:schemeClr val="bg2"/>
                </a:solidFill>
                <a:hlinkClick r:id="rId27"/>
              </a:rPr>
              <a:t>Steve Wilson</a:t>
            </a:r>
            <a:endParaRPr lang="en-US" sz="1020" dirty="0">
              <a:solidFill>
                <a:schemeClr val="bg2"/>
              </a:solidFill>
            </a:endParaRPr>
          </a:p>
        </p:txBody>
      </p:sp>
      <p:pic>
        <p:nvPicPr>
          <p:cNvPr id="54" name="Picture 53"/>
          <p:cNvPicPr>
            <a:picLocks noChangeAspect="1"/>
          </p:cNvPicPr>
          <p:nvPr/>
        </p:nvPicPr>
        <p:blipFill>
          <a:blip r:embed="rId28">
            <a:extLst>
              <a:ext uri="{BEBA8EAE-BF5A-486C-A8C5-ECC9F3942E4B}">
                <a14:imgProps xmlns:a14="http://schemas.microsoft.com/office/drawing/2010/main">
                  <a14:imgLayer r:embed="rId29">
                    <a14:imgEffect>
                      <a14:saturation sat="88000"/>
                    </a14:imgEffect>
                    <a14:imgEffect>
                      <a14:brightnessContrast bright="24000" contrast="-20000"/>
                    </a14:imgEffect>
                  </a14:imgLayer>
                </a14:imgProps>
              </a:ext>
            </a:extLst>
          </a:blip>
          <a:stretch>
            <a:fillRect/>
          </a:stretch>
        </p:blipFill>
        <p:spPr>
          <a:xfrm>
            <a:off x="5606557" y="2362060"/>
            <a:ext cx="1321473" cy="2209675"/>
          </a:xfrm>
          <a:prstGeom prst="rect">
            <a:avLst/>
          </a:prstGeom>
        </p:spPr>
      </p:pic>
      <p:pic>
        <p:nvPicPr>
          <p:cNvPr id="6" name="Picture 5"/>
          <p:cNvPicPr>
            <a:picLocks noChangeAspect="1"/>
          </p:cNvPicPr>
          <p:nvPr/>
        </p:nvPicPr>
        <p:blipFill>
          <a:blip r:embed="rId30">
            <a:clrChange>
              <a:clrFrom>
                <a:srgbClr val="FFFFFF"/>
              </a:clrFrom>
              <a:clrTo>
                <a:srgbClr val="FFFFFF">
                  <a:alpha val="0"/>
                </a:srgbClr>
              </a:clrTo>
            </a:clrChange>
          </a:blip>
          <a:stretch>
            <a:fillRect/>
          </a:stretch>
        </p:blipFill>
        <p:spPr>
          <a:xfrm>
            <a:off x="10042988" y="1243582"/>
            <a:ext cx="702858" cy="702858"/>
          </a:xfrm>
          <a:prstGeom prst="rect">
            <a:avLst/>
          </a:prstGeom>
        </p:spPr>
      </p:pic>
    </p:spTree>
    <p:extLst>
      <p:ext uri="{BB962C8B-B14F-4D97-AF65-F5344CB8AC3E}">
        <p14:creationId xmlns:p14="http://schemas.microsoft.com/office/powerpoint/2010/main" val="31383190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4" name="Picture 73"/>
          <p:cNvPicPr>
            <a:picLocks noChangeAspect="1"/>
          </p:cNvPicPr>
          <p:nvPr/>
        </p:nvPicPr>
        <p:blipFill rotWithShape="1">
          <a:blip r:embed="rId2">
            <a:duotone>
              <a:prstClr val="black"/>
              <a:srgbClr val="636363">
                <a:tint val="45000"/>
                <a:satMod val="400000"/>
              </a:srgbClr>
            </a:duotone>
            <a:extLst>
              <a:ext uri="{BEBA8EAE-BF5A-486C-A8C5-ECC9F3942E4B}">
                <a14:imgProps xmlns:a14="http://schemas.microsoft.com/office/drawing/2010/main">
                  <a14:imgLayer r:embed="rId3">
                    <a14:imgEffect>
                      <a14:brightnessContrast bright="-8000" contrast="-66000"/>
                    </a14:imgEffect>
                  </a14:imgLayer>
                </a14:imgProps>
              </a:ext>
              <a:ext uri="{28A0092B-C50C-407E-A947-70E740481C1C}">
                <a14:useLocalDpi xmlns:a14="http://schemas.microsoft.com/office/drawing/2010/main" val="0"/>
              </a:ext>
            </a:extLst>
          </a:blip>
          <a:srcRect l="8259" t="8510" r="8651" b="8462"/>
          <a:stretch/>
        </p:blipFill>
        <p:spPr>
          <a:xfrm>
            <a:off x="3331743" y="1046753"/>
            <a:ext cx="5750308" cy="5745963"/>
          </a:xfrm>
          <a:prstGeom prst="rect">
            <a:avLst/>
          </a:prstGeom>
        </p:spPr>
      </p:pic>
      <p:sp>
        <p:nvSpPr>
          <p:cNvPr id="82" name="TextBox 81"/>
          <p:cNvSpPr txBox="1"/>
          <p:nvPr/>
        </p:nvSpPr>
        <p:spPr>
          <a:xfrm>
            <a:off x="5035380" y="6055900"/>
            <a:ext cx="2367425" cy="512317"/>
          </a:xfrm>
          <a:prstGeom prst="rect">
            <a:avLst/>
          </a:prstGeom>
          <a:noFill/>
          <a:effectLst/>
        </p:spPr>
        <p:txBody>
          <a:bodyPr wrap="square" lIns="0" tIns="0" rIns="0" bIns="0" rtlCol="0">
            <a:spAutoFit/>
          </a:bodyPr>
          <a:lstStyle/>
          <a:p>
            <a:pPr algn="ctr" defTabSz="932597" eaLnBrk="0" fontAlgn="base" hangingPunct="0">
              <a:spcBef>
                <a:spcPct val="0"/>
              </a:spcBef>
              <a:spcAft>
                <a:spcPct val="0"/>
              </a:spcAft>
            </a:pPr>
            <a:r>
              <a:rPr lang="en-GB" sz="1632" dirty="0">
                <a:solidFill>
                  <a:srgbClr val="FFFFFF"/>
                </a:solidFill>
              </a:rPr>
              <a:t>To </a:t>
            </a:r>
            <a:r>
              <a:rPr lang="en-GB" sz="1632" b="1" dirty="0">
                <a:solidFill>
                  <a:srgbClr val="FFFFFF"/>
                </a:solidFill>
              </a:rPr>
              <a:t>team up</a:t>
            </a:r>
            <a:r>
              <a:rPr lang="en-GB" sz="1632" dirty="0">
                <a:solidFill>
                  <a:srgbClr val="FFFFFF"/>
                </a:solidFill>
              </a:rPr>
              <a:t>, </a:t>
            </a:r>
            <a:r>
              <a:rPr lang="en-GB" sz="1632" b="1" dirty="0">
                <a:solidFill>
                  <a:srgbClr val="FFFFFF"/>
                </a:solidFill>
              </a:rPr>
              <a:t>learn</a:t>
            </a:r>
            <a:r>
              <a:rPr lang="en-GB" sz="1632" dirty="0">
                <a:solidFill>
                  <a:srgbClr val="FFFFFF"/>
                </a:solidFill>
              </a:rPr>
              <a:t>, and </a:t>
            </a:r>
            <a:r>
              <a:rPr lang="en-GB" sz="1632" b="1" dirty="0">
                <a:solidFill>
                  <a:srgbClr val="FFFFFF"/>
                </a:solidFill>
              </a:rPr>
              <a:t>get things done</a:t>
            </a:r>
          </a:p>
        </p:txBody>
      </p:sp>
      <p:sp>
        <p:nvSpPr>
          <p:cNvPr id="84" name="Freeform 14"/>
          <p:cNvSpPr/>
          <p:nvPr/>
        </p:nvSpPr>
        <p:spPr>
          <a:xfrm>
            <a:off x="4859763" y="1411014"/>
            <a:ext cx="2769468" cy="1268519"/>
          </a:xfrm>
          <a:custGeom>
            <a:avLst/>
            <a:gdLst>
              <a:gd name="connsiteX0" fmla="*/ 0 w 2873986"/>
              <a:gd name="connsiteY0" fmla="*/ 57395 h 573954"/>
              <a:gd name="connsiteX1" fmla="*/ 57395 w 2873986"/>
              <a:gd name="connsiteY1" fmla="*/ 0 h 573954"/>
              <a:gd name="connsiteX2" fmla="*/ 2816591 w 2873986"/>
              <a:gd name="connsiteY2" fmla="*/ 0 h 573954"/>
              <a:gd name="connsiteX3" fmla="*/ 2873986 w 2873986"/>
              <a:gd name="connsiteY3" fmla="*/ 57395 h 573954"/>
              <a:gd name="connsiteX4" fmla="*/ 2873986 w 2873986"/>
              <a:gd name="connsiteY4" fmla="*/ 516559 h 573954"/>
              <a:gd name="connsiteX5" fmla="*/ 2816591 w 2873986"/>
              <a:gd name="connsiteY5" fmla="*/ 573954 h 573954"/>
              <a:gd name="connsiteX6" fmla="*/ 57395 w 2873986"/>
              <a:gd name="connsiteY6" fmla="*/ 573954 h 573954"/>
              <a:gd name="connsiteX7" fmla="*/ 0 w 2873986"/>
              <a:gd name="connsiteY7" fmla="*/ 516559 h 573954"/>
              <a:gd name="connsiteX8" fmla="*/ 0 w 2873986"/>
              <a:gd name="connsiteY8" fmla="*/ 57395 h 5739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73986" h="573954">
                <a:moveTo>
                  <a:pt x="0" y="57395"/>
                </a:moveTo>
                <a:cubicBezTo>
                  <a:pt x="0" y="25697"/>
                  <a:pt x="25697" y="0"/>
                  <a:pt x="57395" y="0"/>
                </a:cubicBezTo>
                <a:lnTo>
                  <a:pt x="2816591" y="0"/>
                </a:lnTo>
                <a:cubicBezTo>
                  <a:pt x="2848289" y="0"/>
                  <a:pt x="2873986" y="25697"/>
                  <a:pt x="2873986" y="57395"/>
                </a:cubicBezTo>
                <a:lnTo>
                  <a:pt x="2873986" y="516559"/>
                </a:lnTo>
                <a:cubicBezTo>
                  <a:pt x="2873986" y="548257"/>
                  <a:pt x="2848289" y="573954"/>
                  <a:pt x="2816591" y="573954"/>
                </a:cubicBezTo>
                <a:lnTo>
                  <a:pt x="57395" y="573954"/>
                </a:lnTo>
                <a:cubicBezTo>
                  <a:pt x="25697" y="573954"/>
                  <a:pt x="0" y="548257"/>
                  <a:pt x="0" y="516559"/>
                </a:cubicBezTo>
                <a:lnTo>
                  <a:pt x="0" y="57395"/>
                </a:lnTo>
                <a:close/>
              </a:path>
            </a:pathLst>
          </a:custGeom>
          <a:noFill/>
          <a:ln>
            <a:noFill/>
          </a:ln>
          <a:effectLst>
            <a:outerShdw blurRad="40000" dist="23000" dir="5400000" rotWithShape="0">
              <a:srgbClr val="000000">
                <a:alpha val="35000"/>
              </a:srgbClr>
            </a:outerShdw>
          </a:effectLst>
        </p:spPr>
        <p:txBody>
          <a:bodyPr spcFirstLastPara="1" vert="horz" wrap="square" lIns="114292" tIns="114292" rIns="114292" bIns="114292" numCol="1" spcCol="1270" anchor="ctr" anchorCtr="0">
            <a:prstTxWarp prst="textArchUp">
              <a:avLst>
                <a:gd name="adj" fmla="val 10781674"/>
              </a:avLst>
            </a:prstTxWarp>
            <a:noAutofit/>
          </a:bodyPr>
          <a:lstStyle/>
          <a:p>
            <a:pPr algn="ctr" defTabSz="1133364" eaLnBrk="0" fontAlgn="base" hangingPunct="0">
              <a:lnSpc>
                <a:spcPct val="90000"/>
              </a:lnSpc>
              <a:spcBef>
                <a:spcPct val="0"/>
              </a:spcBef>
              <a:spcAft>
                <a:spcPct val="35000"/>
              </a:spcAft>
              <a:defRPr/>
            </a:pPr>
            <a:r>
              <a:rPr lang="en-US" sz="2550" kern="0" dirty="0">
                <a:solidFill>
                  <a:srgbClr val="FFFFFF"/>
                </a:solidFill>
                <a:latin typeface="Verdana"/>
              </a:rPr>
              <a:t>Communication</a:t>
            </a:r>
          </a:p>
        </p:txBody>
      </p:sp>
      <p:sp>
        <p:nvSpPr>
          <p:cNvPr id="85" name="Freeform 15"/>
          <p:cNvSpPr/>
          <p:nvPr/>
        </p:nvSpPr>
        <p:spPr>
          <a:xfrm rot="16200000">
            <a:off x="2955508" y="3293017"/>
            <a:ext cx="2769468" cy="1268519"/>
          </a:xfrm>
          <a:custGeom>
            <a:avLst/>
            <a:gdLst>
              <a:gd name="connsiteX0" fmla="*/ 0 w 2873986"/>
              <a:gd name="connsiteY0" fmla="*/ 57395 h 573954"/>
              <a:gd name="connsiteX1" fmla="*/ 57395 w 2873986"/>
              <a:gd name="connsiteY1" fmla="*/ 0 h 573954"/>
              <a:gd name="connsiteX2" fmla="*/ 2816591 w 2873986"/>
              <a:gd name="connsiteY2" fmla="*/ 0 h 573954"/>
              <a:gd name="connsiteX3" fmla="*/ 2873986 w 2873986"/>
              <a:gd name="connsiteY3" fmla="*/ 57395 h 573954"/>
              <a:gd name="connsiteX4" fmla="*/ 2873986 w 2873986"/>
              <a:gd name="connsiteY4" fmla="*/ 516559 h 573954"/>
              <a:gd name="connsiteX5" fmla="*/ 2816591 w 2873986"/>
              <a:gd name="connsiteY5" fmla="*/ 573954 h 573954"/>
              <a:gd name="connsiteX6" fmla="*/ 57395 w 2873986"/>
              <a:gd name="connsiteY6" fmla="*/ 573954 h 573954"/>
              <a:gd name="connsiteX7" fmla="*/ 0 w 2873986"/>
              <a:gd name="connsiteY7" fmla="*/ 516559 h 573954"/>
              <a:gd name="connsiteX8" fmla="*/ 0 w 2873986"/>
              <a:gd name="connsiteY8" fmla="*/ 57395 h 5739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73986" h="573954">
                <a:moveTo>
                  <a:pt x="0" y="57395"/>
                </a:moveTo>
                <a:cubicBezTo>
                  <a:pt x="0" y="25697"/>
                  <a:pt x="25697" y="0"/>
                  <a:pt x="57395" y="0"/>
                </a:cubicBezTo>
                <a:lnTo>
                  <a:pt x="2816591" y="0"/>
                </a:lnTo>
                <a:cubicBezTo>
                  <a:pt x="2848289" y="0"/>
                  <a:pt x="2873986" y="25697"/>
                  <a:pt x="2873986" y="57395"/>
                </a:cubicBezTo>
                <a:lnTo>
                  <a:pt x="2873986" y="516559"/>
                </a:lnTo>
                <a:cubicBezTo>
                  <a:pt x="2873986" y="548257"/>
                  <a:pt x="2848289" y="573954"/>
                  <a:pt x="2816591" y="573954"/>
                </a:cubicBezTo>
                <a:lnTo>
                  <a:pt x="57395" y="573954"/>
                </a:lnTo>
                <a:cubicBezTo>
                  <a:pt x="25697" y="573954"/>
                  <a:pt x="0" y="548257"/>
                  <a:pt x="0" y="516559"/>
                </a:cubicBezTo>
                <a:lnTo>
                  <a:pt x="0" y="57395"/>
                </a:lnTo>
                <a:close/>
              </a:path>
            </a:pathLst>
          </a:custGeom>
          <a:noFill/>
          <a:ln>
            <a:noFill/>
          </a:ln>
          <a:effectLst>
            <a:outerShdw blurRad="40000" dist="23000" dir="5400000" rotWithShape="0">
              <a:srgbClr val="000000">
                <a:alpha val="35000"/>
              </a:srgbClr>
            </a:outerShdw>
          </a:effectLst>
        </p:spPr>
        <p:txBody>
          <a:bodyPr spcFirstLastPara="1" vert="horz" wrap="square" lIns="114292" tIns="114292" rIns="114292" bIns="114292" numCol="1" spcCol="1270" anchor="ctr" anchorCtr="0">
            <a:prstTxWarp prst="textArchUp">
              <a:avLst>
                <a:gd name="adj" fmla="val 10781674"/>
              </a:avLst>
            </a:prstTxWarp>
            <a:noAutofit/>
          </a:bodyPr>
          <a:lstStyle/>
          <a:p>
            <a:pPr algn="ctr" defTabSz="1133364" eaLnBrk="0" fontAlgn="base" hangingPunct="0">
              <a:lnSpc>
                <a:spcPct val="90000"/>
              </a:lnSpc>
              <a:spcBef>
                <a:spcPct val="0"/>
              </a:spcBef>
              <a:spcAft>
                <a:spcPct val="35000"/>
              </a:spcAft>
              <a:defRPr/>
            </a:pPr>
            <a:r>
              <a:rPr lang="en-US" sz="2550" kern="0" dirty="0">
                <a:solidFill>
                  <a:srgbClr val="FFFFFF"/>
                </a:solidFill>
                <a:latin typeface="Verdana"/>
              </a:rPr>
              <a:t>Collaboration</a:t>
            </a:r>
          </a:p>
        </p:txBody>
      </p:sp>
      <p:sp>
        <p:nvSpPr>
          <p:cNvPr id="86" name="Freeform 16"/>
          <p:cNvSpPr/>
          <p:nvPr/>
        </p:nvSpPr>
        <p:spPr>
          <a:xfrm>
            <a:off x="5616248" y="1460175"/>
            <a:ext cx="1254052" cy="405613"/>
          </a:xfrm>
          <a:custGeom>
            <a:avLst/>
            <a:gdLst>
              <a:gd name="connsiteX0" fmla="*/ 0 w 2873986"/>
              <a:gd name="connsiteY0" fmla="*/ 57395 h 573954"/>
              <a:gd name="connsiteX1" fmla="*/ 57395 w 2873986"/>
              <a:gd name="connsiteY1" fmla="*/ 0 h 573954"/>
              <a:gd name="connsiteX2" fmla="*/ 2816591 w 2873986"/>
              <a:gd name="connsiteY2" fmla="*/ 0 h 573954"/>
              <a:gd name="connsiteX3" fmla="*/ 2873986 w 2873986"/>
              <a:gd name="connsiteY3" fmla="*/ 57395 h 573954"/>
              <a:gd name="connsiteX4" fmla="*/ 2873986 w 2873986"/>
              <a:gd name="connsiteY4" fmla="*/ 516559 h 573954"/>
              <a:gd name="connsiteX5" fmla="*/ 2816591 w 2873986"/>
              <a:gd name="connsiteY5" fmla="*/ 573954 h 573954"/>
              <a:gd name="connsiteX6" fmla="*/ 57395 w 2873986"/>
              <a:gd name="connsiteY6" fmla="*/ 573954 h 573954"/>
              <a:gd name="connsiteX7" fmla="*/ 0 w 2873986"/>
              <a:gd name="connsiteY7" fmla="*/ 516559 h 573954"/>
              <a:gd name="connsiteX8" fmla="*/ 0 w 2873986"/>
              <a:gd name="connsiteY8" fmla="*/ 57395 h 5739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73986" h="573954">
                <a:moveTo>
                  <a:pt x="0" y="57395"/>
                </a:moveTo>
                <a:cubicBezTo>
                  <a:pt x="0" y="25697"/>
                  <a:pt x="25697" y="0"/>
                  <a:pt x="57395" y="0"/>
                </a:cubicBezTo>
                <a:lnTo>
                  <a:pt x="2816591" y="0"/>
                </a:lnTo>
                <a:cubicBezTo>
                  <a:pt x="2848289" y="0"/>
                  <a:pt x="2873986" y="25697"/>
                  <a:pt x="2873986" y="57395"/>
                </a:cubicBezTo>
                <a:lnTo>
                  <a:pt x="2873986" y="516559"/>
                </a:lnTo>
                <a:cubicBezTo>
                  <a:pt x="2873986" y="548257"/>
                  <a:pt x="2848289" y="573954"/>
                  <a:pt x="2816591" y="573954"/>
                </a:cubicBezTo>
                <a:lnTo>
                  <a:pt x="57395" y="573954"/>
                </a:lnTo>
                <a:cubicBezTo>
                  <a:pt x="25697" y="573954"/>
                  <a:pt x="0" y="548257"/>
                  <a:pt x="0" y="516559"/>
                </a:cubicBezTo>
                <a:lnTo>
                  <a:pt x="0" y="57395"/>
                </a:lnTo>
                <a:close/>
              </a:path>
            </a:pathLst>
          </a:custGeom>
          <a:noFill/>
          <a:ln>
            <a:noFill/>
          </a:ln>
          <a:effectLst>
            <a:outerShdw blurRad="40000" dist="23000" dir="5400000" rotWithShape="0">
              <a:srgbClr val="000000">
                <a:alpha val="35000"/>
              </a:srgbClr>
            </a:outerShdw>
          </a:effectLst>
        </p:spPr>
        <p:txBody>
          <a:bodyPr spcFirstLastPara="0" vert="horz" wrap="square" lIns="114292" tIns="114292" rIns="114292" bIns="114292" numCol="1" spcCol="1270" anchor="ctr" anchorCtr="0">
            <a:noAutofit/>
          </a:bodyPr>
          <a:lstStyle/>
          <a:p>
            <a:pPr algn="ctr" defTabSz="1133364" eaLnBrk="0" fontAlgn="base" hangingPunct="0">
              <a:lnSpc>
                <a:spcPct val="90000"/>
              </a:lnSpc>
              <a:spcBef>
                <a:spcPct val="0"/>
              </a:spcBef>
              <a:defRPr/>
            </a:pPr>
            <a:r>
              <a:rPr lang="en-US" sz="918" kern="0" dirty="0">
                <a:solidFill>
                  <a:srgbClr val="FFFFFF"/>
                </a:solidFill>
                <a:latin typeface="Verdana"/>
              </a:rPr>
              <a:t>Skype and </a:t>
            </a:r>
          </a:p>
          <a:p>
            <a:pPr algn="ctr" defTabSz="1133364" eaLnBrk="0" fontAlgn="base" hangingPunct="0">
              <a:lnSpc>
                <a:spcPct val="90000"/>
              </a:lnSpc>
              <a:spcBef>
                <a:spcPct val="0"/>
              </a:spcBef>
              <a:defRPr/>
            </a:pPr>
            <a:r>
              <a:rPr lang="en-US" sz="918" kern="0" dirty="0">
                <a:solidFill>
                  <a:srgbClr val="FFFFFF"/>
                </a:solidFill>
                <a:latin typeface="Verdana"/>
              </a:rPr>
              <a:t>telephony</a:t>
            </a:r>
          </a:p>
        </p:txBody>
      </p:sp>
      <p:sp>
        <p:nvSpPr>
          <p:cNvPr id="87" name="Freeform 17"/>
          <p:cNvSpPr/>
          <p:nvPr/>
        </p:nvSpPr>
        <p:spPr>
          <a:xfrm rot="19800000">
            <a:off x="4417709" y="1791041"/>
            <a:ext cx="1254052" cy="405613"/>
          </a:xfrm>
          <a:custGeom>
            <a:avLst/>
            <a:gdLst>
              <a:gd name="connsiteX0" fmla="*/ 0 w 2873986"/>
              <a:gd name="connsiteY0" fmla="*/ 57395 h 573954"/>
              <a:gd name="connsiteX1" fmla="*/ 57395 w 2873986"/>
              <a:gd name="connsiteY1" fmla="*/ 0 h 573954"/>
              <a:gd name="connsiteX2" fmla="*/ 2816591 w 2873986"/>
              <a:gd name="connsiteY2" fmla="*/ 0 h 573954"/>
              <a:gd name="connsiteX3" fmla="*/ 2873986 w 2873986"/>
              <a:gd name="connsiteY3" fmla="*/ 57395 h 573954"/>
              <a:gd name="connsiteX4" fmla="*/ 2873986 w 2873986"/>
              <a:gd name="connsiteY4" fmla="*/ 516559 h 573954"/>
              <a:gd name="connsiteX5" fmla="*/ 2816591 w 2873986"/>
              <a:gd name="connsiteY5" fmla="*/ 573954 h 573954"/>
              <a:gd name="connsiteX6" fmla="*/ 57395 w 2873986"/>
              <a:gd name="connsiteY6" fmla="*/ 573954 h 573954"/>
              <a:gd name="connsiteX7" fmla="*/ 0 w 2873986"/>
              <a:gd name="connsiteY7" fmla="*/ 516559 h 573954"/>
              <a:gd name="connsiteX8" fmla="*/ 0 w 2873986"/>
              <a:gd name="connsiteY8" fmla="*/ 57395 h 5739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73986" h="573954">
                <a:moveTo>
                  <a:pt x="0" y="57395"/>
                </a:moveTo>
                <a:cubicBezTo>
                  <a:pt x="0" y="25697"/>
                  <a:pt x="25697" y="0"/>
                  <a:pt x="57395" y="0"/>
                </a:cubicBezTo>
                <a:lnTo>
                  <a:pt x="2816591" y="0"/>
                </a:lnTo>
                <a:cubicBezTo>
                  <a:pt x="2848289" y="0"/>
                  <a:pt x="2873986" y="25697"/>
                  <a:pt x="2873986" y="57395"/>
                </a:cubicBezTo>
                <a:lnTo>
                  <a:pt x="2873986" y="516559"/>
                </a:lnTo>
                <a:cubicBezTo>
                  <a:pt x="2873986" y="548257"/>
                  <a:pt x="2848289" y="573954"/>
                  <a:pt x="2816591" y="573954"/>
                </a:cubicBezTo>
                <a:lnTo>
                  <a:pt x="57395" y="573954"/>
                </a:lnTo>
                <a:cubicBezTo>
                  <a:pt x="25697" y="573954"/>
                  <a:pt x="0" y="548257"/>
                  <a:pt x="0" y="516559"/>
                </a:cubicBezTo>
                <a:lnTo>
                  <a:pt x="0" y="57395"/>
                </a:lnTo>
                <a:close/>
              </a:path>
            </a:pathLst>
          </a:custGeom>
          <a:noFill/>
          <a:ln>
            <a:noFill/>
          </a:ln>
          <a:effectLst>
            <a:outerShdw blurRad="40000" dist="23000" dir="5400000" rotWithShape="0">
              <a:srgbClr val="000000">
                <a:alpha val="35000"/>
              </a:srgbClr>
            </a:outerShdw>
          </a:effectLst>
        </p:spPr>
        <p:txBody>
          <a:bodyPr spcFirstLastPara="0" vert="horz" wrap="square" lIns="114292" tIns="114292" rIns="114292" bIns="114292" numCol="1" spcCol="1270" anchor="ctr" anchorCtr="0">
            <a:noAutofit/>
          </a:bodyPr>
          <a:lstStyle/>
          <a:p>
            <a:pPr algn="ctr" defTabSz="1133364" eaLnBrk="0" fontAlgn="base" hangingPunct="0">
              <a:lnSpc>
                <a:spcPct val="90000"/>
              </a:lnSpc>
              <a:spcBef>
                <a:spcPct val="0"/>
              </a:spcBef>
              <a:defRPr/>
            </a:pPr>
            <a:r>
              <a:rPr lang="en-US" sz="918" kern="0" dirty="0">
                <a:solidFill>
                  <a:srgbClr val="FFFFFF"/>
                </a:solidFill>
                <a:latin typeface="Verdana"/>
              </a:rPr>
              <a:t>Mail and</a:t>
            </a:r>
          </a:p>
          <a:p>
            <a:pPr algn="ctr" defTabSz="1133364" eaLnBrk="0" fontAlgn="base" hangingPunct="0">
              <a:lnSpc>
                <a:spcPct val="90000"/>
              </a:lnSpc>
              <a:spcBef>
                <a:spcPct val="0"/>
              </a:spcBef>
              <a:defRPr/>
            </a:pPr>
            <a:r>
              <a:rPr lang="en-US" sz="918" kern="0" dirty="0">
                <a:solidFill>
                  <a:srgbClr val="FFFFFF"/>
                </a:solidFill>
                <a:latin typeface="Verdana"/>
              </a:rPr>
              <a:t>calendars</a:t>
            </a:r>
          </a:p>
        </p:txBody>
      </p:sp>
      <p:sp>
        <p:nvSpPr>
          <p:cNvPr id="88" name="Freeform 18"/>
          <p:cNvSpPr/>
          <p:nvPr/>
        </p:nvSpPr>
        <p:spPr>
          <a:xfrm rot="18000000">
            <a:off x="3686558" y="2535901"/>
            <a:ext cx="1254052" cy="405613"/>
          </a:xfrm>
          <a:custGeom>
            <a:avLst/>
            <a:gdLst>
              <a:gd name="connsiteX0" fmla="*/ 0 w 2873986"/>
              <a:gd name="connsiteY0" fmla="*/ 57395 h 573954"/>
              <a:gd name="connsiteX1" fmla="*/ 57395 w 2873986"/>
              <a:gd name="connsiteY1" fmla="*/ 0 h 573954"/>
              <a:gd name="connsiteX2" fmla="*/ 2816591 w 2873986"/>
              <a:gd name="connsiteY2" fmla="*/ 0 h 573954"/>
              <a:gd name="connsiteX3" fmla="*/ 2873986 w 2873986"/>
              <a:gd name="connsiteY3" fmla="*/ 57395 h 573954"/>
              <a:gd name="connsiteX4" fmla="*/ 2873986 w 2873986"/>
              <a:gd name="connsiteY4" fmla="*/ 516559 h 573954"/>
              <a:gd name="connsiteX5" fmla="*/ 2816591 w 2873986"/>
              <a:gd name="connsiteY5" fmla="*/ 573954 h 573954"/>
              <a:gd name="connsiteX6" fmla="*/ 57395 w 2873986"/>
              <a:gd name="connsiteY6" fmla="*/ 573954 h 573954"/>
              <a:gd name="connsiteX7" fmla="*/ 0 w 2873986"/>
              <a:gd name="connsiteY7" fmla="*/ 516559 h 573954"/>
              <a:gd name="connsiteX8" fmla="*/ 0 w 2873986"/>
              <a:gd name="connsiteY8" fmla="*/ 57395 h 5739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73986" h="573954">
                <a:moveTo>
                  <a:pt x="0" y="57395"/>
                </a:moveTo>
                <a:cubicBezTo>
                  <a:pt x="0" y="25697"/>
                  <a:pt x="25697" y="0"/>
                  <a:pt x="57395" y="0"/>
                </a:cubicBezTo>
                <a:lnTo>
                  <a:pt x="2816591" y="0"/>
                </a:lnTo>
                <a:cubicBezTo>
                  <a:pt x="2848289" y="0"/>
                  <a:pt x="2873986" y="25697"/>
                  <a:pt x="2873986" y="57395"/>
                </a:cubicBezTo>
                <a:lnTo>
                  <a:pt x="2873986" y="516559"/>
                </a:lnTo>
                <a:cubicBezTo>
                  <a:pt x="2873986" y="548257"/>
                  <a:pt x="2848289" y="573954"/>
                  <a:pt x="2816591" y="573954"/>
                </a:cubicBezTo>
                <a:lnTo>
                  <a:pt x="57395" y="573954"/>
                </a:lnTo>
                <a:cubicBezTo>
                  <a:pt x="25697" y="573954"/>
                  <a:pt x="0" y="548257"/>
                  <a:pt x="0" y="516559"/>
                </a:cubicBezTo>
                <a:lnTo>
                  <a:pt x="0" y="57395"/>
                </a:lnTo>
                <a:close/>
              </a:path>
            </a:pathLst>
          </a:custGeom>
          <a:noFill/>
          <a:ln>
            <a:noFill/>
          </a:ln>
          <a:effectLst>
            <a:outerShdw blurRad="40000" dist="23000" dir="5400000" rotWithShape="0">
              <a:srgbClr val="000000">
                <a:alpha val="35000"/>
              </a:srgbClr>
            </a:outerShdw>
          </a:effectLst>
        </p:spPr>
        <p:txBody>
          <a:bodyPr spcFirstLastPara="0" vert="horz" wrap="square" lIns="114292" tIns="114292" rIns="114292" bIns="114292" numCol="1" spcCol="1270" anchor="ctr" anchorCtr="0">
            <a:noAutofit/>
          </a:bodyPr>
          <a:lstStyle/>
          <a:p>
            <a:pPr algn="ctr" defTabSz="1133364" eaLnBrk="0" fontAlgn="base" hangingPunct="0">
              <a:lnSpc>
                <a:spcPct val="90000"/>
              </a:lnSpc>
              <a:spcBef>
                <a:spcPct val="0"/>
              </a:spcBef>
              <a:defRPr/>
            </a:pPr>
            <a:r>
              <a:rPr lang="en-US" sz="918" kern="0" dirty="0">
                <a:solidFill>
                  <a:srgbClr val="FFFFFF"/>
                </a:solidFill>
                <a:latin typeface="Verdana"/>
              </a:rPr>
              <a:t>Social</a:t>
            </a:r>
          </a:p>
        </p:txBody>
      </p:sp>
      <p:sp>
        <p:nvSpPr>
          <p:cNvPr id="89" name="Freeform 19"/>
          <p:cNvSpPr/>
          <p:nvPr/>
        </p:nvSpPr>
        <p:spPr>
          <a:xfrm rot="1800000">
            <a:off x="6692680" y="1744949"/>
            <a:ext cx="1254052" cy="405613"/>
          </a:xfrm>
          <a:custGeom>
            <a:avLst/>
            <a:gdLst>
              <a:gd name="connsiteX0" fmla="*/ 0 w 2873986"/>
              <a:gd name="connsiteY0" fmla="*/ 57395 h 573954"/>
              <a:gd name="connsiteX1" fmla="*/ 57395 w 2873986"/>
              <a:gd name="connsiteY1" fmla="*/ 0 h 573954"/>
              <a:gd name="connsiteX2" fmla="*/ 2816591 w 2873986"/>
              <a:gd name="connsiteY2" fmla="*/ 0 h 573954"/>
              <a:gd name="connsiteX3" fmla="*/ 2873986 w 2873986"/>
              <a:gd name="connsiteY3" fmla="*/ 57395 h 573954"/>
              <a:gd name="connsiteX4" fmla="*/ 2873986 w 2873986"/>
              <a:gd name="connsiteY4" fmla="*/ 516559 h 573954"/>
              <a:gd name="connsiteX5" fmla="*/ 2816591 w 2873986"/>
              <a:gd name="connsiteY5" fmla="*/ 573954 h 573954"/>
              <a:gd name="connsiteX6" fmla="*/ 57395 w 2873986"/>
              <a:gd name="connsiteY6" fmla="*/ 573954 h 573954"/>
              <a:gd name="connsiteX7" fmla="*/ 0 w 2873986"/>
              <a:gd name="connsiteY7" fmla="*/ 516559 h 573954"/>
              <a:gd name="connsiteX8" fmla="*/ 0 w 2873986"/>
              <a:gd name="connsiteY8" fmla="*/ 57395 h 5739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73986" h="573954">
                <a:moveTo>
                  <a:pt x="0" y="57395"/>
                </a:moveTo>
                <a:cubicBezTo>
                  <a:pt x="0" y="25697"/>
                  <a:pt x="25697" y="0"/>
                  <a:pt x="57395" y="0"/>
                </a:cubicBezTo>
                <a:lnTo>
                  <a:pt x="2816591" y="0"/>
                </a:lnTo>
                <a:cubicBezTo>
                  <a:pt x="2848289" y="0"/>
                  <a:pt x="2873986" y="25697"/>
                  <a:pt x="2873986" y="57395"/>
                </a:cubicBezTo>
                <a:lnTo>
                  <a:pt x="2873986" y="516559"/>
                </a:lnTo>
                <a:cubicBezTo>
                  <a:pt x="2873986" y="548257"/>
                  <a:pt x="2848289" y="573954"/>
                  <a:pt x="2816591" y="573954"/>
                </a:cubicBezTo>
                <a:lnTo>
                  <a:pt x="57395" y="573954"/>
                </a:lnTo>
                <a:cubicBezTo>
                  <a:pt x="25697" y="573954"/>
                  <a:pt x="0" y="548257"/>
                  <a:pt x="0" y="516559"/>
                </a:cubicBezTo>
                <a:lnTo>
                  <a:pt x="0" y="57395"/>
                </a:lnTo>
                <a:close/>
              </a:path>
            </a:pathLst>
          </a:custGeom>
          <a:noFill/>
          <a:ln>
            <a:noFill/>
          </a:ln>
          <a:effectLst>
            <a:outerShdw blurRad="40000" dist="23000" dir="5400000" rotWithShape="0">
              <a:srgbClr val="000000">
                <a:alpha val="35000"/>
              </a:srgbClr>
            </a:outerShdw>
          </a:effectLst>
        </p:spPr>
        <p:txBody>
          <a:bodyPr spcFirstLastPara="0" vert="horz" wrap="square" lIns="114292" tIns="114292" rIns="114292" bIns="114292" numCol="1" spcCol="1270" anchor="ctr" anchorCtr="0">
            <a:noAutofit/>
          </a:bodyPr>
          <a:lstStyle/>
          <a:p>
            <a:pPr algn="ctr" defTabSz="1133364" eaLnBrk="0" fontAlgn="base" hangingPunct="0">
              <a:lnSpc>
                <a:spcPct val="90000"/>
              </a:lnSpc>
              <a:spcBef>
                <a:spcPct val="0"/>
              </a:spcBef>
              <a:defRPr/>
            </a:pPr>
            <a:r>
              <a:rPr lang="en-US" sz="918" kern="0" dirty="0">
                <a:solidFill>
                  <a:srgbClr val="FFFFFF"/>
                </a:solidFill>
                <a:latin typeface="Verdana"/>
              </a:rPr>
              <a:t>Intranets</a:t>
            </a:r>
          </a:p>
          <a:p>
            <a:pPr algn="ctr" defTabSz="1133364" eaLnBrk="0" fontAlgn="base" hangingPunct="0">
              <a:lnSpc>
                <a:spcPct val="90000"/>
              </a:lnSpc>
              <a:spcBef>
                <a:spcPct val="0"/>
              </a:spcBef>
              <a:defRPr/>
            </a:pPr>
            <a:r>
              <a:rPr lang="en-US" sz="918" kern="0" dirty="0">
                <a:solidFill>
                  <a:srgbClr val="FFFFFF"/>
                </a:solidFill>
                <a:latin typeface="Verdana"/>
              </a:rPr>
              <a:t>and websites</a:t>
            </a:r>
          </a:p>
        </p:txBody>
      </p:sp>
      <p:sp>
        <p:nvSpPr>
          <p:cNvPr id="90" name="Freeform 20"/>
          <p:cNvSpPr/>
          <p:nvPr/>
        </p:nvSpPr>
        <p:spPr>
          <a:xfrm rot="16200000">
            <a:off x="3386889" y="3736591"/>
            <a:ext cx="1254052" cy="405613"/>
          </a:xfrm>
          <a:custGeom>
            <a:avLst/>
            <a:gdLst>
              <a:gd name="connsiteX0" fmla="*/ 0 w 2873986"/>
              <a:gd name="connsiteY0" fmla="*/ 57395 h 573954"/>
              <a:gd name="connsiteX1" fmla="*/ 57395 w 2873986"/>
              <a:gd name="connsiteY1" fmla="*/ 0 h 573954"/>
              <a:gd name="connsiteX2" fmla="*/ 2816591 w 2873986"/>
              <a:gd name="connsiteY2" fmla="*/ 0 h 573954"/>
              <a:gd name="connsiteX3" fmla="*/ 2873986 w 2873986"/>
              <a:gd name="connsiteY3" fmla="*/ 57395 h 573954"/>
              <a:gd name="connsiteX4" fmla="*/ 2873986 w 2873986"/>
              <a:gd name="connsiteY4" fmla="*/ 516559 h 573954"/>
              <a:gd name="connsiteX5" fmla="*/ 2816591 w 2873986"/>
              <a:gd name="connsiteY5" fmla="*/ 573954 h 573954"/>
              <a:gd name="connsiteX6" fmla="*/ 57395 w 2873986"/>
              <a:gd name="connsiteY6" fmla="*/ 573954 h 573954"/>
              <a:gd name="connsiteX7" fmla="*/ 0 w 2873986"/>
              <a:gd name="connsiteY7" fmla="*/ 516559 h 573954"/>
              <a:gd name="connsiteX8" fmla="*/ 0 w 2873986"/>
              <a:gd name="connsiteY8" fmla="*/ 57395 h 5739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73986" h="573954">
                <a:moveTo>
                  <a:pt x="0" y="57395"/>
                </a:moveTo>
                <a:cubicBezTo>
                  <a:pt x="0" y="25697"/>
                  <a:pt x="25697" y="0"/>
                  <a:pt x="57395" y="0"/>
                </a:cubicBezTo>
                <a:lnTo>
                  <a:pt x="2816591" y="0"/>
                </a:lnTo>
                <a:cubicBezTo>
                  <a:pt x="2848289" y="0"/>
                  <a:pt x="2873986" y="25697"/>
                  <a:pt x="2873986" y="57395"/>
                </a:cubicBezTo>
                <a:lnTo>
                  <a:pt x="2873986" y="516559"/>
                </a:lnTo>
                <a:cubicBezTo>
                  <a:pt x="2873986" y="548257"/>
                  <a:pt x="2848289" y="573954"/>
                  <a:pt x="2816591" y="573954"/>
                </a:cubicBezTo>
                <a:lnTo>
                  <a:pt x="57395" y="573954"/>
                </a:lnTo>
                <a:cubicBezTo>
                  <a:pt x="25697" y="573954"/>
                  <a:pt x="0" y="548257"/>
                  <a:pt x="0" y="516559"/>
                </a:cubicBezTo>
                <a:lnTo>
                  <a:pt x="0" y="57395"/>
                </a:lnTo>
                <a:close/>
              </a:path>
            </a:pathLst>
          </a:custGeom>
          <a:noFill/>
          <a:ln>
            <a:noFill/>
          </a:ln>
          <a:effectLst>
            <a:outerShdw blurRad="40000" dist="23000" dir="5400000" rotWithShape="0">
              <a:srgbClr val="000000">
                <a:alpha val="35000"/>
              </a:srgbClr>
            </a:outerShdw>
          </a:effectLst>
        </p:spPr>
        <p:txBody>
          <a:bodyPr spcFirstLastPara="0" vert="horz" wrap="square" lIns="114292" tIns="114292" rIns="114292" bIns="114292" numCol="1" spcCol="1270" anchor="ctr" anchorCtr="0">
            <a:noAutofit/>
          </a:bodyPr>
          <a:lstStyle/>
          <a:p>
            <a:pPr algn="ctr" defTabSz="1133364" eaLnBrk="0" fontAlgn="base" hangingPunct="0">
              <a:lnSpc>
                <a:spcPct val="90000"/>
              </a:lnSpc>
              <a:spcBef>
                <a:spcPct val="0"/>
              </a:spcBef>
              <a:defRPr/>
            </a:pPr>
            <a:r>
              <a:rPr lang="en-US" sz="918" kern="0" dirty="0">
                <a:solidFill>
                  <a:srgbClr val="FFFFFF"/>
                </a:solidFill>
                <a:latin typeface="Verdana"/>
              </a:rPr>
              <a:t>Team-work</a:t>
            </a:r>
          </a:p>
          <a:p>
            <a:pPr algn="ctr" defTabSz="1133364" eaLnBrk="0" fontAlgn="base" hangingPunct="0">
              <a:lnSpc>
                <a:spcPct val="90000"/>
              </a:lnSpc>
              <a:spcBef>
                <a:spcPct val="0"/>
              </a:spcBef>
              <a:defRPr/>
            </a:pPr>
            <a:r>
              <a:rPr lang="en-US" sz="918" kern="0" dirty="0">
                <a:solidFill>
                  <a:srgbClr val="FFFFFF"/>
                </a:solidFill>
                <a:latin typeface="Verdana"/>
              </a:rPr>
              <a:t>and calendars</a:t>
            </a:r>
          </a:p>
        </p:txBody>
      </p:sp>
      <p:sp>
        <p:nvSpPr>
          <p:cNvPr id="91" name="Freeform 21"/>
          <p:cNvSpPr/>
          <p:nvPr/>
        </p:nvSpPr>
        <p:spPr>
          <a:xfrm rot="5400000">
            <a:off x="6712526" y="3280188"/>
            <a:ext cx="2769468" cy="1268519"/>
          </a:xfrm>
          <a:custGeom>
            <a:avLst/>
            <a:gdLst>
              <a:gd name="connsiteX0" fmla="*/ 0 w 2873986"/>
              <a:gd name="connsiteY0" fmla="*/ 57395 h 573954"/>
              <a:gd name="connsiteX1" fmla="*/ 57395 w 2873986"/>
              <a:gd name="connsiteY1" fmla="*/ 0 h 573954"/>
              <a:gd name="connsiteX2" fmla="*/ 2816591 w 2873986"/>
              <a:gd name="connsiteY2" fmla="*/ 0 h 573954"/>
              <a:gd name="connsiteX3" fmla="*/ 2873986 w 2873986"/>
              <a:gd name="connsiteY3" fmla="*/ 57395 h 573954"/>
              <a:gd name="connsiteX4" fmla="*/ 2873986 w 2873986"/>
              <a:gd name="connsiteY4" fmla="*/ 516559 h 573954"/>
              <a:gd name="connsiteX5" fmla="*/ 2816591 w 2873986"/>
              <a:gd name="connsiteY5" fmla="*/ 573954 h 573954"/>
              <a:gd name="connsiteX6" fmla="*/ 57395 w 2873986"/>
              <a:gd name="connsiteY6" fmla="*/ 573954 h 573954"/>
              <a:gd name="connsiteX7" fmla="*/ 0 w 2873986"/>
              <a:gd name="connsiteY7" fmla="*/ 516559 h 573954"/>
              <a:gd name="connsiteX8" fmla="*/ 0 w 2873986"/>
              <a:gd name="connsiteY8" fmla="*/ 57395 h 5739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73986" h="573954">
                <a:moveTo>
                  <a:pt x="0" y="57395"/>
                </a:moveTo>
                <a:cubicBezTo>
                  <a:pt x="0" y="25697"/>
                  <a:pt x="25697" y="0"/>
                  <a:pt x="57395" y="0"/>
                </a:cubicBezTo>
                <a:lnTo>
                  <a:pt x="2816591" y="0"/>
                </a:lnTo>
                <a:cubicBezTo>
                  <a:pt x="2848289" y="0"/>
                  <a:pt x="2873986" y="25697"/>
                  <a:pt x="2873986" y="57395"/>
                </a:cubicBezTo>
                <a:lnTo>
                  <a:pt x="2873986" y="516559"/>
                </a:lnTo>
                <a:cubicBezTo>
                  <a:pt x="2873986" y="548257"/>
                  <a:pt x="2848289" y="573954"/>
                  <a:pt x="2816591" y="573954"/>
                </a:cubicBezTo>
                <a:lnTo>
                  <a:pt x="57395" y="573954"/>
                </a:lnTo>
                <a:cubicBezTo>
                  <a:pt x="25697" y="573954"/>
                  <a:pt x="0" y="548257"/>
                  <a:pt x="0" y="516559"/>
                </a:cubicBezTo>
                <a:lnTo>
                  <a:pt x="0" y="57395"/>
                </a:lnTo>
                <a:close/>
              </a:path>
            </a:pathLst>
          </a:custGeom>
          <a:noFill/>
          <a:ln>
            <a:noFill/>
          </a:ln>
          <a:effectLst>
            <a:outerShdw blurRad="40000" dist="23000" dir="5400000" rotWithShape="0">
              <a:srgbClr val="000000">
                <a:alpha val="35000"/>
              </a:srgbClr>
            </a:outerShdw>
          </a:effectLst>
        </p:spPr>
        <p:txBody>
          <a:bodyPr spcFirstLastPara="1" vert="horz" wrap="square" lIns="114292" tIns="114292" rIns="114292" bIns="114292" numCol="1" spcCol="1270" anchor="ctr" anchorCtr="0">
            <a:prstTxWarp prst="textArchUp">
              <a:avLst>
                <a:gd name="adj" fmla="val 10781674"/>
              </a:avLst>
            </a:prstTxWarp>
            <a:noAutofit/>
          </a:bodyPr>
          <a:lstStyle/>
          <a:p>
            <a:pPr algn="ctr" defTabSz="1133364" eaLnBrk="0" fontAlgn="base" hangingPunct="0">
              <a:lnSpc>
                <a:spcPct val="90000"/>
              </a:lnSpc>
              <a:spcBef>
                <a:spcPct val="0"/>
              </a:spcBef>
              <a:spcAft>
                <a:spcPct val="35000"/>
              </a:spcAft>
              <a:defRPr/>
            </a:pPr>
            <a:r>
              <a:rPr lang="en-US" sz="2550" kern="0" dirty="0">
                <a:solidFill>
                  <a:srgbClr val="FFFFFF"/>
                </a:solidFill>
                <a:latin typeface="Verdana"/>
              </a:rPr>
              <a:t>Productivity</a:t>
            </a:r>
          </a:p>
        </p:txBody>
      </p:sp>
      <p:sp>
        <p:nvSpPr>
          <p:cNvPr id="92" name="Freeform 22"/>
          <p:cNvSpPr/>
          <p:nvPr/>
        </p:nvSpPr>
        <p:spPr>
          <a:xfrm rot="14400000">
            <a:off x="3702999" y="4922637"/>
            <a:ext cx="1254052" cy="405613"/>
          </a:xfrm>
          <a:custGeom>
            <a:avLst/>
            <a:gdLst>
              <a:gd name="connsiteX0" fmla="*/ 0 w 2873986"/>
              <a:gd name="connsiteY0" fmla="*/ 57395 h 573954"/>
              <a:gd name="connsiteX1" fmla="*/ 57395 w 2873986"/>
              <a:gd name="connsiteY1" fmla="*/ 0 h 573954"/>
              <a:gd name="connsiteX2" fmla="*/ 2816591 w 2873986"/>
              <a:gd name="connsiteY2" fmla="*/ 0 h 573954"/>
              <a:gd name="connsiteX3" fmla="*/ 2873986 w 2873986"/>
              <a:gd name="connsiteY3" fmla="*/ 57395 h 573954"/>
              <a:gd name="connsiteX4" fmla="*/ 2873986 w 2873986"/>
              <a:gd name="connsiteY4" fmla="*/ 516559 h 573954"/>
              <a:gd name="connsiteX5" fmla="*/ 2816591 w 2873986"/>
              <a:gd name="connsiteY5" fmla="*/ 573954 h 573954"/>
              <a:gd name="connsiteX6" fmla="*/ 57395 w 2873986"/>
              <a:gd name="connsiteY6" fmla="*/ 573954 h 573954"/>
              <a:gd name="connsiteX7" fmla="*/ 0 w 2873986"/>
              <a:gd name="connsiteY7" fmla="*/ 516559 h 573954"/>
              <a:gd name="connsiteX8" fmla="*/ 0 w 2873986"/>
              <a:gd name="connsiteY8" fmla="*/ 57395 h 5739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73986" h="573954">
                <a:moveTo>
                  <a:pt x="0" y="57395"/>
                </a:moveTo>
                <a:cubicBezTo>
                  <a:pt x="0" y="25697"/>
                  <a:pt x="25697" y="0"/>
                  <a:pt x="57395" y="0"/>
                </a:cubicBezTo>
                <a:lnTo>
                  <a:pt x="2816591" y="0"/>
                </a:lnTo>
                <a:cubicBezTo>
                  <a:pt x="2848289" y="0"/>
                  <a:pt x="2873986" y="25697"/>
                  <a:pt x="2873986" y="57395"/>
                </a:cubicBezTo>
                <a:lnTo>
                  <a:pt x="2873986" y="516559"/>
                </a:lnTo>
                <a:cubicBezTo>
                  <a:pt x="2873986" y="548257"/>
                  <a:pt x="2848289" y="573954"/>
                  <a:pt x="2816591" y="573954"/>
                </a:cubicBezTo>
                <a:lnTo>
                  <a:pt x="57395" y="573954"/>
                </a:lnTo>
                <a:cubicBezTo>
                  <a:pt x="25697" y="573954"/>
                  <a:pt x="0" y="548257"/>
                  <a:pt x="0" y="516559"/>
                </a:cubicBezTo>
                <a:lnTo>
                  <a:pt x="0" y="57395"/>
                </a:lnTo>
                <a:close/>
              </a:path>
            </a:pathLst>
          </a:custGeom>
          <a:noFill/>
          <a:ln>
            <a:noFill/>
          </a:ln>
          <a:effectLst>
            <a:outerShdw blurRad="40000" dist="23000" dir="5400000" rotWithShape="0">
              <a:srgbClr val="000000">
                <a:alpha val="35000"/>
              </a:srgbClr>
            </a:outerShdw>
          </a:effectLst>
        </p:spPr>
        <p:txBody>
          <a:bodyPr spcFirstLastPara="0" vert="horz" wrap="square" lIns="114292" tIns="114292" rIns="114292" bIns="114292" numCol="1" spcCol="1270" anchor="ctr" anchorCtr="0">
            <a:noAutofit/>
          </a:bodyPr>
          <a:lstStyle/>
          <a:p>
            <a:pPr algn="ctr" defTabSz="1133364" eaLnBrk="0" fontAlgn="base" hangingPunct="0">
              <a:lnSpc>
                <a:spcPct val="90000"/>
              </a:lnSpc>
              <a:spcBef>
                <a:spcPct val="0"/>
              </a:spcBef>
              <a:defRPr/>
            </a:pPr>
            <a:r>
              <a:rPr lang="en-US" sz="918" kern="0" dirty="0">
                <a:solidFill>
                  <a:srgbClr val="FFFFFF"/>
                </a:solidFill>
                <a:latin typeface="Verdana"/>
              </a:rPr>
              <a:t>Documents</a:t>
            </a:r>
          </a:p>
          <a:p>
            <a:pPr algn="ctr" defTabSz="1133364" eaLnBrk="0" fontAlgn="base" hangingPunct="0">
              <a:lnSpc>
                <a:spcPct val="90000"/>
              </a:lnSpc>
              <a:spcBef>
                <a:spcPct val="0"/>
              </a:spcBef>
              <a:defRPr/>
            </a:pPr>
            <a:r>
              <a:rPr lang="en-US" sz="918" kern="0" dirty="0">
                <a:solidFill>
                  <a:srgbClr val="FFFFFF"/>
                </a:solidFill>
                <a:latin typeface="Verdana"/>
              </a:rPr>
              <a:t>and file-sharing</a:t>
            </a:r>
          </a:p>
        </p:txBody>
      </p:sp>
      <p:sp>
        <p:nvSpPr>
          <p:cNvPr id="93" name="Freeform 23"/>
          <p:cNvSpPr/>
          <p:nvPr/>
        </p:nvSpPr>
        <p:spPr>
          <a:xfrm rot="3600000">
            <a:off x="7534394" y="2541816"/>
            <a:ext cx="1254052" cy="405613"/>
          </a:xfrm>
          <a:custGeom>
            <a:avLst/>
            <a:gdLst>
              <a:gd name="connsiteX0" fmla="*/ 0 w 2873986"/>
              <a:gd name="connsiteY0" fmla="*/ 57395 h 573954"/>
              <a:gd name="connsiteX1" fmla="*/ 57395 w 2873986"/>
              <a:gd name="connsiteY1" fmla="*/ 0 h 573954"/>
              <a:gd name="connsiteX2" fmla="*/ 2816591 w 2873986"/>
              <a:gd name="connsiteY2" fmla="*/ 0 h 573954"/>
              <a:gd name="connsiteX3" fmla="*/ 2873986 w 2873986"/>
              <a:gd name="connsiteY3" fmla="*/ 57395 h 573954"/>
              <a:gd name="connsiteX4" fmla="*/ 2873986 w 2873986"/>
              <a:gd name="connsiteY4" fmla="*/ 516559 h 573954"/>
              <a:gd name="connsiteX5" fmla="*/ 2816591 w 2873986"/>
              <a:gd name="connsiteY5" fmla="*/ 573954 h 573954"/>
              <a:gd name="connsiteX6" fmla="*/ 57395 w 2873986"/>
              <a:gd name="connsiteY6" fmla="*/ 573954 h 573954"/>
              <a:gd name="connsiteX7" fmla="*/ 0 w 2873986"/>
              <a:gd name="connsiteY7" fmla="*/ 516559 h 573954"/>
              <a:gd name="connsiteX8" fmla="*/ 0 w 2873986"/>
              <a:gd name="connsiteY8" fmla="*/ 57395 h 5739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73986" h="573954">
                <a:moveTo>
                  <a:pt x="0" y="57395"/>
                </a:moveTo>
                <a:cubicBezTo>
                  <a:pt x="0" y="25697"/>
                  <a:pt x="25697" y="0"/>
                  <a:pt x="57395" y="0"/>
                </a:cubicBezTo>
                <a:lnTo>
                  <a:pt x="2816591" y="0"/>
                </a:lnTo>
                <a:cubicBezTo>
                  <a:pt x="2848289" y="0"/>
                  <a:pt x="2873986" y="25697"/>
                  <a:pt x="2873986" y="57395"/>
                </a:cubicBezTo>
                <a:lnTo>
                  <a:pt x="2873986" y="516559"/>
                </a:lnTo>
                <a:cubicBezTo>
                  <a:pt x="2873986" y="548257"/>
                  <a:pt x="2848289" y="573954"/>
                  <a:pt x="2816591" y="573954"/>
                </a:cubicBezTo>
                <a:lnTo>
                  <a:pt x="57395" y="573954"/>
                </a:lnTo>
                <a:cubicBezTo>
                  <a:pt x="25697" y="573954"/>
                  <a:pt x="0" y="548257"/>
                  <a:pt x="0" y="516559"/>
                </a:cubicBezTo>
                <a:lnTo>
                  <a:pt x="0" y="57395"/>
                </a:lnTo>
                <a:close/>
              </a:path>
            </a:pathLst>
          </a:custGeom>
          <a:noFill/>
          <a:ln>
            <a:noFill/>
          </a:ln>
          <a:effectLst>
            <a:outerShdw blurRad="40000" dist="23000" dir="5400000" rotWithShape="0">
              <a:srgbClr val="000000">
                <a:alpha val="35000"/>
              </a:srgbClr>
            </a:outerShdw>
          </a:effectLst>
        </p:spPr>
        <p:txBody>
          <a:bodyPr spcFirstLastPara="0" vert="horz" wrap="square" lIns="114292" tIns="114292" rIns="114292" bIns="114292" numCol="1" spcCol="1270" anchor="ctr" anchorCtr="0">
            <a:noAutofit/>
          </a:bodyPr>
          <a:lstStyle/>
          <a:p>
            <a:pPr algn="ctr" defTabSz="1133364" eaLnBrk="0" fontAlgn="base" hangingPunct="0">
              <a:lnSpc>
                <a:spcPct val="90000"/>
              </a:lnSpc>
              <a:spcBef>
                <a:spcPct val="0"/>
              </a:spcBef>
              <a:defRPr/>
            </a:pPr>
            <a:r>
              <a:rPr lang="en-US" sz="918" kern="0" dirty="0">
                <a:solidFill>
                  <a:srgbClr val="FFFFFF"/>
                </a:solidFill>
                <a:latin typeface="Verdana"/>
              </a:rPr>
              <a:t>Devices </a:t>
            </a:r>
          </a:p>
          <a:p>
            <a:pPr algn="ctr" defTabSz="1133364" eaLnBrk="0" fontAlgn="base" hangingPunct="0">
              <a:lnSpc>
                <a:spcPct val="90000"/>
              </a:lnSpc>
              <a:spcBef>
                <a:spcPct val="0"/>
              </a:spcBef>
              <a:defRPr/>
            </a:pPr>
            <a:r>
              <a:rPr lang="en-US" sz="918" kern="0" dirty="0">
                <a:solidFill>
                  <a:srgbClr val="FFFFFF"/>
                </a:solidFill>
                <a:latin typeface="Verdana"/>
              </a:rPr>
              <a:t>and apps</a:t>
            </a:r>
          </a:p>
        </p:txBody>
      </p:sp>
      <p:sp>
        <p:nvSpPr>
          <p:cNvPr id="94" name="Freeform 24"/>
          <p:cNvSpPr/>
          <p:nvPr/>
        </p:nvSpPr>
        <p:spPr>
          <a:xfrm rot="5400000">
            <a:off x="7847676" y="3708562"/>
            <a:ext cx="1254052" cy="405613"/>
          </a:xfrm>
          <a:custGeom>
            <a:avLst/>
            <a:gdLst>
              <a:gd name="connsiteX0" fmla="*/ 0 w 2873986"/>
              <a:gd name="connsiteY0" fmla="*/ 57395 h 573954"/>
              <a:gd name="connsiteX1" fmla="*/ 57395 w 2873986"/>
              <a:gd name="connsiteY1" fmla="*/ 0 h 573954"/>
              <a:gd name="connsiteX2" fmla="*/ 2816591 w 2873986"/>
              <a:gd name="connsiteY2" fmla="*/ 0 h 573954"/>
              <a:gd name="connsiteX3" fmla="*/ 2873986 w 2873986"/>
              <a:gd name="connsiteY3" fmla="*/ 57395 h 573954"/>
              <a:gd name="connsiteX4" fmla="*/ 2873986 w 2873986"/>
              <a:gd name="connsiteY4" fmla="*/ 516559 h 573954"/>
              <a:gd name="connsiteX5" fmla="*/ 2816591 w 2873986"/>
              <a:gd name="connsiteY5" fmla="*/ 573954 h 573954"/>
              <a:gd name="connsiteX6" fmla="*/ 57395 w 2873986"/>
              <a:gd name="connsiteY6" fmla="*/ 573954 h 573954"/>
              <a:gd name="connsiteX7" fmla="*/ 0 w 2873986"/>
              <a:gd name="connsiteY7" fmla="*/ 516559 h 573954"/>
              <a:gd name="connsiteX8" fmla="*/ 0 w 2873986"/>
              <a:gd name="connsiteY8" fmla="*/ 57395 h 5739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73986" h="573954">
                <a:moveTo>
                  <a:pt x="0" y="57395"/>
                </a:moveTo>
                <a:cubicBezTo>
                  <a:pt x="0" y="25697"/>
                  <a:pt x="25697" y="0"/>
                  <a:pt x="57395" y="0"/>
                </a:cubicBezTo>
                <a:lnTo>
                  <a:pt x="2816591" y="0"/>
                </a:lnTo>
                <a:cubicBezTo>
                  <a:pt x="2848289" y="0"/>
                  <a:pt x="2873986" y="25697"/>
                  <a:pt x="2873986" y="57395"/>
                </a:cubicBezTo>
                <a:lnTo>
                  <a:pt x="2873986" y="516559"/>
                </a:lnTo>
                <a:cubicBezTo>
                  <a:pt x="2873986" y="548257"/>
                  <a:pt x="2848289" y="573954"/>
                  <a:pt x="2816591" y="573954"/>
                </a:cubicBezTo>
                <a:lnTo>
                  <a:pt x="57395" y="573954"/>
                </a:lnTo>
                <a:cubicBezTo>
                  <a:pt x="25697" y="573954"/>
                  <a:pt x="0" y="548257"/>
                  <a:pt x="0" y="516559"/>
                </a:cubicBezTo>
                <a:lnTo>
                  <a:pt x="0" y="57395"/>
                </a:lnTo>
                <a:close/>
              </a:path>
            </a:pathLst>
          </a:custGeom>
          <a:noFill/>
          <a:ln>
            <a:noFill/>
          </a:ln>
          <a:effectLst>
            <a:outerShdw blurRad="40000" dist="23000" dir="5400000" rotWithShape="0">
              <a:srgbClr val="000000">
                <a:alpha val="35000"/>
              </a:srgbClr>
            </a:outerShdw>
          </a:effectLst>
        </p:spPr>
        <p:txBody>
          <a:bodyPr spcFirstLastPara="0" vert="horz" wrap="square" lIns="114292" tIns="114292" rIns="114292" bIns="114292" numCol="1" spcCol="1270" anchor="ctr" anchorCtr="0">
            <a:noAutofit/>
          </a:bodyPr>
          <a:lstStyle/>
          <a:p>
            <a:pPr algn="ctr" defTabSz="1133364" eaLnBrk="0" fontAlgn="base" hangingPunct="0">
              <a:lnSpc>
                <a:spcPct val="90000"/>
              </a:lnSpc>
              <a:spcBef>
                <a:spcPct val="0"/>
              </a:spcBef>
              <a:defRPr/>
            </a:pPr>
            <a:r>
              <a:rPr lang="en-US" sz="918" kern="0" dirty="0">
                <a:solidFill>
                  <a:srgbClr val="FFFFFF"/>
                </a:solidFill>
                <a:latin typeface="Verdana"/>
              </a:rPr>
              <a:t>Identity and authentication</a:t>
            </a:r>
          </a:p>
        </p:txBody>
      </p:sp>
      <p:sp>
        <p:nvSpPr>
          <p:cNvPr id="95" name="Freeform 25"/>
          <p:cNvSpPr/>
          <p:nvPr/>
        </p:nvSpPr>
        <p:spPr>
          <a:xfrm rot="7200000">
            <a:off x="7534394" y="4906302"/>
            <a:ext cx="1254052" cy="405613"/>
          </a:xfrm>
          <a:custGeom>
            <a:avLst/>
            <a:gdLst>
              <a:gd name="connsiteX0" fmla="*/ 0 w 2873986"/>
              <a:gd name="connsiteY0" fmla="*/ 57395 h 573954"/>
              <a:gd name="connsiteX1" fmla="*/ 57395 w 2873986"/>
              <a:gd name="connsiteY1" fmla="*/ 0 h 573954"/>
              <a:gd name="connsiteX2" fmla="*/ 2816591 w 2873986"/>
              <a:gd name="connsiteY2" fmla="*/ 0 h 573954"/>
              <a:gd name="connsiteX3" fmla="*/ 2873986 w 2873986"/>
              <a:gd name="connsiteY3" fmla="*/ 57395 h 573954"/>
              <a:gd name="connsiteX4" fmla="*/ 2873986 w 2873986"/>
              <a:gd name="connsiteY4" fmla="*/ 516559 h 573954"/>
              <a:gd name="connsiteX5" fmla="*/ 2816591 w 2873986"/>
              <a:gd name="connsiteY5" fmla="*/ 573954 h 573954"/>
              <a:gd name="connsiteX6" fmla="*/ 57395 w 2873986"/>
              <a:gd name="connsiteY6" fmla="*/ 573954 h 573954"/>
              <a:gd name="connsiteX7" fmla="*/ 0 w 2873986"/>
              <a:gd name="connsiteY7" fmla="*/ 516559 h 573954"/>
              <a:gd name="connsiteX8" fmla="*/ 0 w 2873986"/>
              <a:gd name="connsiteY8" fmla="*/ 57395 h 5739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73986" h="573954">
                <a:moveTo>
                  <a:pt x="0" y="57395"/>
                </a:moveTo>
                <a:cubicBezTo>
                  <a:pt x="0" y="25697"/>
                  <a:pt x="25697" y="0"/>
                  <a:pt x="57395" y="0"/>
                </a:cubicBezTo>
                <a:lnTo>
                  <a:pt x="2816591" y="0"/>
                </a:lnTo>
                <a:cubicBezTo>
                  <a:pt x="2848289" y="0"/>
                  <a:pt x="2873986" y="25697"/>
                  <a:pt x="2873986" y="57395"/>
                </a:cubicBezTo>
                <a:lnTo>
                  <a:pt x="2873986" y="516559"/>
                </a:lnTo>
                <a:cubicBezTo>
                  <a:pt x="2873986" y="548257"/>
                  <a:pt x="2848289" y="573954"/>
                  <a:pt x="2816591" y="573954"/>
                </a:cubicBezTo>
                <a:lnTo>
                  <a:pt x="57395" y="573954"/>
                </a:lnTo>
                <a:cubicBezTo>
                  <a:pt x="25697" y="573954"/>
                  <a:pt x="0" y="548257"/>
                  <a:pt x="0" y="516559"/>
                </a:cubicBezTo>
                <a:lnTo>
                  <a:pt x="0" y="57395"/>
                </a:lnTo>
                <a:close/>
              </a:path>
            </a:pathLst>
          </a:custGeom>
          <a:noFill/>
          <a:ln>
            <a:noFill/>
          </a:ln>
          <a:effectLst>
            <a:outerShdw blurRad="40000" dist="23000" dir="5400000" rotWithShape="0">
              <a:srgbClr val="000000">
                <a:alpha val="35000"/>
              </a:srgbClr>
            </a:outerShdw>
          </a:effectLst>
        </p:spPr>
        <p:txBody>
          <a:bodyPr spcFirstLastPara="0" vert="horz" wrap="square" lIns="114292" tIns="114292" rIns="114292" bIns="114292" numCol="1" spcCol="1270" anchor="ctr" anchorCtr="0">
            <a:noAutofit/>
          </a:bodyPr>
          <a:lstStyle/>
          <a:p>
            <a:pPr algn="ctr" defTabSz="1133364" eaLnBrk="0" fontAlgn="base" hangingPunct="0">
              <a:lnSpc>
                <a:spcPct val="90000"/>
              </a:lnSpc>
              <a:spcBef>
                <a:spcPct val="0"/>
              </a:spcBef>
              <a:defRPr/>
            </a:pPr>
            <a:r>
              <a:rPr lang="en-US" sz="918" kern="0" dirty="0">
                <a:solidFill>
                  <a:srgbClr val="FFFFFF"/>
                </a:solidFill>
                <a:latin typeface="Verdana"/>
              </a:rPr>
              <a:t>Facilities and</a:t>
            </a:r>
          </a:p>
          <a:p>
            <a:pPr algn="ctr" defTabSz="1133364" eaLnBrk="0" fontAlgn="base" hangingPunct="0">
              <a:lnSpc>
                <a:spcPct val="90000"/>
              </a:lnSpc>
              <a:spcBef>
                <a:spcPct val="0"/>
              </a:spcBef>
              <a:defRPr/>
            </a:pPr>
            <a:r>
              <a:rPr lang="en-US" sz="918" kern="0" dirty="0">
                <a:solidFill>
                  <a:srgbClr val="FFFFFF"/>
                </a:solidFill>
                <a:latin typeface="Verdana"/>
              </a:rPr>
              <a:t>meeting-rooms</a:t>
            </a:r>
          </a:p>
        </p:txBody>
      </p:sp>
      <p:sp>
        <p:nvSpPr>
          <p:cNvPr id="78" name="Donut 8"/>
          <p:cNvSpPr/>
          <p:nvPr/>
        </p:nvSpPr>
        <p:spPr bwMode="auto">
          <a:xfrm>
            <a:off x="4157775" y="1855343"/>
            <a:ext cx="4125441" cy="4125441"/>
          </a:xfrm>
          <a:prstGeom prst="donut">
            <a:avLst>
              <a:gd name="adj" fmla="val 45247"/>
            </a:avLst>
          </a:prstGeom>
          <a:gradFill flip="none" rotWithShape="1">
            <a:gsLst>
              <a:gs pos="29000">
                <a:srgbClr val="5F5F5F"/>
              </a:gs>
              <a:gs pos="100000">
                <a:srgbClr val="FFFFFF"/>
              </a:gs>
            </a:gsLst>
            <a:path path="circle">
              <a:fillToRect l="50000" t="50000" r="50000" b="50000"/>
            </a:path>
            <a:tileRect/>
          </a:gradFill>
          <a:ln w="9525" cap="flat" cmpd="sng" algn="ctr">
            <a:noFill/>
            <a:prstDash val="solid"/>
            <a:round/>
            <a:headEnd type="none" w="med" len="med"/>
            <a:tailEnd type="none" w="med" len="med"/>
          </a:ln>
          <a:effectLst/>
        </p:spPr>
        <p:txBody>
          <a:bodyPr vert="horz" wrap="square" lIns="93260" tIns="46630" rIns="93260" bIns="46630" numCol="1" rtlCol="0" anchor="t" anchorCtr="0" compatLnSpc="1">
            <a:prstTxWarp prst="textNoShape">
              <a:avLst/>
            </a:prstTxWarp>
          </a:bodyPr>
          <a:lstStyle/>
          <a:p>
            <a:pPr defTabSz="932597" eaLnBrk="0" fontAlgn="base" hangingPunct="0">
              <a:spcBef>
                <a:spcPct val="0"/>
              </a:spcBef>
              <a:spcAft>
                <a:spcPct val="0"/>
              </a:spcAft>
              <a:defRPr/>
            </a:pPr>
            <a:endParaRPr lang="en-GB" sz="1428" kern="0" dirty="0">
              <a:solidFill>
                <a:srgbClr val="FFFFFF"/>
              </a:solidFill>
              <a:latin typeface="Verdana" pitchFamily="34" charset="0"/>
            </a:endParaRPr>
          </a:p>
        </p:txBody>
      </p:sp>
      <p:sp>
        <p:nvSpPr>
          <p:cNvPr id="81" name="TextBox 80"/>
          <p:cNvSpPr txBox="1"/>
          <p:nvPr/>
        </p:nvSpPr>
        <p:spPr>
          <a:xfrm>
            <a:off x="5044392" y="5242250"/>
            <a:ext cx="2326001" cy="512317"/>
          </a:xfrm>
          <a:prstGeom prst="rect">
            <a:avLst/>
          </a:prstGeom>
          <a:noFill/>
          <a:effectLst/>
        </p:spPr>
        <p:txBody>
          <a:bodyPr wrap="square" lIns="0" tIns="0" rIns="0" bIns="0" rtlCol="0">
            <a:spAutoFit/>
          </a:bodyPr>
          <a:lstStyle/>
          <a:p>
            <a:pPr algn="ctr" defTabSz="932597" eaLnBrk="0" fontAlgn="base" hangingPunct="0">
              <a:spcBef>
                <a:spcPct val="0"/>
              </a:spcBef>
              <a:spcAft>
                <a:spcPct val="0"/>
              </a:spcAft>
            </a:pPr>
            <a:r>
              <a:rPr lang="en-GB" sz="1632" dirty="0">
                <a:solidFill>
                  <a:srgbClr val="FFFFFF"/>
                </a:solidFill>
              </a:rPr>
              <a:t>Use </a:t>
            </a:r>
            <a:r>
              <a:rPr lang="en-GB" sz="1632" b="1" dirty="0">
                <a:solidFill>
                  <a:srgbClr val="FFFFFF"/>
                </a:solidFill>
              </a:rPr>
              <a:t>consistent tools </a:t>
            </a:r>
            <a:r>
              <a:rPr lang="en-GB" sz="1632" dirty="0">
                <a:solidFill>
                  <a:srgbClr val="FFFFFF"/>
                </a:solidFill>
              </a:rPr>
              <a:t>and </a:t>
            </a:r>
            <a:r>
              <a:rPr lang="en-GB" sz="1632" b="1" dirty="0">
                <a:solidFill>
                  <a:srgbClr val="FFFFFF"/>
                </a:solidFill>
              </a:rPr>
              <a:t>services</a:t>
            </a:r>
          </a:p>
        </p:txBody>
      </p:sp>
      <p:pic>
        <p:nvPicPr>
          <p:cNvPr id="96" name="Picture 95"/>
          <p:cNvPicPr>
            <a:picLocks noChangeAspect="1"/>
          </p:cNvPicPr>
          <p:nvPr/>
        </p:nvPicPr>
        <p:blipFill>
          <a:blip r:embed="rId4" cstate="print">
            <a:extLst>
              <a:ext uri="{BEBA8EAE-BF5A-486C-A8C5-ECC9F3942E4B}">
                <a14:imgProps xmlns:a14="http://schemas.microsoft.com/office/drawing/2010/main">
                  <a14:imgLayer r:embed="rId5">
                    <a14:imgEffect>
                      <a14:saturation sat="400000"/>
                    </a14:imgEffect>
                  </a14:imgLayer>
                </a14:imgProps>
              </a:ext>
              <a:ext uri="{28A0092B-C50C-407E-A947-70E740481C1C}">
                <a14:useLocalDpi xmlns:a14="http://schemas.microsoft.com/office/drawing/2010/main" val="0"/>
              </a:ext>
            </a:extLst>
          </a:blip>
          <a:stretch>
            <a:fillRect/>
          </a:stretch>
        </p:blipFill>
        <p:spPr>
          <a:xfrm>
            <a:off x="6305246" y="2064792"/>
            <a:ext cx="264344" cy="264344"/>
          </a:xfrm>
          <a:prstGeom prst="rect">
            <a:avLst/>
          </a:prstGeom>
        </p:spPr>
      </p:pic>
      <p:pic>
        <p:nvPicPr>
          <p:cNvPr id="97" name="Picture 4" descr="http://dhaka.newhorizons.com/portals/186/Images/Home/Product%20Logo/partner-cisco-logo.png"/>
          <p:cNvPicPr>
            <a:picLocks noChangeAspect="1" noChangeArrowheads="1"/>
          </p:cNvPicPr>
          <p:nvPr/>
        </p:nvPicPr>
        <p:blipFill>
          <a:blip r:embed="rId6" cstate="print">
            <a:biLevel thresh="25000"/>
            <a:extLst>
              <a:ext uri="{28A0092B-C50C-407E-A947-70E740481C1C}">
                <a14:useLocalDpi xmlns:a14="http://schemas.microsoft.com/office/drawing/2010/main" val="0"/>
              </a:ext>
            </a:extLst>
          </a:blip>
          <a:srcRect/>
          <a:stretch>
            <a:fillRect/>
          </a:stretch>
        </p:blipFill>
        <p:spPr bwMode="auto">
          <a:xfrm>
            <a:off x="5826924" y="2080891"/>
            <a:ext cx="347395" cy="183424"/>
          </a:xfrm>
          <a:prstGeom prst="rect">
            <a:avLst/>
          </a:prstGeom>
          <a:noFill/>
          <a:extLst>
            <a:ext uri="{909E8E84-426E-40DD-AFC4-6F175D3DCCD1}">
              <a14:hiddenFill xmlns:a14="http://schemas.microsoft.com/office/drawing/2010/main">
                <a:solidFill>
                  <a:srgbClr val="FFFFFF"/>
                </a:solidFill>
              </a14:hiddenFill>
            </a:ext>
          </a:extLst>
        </p:spPr>
      </p:pic>
      <p:pic>
        <p:nvPicPr>
          <p:cNvPr id="98" name="Picture 97"/>
          <p:cNvPicPr>
            <a:picLocks noChangeAspect="1"/>
          </p:cNvPicPr>
          <p:nvPr/>
        </p:nvPicPr>
        <p:blipFill rotWithShape="1">
          <a:blip r:embed="rId7">
            <a:extLst>
              <a:ext uri="{BEBA8EAE-BF5A-486C-A8C5-ECC9F3942E4B}">
                <a14:imgProps xmlns:a14="http://schemas.microsoft.com/office/drawing/2010/main">
                  <a14:imgLayer r:embed="rId8">
                    <a14:imgEffect>
                      <a14:saturation sat="200000"/>
                    </a14:imgEffect>
                  </a14:imgLayer>
                </a14:imgProps>
              </a:ext>
            </a:extLst>
          </a:blip>
          <a:srcRect l="-1" r="185"/>
          <a:stretch/>
        </p:blipFill>
        <p:spPr>
          <a:xfrm>
            <a:off x="6933648" y="2177576"/>
            <a:ext cx="264344" cy="198790"/>
          </a:xfrm>
          <a:prstGeom prst="rect">
            <a:avLst/>
          </a:prstGeom>
        </p:spPr>
      </p:pic>
      <p:pic>
        <p:nvPicPr>
          <p:cNvPr id="99" name="Picture 98"/>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4358594" y="3800989"/>
            <a:ext cx="264344" cy="264344"/>
          </a:xfrm>
          <a:prstGeom prst="rect">
            <a:avLst/>
          </a:prstGeom>
        </p:spPr>
      </p:pic>
      <p:pic>
        <p:nvPicPr>
          <p:cNvPr id="106" name="Picture 105"/>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4615186" y="3498594"/>
            <a:ext cx="264344" cy="264344"/>
          </a:xfrm>
          <a:prstGeom prst="rect">
            <a:avLst/>
          </a:prstGeom>
        </p:spPr>
      </p:pic>
      <p:pic>
        <p:nvPicPr>
          <p:cNvPr id="107" name="Picture 106"/>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5113371" y="2283074"/>
            <a:ext cx="264344" cy="264344"/>
          </a:xfrm>
          <a:prstGeom prst="rect">
            <a:avLst/>
          </a:prstGeom>
        </p:spPr>
      </p:pic>
      <p:pic>
        <p:nvPicPr>
          <p:cNvPr id="108" name="Picture 107"/>
          <p:cNvPicPr>
            <a:picLocks noChangeAspect="1"/>
          </p:cNvPicPr>
          <p:nvPr/>
        </p:nvPicPr>
        <p:blipFill>
          <a:blip r:embed="rId12" cstate="print">
            <a:clrChange>
              <a:clrFrom>
                <a:srgbClr val="FCFCFC"/>
              </a:clrFrom>
              <a:clrTo>
                <a:srgbClr val="FCFCFC">
                  <a:alpha val="0"/>
                </a:srgbClr>
              </a:clrTo>
            </a:clrChange>
            <a:extLst>
              <a:ext uri="{28A0092B-C50C-407E-A947-70E740481C1C}">
                <a14:useLocalDpi xmlns:a14="http://schemas.microsoft.com/office/drawing/2010/main" val="0"/>
              </a:ext>
            </a:extLst>
          </a:blip>
          <a:stretch>
            <a:fillRect/>
          </a:stretch>
        </p:blipFill>
        <p:spPr>
          <a:xfrm>
            <a:off x="4366804" y="4168884"/>
            <a:ext cx="264344" cy="264344"/>
          </a:xfrm>
          <a:prstGeom prst="rect">
            <a:avLst/>
          </a:prstGeom>
        </p:spPr>
      </p:pic>
      <p:pic>
        <p:nvPicPr>
          <p:cNvPr id="109" name="Picture 108"/>
          <p:cNvPicPr>
            <a:picLocks noChangeAspect="1"/>
          </p:cNvPicPr>
          <p:nvPr/>
        </p:nvPicPr>
        <p:blipFill>
          <a:blip r:embed="rId13" cstate="print">
            <a:clrChange>
              <a:clrFrom>
                <a:srgbClr val="C3C3C3"/>
              </a:clrFrom>
              <a:clrTo>
                <a:srgbClr val="C3C3C3">
                  <a:alpha val="0"/>
                </a:srgbClr>
              </a:clrTo>
            </a:clrChange>
            <a:extLst>
              <a:ext uri="{28A0092B-C50C-407E-A947-70E740481C1C}">
                <a14:useLocalDpi xmlns:a14="http://schemas.microsoft.com/office/drawing/2010/main" val="0"/>
              </a:ext>
            </a:extLst>
          </a:blip>
          <a:stretch>
            <a:fillRect/>
          </a:stretch>
        </p:blipFill>
        <p:spPr>
          <a:xfrm>
            <a:off x="7227011" y="2651492"/>
            <a:ext cx="504006" cy="504006"/>
          </a:xfrm>
          <a:prstGeom prst="rect">
            <a:avLst/>
          </a:prstGeom>
        </p:spPr>
      </p:pic>
      <p:pic>
        <p:nvPicPr>
          <p:cNvPr id="110" name="Picture 109"/>
          <p:cNvPicPr>
            <a:picLocks noChangeAspect="1"/>
          </p:cNvPicPr>
          <p:nvPr/>
        </p:nvPicPr>
        <p:blipFill>
          <a:blip r:embed="rId14" cstate="print">
            <a:clrChange>
              <a:clrFrom>
                <a:srgbClr val="C3C3C3"/>
              </a:clrFrom>
              <a:clrTo>
                <a:srgbClr val="C3C3C3">
                  <a:alpha val="0"/>
                </a:srgbClr>
              </a:clrTo>
            </a:clrChange>
            <a:extLst>
              <a:ext uri="{28A0092B-C50C-407E-A947-70E740481C1C}">
                <a14:useLocalDpi xmlns:a14="http://schemas.microsoft.com/office/drawing/2010/main" val="0"/>
              </a:ext>
            </a:extLst>
          </a:blip>
          <a:stretch>
            <a:fillRect/>
          </a:stretch>
        </p:blipFill>
        <p:spPr>
          <a:xfrm>
            <a:off x="7597989" y="2870977"/>
            <a:ext cx="401188" cy="401188"/>
          </a:xfrm>
          <a:prstGeom prst="rect">
            <a:avLst/>
          </a:prstGeom>
        </p:spPr>
      </p:pic>
      <p:pic>
        <p:nvPicPr>
          <p:cNvPr id="111" name="Picture 110"/>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7451772" y="4519233"/>
            <a:ext cx="490141" cy="490141"/>
          </a:xfrm>
          <a:prstGeom prst="rect">
            <a:avLst/>
          </a:prstGeom>
        </p:spPr>
      </p:pic>
      <p:pic>
        <p:nvPicPr>
          <p:cNvPr id="112" name="Picture 6" descr="http://www.aidanfinn.com/wp-content/uploads/2015/06/azure-active-directory1-620x264.png"/>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7385210" y="3499131"/>
            <a:ext cx="883446" cy="376178"/>
          </a:xfrm>
          <a:prstGeom prst="rect">
            <a:avLst/>
          </a:prstGeom>
          <a:noFill/>
          <a:extLst>
            <a:ext uri="{909E8E84-426E-40DD-AFC4-6F175D3DCCD1}">
              <a14:hiddenFill xmlns:a14="http://schemas.microsoft.com/office/drawing/2010/main">
                <a:solidFill>
                  <a:srgbClr val="FFFFFF"/>
                </a:solidFill>
              </a14:hiddenFill>
            </a:ext>
          </a:extLst>
        </p:spPr>
      </p:pic>
      <p:pic>
        <p:nvPicPr>
          <p:cNvPr id="113" name="Picture 112"/>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7569603" y="3618253"/>
            <a:ext cx="607438" cy="607438"/>
          </a:xfrm>
          <a:prstGeom prst="rect">
            <a:avLst/>
          </a:prstGeom>
        </p:spPr>
      </p:pic>
      <p:pic>
        <p:nvPicPr>
          <p:cNvPr id="114" name="Picture 8" descr="http://blogs-images.forbes.com/jenniferrooney/files/2012/05/polycom-logo.jpg"/>
          <p:cNvPicPr>
            <a:picLocks noChangeAspect="1" noChangeArrowheads="1"/>
          </p:cNvPicPr>
          <p:nvPr/>
        </p:nvPicPr>
        <p:blipFill>
          <a:blip r:embed="rId18" cstate="print">
            <a:clrChange>
              <a:clrFrom>
                <a:srgbClr val="FEFEFE"/>
              </a:clrFrom>
              <a:clrTo>
                <a:srgbClr val="FEFEFE">
                  <a:alpha val="0"/>
                </a:srgbClr>
              </a:clrTo>
            </a:clrChange>
            <a:extLst>
              <a:ext uri="{28A0092B-C50C-407E-A947-70E740481C1C}">
                <a14:useLocalDpi xmlns:a14="http://schemas.microsoft.com/office/drawing/2010/main" val="0"/>
              </a:ext>
            </a:extLst>
          </a:blip>
          <a:srcRect/>
          <a:stretch>
            <a:fillRect/>
          </a:stretch>
        </p:blipFill>
        <p:spPr bwMode="auto">
          <a:xfrm>
            <a:off x="5812636" y="2216027"/>
            <a:ext cx="846024" cy="404513"/>
          </a:xfrm>
          <a:prstGeom prst="rect">
            <a:avLst/>
          </a:prstGeom>
          <a:noFill/>
          <a:extLst>
            <a:ext uri="{909E8E84-426E-40DD-AFC4-6F175D3DCCD1}">
              <a14:hiddenFill xmlns:a14="http://schemas.microsoft.com/office/drawing/2010/main">
                <a:solidFill>
                  <a:srgbClr val="FFFFFF"/>
                </a:solidFill>
              </a14:hiddenFill>
            </a:ext>
          </a:extLst>
        </p:spPr>
      </p:pic>
      <p:pic>
        <p:nvPicPr>
          <p:cNvPr id="115" name="Picture 114"/>
          <p:cNvPicPr>
            <a:picLocks noChangeAspect="1"/>
          </p:cNvPicPr>
          <p:nvPr/>
        </p:nvPicPr>
        <p:blipFill>
          <a:blip r:embed="rId19"/>
          <a:stretch>
            <a:fillRect/>
          </a:stretch>
        </p:blipFill>
        <p:spPr>
          <a:xfrm>
            <a:off x="4578194" y="2715451"/>
            <a:ext cx="567474" cy="283228"/>
          </a:xfrm>
          <a:prstGeom prst="rect">
            <a:avLst/>
          </a:prstGeom>
        </p:spPr>
      </p:pic>
      <p:pic>
        <p:nvPicPr>
          <p:cNvPr id="116" name="Picture 115"/>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4912328" y="2910602"/>
            <a:ext cx="264344" cy="264344"/>
          </a:xfrm>
          <a:prstGeom prst="rect">
            <a:avLst/>
          </a:prstGeom>
        </p:spPr>
      </p:pic>
      <p:pic>
        <p:nvPicPr>
          <p:cNvPr id="117" name="Picture 116"/>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4787110" y="4666613"/>
            <a:ext cx="264344" cy="264344"/>
          </a:xfrm>
          <a:prstGeom prst="rect">
            <a:avLst/>
          </a:prstGeom>
        </p:spPr>
      </p:pic>
      <p:pic>
        <p:nvPicPr>
          <p:cNvPr id="118" name="Picture 117"/>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4597945" y="2829928"/>
            <a:ext cx="264344" cy="264344"/>
          </a:xfrm>
          <a:prstGeom prst="rect">
            <a:avLst/>
          </a:prstGeom>
        </p:spPr>
      </p:pic>
      <p:cxnSp>
        <p:nvCxnSpPr>
          <p:cNvPr id="76" name="Straight Connector 75"/>
          <p:cNvCxnSpPr>
            <a:stCxn id="77" idx="4"/>
            <a:endCxn id="77" idx="0"/>
          </p:cNvCxnSpPr>
          <p:nvPr/>
        </p:nvCxnSpPr>
        <p:spPr bwMode="auto">
          <a:xfrm flipV="1">
            <a:off x="6212406" y="688853"/>
            <a:ext cx="0" cy="6451189"/>
          </a:xfrm>
          <a:prstGeom prst="line">
            <a:avLst/>
          </a:prstGeom>
          <a:solidFill>
            <a:srgbClr val="619C35"/>
          </a:solidFill>
          <a:ln w="9525" cap="flat" cmpd="sng" algn="ctr">
            <a:solidFill>
              <a:schemeClr val="tx1"/>
            </a:solidFill>
            <a:prstDash val="solid"/>
            <a:round/>
            <a:headEnd type="none" w="med" len="med"/>
            <a:tailEnd type="none" w="med" len="med"/>
          </a:ln>
          <a:effectLst/>
        </p:spPr>
      </p:cxnSp>
      <p:cxnSp>
        <p:nvCxnSpPr>
          <p:cNvPr id="75" name="Straight Connector 74"/>
          <p:cNvCxnSpPr>
            <a:stCxn id="77" idx="2"/>
            <a:endCxn id="77" idx="6"/>
          </p:cNvCxnSpPr>
          <p:nvPr/>
        </p:nvCxnSpPr>
        <p:spPr bwMode="auto">
          <a:xfrm>
            <a:off x="2986812" y="3914448"/>
            <a:ext cx="6451189" cy="0"/>
          </a:xfrm>
          <a:prstGeom prst="line">
            <a:avLst/>
          </a:prstGeom>
          <a:solidFill>
            <a:srgbClr val="619C35"/>
          </a:solidFill>
          <a:ln w="9525" cap="flat" cmpd="sng" algn="ctr">
            <a:solidFill>
              <a:schemeClr val="tx1"/>
            </a:solidFill>
            <a:prstDash val="solid"/>
            <a:round/>
            <a:headEnd type="none" w="med" len="med"/>
            <a:tailEnd type="none" w="med" len="med"/>
          </a:ln>
          <a:effectLst/>
        </p:spPr>
      </p:cxnSp>
      <p:sp>
        <p:nvSpPr>
          <p:cNvPr id="77" name="Donut 7"/>
          <p:cNvSpPr/>
          <p:nvPr/>
        </p:nvSpPr>
        <p:spPr bwMode="auto">
          <a:xfrm>
            <a:off x="2986812" y="688853"/>
            <a:ext cx="6451189" cy="6451189"/>
          </a:xfrm>
          <a:prstGeom prst="donut">
            <a:avLst>
              <a:gd name="adj" fmla="val 45247"/>
            </a:avLst>
          </a:prstGeom>
          <a:noFill/>
          <a:ln w="9525" cap="flat" cmpd="sng" algn="ctr">
            <a:noFill/>
            <a:prstDash val="solid"/>
            <a:round/>
            <a:headEnd type="none" w="med" len="med"/>
            <a:tailEnd type="none" w="med" len="med"/>
          </a:ln>
          <a:effectLst/>
        </p:spPr>
        <p:txBody>
          <a:bodyPr vert="horz" wrap="square" lIns="93260" tIns="46630" rIns="93260" bIns="46630" numCol="1" rtlCol="0" anchor="t" anchorCtr="0" compatLnSpc="1">
            <a:prstTxWarp prst="textNoShape">
              <a:avLst/>
            </a:prstTxWarp>
          </a:bodyPr>
          <a:lstStyle/>
          <a:p>
            <a:pPr defTabSz="932597" eaLnBrk="0" fontAlgn="base" hangingPunct="0">
              <a:spcBef>
                <a:spcPct val="0"/>
              </a:spcBef>
              <a:spcAft>
                <a:spcPct val="0"/>
              </a:spcAft>
            </a:pPr>
            <a:endParaRPr lang="en-GB" sz="1428" dirty="0">
              <a:solidFill>
                <a:srgbClr val="FFFFFF"/>
              </a:solidFill>
              <a:latin typeface="Verdana" pitchFamily="34" charset="0"/>
            </a:endParaRPr>
          </a:p>
        </p:txBody>
      </p:sp>
      <p:grpSp>
        <p:nvGrpSpPr>
          <p:cNvPr id="3" name="Group 2"/>
          <p:cNvGrpSpPr/>
          <p:nvPr/>
        </p:nvGrpSpPr>
        <p:grpSpPr>
          <a:xfrm>
            <a:off x="5013766" y="2679534"/>
            <a:ext cx="2443764" cy="2443764"/>
            <a:chOff x="4915038" y="2627232"/>
            <a:chExt cx="2396065" cy="2396065"/>
          </a:xfrm>
        </p:grpSpPr>
        <p:sp>
          <p:nvSpPr>
            <p:cNvPr id="79" name="Donut 9"/>
            <p:cNvSpPr/>
            <p:nvPr/>
          </p:nvSpPr>
          <p:spPr bwMode="auto">
            <a:xfrm>
              <a:off x="4915038" y="2627232"/>
              <a:ext cx="2396065" cy="2396065"/>
            </a:xfrm>
            <a:prstGeom prst="donut">
              <a:avLst>
                <a:gd name="adj" fmla="val 42646"/>
              </a:avLst>
            </a:prstGeom>
            <a:gradFill flip="none" rotWithShape="1">
              <a:gsLst>
                <a:gs pos="28000">
                  <a:srgbClr val="FFFFFF">
                    <a:alpha val="20000"/>
                  </a:srgbClr>
                </a:gs>
                <a:gs pos="100000">
                  <a:srgbClr val="FFFFFF">
                    <a:alpha val="80000"/>
                  </a:srgbClr>
                </a:gs>
              </a:gsLst>
              <a:path path="circle">
                <a:fillToRect l="50000" t="50000" r="50000" b="50000"/>
              </a:path>
              <a:tileRect/>
            </a:gradFill>
            <a:ln w="9525" cap="flat" cmpd="sng" algn="ctr">
              <a:noFill/>
              <a:prstDash val="solid"/>
              <a:round/>
              <a:headEnd type="none" w="med" len="med"/>
              <a:tailEnd type="none" w="med" len="med"/>
            </a:ln>
            <a:effectLst/>
          </p:spPr>
          <p:txBody>
            <a:bodyPr vert="horz" wrap="square" lIns="93260" tIns="46630" rIns="93260" bIns="46630" numCol="1" rtlCol="0" anchor="t" anchorCtr="0" compatLnSpc="1">
              <a:prstTxWarp prst="textNoShape">
                <a:avLst/>
              </a:prstTxWarp>
            </a:bodyPr>
            <a:lstStyle/>
            <a:p>
              <a:pPr defTabSz="932597" eaLnBrk="0" fontAlgn="base" hangingPunct="0">
                <a:spcBef>
                  <a:spcPct val="0"/>
                </a:spcBef>
                <a:spcAft>
                  <a:spcPct val="0"/>
                </a:spcAft>
                <a:defRPr/>
              </a:pPr>
              <a:endParaRPr lang="en-GB" sz="1428" kern="0" dirty="0">
                <a:solidFill>
                  <a:srgbClr val="FFFFFF"/>
                </a:solidFill>
                <a:latin typeface="Verdana" pitchFamily="34" charset="0"/>
              </a:endParaRPr>
            </a:p>
          </p:txBody>
        </p:sp>
        <p:sp>
          <p:nvSpPr>
            <p:cNvPr id="80" name="TextBox 79"/>
            <p:cNvSpPr txBox="1"/>
            <p:nvPr/>
          </p:nvSpPr>
          <p:spPr>
            <a:xfrm>
              <a:off x="5274709" y="4474800"/>
              <a:ext cx="1632839" cy="502317"/>
            </a:xfrm>
            <a:prstGeom prst="rect">
              <a:avLst/>
            </a:prstGeom>
            <a:noFill/>
            <a:effectLst/>
          </p:spPr>
          <p:txBody>
            <a:bodyPr wrap="square" lIns="0" tIns="0" rIns="0" bIns="0" rtlCol="0">
              <a:spAutoFit/>
            </a:bodyPr>
            <a:lstStyle/>
            <a:p>
              <a:pPr algn="ctr" defTabSz="932597" eaLnBrk="0" fontAlgn="base" hangingPunct="0">
                <a:spcBef>
                  <a:spcPct val="0"/>
                </a:spcBef>
                <a:spcAft>
                  <a:spcPct val="0"/>
                </a:spcAft>
              </a:pPr>
              <a:r>
                <a:rPr lang="en-GB" sz="1632" dirty="0">
                  <a:solidFill>
                    <a:srgbClr val="FFFFFF"/>
                  </a:solidFill>
                </a:rPr>
                <a:t>From</a:t>
              </a:r>
              <a:r>
                <a:rPr lang="en-GB" sz="1632" b="1" dirty="0">
                  <a:solidFill>
                    <a:srgbClr val="FFFFFF"/>
                  </a:solidFill>
                </a:rPr>
                <a:t> any place </a:t>
              </a:r>
              <a:r>
                <a:rPr lang="en-GB" sz="1632" dirty="0">
                  <a:solidFill>
                    <a:srgbClr val="FFFFFF"/>
                  </a:solidFill>
                </a:rPr>
                <a:t>and</a:t>
              </a:r>
              <a:r>
                <a:rPr lang="en-GB" sz="1632" b="1" dirty="0">
                  <a:solidFill>
                    <a:srgbClr val="FFFFFF"/>
                  </a:solidFill>
                </a:rPr>
                <a:t> any time</a:t>
              </a:r>
            </a:p>
          </p:txBody>
        </p:sp>
        <p:pic>
          <p:nvPicPr>
            <p:cNvPr id="100" name="Picture 99"/>
            <p:cNvPicPr>
              <a:picLocks noChangeAspect="1"/>
            </p:cNvPicPr>
            <p:nvPr/>
          </p:nvPicPr>
          <p:blipFill>
            <a:blip r:embed="rId23" cstate="print">
              <a:duotone>
                <a:srgbClr val="636363">
                  <a:shade val="45000"/>
                  <a:satMod val="135000"/>
                </a:srgbClr>
                <a:prstClr val="white"/>
              </a:duotone>
              <a:extLst>
                <a:ext uri="{28A0092B-C50C-407E-A947-70E740481C1C}">
                  <a14:useLocalDpi xmlns:a14="http://schemas.microsoft.com/office/drawing/2010/main" val="0"/>
                </a:ext>
              </a:extLst>
            </a:blip>
            <a:stretch>
              <a:fillRect/>
            </a:stretch>
          </p:blipFill>
          <p:spPr>
            <a:xfrm>
              <a:off x="6636422" y="3016330"/>
              <a:ext cx="409589" cy="409589"/>
            </a:xfrm>
            <a:prstGeom prst="rect">
              <a:avLst/>
            </a:prstGeom>
          </p:spPr>
        </p:pic>
        <p:pic>
          <p:nvPicPr>
            <p:cNvPr id="101" name="Picture 100"/>
            <p:cNvPicPr>
              <a:picLocks noChangeAspect="1"/>
            </p:cNvPicPr>
            <p:nvPr/>
          </p:nvPicPr>
          <p:blipFill>
            <a:blip r:embed="rId24" cstate="print">
              <a:duotone>
                <a:srgbClr val="636363">
                  <a:shade val="45000"/>
                  <a:satMod val="135000"/>
                </a:srgbClr>
                <a:prstClr val="white"/>
              </a:duotone>
              <a:extLst>
                <a:ext uri="{28A0092B-C50C-407E-A947-70E740481C1C}">
                  <a14:useLocalDpi xmlns:a14="http://schemas.microsoft.com/office/drawing/2010/main" val="0"/>
                </a:ext>
              </a:extLst>
            </a:blip>
            <a:stretch>
              <a:fillRect/>
            </a:stretch>
          </p:blipFill>
          <p:spPr>
            <a:xfrm>
              <a:off x="6704871" y="4080964"/>
              <a:ext cx="335024" cy="335024"/>
            </a:xfrm>
            <a:prstGeom prst="rect">
              <a:avLst/>
            </a:prstGeom>
          </p:spPr>
        </p:pic>
        <p:pic>
          <p:nvPicPr>
            <p:cNvPr id="102" name="Picture 101"/>
            <p:cNvPicPr>
              <a:picLocks noChangeAspect="1"/>
            </p:cNvPicPr>
            <p:nvPr/>
          </p:nvPicPr>
          <p:blipFill>
            <a:blip r:embed="rId25" cstate="print">
              <a:duotone>
                <a:srgbClr val="636363">
                  <a:shade val="45000"/>
                  <a:satMod val="135000"/>
                </a:srgbClr>
                <a:prstClr val="white"/>
              </a:duotone>
              <a:extLst>
                <a:ext uri="{28A0092B-C50C-407E-A947-70E740481C1C}">
                  <a14:useLocalDpi xmlns:a14="http://schemas.microsoft.com/office/drawing/2010/main" val="0"/>
                </a:ext>
              </a:extLst>
            </a:blip>
            <a:stretch>
              <a:fillRect/>
            </a:stretch>
          </p:blipFill>
          <p:spPr>
            <a:xfrm>
              <a:off x="5301967" y="3023738"/>
              <a:ext cx="306193" cy="306193"/>
            </a:xfrm>
            <a:prstGeom prst="rect">
              <a:avLst/>
            </a:prstGeom>
          </p:spPr>
        </p:pic>
        <p:pic>
          <p:nvPicPr>
            <p:cNvPr id="103" name="Picture 102"/>
            <p:cNvPicPr>
              <a:picLocks noChangeAspect="1"/>
            </p:cNvPicPr>
            <p:nvPr/>
          </p:nvPicPr>
          <p:blipFill>
            <a:blip r:embed="rId26" cstate="print">
              <a:duotone>
                <a:srgbClr val="636363">
                  <a:shade val="45000"/>
                  <a:satMod val="135000"/>
                </a:srgbClr>
                <a:prstClr val="white"/>
              </a:duotone>
              <a:extLst>
                <a:ext uri="{28A0092B-C50C-407E-A947-70E740481C1C}">
                  <a14:useLocalDpi xmlns:a14="http://schemas.microsoft.com/office/drawing/2010/main" val="0"/>
                </a:ext>
              </a:extLst>
            </a:blip>
            <a:stretch>
              <a:fillRect/>
            </a:stretch>
          </p:blipFill>
          <p:spPr>
            <a:xfrm>
              <a:off x="6841216" y="3553630"/>
              <a:ext cx="332694" cy="332694"/>
            </a:xfrm>
            <a:prstGeom prst="rect">
              <a:avLst/>
            </a:prstGeom>
          </p:spPr>
        </p:pic>
        <p:pic>
          <p:nvPicPr>
            <p:cNvPr id="104" name="Picture 103"/>
            <p:cNvPicPr>
              <a:picLocks noChangeAspect="1"/>
            </p:cNvPicPr>
            <p:nvPr/>
          </p:nvPicPr>
          <p:blipFill>
            <a:blip r:embed="rId27" cstate="print">
              <a:duotone>
                <a:srgbClr val="636363">
                  <a:shade val="45000"/>
                  <a:satMod val="135000"/>
                </a:srgbClr>
                <a:prstClr val="white"/>
              </a:duotone>
              <a:extLst>
                <a:ext uri="{28A0092B-C50C-407E-A947-70E740481C1C}">
                  <a14:useLocalDpi xmlns:a14="http://schemas.microsoft.com/office/drawing/2010/main" val="0"/>
                </a:ext>
              </a:extLst>
            </a:blip>
            <a:stretch>
              <a:fillRect/>
            </a:stretch>
          </p:blipFill>
          <p:spPr>
            <a:xfrm>
              <a:off x="5081846" y="3513907"/>
              <a:ext cx="307729" cy="307729"/>
            </a:xfrm>
            <a:prstGeom prst="rect">
              <a:avLst/>
            </a:prstGeom>
          </p:spPr>
        </p:pic>
        <p:pic>
          <p:nvPicPr>
            <p:cNvPr id="105" name="Picture 104"/>
            <p:cNvPicPr>
              <a:picLocks noChangeAspect="1"/>
            </p:cNvPicPr>
            <p:nvPr/>
          </p:nvPicPr>
          <p:blipFill>
            <a:blip r:embed="rId28" cstate="print">
              <a:duotone>
                <a:srgbClr val="636363">
                  <a:shade val="45000"/>
                  <a:satMod val="135000"/>
                </a:srgbClr>
                <a:prstClr val="white"/>
              </a:duotone>
              <a:extLst>
                <a:ext uri="{28A0092B-C50C-407E-A947-70E740481C1C}">
                  <a14:useLocalDpi xmlns:a14="http://schemas.microsoft.com/office/drawing/2010/main" val="0"/>
                </a:ext>
              </a:extLst>
            </a:blip>
            <a:stretch>
              <a:fillRect/>
            </a:stretch>
          </p:blipFill>
          <p:spPr>
            <a:xfrm>
              <a:off x="5211384" y="4103182"/>
              <a:ext cx="265806" cy="265806"/>
            </a:xfrm>
            <a:prstGeom prst="rect">
              <a:avLst/>
            </a:prstGeom>
          </p:spPr>
        </p:pic>
      </p:grpSp>
      <p:sp>
        <p:nvSpPr>
          <p:cNvPr id="2" name="Title 1"/>
          <p:cNvSpPr>
            <a:spLocks noGrp="1"/>
          </p:cNvSpPr>
          <p:nvPr>
            <p:ph type="title"/>
          </p:nvPr>
        </p:nvSpPr>
        <p:spPr/>
        <p:txBody>
          <a:bodyPr/>
          <a:lstStyle/>
          <a:p>
            <a:r>
              <a:rPr lang="en-US" dirty="0"/>
              <a:t>We need </a:t>
            </a:r>
            <a:r>
              <a:rPr lang="en-US" dirty="0">
                <a:latin typeface="Carlsberg Sans Bold" panose="020B0804020202020204" pitchFamily="34" charset="0"/>
              </a:rPr>
              <a:t>cohesive tools</a:t>
            </a:r>
          </a:p>
        </p:txBody>
      </p:sp>
      <p:sp>
        <p:nvSpPr>
          <p:cNvPr id="22" name="TextBox 21"/>
          <p:cNvSpPr txBox="1"/>
          <p:nvPr/>
        </p:nvSpPr>
        <p:spPr>
          <a:xfrm>
            <a:off x="9630887" y="6743402"/>
            <a:ext cx="2790777" cy="254262"/>
          </a:xfrm>
          <a:prstGeom prst="rect">
            <a:avLst/>
          </a:prstGeom>
          <a:noFill/>
          <a:ln>
            <a:noFill/>
          </a:ln>
        </p:spPr>
        <p:txBody>
          <a:bodyPr wrap="square" rtlCol="0">
            <a:spAutoFit/>
          </a:bodyPr>
          <a:lstStyle/>
          <a:p>
            <a:pPr algn="r"/>
            <a:r>
              <a:rPr lang="en-US" sz="1020" dirty="0">
                <a:solidFill>
                  <a:schemeClr val="bg2"/>
                </a:solidFill>
              </a:rPr>
              <a:t>Photo: </a:t>
            </a:r>
            <a:r>
              <a:rPr lang="en-US" sz="1020" dirty="0">
                <a:solidFill>
                  <a:schemeClr val="bg2"/>
                </a:solidFill>
                <a:hlinkClick r:id="rId29"/>
              </a:rPr>
              <a:t>Steve Wilson</a:t>
            </a:r>
            <a:endParaRPr lang="en-US" sz="1020" dirty="0">
              <a:solidFill>
                <a:schemeClr val="bg2"/>
              </a:solidFill>
            </a:endParaRPr>
          </a:p>
        </p:txBody>
      </p:sp>
      <p:pic>
        <p:nvPicPr>
          <p:cNvPr id="54" name="Picture 53"/>
          <p:cNvPicPr>
            <a:picLocks noChangeAspect="1"/>
          </p:cNvPicPr>
          <p:nvPr/>
        </p:nvPicPr>
        <p:blipFill>
          <a:blip r:embed="rId30">
            <a:extLst>
              <a:ext uri="{BEBA8EAE-BF5A-486C-A8C5-ECC9F3942E4B}">
                <a14:imgProps xmlns:a14="http://schemas.microsoft.com/office/drawing/2010/main">
                  <a14:imgLayer r:embed="rId31">
                    <a14:imgEffect>
                      <a14:saturation sat="88000"/>
                    </a14:imgEffect>
                    <a14:imgEffect>
                      <a14:brightnessContrast bright="24000" contrast="-20000"/>
                    </a14:imgEffect>
                  </a14:imgLayer>
                </a14:imgProps>
              </a:ext>
            </a:extLst>
          </a:blip>
          <a:stretch>
            <a:fillRect/>
          </a:stretch>
        </p:blipFill>
        <p:spPr>
          <a:xfrm>
            <a:off x="5606557" y="2362060"/>
            <a:ext cx="1321473" cy="2209675"/>
          </a:xfrm>
          <a:prstGeom prst="rect">
            <a:avLst/>
          </a:prstGeom>
        </p:spPr>
      </p:pic>
    </p:spTree>
    <p:extLst>
      <p:ext uri="{BB962C8B-B14F-4D97-AF65-F5344CB8AC3E}">
        <p14:creationId xmlns:p14="http://schemas.microsoft.com/office/powerpoint/2010/main" val="321278616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1000"/>
                                  </p:stCondLst>
                                  <p:childTnLst>
                                    <p:set>
                                      <p:cBhvr>
                                        <p:cTn id="6" dur="1" fill="hold">
                                          <p:stCondLst>
                                            <p:cond delay="0"/>
                                          </p:stCondLst>
                                        </p:cTn>
                                        <p:tgtEl>
                                          <p:spTgt spid="76"/>
                                        </p:tgtEl>
                                        <p:attrNameLst>
                                          <p:attrName>style.visibility</p:attrName>
                                        </p:attrNameLst>
                                      </p:cBhvr>
                                      <p:to>
                                        <p:strVal val="visible"/>
                                      </p:to>
                                    </p:set>
                                    <p:animEffect transition="in" filter="fade">
                                      <p:cBhvr>
                                        <p:cTn id="7" dur="2000"/>
                                        <p:tgtEl>
                                          <p:spTgt spid="76"/>
                                        </p:tgtEl>
                                      </p:cBhvr>
                                    </p:animEffect>
                                  </p:childTnLst>
                                </p:cTn>
                              </p:par>
                              <p:par>
                                <p:cTn id="8" presetID="10" presetClass="entr" presetSubtype="0" fill="hold" nodeType="withEffect">
                                  <p:stCondLst>
                                    <p:cond delay="1000"/>
                                  </p:stCondLst>
                                  <p:childTnLst>
                                    <p:set>
                                      <p:cBhvr>
                                        <p:cTn id="9" dur="1" fill="hold">
                                          <p:stCondLst>
                                            <p:cond delay="0"/>
                                          </p:stCondLst>
                                        </p:cTn>
                                        <p:tgtEl>
                                          <p:spTgt spid="75"/>
                                        </p:tgtEl>
                                        <p:attrNameLst>
                                          <p:attrName>style.visibility</p:attrName>
                                        </p:attrNameLst>
                                      </p:cBhvr>
                                      <p:to>
                                        <p:strVal val="visible"/>
                                      </p:to>
                                    </p:set>
                                    <p:animEffect transition="in" filter="fade">
                                      <p:cBhvr>
                                        <p:cTn id="10" dur="2000"/>
                                        <p:tgtEl>
                                          <p:spTgt spid="7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dirty="0"/>
              <a:t>The world has </a:t>
            </a:r>
            <a:r>
              <a:rPr lang="en-US" b="1" dirty="0"/>
              <a:t>changed</a:t>
            </a:r>
          </a:p>
        </p:txBody>
      </p:sp>
      <p:sp>
        <p:nvSpPr>
          <p:cNvPr id="9" name="Content Placeholder 8"/>
          <p:cNvSpPr>
            <a:spLocks noGrp="1"/>
          </p:cNvSpPr>
          <p:nvPr>
            <p:ph idx="1"/>
          </p:nvPr>
        </p:nvSpPr>
        <p:spPr>
          <a:xfrm>
            <a:off x="1224216" y="1243471"/>
            <a:ext cx="9988043" cy="4719686"/>
          </a:xfrm>
        </p:spPr>
        <p:txBody>
          <a:bodyPr anchor="ctr"/>
          <a:lstStyle/>
          <a:p>
            <a:pPr marL="0" indent="0" algn="ctr">
              <a:buNone/>
            </a:pPr>
            <a:r>
              <a:rPr lang="en-US" sz="2400" dirty="0"/>
              <a:t>In 2015 millennials became the </a:t>
            </a:r>
            <a:r>
              <a:rPr lang="en-US" sz="2400" dirty="0">
                <a:solidFill>
                  <a:schemeClr val="accent6"/>
                </a:solidFill>
              </a:rPr>
              <a:t>largest demographic </a:t>
            </a:r>
            <a:r>
              <a:rPr lang="en-US" sz="2400" dirty="0"/>
              <a:t>in the global workforce,  and mobile browsing became the </a:t>
            </a:r>
            <a:r>
              <a:rPr lang="en-US" sz="2400" dirty="0">
                <a:solidFill>
                  <a:schemeClr val="accent6"/>
                </a:solidFill>
              </a:rPr>
              <a:t>most common way </a:t>
            </a:r>
            <a:r>
              <a:rPr lang="en-US" sz="2400" dirty="0"/>
              <a:t>to access the Internet.</a:t>
            </a:r>
          </a:p>
        </p:txBody>
      </p:sp>
    </p:spTree>
    <p:extLst>
      <p:ext uri="{BB962C8B-B14F-4D97-AF65-F5344CB8AC3E}">
        <p14:creationId xmlns:p14="http://schemas.microsoft.com/office/powerpoint/2010/main" val="103665148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0"/>
                                  </p:st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fade">
                                      <p:cBhvr>
                                        <p:cTn id="7" dur="2000"/>
                                        <p:tgtEl>
                                          <p:spTgt spid="9">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18"/>
          <p:cNvPicPr>
            <a:picLocks noChangeAspect="1"/>
          </p:cNvPicPr>
          <p:nvPr/>
        </p:nvPicPr>
        <p:blipFill>
          <a:blip r:embed="rId2">
            <a:extLst>
              <a:ext uri="{BEBA8EAE-BF5A-486C-A8C5-ECC9F3942E4B}">
                <a14:imgProps xmlns:a14="http://schemas.microsoft.com/office/drawing/2010/main">
                  <a14:imgLayer r:embed="rId3">
                    <a14:imgEffect>
                      <a14:saturation sat="88000"/>
                    </a14:imgEffect>
                    <a14:imgEffect>
                      <a14:brightnessContrast bright="15000" contrast="4000"/>
                    </a14:imgEffect>
                  </a14:imgLayer>
                </a14:imgProps>
              </a:ext>
            </a:extLst>
          </a:blip>
          <a:stretch>
            <a:fillRect/>
          </a:stretch>
        </p:blipFill>
        <p:spPr>
          <a:xfrm>
            <a:off x="1489824" y="2249413"/>
            <a:ext cx="1321473" cy="2209675"/>
          </a:xfrm>
          <a:prstGeom prst="rect">
            <a:avLst/>
          </a:prstGeom>
        </p:spPr>
      </p:pic>
      <p:sp>
        <p:nvSpPr>
          <p:cNvPr id="168" name="Title 167"/>
          <p:cNvSpPr>
            <a:spLocks noGrp="1"/>
          </p:cNvSpPr>
          <p:nvPr>
            <p:ph type="title"/>
          </p:nvPr>
        </p:nvSpPr>
        <p:spPr/>
        <p:txBody>
          <a:bodyPr/>
          <a:lstStyle/>
          <a:p>
            <a:r>
              <a:rPr lang="en-US" dirty="0"/>
              <a:t>Instead of </a:t>
            </a:r>
            <a:r>
              <a:rPr lang="en-US" dirty="0">
                <a:latin typeface="Carlsberg Sans Bold" panose="020B0804020202020204" pitchFamily="34" charset="0"/>
              </a:rPr>
              <a:t>separate messages</a:t>
            </a:r>
          </a:p>
        </p:txBody>
      </p:sp>
      <p:sp>
        <p:nvSpPr>
          <p:cNvPr id="184" name="TextBox 183"/>
          <p:cNvSpPr txBox="1"/>
          <p:nvPr/>
        </p:nvSpPr>
        <p:spPr>
          <a:xfrm>
            <a:off x="9630887" y="6743402"/>
            <a:ext cx="2790777" cy="254262"/>
          </a:xfrm>
          <a:prstGeom prst="rect">
            <a:avLst/>
          </a:prstGeom>
          <a:noFill/>
          <a:ln>
            <a:noFill/>
          </a:ln>
        </p:spPr>
        <p:txBody>
          <a:bodyPr wrap="square" rtlCol="0">
            <a:spAutoFit/>
          </a:bodyPr>
          <a:lstStyle/>
          <a:p>
            <a:pPr algn="r"/>
            <a:r>
              <a:rPr lang="en-US" sz="1020" dirty="0">
                <a:solidFill>
                  <a:schemeClr val="bg2"/>
                </a:solidFill>
              </a:rPr>
              <a:t>Photo: </a:t>
            </a:r>
            <a:r>
              <a:rPr lang="en-US" sz="1020" dirty="0">
                <a:solidFill>
                  <a:schemeClr val="bg2"/>
                </a:solidFill>
                <a:hlinkClick r:id="rId4"/>
              </a:rPr>
              <a:t>Steve Wilson</a:t>
            </a:r>
            <a:endParaRPr lang="en-US" sz="1020" dirty="0">
              <a:solidFill>
                <a:schemeClr val="bg2"/>
              </a:solidFill>
            </a:endParaRPr>
          </a:p>
        </p:txBody>
      </p:sp>
      <p:sp>
        <p:nvSpPr>
          <p:cNvPr id="2" name="Arrow: Right 1"/>
          <p:cNvSpPr/>
          <p:nvPr/>
        </p:nvSpPr>
        <p:spPr>
          <a:xfrm rot="2074539">
            <a:off x="3039672" y="3350378"/>
            <a:ext cx="584095" cy="492474"/>
          </a:xfrm>
          <a:prstGeom prst="rightArrow">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36"/>
          </a:p>
        </p:txBody>
      </p:sp>
      <p:sp>
        <p:nvSpPr>
          <p:cNvPr id="3" name="TextBox 2"/>
          <p:cNvSpPr txBox="1"/>
          <p:nvPr/>
        </p:nvSpPr>
        <p:spPr>
          <a:xfrm>
            <a:off x="9692843" y="3252793"/>
            <a:ext cx="858442" cy="318286"/>
          </a:xfrm>
          <a:prstGeom prst="rect">
            <a:avLst/>
          </a:prstGeom>
          <a:noFill/>
        </p:spPr>
        <p:txBody>
          <a:bodyPr wrap="square" rtlCol="0">
            <a:spAutoFit/>
          </a:bodyPr>
          <a:lstStyle/>
          <a:p>
            <a:pPr algn="ctr"/>
            <a:r>
              <a:rPr lang="en-US" sz="1428" dirty="0"/>
              <a:t>Change</a:t>
            </a:r>
          </a:p>
        </p:txBody>
      </p:sp>
      <p:grpSp>
        <p:nvGrpSpPr>
          <p:cNvPr id="7" name="Group 6"/>
          <p:cNvGrpSpPr/>
          <p:nvPr/>
        </p:nvGrpSpPr>
        <p:grpSpPr>
          <a:xfrm rot="20700000">
            <a:off x="3567863" y="1517501"/>
            <a:ext cx="1613107" cy="3155065"/>
            <a:chOff x="4079776" y="2149427"/>
            <a:chExt cx="1196517" cy="2340260"/>
          </a:xfrm>
        </p:grpSpPr>
        <p:sp>
          <p:nvSpPr>
            <p:cNvPr id="14" name="Flowchart: Stored Data 13"/>
            <p:cNvSpPr/>
            <p:nvPr/>
          </p:nvSpPr>
          <p:spPr>
            <a:xfrm rot="10800000">
              <a:off x="4232177" y="2149427"/>
              <a:ext cx="1044116" cy="2340260"/>
            </a:xfrm>
            <a:prstGeom prst="flowChartOnlineStorage">
              <a:avLst/>
            </a:prstGeom>
            <a:gradFill>
              <a:gsLst>
                <a:gs pos="0">
                  <a:schemeClr val="accent6">
                    <a:lumMod val="75000"/>
                  </a:schemeClr>
                </a:gs>
                <a:gs pos="100000">
                  <a:schemeClr val="accent6">
                    <a:lumMod val="50000"/>
                  </a:schemeClr>
                </a:gs>
              </a:gsLst>
              <a:lin ang="5400000" scaled="1"/>
            </a:gradFill>
            <a:ln>
              <a:noFill/>
            </a:ln>
            <a:effectLst/>
          </p:spPr>
          <p:style>
            <a:lnRef idx="1">
              <a:schemeClr val="accent1"/>
            </a:lnRef>
            <a:fillRef idx="3">
              <a:schemeClr val="accent1"/>
            </a:fillRef>
            <a:effectRef idx="2">
              <a:schemeClr val="accent1"/>
            </a:effectRef>
            <a:fontRef idx="minor">
              <a:schemeClr val="lt1"/>
            </a:fontRef>
          </p:style>
          <p:txBody>
            <a:bodyPr vert="vert" rtlCol="0" anchor="ctr">
              <a:normAutofit/>
            </a:bodyPr>
            <a:lstStyle/>
            <a:p>
              <a:pPr algn="ctr"/>
              <a:r>
                <a:rPr lang="en-US" sz="1836" dirty="0" err="1"/>
                <a:t>Tes</a:t>
              </a:r>
              <a:endParaRPr lang="en-US" sz="1836" dirty="0"/>
            </a:p>
          </p:txBody>
        </p:sp>
        <p:sp>
          <p:nvSpPr>
            <p:cNvPr id="6" name="Flowchart: Stored Data 5"/>
            <p:cNvSpPr/>
            <p:nvPr/>
          </p:nvSpPr>
          <p:spPr>
            <a:xfrm>
              <a:off x="4079776" y="2149427"/>
              <a:ext cx="1044116" cy="2340260"/>
            </a:xfrm>
            <a:prstGeom prst="flowChartOnlineStorage">
              <a:avLst/>
            </a:prstGeom>
            <a:gradFill>
              <a:gsLst>
                <a:gs pos="0">
                  <a:schemeClr val="accent6"/>
                </a:gs>
                <a:gs pos="100000">
                  <a:schemeClr val="accent6">
                    <a:lumMod val="75000"/>
                  </a:schemeClr>
                </a:gs>
              </a:gsLst>
              <a:lin ang="5400000" scaled="1"/>
            </a:gradFill>
            <a:ln>
              <a:noFill/>
            </a:ln>
            <a:effectLst/>
          </p:spPr>
          <p:style>
            <a:lnRef idx="1">
              <a:schemeClr val="accent1"/>
            </a:lnRef>
            <a:fillRef idx="3">
              <a:schemeClr val="accent1"/>
            </a:fillRef>
            <a:effectRef idx="2">
              <a:schemeClr val="accent1"/>
            </a:effectRef>
            <a:fontRef idx="minor">
              <a:schemeClr val="lt1"/>
            </a:fontRef>
          </p:style>
          <p:txBody>
            <a:bodyPr vert="vert" rtlCol="0" anchor="ctr">
              <a:normAutofit/>
            </a:bodyPr>
            <a:lstStyle/>
            <a:p>
              <a:pPr algn="ctr"/>
              <a:r>
                <a:rPr lang="en-US" sz="1836" dirty="0">
                  <a:solidFill>
                    <a:schemeClr val="tx1"/>
                  </a:solidFill>
                </a:rPr>
                <a:t>Awareness</a:t>
              </a:r>
            </a:p>
          </p:txBody>
        </p:sp>
      </p:grpSp>
      <p:grpSp>
        <p:nvGrpSpPr>
          <p:cNvPr id="9" name="Group 8"/>
          <p:cNvGrpSpPr/>
          <p:nvPr/>
        </p:nvGrpSpPr>
        <p:grpSpPr>
          <a:xfrm rot="751947">
            <a:off x="5428325" y="3154877"/>
            <a:ext cx="1439089" cy="2814708"/>
            <a:chOff x="5727576" y="2149427"/>
            <a:chExt cx="1196516" cy="2340260"/>
          </a:xfrm>
        </p:grpSpPr>
        <p:sp>
          <p:nvSpPr>
            <p:cNvPr id="15" name="Flowchart: Stored Data 14"/>
            <p:cNvSpPr/>
            <p:nvPr/>
          </p:nvSpPr>
          <p:spPr>
            <a:xfrm rot="10800000">
              <a:off x="5879976" y="2149427"/>
              <a:ext cx="1044116" cy="2340260"/>
            </a:xfrm>
            <a:prstGeom prst="flowChartOnlineStorage">
              <a:avLst/>
            </a:prstGeom>
            <a:gradFill>
              <a:gsLst>
                <a:gs pos="0">
                  <a:schemeClr val="accent6">
                    <a:lumMod val="75000"/>
                  </a:schemeClr>
                </a:gs>
                <a:gs pos="100000">
                  <a:schemeClr val="accent6">
                    <a:lumMod val="50000"/>
                  </a:schemeClr>
                </a:gs>
              </a:gsLst>
              <a:lin ang="5400000" scaled="1"/>
            </a:gradFill>
            <a:ln>
              <a:noFill/>
            </a:ln>
            <a:effectLst/>
          </p:spPr>
          <p:style>
            <a:lnRef idx="1">
              <a:schemeClr val="accent1"/>
            </a:lnRef>
            <a:fillRef idx="3">
              <a:schemeClr val="accent1"/>
            </a:fillRef>
            <a:effectRef idx="2">
              <a:schemeClr val="accent1"/>
            </a:effectRef>
            <a:fontRef idx="minor">
              <a:schemeClr val="lt1"/>
            </a:fontRef>
          </p:style>
          <p:txBody>
            <a:bodyPr vert="vert" rtlCol="0" anchor="ctr">
              <a:normAutofit/>
            </a:bodyPr>
            <a:lstStyle/>
            <a:p>
              <a:pPr algn="ctr"/>
              <a:r>
                <a:rPr lang="en-US" sz="1836" dirty="0" err="1"/>
                <a:t>Tes</a:t>
              </a:r>
              <a:endParaRPr lang="en-US" sz="1836" dirty="0"/>
            </a:p>
          </p:txBody>
        </p:sp>
        <p:sp>
          <p:nvSpPr>
            <p:cNvPr id="16" name="Flowchart: Stored Data 15"/>
            <p:cNvSpPr/>
            <p:nvPr/>
          </p:nvSpPr>
          <p:spPr>
            <a:xfrm>
              <a:off x="5727576" y="2149427"/>
              <a:ext cx="1044116" cy="2340260"/>
            </a:xfrm>
            <a:prstGeom prst="flowChartOnlineStorage">
              <a:avLst/>
            </a:prstGeom>
            <a:gradFill>
              <a:gsLst>
                <a:gs pos="0">
                  <a:schemeClr val="accent6"/>
                </a:gs>
                <a:gs pos="100000">
                  <a:schemeClr val="accent6">
                    <a:lumMod val="75000"/>
                  </a:schemeClr>
                </a:gs>
              </a:gsLst>
              <a:lin ang="5400000" scaled="1"/>
            </a:gradFill>
            <a:ln>
              <a:noFill/>
            </a:ln>
            <a:effectLst/>
          </p:spPr>
          <p:style>
            <a:lnRef idx="1">
              <a:schemeClr val="accent1"/>
            </a:lnRef>
            <a:fillRef idx="3">
              <a:schemeClr val="accent1"/>
            </a:fillRef>
            <a:effectRef idx="2">
              <a:schemeClr val="accent1"/>
            </a:effectRef>
            <a:fontRef idx="minor">
              <a:schemeClr val="lt1"/>
            </a:fontRef>
          </p:style>
          <p:txBody>
            <a:bodyPr vert="vert" rtlCol="0" anchor="ctr">
              <a:normAutofit/>
            </a:bodyPr>
            <a:lstStyle/>
            <a:p>
              <a:pPr algn="ctr"/>
              <a:r>
                <a:rPr lang="en-US" sz="1836" dirty="0">
                  <a:solidFill>
                    <a:schemeClr val="tx1"/>
                  </a:solidFill>
                </a:rPr>
                <a:t>Tools</a:t>
              </a:r>
            </a:p>
          </p:txBody>
        </p:sp>
      </p:grpSp>
      <p:grpSp>
        <p:nvGrpSpPr>
          <p:cNvPr id="10" name="Group 9"/>
          <p:cNvGrpSpPr/>
          <p:nvPr/>
        </p:nvGrpSpPr>
        <p:grpSpPr>
          <a:xfrm rot="20613053">
            <a:off x="6639658" y="1402261"/>
            <a:ext cx="1165505" cy="2279605"/>
            <a:chOff x="7383760" y="2149427"/>
            <a:chExt cx="1196516" cy="2340260"/>
          </a:xfrm>
        </p:grpSpPr>
        <p:sp>
          <p:nvSpPr>
            <p:cNvPr id="17" name="Flowchart: Stored Data 16"/>
            <p:cNvSpPr/>
            <p:nvPr/>
          </p:nvSpPr>
          <p:spPr>
            <a:xfrm rot="10800000">
              <a:off x="7536160" y="2149427"/>
              <a:ext cx="1044116" cy="2340260"/>
            </a:xfrm>
            <a:prstGeom prst="flowChartOnlineStorage">
              <a:avLst/>
            </a:prstGeom>
            <a:gradFill>
              <a:gsLst>
                <a:gs pos="0">
                  <a:schemeClr val="accent6">
                    <a:lumMod val="75000"/>
                  </a:schemeClr>
                </a:gs>
                <a:gs pos="100000">
                  <a:schemeClr val="accent6">
                    <a:lumMod val="50000"/>
                  </a:schemeClr>
                </a:gs>
              </a:gsLst>
              <a:lin ang="5400000" scaled="1"/>
            </a:gradFill>
            <a:ln>
              <a:noFill/>
            </a:ln>
            <a:effectLst/>
          </p:spPr>
          <p:style>
            <a:lnRef idx="1">
              <a:schemeClr val="accent1"/>
            </a:lnRef>
            <a:fillRef idx="3">
              <a:schemeClr val="accent1"/>
            </a:fillRef>
            <a:effectRef idx="2">
              <a:schemeClr val="accent1"/>
            </a:effectRef>
            <a:fontRef idx="minor">
              <a:schemeClr val="lt1"/>
            </a:fontRef>
          </p:style>
          <p:txBody>
            <a:bodyPr vert="vert" rtlCol="0" anchor="ctr">
              <a:normAutofit/>
            </a:bodyPr>
            <a:lstStyle/>
            <a:p>
              <a:pPr algn="ctr"/>
              <a:r>
                <a:rPr lang="en-US" sz="1836" dirty="0" err="1"/>
                <a:t>Tes</a:t>
              </a:r>
              <a:endParaRPr lang="en-US" sz="1836" dirty="0"/>
            </a:p>
          </p:txBody>
        </p:sp>
        <p:sp>
          <p:nvSpPr>
            <p:cNvPr id="18" name="Flowchart: Stored Data 17"/>
            <p:cNvSpPr/>
            <p:nvPr/>
          </p:nvSpPr>
          <p:spPr>
            <a:xfrm>
              <a:off x="7383760" y="2149427"/>
              <a:ext cx="1044116" cy="2340260"/>
            </a:xfrm>
            <a:prstGeom prst="flowChartOnlineStorage">
              <a:avLst/>
            </a:prstGeom>
            <a:gradFill>
              <a:gsLst>
                <a:gs pos="0">
                  <a:schemeClr val="accent6"/>
                </a:gs>
                <a:gs pos="100000">
                  <a:schemeClr val="accent6">
                    <a:lumMod val="75000"/>
                  </a:schemeClr>
                </a:gs>
              </a:gsLst>
              <a:lin ang="5400000" scaled="1"/>
            </a:gradFill>
            <a:ln>
              <a:noFill/>
            </a:ln>
            <a:effectLst/>
          </p:spPr>
          <p:style>
            <a:lnRef idx="1">
              <a:schemeClr val="accent1"/>
            </a:lnRef>
            <a:fillRef idx="3">
              <a:schemeClr val="accent1"/>
            </a:fillRef>
            <a:effectRef idx="2">
              <a:schemeClr val="accent1"/>
            </a:effectRef>
            <a:fontRef idx="minor">
              <a:schemeClr val="lt1"/>
            </a:fontRef>
          </p:style>
          <p:txBody>
            <a:bodyPr vert="vert" rtlCol="0" anchor="ctr">
              <a:normAutofit/>
            </a:bodyPr>
            <a:lstStyle/>
            <a:p>
              <a:pPr algn="ctr"/>
              <a:r>
                <a:rPr lang="en-US" sz="1836" dirty="0">
                  <a:solidFill>
                    <a:schemeClr val="tx1"/>
                  </a:solidFill>
                </a:rPr>
                <a:t>Skills</a:t>
              </a:r>
            </a:p>
          </p:txBody>
        </p:sp>
      </p:grpSp>
      <p:sp>
        <p:nvSpPr>
          <p:cNvPr id="21" name="TextBox 20"/>
          <p:cNvSpPr txBox="1"/>
          <p:nvPr/>
        </p:nvSpPr>
        <p:spPr>
          <a:xfrm>
            <a:off x="2522825" y="1048470"/>
            <a:ext cx="2617259" cy="382308"/>
          </a:xfrm>
          <a:prstGeom prst="rect">
            <a:avLst/>
          </a:prstGeom>
          <a:noFill/>
        </p:spPr>
        <p:txBody>
          <a:bodyPr wrap="square" rtlCol="0">
            <a:spAutoFit/>
          </a:bodyPr>
          <a:lstStyle/>
          <a:p>
            <a:r>
              <a:rPr lang="en-US" sz="1836" dirty="0"/>
              <a:t>Communications</a:t>
            </a:r>
          </a:p>
        </p:txBody>
      </p:sp>
      <p:sp>
        <p:nvSpPr>
          <p:cNvPr id="22" name="TextBox 21"/>
          <p:cNvSpPr txBox="1"/>
          <p:nvPr/>
        </p:nvSpPr>
        <p:spPr>
          <a:xfrm>
            <a:off x="5472169" y="6038391"/>
            <a:ext cx="2617259" cy="382308"/>
          </a:xfrm>
          <a:prstGeom prst="rect">
            <a:avLst/>
          </a:prstGeom>
          <a:noFill/>
        </p:spPr>
        <p:txBody>
          <a:bodyPr wrap="square" rtlCol="0">
            <a:spAutoFit/>
          </a:bodyPr>
          <a:lstStyle/>
          <a:p>
            <a:r>
              <a:rPr lang="en-US" sz="1836" dirty="0"/>
              <a:t>IT</a:t>
            </a:r>
          </a:p>
        </p:txBody>
      </p:sp>
      <p:sp>
        <p:nvSpPr>
          <p:cNvPr id="26" name="TextBox 25"/>
          <p:cNvSpPr txBox="1"/>
          <p:nvPr/>
        </p:nvSpPr>
        <p:spPr>
          <a:xfrm>
            <a:off x="7504806" y="1119370"/>
            <a:ext cx="2617259" cy="382308"/>
          </a:xfrm>
          <a:prstGeom prst="rect">
            <a:avLst/>
          </a:prstGeom>
          <a:noFill/>
        </p:spPr>
        <p:txBody>
          <a:bodyPr wrap="square" rtlCol="0">
            <a:spAutoFit/>
          </a:bodyPr>
          <a:lstStyle/>
          <a:p>
            <a:r>
              <a:rPr lang="en-US" sz="1836" dirty="0"/>
              <a:t>HR</a:t>
            </a:r>
          </a:p>
        </p:txBody>
      </p:sp>
    </p:spTree>
    <p:extLst>
      <p:ext uri="{BB962C8B-B14F-4D97-AF65-F5344CB8AC3E}">
        <p14:creationId xmlns:p14="http://schemas.microsoft.com/office/powerpoint/2010/main" val="382683893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0"/>
                                  </p:stCondLst>
                                  <p:childTnLst>
                                    <p:set>
                                      <p:cBhvr>
                                        <p:cTn id="6" dur="1" fill="hold">
                                          <p:stCondLst>
                                            <p:cond delay="0"/>
                                          </p:stCondLst>
                                        </p:cTn>
                                        <p:tgtEl>
                                          <p:spTgt spid="21"/>
                                        </p:tgtEl>
                                        <p:attrNameLst>
                                          <p:attrName>style.visibility</p:attrName>
                                        </p:attrNameLst>
                                      </p:cBhvr>
                                      <p:to>
                                        <p:strVal val="visible"/>
                                      </p:to>
                                    </p:set>
                                    <p:animEffect transition="in" filter="fade">
                                      <p:cBhvr>
                                        <p:cTn id="7" dur="500"/>
                                        <p:tgtEl>
                                          <p:spTgt spid="21"/>
                                        </p:tgtEl>
                                      </p:cBhvr>
                                    </p:animEffect>
                                  </p:childTnLst>
                                </p:cTn>
                              </p:par>
                              <p:par>
                                <p:cTn id="8" presetID="10" presetClass="entr" presetSubtype="0" fill="hold" grpId="0" nodeType="withEffect">
                                  <p:stCondLst>
                                    <p:cond delay="1000"/>
                                  </p:stCondLst>
                                  <p:childTnLst>
                                    <p:set>
                                      <p:cBhvr>
                                        <p:cTn id="9" dur="1" fill="hold">
                                          <p:stCondLst>
                                            <p:cond delay="0"/>
                                          </p:stCondLst>
                                        </p:cTn>
                                        <p:tgtEl>
                                          <p:spTgt spid="22"/>
                                        </p:tgtEl>
                                        <p:attrNameLst>
                                          <p:attrName>style.visibility</p:attrName>
                                        </p:attrNameLst>
                                      </p:cBhvr>
                                      <p:to>
                                        <p:strVal val="visible"/>
                                      </p:to>
                                    </p:set>
                                    <p:animEffect transition="in" filter="fade">
                                      <p:cBhvr>
                                        <p:cTn id="10" dur="500"/>
                                        <p:tgtEl>
                                          <p:spTgt spid="22"/>
                                        </p:tgtEl>
                                      </p:cBhvr>
                                    </p:animEffect>
                                  </p:childTnLst>
                                </p:cTn>
                              </p:par>
                              <p:par>
                                <p:cTn id="11" presetID="10" presetClass="entr" presetSubtype="0" fill="hold" grpId="0" nodeType="withEffect">
                                  <p:stCondLst>
                                    <p:cond delay="1000"/>
                                  </p:stCondLst>
                                  <p:childTnLst>
                                    <p:set>
                                      <p:cBhvr>
                                        <p:cTn id="12" dur="1" fill="hold">
                                          <p:stCondLst>
                                            <p:cond delay="0"/>
                                          </p:stCondLst>
                                        </p:cTn>
                                        <p:tgtEl>
                                          <p:spTgt spid="26"/>
                                        </p:tgtEl>
                                        <p:attrNameLst>
                                          <p:attrName>style.visibility</p:attrName>
                                        </p:attrNameLst>
                                      </p:cBhvr>
                                      <p:to>
                                        <p:strVal val="visible"/>
                                      </p:to>
                                    </p:set>
                                    <p:animEffect transition="in" filter="fade">
                                      <p:cBhvr>
                                        <p:cTn id="13" dur="5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p:bldP spid="22" grpId="0"/>
      <p:bldP spid="26" grpId="0"/>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18"/>
          <p:cNvPicPr>
            <a:picLocks noChangeAspect="1"/>
          </p:cNvPicPr>
          <p:nvPr/>
        </p:nvPicPr>
        <p:blipFill>
          <a:blip r:embed="rId2">
            <a:extLst>
              <a:ext uri="{BEBA8EAE-BF5A-486C-A8C5-ECC9F3942E4B}">
                <a14:imgProps xmlns:a14="http://schemas.microsoft.com/office/drawing/2010/main">
                  <a14:imgLayer r:embed="rId3">
                    <a14:imgEffect>
                      <a14:saturation sat="88000"/>
                    </a14:imgEffect>
                    <a14:imgEffect>
                      <a14:brightnessContrast bright="15000" contrast="4000"/>
                    </a14:imgEffect>
                  </a14:imgLayer>
                </a14:imgProps>
              </a:ext>
            </a:extLst>
          </a:blip>
          <a:stretch>
            <a:fillRect/>
          </a:stretch>
        </p:blipFill>
        <p:spPr>
          <a:xfrm>
            <a:off x="1489824" y="2249413"/>
            <a:ext cx="1321473" cy="2209675"/>
          </a:xfrm>
          <a:prstGeom prst="rect">
            <a:avLst/>
          </a:prstGeom>
        </p:spPr>
      </p:pic>
      <p:sp>
        <p:nvSpPr>
          <p:cNvPr id="168" name="Title 167"/>
          <p:cNvSpPr>
            <a:spLocks noGrp="1"/>
          </p:cNvSpPr>
          <p:nvPr>
            <p:ph type="title"/>
          </p:nvPr>
        </p:nvSpPr>
        <p:spPr/>
        <p:txBody>
          <a:bodyPr/>
          <a:lstStyle/>
          <a:p>
            <a:r>
              <a:rPr lang="en-US" dirty="0"/>
              <a:t>We need </a:t>
            </a:r>
            <a:r>
              <a:rPr lang="en-US" dirty="0">
                <a:latin typeface="Carlsberg Sans Bold" panose="020B0804020202020204" pitchFamily="34" charset="0"/>
              </a:rPr>
              <a:t>a common story</a:t>
            </a:r>
          </a:p>
        </p:txBody>
      </p:sp>
      <p:sp>
        <p:nvSpPr>
          <p:cNvPr id="184" name="TextBox 183"/>
          <p:cNvSpPr txBox="1"/>
          <p:nvPr/>
        </p:nvSpPr>
        <p:spPr>
          <a:xfrm>
            <a:off x="9630887" y="6743402"/>
            <a:ext cx="2790777" cy="254262"/>
          </a:xfrm>
          <a:prstGeom prst="rect">
            <a:avLst/>
          </a:prstGeom>
          <a:noFill/>
          <a:ln>
            <a:noFill/>
          </a:ln>
        </p:spPr>
        <p:txBody>
          <a:bodyPr wrap="square" rtlCol="0">
            <a:spAutoFit/>
          </a:bodyPr>
          <a:lstStyle/>
          <a:p>
            <a:pPr algn="r"/>
            <a:r>
              <a:rPr lang="en-US" sz="1020" dirty="0">
                <a:solidFill>
                  <a:schemeClr val="bg2"/>
                </a:solidFill>
              </a:rPr>
              <a:t>Photo: </a:t>
            </a:r>
            <a:r>
              <a:rPr lang="en-US" sz="1020" dirty="0">
                <a:solidFill>
                  <a:schemeClr val="bg2"/>
                </a:solidFill>
                <a:hlinkClick r:id="rId4"/>
              </a:rPr>
              <a:t>Steve Wilson</a:t>
            </a:r>
            <a:endParaRPr lang="en-US" sz="1020" dirty="0">
              <a:solidFill>
                <a:schemeClr val="bg2"/>
              </a:solidFill>
            </a:endParaRPr>
          </a:p>
        </p:txBody>
      </p:sp>
      <p:sp>
        <p:nvSpPr>
          <p:cNvPr id="2" name="Arrow: Right 1"/>
          <p:cNvSpPr/>
          <p:nvPr/>
        </p:nvSpPr>
        <p:spPr>
          <a:xfrm>
            <a:off x="3431116" y="3166776"/>
            <a:ext cx="801857" cy="676077"/>
          </a:xfrm>
          <a:prstGeom prst="rightArrow">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36"/>
          </a:p>
        </p:txBody>
      </p:sp>
      <p:sp>
        <p:nvSpPr>
          <p:cNvPr id="3" name="TextBox 2"/>
          <p:cNvSpPr txBox="1"/>
          <p:nvPr/>
        </p:nvSpPr>
        <p:spPr>
          <a:xfrm>
            <a:off x="9057163" y="3056041"/>
            <a:ext cx="2129803" cy="670512"/>
          </a:xfrm>
          <a:prstGeom prst="rect">
            <a:avLst/>
          </a:prstGeom>
          <a:noFill/>
        </p:spPr>
        <p:txBody>
          <a:bodyPr wrap="square" rtlCol="0">
            <a:spAutoFit/>
          </a:bodyPr>
          <a:lstStyle/>
          <a:p>
            <a:pPr algn="ctr"/>
            <a:r>
              <a:rPr lang="en-US" sz="3672" dirty="0"/>
              <a:t>Change</a:t>
            </a:r>
          </a:p>
        </p:txBody>
      </p:sp>
      <p:grpSp>
        <p:nvGrpSpPr>
          <p:cNvPr id="7" name="Group 6"/>
          <p:cNvGrpSpPr/>
          <p:nvPr/>
        </p:nvGrpSpPr>
        <p:grpSpPr>
          <a:xfrm>
            <a:off x="4491272" y="1808108"/>
            <a:ext cx="1613106" cy="3155065"/>
            <a:chOff x="4079776" y="2149427"/>
            <a:chExt cx="1196516" cy="2340260"/>
          </a:xfrm>
        </p:grpSpPr>
        <p:sp>
          <p:nvSpPr>
            <p:cNvPr id="14" name="Flowchart: Stored Data 13"/>
            <p:cNvSpPr/>
            <p:nvPr/>
          </p:nvSpPr>
          <p:spPr>
            <a:xfrm rot="10800000">
              <a:off x="4232176" y="2149427"/>
              <a:ext cx="1044116" cy="2340260"/>
            </a:xfrm>
            <a:prstGeom prst="flowChartOnlineStorage">
              <a:avLst/>
            </a:prstGeom>
            <a:gradFill>
              <a:gsLst>
                <a:gs pos="0">
                  <a:schemeClr val="accent6">
                    <a:lumMod val="75000"/>
                  </a:schemeClr>
                </a:gs>
                <a:gs pos="100000">
                  <a:schemeClr val="accent6">
                    <a:lumMod val="50000"/>
                  </a:schemeClr>
                </a:gs>
              </a:gsLst>
              <a:lin ang="5400000" scaled="1"/>
            </a:gradFill>
            <a:ln>
              <a:noFill/>
            </a:ln>
            <a:effectLst/>
          </p:spPr>
          <p:style>
            <a:lnRef idx="1">
              <a:schemeClr val="accent1"/>
            </a:lnRef>
            <a:fillRef idx="3">
              <a:schemeClr val="accent1"/>
            </a:fillRef>
            <a:effectRef idx="2">
              <a:schemeClr val="accent1"/>
            </a:effectRef>
            <a:fontRef idx="minor">
              <a:schemeClr val="lt1"/>
            </a:fontRef>
          </p:style>
          <p:txBody>
            <a:bodyPr vert="vert" rtlCol="0" anchor="ctr">
              <a:normAutofit/>
            </a:bodyPr>
            <a:lstStyle/>
            <a:p>
              <a:pPr algn="ctr"/>
              <a:r>
                <a:rPr lang="en-US" sz="1836" dirty="0" err="1"/>
                <a:t>Tes</a:t>
              </a:r>
              <a:endParaRPr lang="en-US" sz="1836" dirty="0"/>
            </a:p>
          </p:txBody>
        </p:sp>
        <p:sp>
          <p:nvSpPr>
            <p:cNvPr id="6" name="Flowchart: Stored Data 5"/>
            <p:cNvSpPr/>
            <p:nvPr/>
          </p:nvSpPr>
          <p:spPr>
            <a:xfrm>
              <a:off x="4079776" y="2149427"/>
              <a:ext cx="1044116" cy="2340260"/>
            </a:xfrm>
            <a:prstGeom prst="flowChartOnlineStorage">
              <a:avLst/>
            </a:prstGeom>
            <a:gradFill>
              <a:gsLst>
                <a:gs pos="0">
                  <a:schemeClr val="accent6"/>
                </a:gs>
                <a:gs pos="100000">
                  <a:schemeClr val="accent6">
                    <a:lumMod val="75000"/>
                  </a:schemeClr>
                </a:gs>
              </a:gsLst>
              <a:lin ang="5400000" scaled="1"/>
            </a:gradFill>
            <a:ln>
              <a:noFill/>
            </a:ln>
            <a:effectLst/>
          </p:spPr>
          <p:style>
            <a:lnRef idx="1">
              <a:schemeClr val="accent1"/>
            </a:lnRef>
            <a:fillRef idx="3">
              <a:schemeClr val="accent1"/>
            </a:fillRef>
            <a:effectRef idx="2">
              <a:schemeClr val="accent1"/>
            </a:effectRef>
            <a:fontRef idx="minor">
              <a:schemeClr val="lt1"/>
            </a:fontRef>
          </p:style>
          <p:txBody>
            <a:bodyPr vert="vert" rtlCol="0" anchor="ctr">
              <a:normAutofit/>
            </a:bodyPr>
            <a:lstStyle/>
            <a:p>
              <a:pPr algn="ctr"/>
              <a:r>
                <a:rPr lang="en-US" sz="1836" dirty="0">
                  <a:solidFill>
                    <a:schemeClr val="tx1"/>
                  </a:solidFill>
                </a:rPr>
                <a:t>Awareness</a:t>
              </a:r>
            </a:p>
          </p:txBody>
        </p:sp>
      </p:grpSp>
      <p:grpSp>
        <p:nvGrpSpPr>
          <p:cNvPr id="9" name="Group 8"/>
          <p:cNvGrpSpPr/>
          <p:nvPr/>
        </p:nvGrpSpPr>
        <p:grpSpPr>
          <a:xfrm>
            <a:off x="5854955" y="1978286"/>
            <a:ext cx="1439089" cy="2814708"/>
            <a:chOff x="5727576" y="2149427"/>
            <a:chExt cx="1196516" cy="2340260"/>
          </a:xfrm>
        </p:grpSpPr>
        <p:sp>
          <p:nvSpPr>
            <p:cNvPr id="15" name="Flowchart: Stored Data 14"/>
            <p:cNvSpPr/>
            <p:nvPr/>
          </p:nvSpPr>
          <p:spPr>
            <a:xfrm rot="10800000">
              <a:off x="5879976" y="2149427"/>
              <a:ext cx="1044116" cy="2340260"/>
            </a:xfrm>
            <a:prstGeom prst="flowChartOnlineStorage">
              <a:avLst/>
            </a:prstGeom>
            <a:gradFill>
              <a:gsLst>
                <a:gs pos="0">
                  <a:schemeClr val="accent6">
                    <a:lumMod val="75000"/>
                  </a:schemeClr>
                </a:gs>
                <a:gs pos="100000">
                  <a:schemeClr val="accent6">
                    <a:lumMod val="50000"/>
                  </a:schemeClr>
                </a:gs>
              </a:gsLst>
              <a:lin ang="5400000" scaled="1"/>
            </a:gradFill>
            <a:ln>
              <a:noFill/>
            </a:ln>
            <a:effectLst/>
          </p:spPr>
          <p:style>
            <a:lnRef idx="1">
              <a:schemeClr val="accent1"/>
            </a:lnRef>
            <a:fillRef idx="3">
              <a:schemeClr val="accent1"/>
            </a:fillRef>
            <a:effectRef idx="2">
              <a:schemeClr val="accent1"/>
            </a:effectRef>
            <a:fontRef idx="minor">
              <a:schemeClr val="lt1"/>
            </a:fontRef>
          </p:style>
          <p:txBody>
            <a:bodyPr vert="vert" rtlCol="0" anchor="ctr">
              <a:normAutofit/>
            </a:bodyPr>
            <a:lstStyle/>
            <a:p>
              <a:pPr algn="ctr"/>
              <a:r>
                <a:rPr lang="en-US" sz="1836" dirty="0" err="1"/>
                <a:t>Tes</a:t>
              </a:r>
              <a:endParaRPr lang="en-US" sz="1836" dirty="0"/>
            </a:p>
          </p:txBody>
        </p:sp>
        <p:sp>
          <p:nvSpPr>
            <p:cNvPr id="16" name="Flowchart: Stored Data 15"/>
            <p:cNvSpPr/>
            <p:nvPr/>
          </p:nvSpPr>
          <p:spPr>
            <a:xfrm>
              <a:off x="5727576" y="2149427"/>
              <a:ext cx="1044116" cy="2340260"/>
            </a:xfrm>
            <a:prstGeom prst="flowChartOnlineStorage">
              <a:avLst/>
            </a:prstGeom>
            <a:gradFill>
              <a:gsLst>
                <a:gs pos="0">
                  <a:schemeClr val="accent6"/>
                </a:gs>
                <a:gs pos="100000">
                  <a:schemeClr val="accent6">
                    <a:lumMod val="75000"/>
                  </a:schemeClr>
                </a:gs>
              </a:gsLst>
              <a:lin ang="5400000" scaled="1"/>
            </a:gradFill>
            <a:ln>
              <a:noFill/>
            </a:ln>
            <a:effectLst/>
          </p:spPr>
          <p:style>
            <a:lnRef idx="1">
              <a:schemeClr val="accent1"/>
            </a:lnRef>
            <a:fillRef idx="3">
              <a:schemeClr val="accent1"/>
            </a:fillRef>
            <a:effectRef idx="2">
              <a:schemeClr val="accent1"/>
            </a:effectRef>
            <a:fontRef idx="minor">
              <a:schemeClr val="lt1"/>
            </a:fontRef>
          </p:style>
          <p:txBody>
            <a:bodyPr vert="vert" rtlCol="0" anchor="ctr">
              <a:normAutofit/>
            </a:bodyPr>
            <a:lstStyle/>
            <a:p>
              <a:pPr algn="ctr"/>
              <a:r>
                <a:rPr lang="en-US" sz="1836" dirty="0">
                  <a:solidFill>
                    <a:schemeClr val="tx1"/>
                  </a:solidFill>
                </a:rPr>
                <a:t>Tools</a:t>
              </a:r>
            </a:p>
          </p:txBody>
        </p:sp>
      </p:grpSp>
      <p:grpSp>
        <p:nvGrpSpPr>
          <p:cNvPr id="10" name="Group 9"/>
          <p:cNvGrpSpPr/>
          <p:nvPr/>
        </p:nvGrpSpPr>
        <p:grpSpPr>
          <a:xfrm>
            <a:off x="7072373" y="2245838"/>
            <a:ext cx="1165505" cy="2279605"/>
            <a:chOff x="7383760" y="2149427"/>
            <a:chExt cx="1196516" cy="2340260"/>
          </a:xfrm>
        </p:grpSpPr>
        <p:sp>
          <p:nvSpPr>
            <p:cNvPr id="17" name="Flowchart: Stored Data 16"/>
            <p:cNvSpPr/>
            <p:nvPr/>
          </p:nvSpPr>
          <p:spPr>
            <a:xfrm rot="10800000">
              <a:off x="7536160" y="2149427"/>
              <a:ext cx="1044116" cy="2340260"/>
            </a:xfrm>
            <a:prstGeom prst="flowChartOnlineStorage">
              <a:avLst/>
            </a:prstGeom>
            <a:gradFill>
              <a:gsLst>
                <a:gs pos="0">
                  <a:schemeClr val="accent6">
                    <a:lumMod val="75000"/>
                  </a:schemeClr>
                </a:gs>
                <a:gs pos="100000">
                  <a:schemeClr val="accent6">
                    <a:lumMod val="50000"/>
                  </a:schemeClr>
                </a:gs>
              </a:gsLst>
              <a:lin ang="5400000" scaled="1"/>
            </a:gradFill>
            <a:ln>
              <a:noFill/>
            </a:ln>
            <a:effectLst/>
          </p:spPr>
          <p:style>
            <a:lnRef idx="1">
              <a:schemeClr val="accent1"/>
            </a:lnRef>
            <a:fillRef idx="3">
              <a:schemeClr val="accent1"/>
            </a:fillRef>
            <a:effectRef idx="2">
              <a:schemeClr val="accent1"/>
            </a:effectRef>
            <a:fontRef idx="minor">
              <a:schemeClr val="lt1"/>
            </a:fontRef>
          </p:style>
          <p:txBody>
            <a:bodyPr vert="vert" rtlCol="0" anchor="ctr">
              <a:normAutofit/>
            </a:bodyPr>
            <a:lstStyle/>
            <a:p>
              <a:pPr algn="ctr"/>
              <a:r>
                <a:rPr lang="en-US" sz="1836" dirty="0" err="1"/>
                <a:t>Tes</a:t>
              </a:r>
              <a:endParaRPr lang="en-US" sz="1836" dirty="0"/>
            </a:p>
          </p:txBody>
        </p:sp>
        <p:sp>
          <p:nvSpPr>
            <p:cNvPr id="18" name="Flowchart: Stored Data 17"/>
            <p:cNvSpPr/>
            <p:nvPr/>
          </p:nvSpPr>
          <p:spPr>
            <a:xfrm>
              <a:off x="7383760" y="2149427"/>
              <a:ext cx="1044116" cy="2340260"/>
            </a:xfrm>
            <a:prstGeom prst="flowChartOnlineStorage">
              <a:avLst/>
            </a:prstGeom>
            <a:gradFill>
              <a:gsLst>
                <a:gs pos="0">
                  <a:schemeClr val="accent6"/>
                </a:gs>
                <a:gs pos="100000">
                  <a:schemeClr val="accent6">
                    <a:lumMod val="75000"/>
                  </a:schemeClr>
                </a:gs>
              </a:gsLst>
              <a:lin ang="5400000" scaled="1"/>
            </a:gradFill>
            <a:ln>
              <a:noFill/>
            </a:ln>
            <a:effectLst/>
          </p:spPr>
          <p:style>
            <a:lnRef idx="1">
              <a:schemeClr val="accent1"/>
            </a:lnRef>
            <a:fillRef idx="3">
              <a:schemeClr val="accent1"/>
            </a:fillRef>
            <a:effectRef idx="2">
              <a:schemeClr val="accent1"/>
            </a:effectRef>
            <a:fontRef idx="minor">
              <a:schemeClr val="lt1"/>
            </a:fontRef>
          </p:style>
          <p:txBody>
            <a:bodyPr vert="vert" rtlCol="0" anchor="ctr">
              <a:normAutofit/>
            </a:bodyPr>
            <a:lstStyle/>
            <a:p>
              <a:pPr algn="ctr"/>
              <a:r>
                <a:rPr lang="en-US" sz="1836" dirty="0">
                  <a:solidFill>
                    <a:schemeClr val="tx1"/>
                  </a:solidFill>
                </a:rPr>
                <a:t>Skills</a:t>
              </a:r>
            </a:p>
          </p:txBody>
        </p:sp>
      </p:grpSp>
      <p:sp>
        <p:nvSpPr>
          <p:cNvPr id="21" name="TextBox 20"/>
          <p:cNvSpPr txBox="1"/>
          <p:nvPr/>
        </p:nvSpPr>
        <p:spPr>
          <a:xfrm>
            <a:off x="3600979" y="4927227"/>
            <a:ext cx="2617259" cy="382308"/>
          </a:xfrm>
          <a:prstGeom prst="rect">
            <a:avLst/>
          </a:prstGeom>
          <a:noFill/>
        </p:spPr>
        <p:txBody>
          <a:bodyPr wrap="square" rtlCol="0">
            <a:spAutoFit/>
          </a:bodyPr>
          <a:lstStyle/>
          <a:p>
            <a:r>
              <a:rPr lang="en-US" sz="1836" dirty="0"/>
              <a:t>Communications</a:t>
            </a:r>
          </a:p>
        </p:txBody>
      </p:sp>
      <p:sp>
        <p:nvSpPr>
          <p:cNvPr id="22" name="TextBox 21"/>
          <p:cNvSpPr txBox="1"/>
          <p:nvPr/>
        </p:nvSpPr>
        <p:spPr>
          <a:xfrm>
            <a:off x="6314113" y="4787827"/>
            <a:ext cx="2617259" cy="382308"/>
          </a:xfrm>
          <a:prstGeom prst="rect">
            <a:avLst/>
          </a:prstGeom>
          <a:noFill/>
        </p:spPr>
        <p:txBody>
          <a:bodyPr wrap="square" rtlCol="0">
            <a:spAutoFit/>
          </a:bodyPr>
          <a:lstStyle/>
          <a:p>
            <a:r>
              <a:rPr lang="en-US" sz="1836" dirty="0"/>
              <a:t>IT</a:t>
            </a:r>
          </a:p>
        </p:txBody>
      </p:sp>
      <p:sp>
        <p:nvSpPr>
          <p:cNvPr id="23" name="TextBox 22"/>
          <p:cNvSpPr txBox="1"/>
          <p:nvPr/>
        </p:nvSpPr>
        <p:spPr>
          <a:xfrm>
            <a:off x="7365673" y="4525443"/>
            <a:ext cx="2617259" cy="382308"/>
          </a:xfrm>
          <a:prstGeom prst="rect">
            <a:avLst/>
          </a:prstGeom>
          <a:noFill/>
        </p:spPr>
        <p:txBody>
          <a:bodyPr wrap="square" rtlCol="0">
            <a:spAutoFit/>
          </a:bodyPr>
          <a:lstStyle/>
          <a:p>
            <a:r>
              <a:rPr lang="en-US" sz="1836" dirty="0"/>
              <a:t>HR</a:t>
            </a:r>
          </a:p>
        </p:txBody>
      </p:sp>
    </p:spTree>
    <p:extLst>
      <p:ext uri="{BB962C8B-B14F-4D97-AF65-F5344CB8AC3E}">
        <p14:creationId xmlns:p14="http://schemas.microsoft.com/office/powerpoint/2010/main" val="317239693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1" name="Rektangel 172"/>
          <p:cNvSpPr/>
          <p:nvPr/>
        </p:nvSpPr>
        <p:spPr>
          <a:xfrm>
            <a:off x="1954251" y="1786315"/>
            <a:ext cx="3009277" cy="3461709"/>
          </a:xfrm>
          <a:prstGeom prst="rect">
            <a:avLst/>
          </a:prstGeom>
          <a:solidFill>
            <a:schemeClr val="bg1">
              <a:lumMod val="95000"/>
            </a:schemeClr>
          </a:solidFill>
          <a:ln w="9525" cmpd="sng">
            <a:solidFill>
              <a:schemeClr val="tx2">
                <a:lumMod val="60000"/>
                <a:lumOff val="40000"/>
              </a:schemeClr>
            </a:solidFill>
            <a:prstDash val="dot"/>
          </a:ln>
        </p:spPr>
        <p:style>
          <a:lnRef idx="2">
            <a:schemeClr val="accent2"/>
          </a:lnRef>
          <a:fillRef idx="1">
            <a:schemeClr val="lt1"/>
          </a:fillRef>
          <a:effectRef idx="0">
            <a:schemeClr val="accent2"/>
          </a:effectRef>
          <a:fontRef idx="minor">
            <a:schemeClr val="dk1"/>
          </a:fontRef>
        </p:style>
        <p:txBody>
          <a:bodyPr rtlCol="0" anchor="ctr"/>
          <a:lstStyle>
            <a:defPPr>
              <a:defRPr lang="da-DK"/>
            </a:defPPr>
            <a:lvl1pPr marL="0" algn="l" defTabSz="457200" rtl="0" eaLnBrk="1" latinLnBrk="0" hangingPunct="1">
              <a:defRPr sz="1800" kern="1200">
                <a:solidFill>
                  <a:schemeClr val="dk1"/>
                </a:solidFill>
                <a:latin typeface="+mn-lt"/>
                <a:ea typeface="+mn-ea"/>
                <a:cs typeface="+mn-cs"/>
              </a:defRPr>
            </a:lvl1pPr>
            <a:lvl2pPr marL="457200" algn="l" defTabSz="457200" rtl="0" eaLnBrk="1" latinLnBrk="0" hangingPunct="1">
              <a:defRPr sz="1800" kern="1200">
                <a:solidFill>
                  <a:schemeClr val="dk1"/>
                </a:solidFill>
                <a:latin typeface="+mn-lt"/>
                <a:ea typeface="+mn-ea"/>
                <a:cs typeface="+mn-cs"/>
              </a:defRPr>
            </a:lvl2pPr>
            <a:lvl3pPr marL="914400" algn="l" defTabSz="457200" rtl="0" eaLnBrk="1" latinLnBrk="0" hangingPunct="1">
              <a:defRPr sz="1800" kern="1200">
                <a:solidFill>
                  <a:schemeClr val="dk1"/>
                </a:solidFill>
                <a:latin typeface="+mn-lt"/>
                <a:ea typeface="+mn-ea"/>
                <a:cs typeface="+mn-cs"/>
              </a:defRPr>
            </a:lvl3pPr>
            <a:lvl4pPr marL="1371600" algn="l" defTabSz="457200" rtl="0" eaLnBrk="1" latinLnBrk="0" hangingPunct="1">
              <a:defRPr sz="1800" kern="1200">
                <a:solidFill>
                  <a:schemeClr val="dk1"/>
                </a:solidFill>
                <a:latin typeface="+mn-lt"/>
                <a:ea typeface="+mn-ea"/>
                <a:cs typeface="+mn-cs"/>
              </a:defRPr>
            </a:lvl4pPr>
            <a:lvl5pPr marL="1828800" algn="l" defTabSz="457200" rtl="0" eaLnBrk="1" latinLnBrk="0" hangingPunct="1">
              <a:defRPr sz="1800" kern="1200">
                <a:solidFill>
                  <a:schemeClr val="dk1"/>
                </a:solidFill>
                <a:latin typeface="+mn-lt"/>
                <a:ea typeface="+mn-ea"/>
                <a:cs typeface="+mn-cs"/>
              </a:defRPr>
            </a:lvl5pPr>
            <a:lvl6pPr marL="2286000" algn="l" defTabSz="457200" rtl="0" eaLnBrk="1" latinLnBrk="0" hangingPunct="1">
              <a:defRPr sz="1800" kern="1200">
                <a:solidFill>
                  <a:schemeClr val="dk1"/>
                </a:solidFill>
                <a:latin typeface="+mn-lt"/>
                <a:ea typeface="+mn-ea"/>
                <a:cs typeface="+mn-cs"/>
              </a:defRPr>
            </a:lvl6pPr>
            <a:lvl7pPr marL="2743200" algn="l" defTabSz="457200" rtl="0" eaLnBrk="1" latinLnBrk="0" hangingPunct="1">
              <a:defRPr sz="1800" kern="1200">
                <a:solidFill>
                  <a:schemeClr val="dk1"/>
                </a:solidFill>
                <a:latin typeface="+mn-lt"/>
                <a:ea typeface="+mn-ea"/>
                <a:cs typeface="+mn-cs"/>
              </a:defRPr>
            </a:lvl7pPr>
            <a:lvl8pPr marL="3200400" algn="l" defTabSz="457200" rtl="0" eaLnBrk="1" latinLnBrk="0" hangingPunct="1">
              <a:defRPr sz="1800" kern="1200">
                <a:solidFill>
                  <a:schemeClr val="dk1"/>
                </a:solidFill>
                <a:latin typeface="+mn-lt"/>
                <a:ea typeface="+mn-ea"/>
                <a:cs typeface="+mn-cs"/>
              </a:defRPr>
            </a:lvl8pPr>
            <a:lvl9pPr marL="3657600" algn="l" defTabSz="457200" rtl="0" eaLnBrk="1" latinLnBrk="0" hangingPunct="1">
              <a:defRPr sz="1800" kern="1200">
                <a:solidFill>
                  <a:schemeClr val="dk1"/>
                </a:solidFill>
                <a:latin typeface="+mn-lt"/>
                <a:ea typeface="+mn-ea"/>
                <a:cs typeface="+mn-cs"/>
              </a:defRPr>
            </a:lvl9pPr>
          </a:lstStyle>
          <a:p>
            <a:pPr algn="ctr"/>
            <a:endParaRPr lang="en-US" sz="1071"/>
          </a:p>
        </p:txBody>
      </p:sp>
      <p:grpSp>
        <p:nvGrpSpPr>
          <p:cNvPr id="102" name="Grupper 1"/>
          <p:cNvGrpSpPr/>
          <p:nvPr/>
        </p:nvGrpSpPr>
        <p:grpSpPr>
          <a:xfrm>
            <a:off x="2279799" y="3191701"/>
            <a:ext cx="2465788" cy="1137498"/>
            <a:chOff x="486506" y="2246348"/>
            <a:chExt cx="2175012" cy="1003359"/>
          </a:xfrm>
        </p:grpSpPr>
        <p:sp>
          <p:nvSpPr>
            <p:cNvPr id="103" name="Rectangle 102"/>
            <p:cNvSpPr/>
            <p:nvPr/>
          </p:nvSpPr>
          <p:spPr bwMode="auto">
            <a:xfrm>
              <a:off x="1262612" y="2246348"/>
              <a:ext cx="73778" cy="73911"/>
            </a:xfrm>
            <a:prstGeom prst="rect">
              <a:avLst/>
            </a:prstGeom>
            <a:solidFill>
              <a:schemeClr val="tx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defRPr/>
              </a:pPr>
              <a:endParaRPr lang="da-DK" sz="1071"/>
            </a:p>
          </p:txBody>
        </p:sp>
        <p:sp>
          <p:nvSpPr>
            <p:cNvPr id="104" name="Rectangle 103"/>
            <p:cNvSpPr/>
            <p:nvPr/>
          </p:nvSpPr>
          <p:spPr bwMode="auto">
            <a:xfrm>
              <a:off x="1300937" y="2490888"/>
              <a:ext cx="73778" cy="74896"/>
            </a:xfrm>
            <a:prstGeom prst="rect">
              <a:avLst/>
            </a:prstGeom>
            <a:solidFill>
              <a:srgbClr val="FFBB1E"/>
            </a:solidFill>
            <a:ln w="3175">
              <a:solidFill>
                <a:srgbClr val="FFBB1E"/>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defRPr/>
              </a:pPr>
              <a:endParaRPr lang="da-DK" sz="1071"/>
            </a:p>
          </p:txBody>
        </p:sp>
        <p:sp>
          <p:nvSpPr>
            <p:cNvPr id="105" name="Oval 104"/>
            <p:cNvSpPr/>
            <p:nvPr/>
          </p:nvSpPr>
          <p:spPr bwMode="auto">
            <a:xfrm>
              <a:off x="1417833" y="2733315"/>
              <a:ext cx="73778" cy="73911"/>
            </a:xfrm>
            <a:prstGeom prst="ellipse">
              <a:avLst/>
            </a:prstGeom>
            <a:solidFill>
              <a:srgbClr val="FFBB1E"/>
            </a:solidFill>
            <a:ln w="3175">
              <a:solidFill>
                <a:srgbClr val="FFBB1E"/>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defRPr/>
              </a:pPr>
              <a:endParaRPr lang="da-DK" sz="1071"/>
            </a:p>
          </p:txBody>
        </p:sp>
        <p:sp>
          <p:nvSpPr>
            <p:cNvPr id="106" name="Oval 105"/>
            <p:cNvSpPr/>
            <p:nvPr/>
          </p:nvSpPr>
          <p:spPr bwMode="auto">
            <a:xfrm>
              <a:off x="1417833" y="2854529"/>
              <a:ext cx="73778" cy="73911"/>
            </a:xfrm>
            <a:prstGeom prst="ellipse">
              <a:avLst/>
            </a:prstGeom>
            <a:solidFill>
              <a:srgbClr val="FFBB1E"/>
            </a:solidFill>
            <a:ln w="3175">
              <a:solidFill>
                <a:srgbClr val="FFBB1E"/>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defRPr/>
              </a:pPr>
              <a:endParaRPr lang="da-DK" sz="1071"/>
            </a:p>
          </p:txBody>
        </p:sp>
        <p:sp>
          <p:nvSpPr>
            <p:cNvPr id="107" name="Oval 106"/>
            <p:cNvSpPr/>
            <p:nvPr/>
          </p:nvSpPr>
          <p:spPr bwMode="auto">
            <a:xfrm>
              <a:off x="1417833" y="2975743"/>
              <a:ext cx="73778" cy="73911"/>
            </a:xfrm>
            <a:prstGeom prst="ellipse">
              <a:avLst/>
            </a:prstGeom>
            <a:solidFill>
              <a:srgbClr val="FFBB1E"/>
            </a:solidFill>
            <a:ln w="3175">
              <a:solidFill>
                <a:srgbClr val="FFBB1E"/>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defRPr/>
              </a:pPr>
              <a:endParaRPr lang="da-DK" sz="1071"/>
            </a:p>
          </p:txBody>
        </p:sp>
        <p:sp>
          <p:nvSpPr>
            <p:cNvPr id="108" name="Rectangle 107"/>
            <p:cNvSpPr/>
            <p:nvPr/>
          </p:nvSpPr>
          <p:spPr bwMode="auto">
            <a:xfrm>
              <a:off x="1616171" y="2490888"/>
              <a:ext cx="72820" cy="74896"/>
            </a:xfrm>
            <a:prstGeom prst="rect">
              <a:avLst/>
            </a:prstGeom>
            <a:solidFill>
              <a:srgbClr val="595959"/>
            </a:solidFill>
            <a:ln w="3175">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defRPr/>
              </a:pPr>
              <a:endParaRPr lang="da-DK" sz="1071"/>
            </a:p>
          </p:txBody>
        </p:sp>
        <p:sp>
          <p:nvSpPr>
            <p:cNvPr id="109" name="Oval 108"/>
            <p:cNvSpPr/>
            <p:nvPr/>
          </p:nvSpPr>
          <p:spPr bwMode="auto">
            <a:xfrm>
              <a:off x="1732107" y="2733315"/>
              <a:ext cx="73778" cy="73911"/>
            </a:xfrm>
            <a:prstGeom prst="ellipse">
              <a:avLst/>
            </a:prstGeom>
            <a:solidFill>
              <a:srgbClr val="595959"/>
            </a:solidFill>
            <a:ln w="3175">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defRPr/>
              </a:pPr>
              <a:endParaRPr lang="da-DK" sz="1071"/>
            </a:p>
          </p:txBody>
        </p:sp>
        <p:sp>
          <p:nvSpPr>
            <p:cNvPr id="110" name="Oval 109"/>
            <p:cNvSpPr/>
            <p:nvPr/>
          </p:nvSpPr>
          <p:spPr bwMode="auto">
            <a:xfrm>
              <a:off x="1732107" y="2854529"/>
              <a:ext cx="73778" cy="73911"/>
            </a:xfrm>
            <a:prstGeom prst="ellipse">
              <a:avLst/>
            </a:prstGeom>
            <a:solidFill>
              <a:srgbClr val="595959"/>
            </a:solidFill>
            <a:ln w="3175">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defRPr/>
              </a:pPr>
              <a:endParaRPr lang="da-DK" sz="1071"/>
            </a:p>
          </p:txBody>
        </p:sp>
        <p:sp>
          <p:nvSpPr>
            <p:cNvPr id="111" name="Oval 110"/>
            <p:cNvSpPr/>
            <p:nvPr/>
          </p:nvSpPr>
          <p:spPr bwMode="auto">
            <a:xfrm>
              <a:off x="1732107" y="2975743"/>
              <a:ext cx="73778" cy="73911"/>
            </a:xfrm>
            <a:prstGeom prst="ellipse">
              <a:avLst/>
            </a:prstGeom>
            <a:solidFill>
              <a:srgbClr val="595959"/>
            </a:solidFill>
            <a:ln w="3175">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defRPr/>
              </a:pPr>
              <a:endParaRPr lang="da-DK" sz="1071"/>
            </a:p>
          </p:txBody>
        </p:sp>
        <p:sp>
          <p:nvSpPr>
            <p:cNvPr id="112" name="Oval 111"/>
            <p:cNvSpPr/>
            <p:nvPr/>
          </p:nvSpPr>
          <p:spPr bwMode="auto">
            <a:xfrm>
              <a:off x="486506" y="2690942"/>
              <a:ext cx="73778" cy="73911"/>
            </a:xfrm>
            <a:prstGeom prst="ellipse">
              <a:avLst/>
            </a:prstGeom>
            <a:solidFill>
              <a:srgbClr val="75829A"/>
            </a:solidFill>
            <a:ln w="3175">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defRPr/>
              </a:pPr>
              <a:endParaRPr lang="da-DK" sz="1071"/>
            </a:p>
          </p:txBody>
        </p:sp>
        <p:sp>
          <p:nvSpPr>
            <p:cNvPr id="113" name="Oval 112"/>
            <p:cNvSpPr/>
            <p:nvPr/>
          </p:nvSpPr>
          <p:spPr bwMode="auto">
            <a:xfrm>
              <a:off x="641727" y="2690942"/>
              <a:ext cx="73778" cy="73911"/>
            </a:xfrm>
            <a:prstGeom prst="ellipse">
              <a:avLst/>
            </a:prstGeom>
            <a:solidFill>
              <a:srgbClr val="75829A"/>
            </a:solidFill>
            <a:ln w="3175">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defRPr/>
              </a:pPr>
              <a:endParaRPr lang="da-DK" sz="1071"/>
            </a:p>
          </p:txBody>
        </p:sp>
        <p:sp>
          <p:nvSpPr>
            <p:cNvPr id="114" name="Oval 113"/>
            <p:cNvSpPr/>
            <p:nvPr/>
          </p:nvSpPr>
          <p:spPr bwMode="auto">
            <a:xfrm>
              <a:off x="564117" y="2810182"/>
              <a:ext cx="73779" cy="74896"/>
            </a:xfrm>
            <a:prstGeom prst="ellipse">
              <a:avLst/>
            </a:prstGeom>
            <a:solidFill>
              <a:srgbClr val="75829A"/>
            </a:solidFill>
            <a:ln w="3175">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defRPr/>
              </a:pPr>
              <a:endParaRPr lang="da-DK" sz="1071"/>
            </a:p>
          </p:txBody>
        </p:sp>
        <p:sp>
          <p:nvSpPr>
            <p:cNvPr id="115" name="Oval 114"/>
            <p:cNvSpPr/>
            <p:nvPr/>
          </p:nvSpPr>
          <p:spPr bwMode="auto">
            <a:xfrm>
              <a:off x="719336" y="2810182"/>
              <a:ext cx="73779" cy="74896"/>
            </a:xfrm>
            <a:prstGeom prst="ellipse">
              <a:avLst/>
            </a:prstGeom>
            <a:solidFill>
              <a:srgbClr val="75829A"/>
            </a:solidFill>
            <a:ln w="3175">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defRPr/>
              </a:pPr>
              <a:endParaRPr lang="da-DK" sz="1071"/>
            </a:p>
          </p:txBody>
        </p:sp>
        <p:sp>
          <p:nvSpPr>
            <p:cNvPr id="116" name="Oval 115"/>
            <p:cNvSpPr/>
            <p:nvPr/>
          </p:nvSpPr>
          <p:spPr bwMode="auto">
            <a:xfrm>
              <a:off x="952169" y="2690942"/>
              <a:ext cx="73778" cy="73911"/>
            </a:xfrm>
            <a:prstGeom prst="ellipse">
              <a:avLst/>
            </a:prstGeom>
            <a:solidFill>
              <a:srgbClr val="75829A"/>
            </a:solidFill>
            <a:ln w="3175">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defRPr/>
              </a:pPr>
              <a:endParaRPr lang="da-DK" sz="1071"/>
            </a:p>
          </p:txBody>
        </p:sp>
        <p:sp>
          <p:nvSpPr>
            <p:cNvPr id="117" name="Oval 116"/>
            <p:cNvSpPr/>
            <p:nvPr/>
          </p:nvSpPr>
          <p:spPr bwMode="auto">
            <a:xfrm>
              <a:off x="1072896" y="2812154"/>
              <a:ext cx="72820" cy="73911"/>
            </a:xfrm>
            <a:prstGeom prst="ellipse">
              <a:avLst/>
            </a:prstGeom>
            <a:solidFill>
              <a:srgbClr val="75829A"/>
            </a:solidFill>
            <a:ln w="3175">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defRPr/>
              </a:pPr>
              <a:endParaRPr lang="da-DK" sz="1071"/>
            </a:p>
          </p:txBody>
        </p:sp>
        <p:sp>
          <p:nvSpPr>
            <p:cNvPr id="118" name="Oval 117"/>
            <p:cNvSpPr/>
            <p:nvPr/>
          </p:nvSpPr>
          <p:spPr bwMode="auto">
            <a:xfrm>
              <a:off x="1072896" y="2933368"/>
              <a:ext cx="72820" cy="73911"/>
            </a:xfrm>
            <a:prstGeom prst="ellipse">
              <a:avLst/>
            </a:prstGeom>
            <a:solidFill>
              <a:srgbClr val="75829A"/>
            </a:solidFill>
            <a:ln w="3175">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defRPr/>
              </a:pPr>
              <a:endParaRPr lang="da-DK" sz="1071"/>
            </a:p>
          </p:txBody>
        </p:sp>
        <p:sp>
          <p:nvSpPr>
            <p:cNvPr id="119" name="Oval 118"/>
            <p:cNvSpPr/>
            <p:nvPr/>
          </p:nvSpPr>
          <p:spPr bwMode="auto">
            <a:xfrm>
              <a:off x="1072896" y="3054582"/>
              <a:ext cx="72820" cy="73911"/>
            </a:xfrm>
            <a:prstGeom prst="ellipse">
              <a:avLst/>
            </a:prstGeom>
            <a:solidFill>
              <a:srgbClr val="75829A"/>
            </a:solidFill>
            <a:ln w="3175">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defRPr/>
              </a:pPr>
              <a:endParaRPr lang="da-DK" sz="1071"/>
            </a:p>
          </p:txBody>
        </p:sp>
        <p:sp>
          <p:nvSpPr>
            <p:cNvPr id="120" name="Oval 119"/>
            <p:cNvSpPr/>
            <p:nvPr/>
          </p:nvSpPr>
          <p:spPr bwMode="auto">
            <a:xfrm>
              <a:off x="1072896" y="3175796"/>
              <a:ext cx="72820" cy="73911"/>
            </a:xfrm>
            <a:prstGeom prst="ellipse">
              <a:avLst/>
            </a:prstGeom>
            <a:solidFill>
              <a:srgbClr val="75829A"/>
            </a:solidFill>
            <a:ln w="3175">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defRPr/>
              </a:pPr>
              <a:endParaRPr lang="da-DK" sz="1071"/>
            </a:p>
          </p:txBody>
        </p:sp>
        <p:sp>
          <p:nvSpPr>
            <p:cNvPr id="121" name="Rectangle 120"/>
            <p:cNvSpPr/>
            <p:nvPr/>
          </p:nvSpPr>
          <p:spPr bwMode="auto">
            <a:xfrm>
              <a:off x="757663" y="2490888"/>
              <a:ext cx="73779" cy="74896"/>
            </a:xfrm>
            <a:prstGeom prst="rect">
              <a:avLst/>
            </a:prstGeom>
            <a:solidFill>
              <a:srgbClr val="75829A"/>
            </a:solidFill>
            <a:ln w="3175">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defRPr/>
              </a:pPr>
              <a:endParaRPr lang="da-DK" sz="1071"/>
            </a:p>
          </p:txBody>
        </p:sp>
        <p:sp>
          <p:nvSpPr>
            <p:cNvPr id="122" name="Oval 121"/>
            <p:cNvSpPr/>
            <p:nvPr/>
          </p:nvSpPr>
          <p:spPr bwMode="auto">
            <a:xfrm>
              <a:off x="2467971" y="2690942"/>
              <a:ext cx="72820" cy="73911"/>
            </a:xfrm>
            <a:prstGeom prst="ellipse">
              <a:avLst/>
            </a:prstGeom>
            <a:solidFill>
              <a:schemeClr val="bg1"/>
            </a:solidFill>
            <a:ln w="3175">
              <a:solidFill>
                <a:schemeClr val="tx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defRPr/>
              </a:pPr>
              <a:endParaRPr lang="da-DK" sz="1071"/>
            </a:p>
          </p:txBody>
        </p:sp>
        <p:sp>
          <p:nvSpPr>
            <p:cNvPr id="123" name="Oval 122"/>
            <p:cNvSpPr/>
            <p:nvPr/>
          </p:nvSpPr>
          <p:spPr bwMode="auto">
            <a:xfrm>
              <a:off x="2587739" y="2812154"/>
              <a:ext cx="73779" cy="73911"/>
            </a:xfrm>
            <a:prstGeom prst="ellipse">
              <a:avLst/>
            </a:prstGeom>
            <a:solidFill>
              <a:schemeClr val="bg1"/>
            </a:solidFill>
            <a:ln w="3175">
              <a:solidFill>
                <a:schemeClr val="tx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defRPr/>
              </a:pPr>
              <a:endParaRPr lang="da-DK" sz="1071"/>
            </a:p>
          </p:txBody>
        </p:sp>
        <p:sp>
          <p:nvSpPr>
            <p:cNvPr id="124" name="Oval 123"/>
            <p:cNvSpPr/>
            <p:nvPr/>
          </p:nvSpPr>
          <p:spPr bwMode="auto">
            <a:xfrm>
              <a:off x="2587739" y="2933368"/>
              <a:ext cx="73779" cy="73911"/>
            </a:xfrm>
            <a:prstGeom prst="ellipse">
              <a:avLst/>
            </a:prstGeom>
            <a:solidFill>
              <a:schemeClr val="bg1"/>
            </a:solidFill>
            <a:ln w="3175">
              <a:solidFill>
                <a:schemeClr val="tx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defRPr/>
              </a:pPr>
              <a:endParaRPr lang="da-DK" sz="1071"/>
            </a:p>
          </p:txBody>
        </p:sp>
        <p:sp>
          <p:nvSpPr>
            <p:cNvPr id="125" name="Oval 124"/>
            <p:cNvSpPr/>
            <p:nvPr/>
          </p:nvSpPr>
          <p:spPr bwMode="auto">
            <a:xfrm>
              <a:off x="2587739" y="3054582"/>
              <a:ext cx="73779" cy="73911"/>
            </a:xfrm>
            <a:prstGeom prst="ellipse">
              <a:avLst/>
            </a:prstGeom>
            <a:solidFill>
              <a:schemeClr val="bg1"/>
            </a:solidFill>
            <a:ln w="3175">
              <a:solidFill>
                <a:schemeClr val="tx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defRPr/>
              </a:pPr>
              <a:endParaRPr lang="da-DK" sz="1071"/>
            </a:p>
          </p:txBody>
        </p:sp>
        <p:sp>
          <p:nvSpPr>
            <p:cNvPr id="126" name="Oval 125"/>
            <p:cNvSpPr/>
            <p:nvPr/>
          </p:nvSpPr>
          <p:spPr bwMode="auto">
            <a:xfrm>
              <a:off x="2587739" y="3175796"/>
              <a:ext cx="73779" cy="73911"/>
            </a:xfrm>
            <a:prstGeom prst="ellipse">
              <a:avLst/>
            </a:prstGeom>
            <a:solidFill>
              <a:schemeClr val="bg1"/>
            </a:solidFill>
            <a:ln w="3175">
              <a:solidFill>
                <a:schemeClr val="tx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defRPr/>
              </a:pPr>
              <a:endParaRPr lang="da-DK" sz="1071"/>
            </a:p>
          </p:txBody>
        </p:sp>
        <p:sp>
          <p:nvSpPr>
            <p:cNvPr id="127" name="Rectangle 126"/>
            <p:cNvSpPr/>
            <p:nvPr/>
          </p:nvSpPr>
          <p:spPr bwMode="auto">
            <a:xfrm>
              <a:off x="2273464" y="2490888"/>
              <a:ext cx="73779" cy="74896"/>
            </a:xfrm>
            <a:prstGeom prst="rect">
              <a:avLst/>
            </a:prstGeom>
            <a:solidFill>
              <a:schemeClr val="bg1"/>
            </a:solidFill>
            <a:ln w="3175">
              <a:solidFill>
                <a:schemeClr val="tx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defRPr/>
              </a:pPr>
              <a:endParaRPr lang="da-DK" sz="1071"/>
            </a:p>
          </p:txBody>
        </p:sp>
        <p:sp>
          <p:nvSpPr>
            <p:cNvPr id="128" name="Oval 127"/>
            <p:cNvSpPr/>
            <p:nvPr/>
          </p:nvSpPr>
          <p:spPr bwMode="auto">
            <a:xfrm>
              <a:off x="2079917" y="2690942"/>
              <a:ext cx="72820" cy="73911"/>
            </a:xfrm>
            <a:prstGeom prst="ellipse">
              <a:avLst/>
            </a:prstGeom>
            <a:solidFill>
              <a:schemeClr val="bg1"/>
            </a:solidFill>
            <a:ln w="3175">
              <a:solidFill>
                <a:schemeClr val="tx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defRPr/>
              </a:pPr>
              <a:endParaRPr lang="da-DK" sz="1071"/>
            </a:p>
          </p:txBody>
        </p:sp>
        <p:sp>
          <p:nvSpPr>
            <p:cNvPr id="129" name="Oval 128"/>
            <p:cNvSpPr/>
            <p:nvPr/>
          </p:nvSpPr>
          <p:spPr bwMode="auto">
            <a:xfrm>
              <a:off x="2199688" y="2812154"/>
              <a:ext cx="73778" cy="73911"/>
            </a:xfrm>
            <a:prstGeom prst="ellipse">
              <a:avLst/>
            </a:prstGeom>
            <a:solidFill>
              <a:schemeClr val="bg1"/>
            </a:solidFill>
            <a:ln w="3175">
              <a:solidFill>
                <a:schemeClr val="tx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defRPr/>
              </a:pPr>
              <a:endParaRPr lang="da-DK" sz="1071"/>
            </a:p>
          </p:txBody>
        </p:sp>
        <p:sp>
          <p:nvSpPr>
            <p:cNvPr id="130" name="Oval 129"/>
            <p:cNvSpPr/>
            <p:nvPr/>
          </p:nvSpPr>
          <p:spPr bwMode="auto">
            <a:xfrm>
              <a:off x="2199688" y="2933368"/>
              <a:ext cx="73778" cy="73911"/>
            </a:xfrm>
            <a:prstGeom prst="ellipse">
              <a:avLst/>
            </a:prstGeom>
            <a:solidFill>
              <a:schemeClr val="bg1"/>
            </a:solidFill>
            <a:ln w="3175">
              <a:solidFill>
                <a:schemeClr val="tx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defRPr/>
              </a:pPr>
              <a:endParaRPr lang="da-DK" sz="1071"/>
            </a:p>
          </p:txBody>
        </p:sp>
        <p:sp>
          <p:nvSpPr>
            <p:cNvPr id="131" name="Oval 130"/>
            <p:cNvSpPr/>
            <p:nvPr/>
          </p:nvSpPr>
          <p:spPr bwMode="auto">
            <a:xfrm>
              <a:off x="2199688" y="3054582"/>
              <a:ext cx="73778" cy="73911"/>
            </a:xfrm>
            <a:prstGeom prst="ellipse">
              <a:avLst/>
            </a:prstGeom>
            <a:solidFill>
              <a:schemeClr val="bg1"/>
            </a:solidFill>
            <a:ln w="3175">
              <a:solidFill>
                <a:schemeClr val="tx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defRPr/>
              </a:pPr>
              <a:endParaRPr lang="da-DK" sz="1071"/>
            </a:p>
          </p:txBody>
        </p:sp>
        <p:sp>
          <p:nvSpPr>
            <p:cNvPr id="132" name="Oval 131"/>
            <p:cNvSpPr/>
            <p:nvPr/>
          </p:nvSpPr>
          <p:spPr bwMode="auto">
            <a:xfrm>
              <a:off x="2199688" y="3175796"/>
              <a:ext cx="73778" cy="73911"/>
            </a:xfrm>
            <a:prstGeom prst="ellipse">
              <a:avLst/>
            </a:prstGeom>
            <a:solidFill>
              <a:schemeClr val="bg1"/>
            </a:solidFill>
            <a:ln w="3175">
              <a:solidFill>
                <a:schemeClr val="tx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defRPr/>
              </a:pPr>
              <a:endParaRPr lang="da-DK" sz="1071"/>
            </a:p>
          </p:txBody>
        </p:sp>
        <p:cxnSp>
          <p:nvCxnSpPr>
            <p:cNvPr id="133" name="Elbow Connector 294"/>
            <p:cNvCxnSpPr>
              <a:endCxn id="122" idx="0"/>
            </p:cNvCxnSpPr>
            <p:nvPr/>
          </p:nvCxnSpPr>
          <p:spPr bwMode="auto">
            <a:xfrm rot="16200000" flipH="1">
              <a:off x="2344550" y="2531109"/>
              <a:ext cx="125156" cy="194506"/>
            </a:xfrm>
            <a:prstGeom prst="bentConnector3">
              <a:avLst>
                <a:gd name="adj1" fmla="val 50000"/>
              </a:avLst>
            </a:prstGeom>
            <a:ln w="6350" cmpd="sng">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34" name="Elbow Connector 295"/>
            <p:cNvCxnSpPr>
              <a:stCxn id="122" idx="4"/>
              <a:endCxn id="123" idx="2"/>
            </p:cNvCxnSpPr>
            <p:nvPr/>
          </p:nvCxnSpPr>
          <p:spPr bwMode="auto">
            <a:xfrm rot="16200000" flipH="1">
              <a:off x="2504177" y="2765054"/>
              <a:ext cx="83765" cy="83360"/>
            </a:xfrm>
            <a:prstGeom prst="bentConnector2">
              <a:avLst/>
            </a:prstGeom>
            <a:ln w="6350" cmpd="sng">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35" name="Elbow Connector 296"/>
            <p:cNvCxnSpPr>
              <a:stCxn id="122" idx="4"/>
              <a:endCxn id="124" idx="2"/>
            </p:cNvCxnSpPr>
            <p:nvPr/>
          </p:nvCxnSpPr>
          <p:spPr bwMode="auto">
            <a:xfrm rot="16200000" flipH="1">
              <a:off x="2443570" y="2825661"/>
              <a:ext cx="204979" cy="83360"/>
            </a:xfrm>
            <a:prstGeom prst="bentConnector2">
              <a:avLst/>
            </a:prstGeom>
            <a:ln w="6350" cmpd="sng">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36" name="Elbow Connector 297"/>
            <p:cNvCxnSpPr>
              <a:stCxn id="122" idx="4"/>
              <a:endCxn id="125" idx="2"/>
            </p:cNvCxnSpPr>
            <p:nvPr/>
          </p:nvCxnSpPr>
          <p:spPr bwMode="auto">
            <a:xfrm rot="16200000" flipH="1">
              <a:off x="2382963" y="2886269"/>
              <a:ext cx="326193" cy="83360"/>
            </a:xfrm>
            <a:prstGeom prst="bentConnector2">
              <a:avLst/>
            </a:prstGeom>
            <a:ln w="6350" cmpd="sng">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37" name="Elbow Connector 298"/>
            <p:cNvCxnSpPr>
              <a:stCxn id="122" idx="4"/>
              <a:endCxn id="126" idx="2"/>
            </p:cNvCxnSpPr>
            <p:nvPr/>
          </p:nvCxnSpPr>
          <p:spPr bwMode="auto">
            <a:xfrm rot="16200000" flipH="1">
              <a:off x="2322356" y="2946875"/>
              <a:ext cx="447407" cy="83360"/>
            </a:xfrm>
            <a:prstGeom prst="bentConnector2">
              <a:avLst/>
            </a:prstGeom>
            <a:ln w="6350" cmpd="sng">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38" name="Elbow Connector 299"/>
            <p:cNvCxnSpPr>
              <a:endCxn id="128" idx="0"/>
            </p:cNvCxnSpPr>
            <p:nvPr/>
          </p:nvCxnSpPr>
          <p:spPr bwMode="auto">
            <a:xfrm rot="5400000">
              <a:off x="2150522" y="2531588"/>
              <a:ext cx="125156" cy="193547"/>
            </a:xfrm>
            <a:prstGeom prst="bentConnector3">
              <a:avLst>
                <a:gd name="adj1" fmla="val 50000"/>
              </a:avLst>
            </a:prstGeom>
            <a:ln w="6350" cmpd="sng">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39" name="Elbow Connector 300"/>
            <p:cNvCxnSpPr>
              <a:stCxn id="128" idx="4"/>
              <a:endCxn id="129" idx="2"/>
            </p:cNvCxnSpPr>
            <p:nvPr/>
          </p:nvCxnSpPr>
          <p:spPr bwMode="auto">
            <a:xfrm rot="16200000" flipH="1">
              <a:off x="2116124" y="2765052"/>
              <a:ext cx="83765" cy="83360"/>
            </a:xfrm>
            <a:prstGeom prst="bentConnector2">
              <a:avLst/>
            </a:prstGeom>
            <a:ln w="6350" cmpd="sng">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40" name="Elbow Connector 301"/>
            <p:cNvCxnSpPr>
              <a:stCxn id="128" idx="4"/>
              <a:endCxn id="130" idx="2"/>
            </p:cNvCxnSpPr>
            <p:nvPr/>
          </p:nvCxnSpPr>
          <p:spPr bwMode="auto">
            <a:xfrm rot="16200000" flipH="1">
              <a:off x="2055518" y="2825661"/>
              <a:ext cx="204979" cy="83360"/>
            </a:xfrm>
            <a:prstGeom prst="bentConnector2">
              <a:avLst/>
            </a:prstGeom>
            <a:ln w="6350" cmpd="sng">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41" name="Elbow Connector 302"/>
            <p:cNvCxnSpPr>
              <a:stCxn id="128" idx="4"/>
              <a:endCxn id="131" idx="2"/>
            </p:cNvCxnSpPr>
            <p:nvPr/>
          </p:nvCxnSpPr>
          <p:spPr bwMode="auto">
            <a:xfrm rot="16200000" flipH="1">
              <a:off x="1994911" y="2886267"/>
              <a:ext cx="326193" cy="83360"/>
            </a:xfrm>
            <a:prstGeom prst="bentConnector2">
              <a:avLst/>
            </a:prstGeom>
            <a:ln w="6350" cmpd="sng">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42" name="Elbow Connector 303"/>
            <p:cNvCxnSpPr>
              <a:stCxn id="128" idx="4"/>
              <a:endCxn id="132" idx="2"/>
            </p:cNvCxnSpPr>
            <p:nvPr/>
          </p:nvCxnSpPr>
          <p:spPr bwMode="auto">
            <a:xfrm rot="16200000" flipH="1">
              <a:off x="1934304" y="2946875"/>
              <a:ext cx="447407" cy="83360"/>
            </a:xfrm>
            <a:prstGeom prst="bentConnector2">
              <a:avLst/>
            </a:prstGeom>
            <a:ln w="6350" cmpd="sng">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grpSp>
          <p:nvGrpSpPr>
            <p:cNvPr id="143" name="Grupper 125"/>
            <p:cNvGrpSpPr/>
            <p:nvPr/>
          </p:nvGrpSpPr>
          <p:grpSpPr>
            <a:xfrm>
              <a:off x="522915" y="2325313"/>
              <a:ext cx="1786961" cy="886926"/>
              <a:chOff x="514541" y="2359693"/>
              <a:chExt cx="2132661" cy="1058517"/>
            </a:xfrm>
          </p:grpSpPr>
          <p:cxnSp>
            <p:nvCxnSpPr>
              <p:cNvPr id="144" name="Elbow Connector 305"/>
              <p:cNvCxnSpPr>
                <a:endCxn id="112" idx="0"/>
              </p:cNvCxnSpPr>
              <p:nvPr/>
            </p:nvCxnSpPr>
            <p:spPr bwMode="auto">
              <a:xfrm rot="5400000">
                <a:off x="602236" y="2558974"/>
                <a:ext cx="149369" cy="324759"/>
              </a:xfrm>
              <a:prstGeom prst="bentConnector3">
                <a:avLst>
                  <a:gd name="adj1" fmla="val 50000"/>
                </a:avLst>
              </a:prstGeom>
              <a:ln w="6350" cmpd="sng">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45" name="Elbow Connector 306"/>
              <p:cNvCxnSpPr>
                <a:endCxn id="116" idx="0"/>
              </p:cNvCxnSpPr>
              <p:nvPr/>
            </p:nvCxnSpPr>
            <p:spPr bwMode="auto">
              <a:xfrm rot="16200000" flipH="1">
                <a:off x="880112" y="2605858"/>
                <a:ext cx="149369" cy="230991"/>
              </a:xfrm>
              <a:prstGeom prst="bentConnector3">
                <a:avLst>
                  <a:gd name="adj1" fmla="val 50000"/>
                </a:avLst>
              </a:prstGeom>
              <a:ln w="6350" cmpd="sng">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46" name="Elbow Connector 307"/>
              <p:cNvCxnSpPr>
                <a:stCxn id="113" idx="4"/>
                <a:endCxn id="115" idx="2"/>
              </p:cNvCxnSpPr>
              <p:nvPr/>
            </p:nvCxnSpPr>
            <p:spPr bwMode="auto">
              <a:xfrm rot="16200000" flipH="1">
                <a:off x="674979" y="2909058"/>
                <a:ext cx="98795" cy="49171"/>
              </a:xfrm>
              <a:prstGeom prst="bentConnector2">
                <a:avLst/>
              </a:prstGeom>
              <a:ln w="6350" cmpd="sng">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47" name="Elbow Connector 308"/>
              <p:cNvCxnSpPr>
                <a:stCxn id="112" idx="4"/>
                <a:endCxn id="114" idx="2"/>
              </p:cNvCxnSpPr>
              <p:nvPr/>
            </p:nvCxnSpPr>
            <p:spPr bwMode="auto">
              <a:xfrm rot="16200000" flipH="1">
                <a:off x="489730" y="2909058"/>
                <a:ext cx="98795" cy="49171"/>
              </a:xfrm>
              <a:prstGeom prst="bentConnector2">
                <a:avLst/>
              </a:prstGeom>
              <a:ln w="6350" cmpd="sng">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48" name="Elbow Connector 309"/>
              <p:cNvCxnSpPr>
                <a:stCxn id="116" idx="4"/>
                <a:endCxn id="117" idx="2"/>
              </p:cNvCxnSpPr>
              <p:nvPr/>
            </p:nvCxnSpPr>
            <p:spPr bwMode="auto">
              <a:xfrm rot="16200000" flipH="1">
                <a:off x="1070620" y="2883917"/>
                <a:ext cx="99971" cy="100629"/>
              </a:xfrm>
              <a:prstGeom prst="bentConnector2">
                <a:avLst/>
              </a:prstGeom>
              <a:ln w="6350" cmpd="sng">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49" name="Elbow Connector 310"/>
              <p:cNvCxnSpPr>
                <a:stCxn id="116" idx="4"/>
                <a:endCxn id="118" idx="2"/>
              </p:cNvCxnSpPr>
              <p:nvPr/>
            </p:nvCxnSpPr>
            <p:spPr bwMode="auto">
              <a:xfrm rot="16200000" flipH="1">
                <a:off x="998289" y="2956249"/>
                <a:ext cx="244634" cy="100629"/>
              </a:xfrm>
              <a:prstGeom prst="bentConnector2">
                <a:avLst/>
              </a:prstGeom>
              <a:ln w="6350" cmpd="sng">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50" name="Elbow Connector 311"/>
              <p:cNvCxnSpPr>
                <a:stCxn id="116" idx="4"/>
                <a:endCxn id="119" idx="2"/>
              </p:cNvCxnSpPr>
              <p:nvPr/>
            </p:nvCxnSpPr>
            <p:spPr bwMode="auto">
              <a:xfrm rot="16200000" flipH="1">
                <a:off x="925957" y="3028582"/>
                <a:ext cx="389299" cy="100629"/>
              </a:xfrm>
              <a:prstGeom prst="bentConnector2">
                <a:avLst/>
              </a:prstGeom>
              <a:ln w="6350" cmpd="sng">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51" name="Elbow Connector 312"/>
              <p:cNvCxnSpPr>
                <a:stCxn id="116" idx="4"/>
                <a:endCxn id="120" idx="2"/>
              </p:cNvCxnSpPr>
              <p:nvPr/>
            </p:nvCxnSpPr>
            <p:spPr bwMode="auto">
              <a:xfrm rot="16200000" flipH="1">
                <a:off x="853625" y="3100914"/>
                <a:ext cx="533962" cy="100629"/>
              </a:xfrm>
              <a:prstGeom prst="bentConnector2">
                <a:avLst/>
              </a:prstGeom>
              <a:ln w="6350" cmpd="sng">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52" name="Shape 176"/>
              <p:cNvCxnSpPr>
                <a:endCxn id="105" idx="2"/>
              </p:cNvCxnSpPr>
              <p:nvPr/>
            </p:nvCxnSpPr>
            <p:spPr bwMode="auto">
              <a:xfrm rot="16200000" flipH="1">
                <a:off x="1412813" y="2721530"/>
                <a:ext cx="244634" cy="94913"/>
              </a:xfrm>
              <a:prstGeom prst="bentConnector2">
                <a:avLst/>
              </a:prstGeom>
              <a:ln w="6350" cmpd="sng">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53" name="Shape 177"/>
              <p:cNvCxnSpPr>
                <a:endCxn id="106" idx="2"/>
              </p:cNvCxnSpPr>
              <p:nvPr/>
            </p:nvCxnSpPr>
            <p:spPr bwMode="auto">
              <a:xfrm rot="16200000" flipH="1">
                <a:off x="1340481" y="2793862"/>
                <a:ext cx="389299" cy="94913"/>
              </a:xfrm>
              <a:prstGeom prst="bentConnector2">
                <a:avLst/>
              </a:prstGeom>
              <a:ln w="6350" cmpd="sng">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54" name="Shape 178"/>
              <p:cNvCxnSpPr>
                <a:endCxn id="107" idx="2"/>
              </p:cNvCxnSpPr>
              <p:nvPr/>
            </p:nvCxnSpPr>
            <p:spPr bwMode="auto">
              <a:xfrm rot="16200000" flipH="1">
                <a:off x="1268151" y="2866193"/>
                <a:ext cx="533962" cy="94913"/>
              </a:xfrm>
              <a:prstGeom prst="bentConnector2">
                <a:avLst/>
              </a:prstGeom>
              <a:ln w="6350" cmpd="sng">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55" name="Shape 180"/>
              <p:cNvCxnSpPr>
                <a:endCxn id="109" idx="2"/>
              </p:cNvCxnSpPr>
              <p:nvPr/>
            </p:nvCxnSpPr>
            <p:spPr bwMode="auto">
              <a:xfrm rot="16200000" flipH="1">
                <a:off x="1787889" y="2721530"/>
                <a:ext cx="244634" cy="94913"/>
              </a:xfrm>
              <a:prstGeom prst="bentConnector2">
                <a:avLst/>
              </a:prstGeom>
              <a:ln w="6350" cmpd="sng">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56" name="Shape 182"/>
              <p:cNvCxnSpPr>
                <a:endCxn id="110" idx="2"/>
              </p:cNvCxnSpPr>
              <p:nvPr/>
            </p:nvCxnSpPr>
            <p:spPr bwMode="auto">
              <a:xfrm rot="16200000" flipH="1">
                <a:off x="1715557" y="2793862"/>
                <a:ext cx="389299" cy="94913"/>
              </a:xfrm>
              <a:prstGeom prst="bentConnector2">
                <a:avLst/>
              </a:prstGeom>
              <a:ln w="6350" cmpd="sng">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57" name="Shape 184"/>
              <p:cNvCxnSpPr>
                <a:endCxn id="111" idx="2"/>
              </p:cNvCxnSpPr>
              <p:nvPr/>
            </p:nvCxnSpPr>
            <p:spPr bwMode="auto">
              <a:xfrm rot="16200000" flipH="1">
                <a:off x="1643225" y="2866193"/>
                <a:ext cx="533962" cy="94913"/>
              </a:xfrm>
              <a:prstGeom prst="bentConnector2">
                <a:avLst/>
              </a:prstGeom>
              <a:ln w="6350" cmpd="sng">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58" name="Shape 194"/>
              <p:cNvCxnSpPr/>
              <p:nvPr/>
            </p:nvCxnSpPr>
            <p:spPr bwMode="auto">
              <a:xfrm rot="16200000" flipH="1">
                <a:off x="1365438" y="2435046"/>
                <a:ext cx="197590" cy="46884"/>
              </a:xfrm>
              <a:prstGeom prst="bentConnector3">
                <a:avLst>
                  <a:gd name="adj1" fmla="val 50000"/>
                </a:avLst>
              </a:prstGeom>
              <a:ln w="6350" cmpd="sng">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59" name="Shape 194"/>
              <p:cNvCxnSpPr/>
              <p:nvPr/>
            </p:nvCxnSpPr>
            <p:spPr bwMode="auto">
              <a:xfrm rot="16200000" flipH="1">
                <a:off x="1552976" y="2247509"/>
                <a:ext cx="197590" cy="421958"/>
              </a:xfrm>
              <a:prstGeom prst="bentConnector3">
                <a:avLst>
                  <a:gd name="adj1" fmla="val 50000"/>
                </a:avLst>
              </a:prstGeom>
              <a:ln w="6350" cmpd="sng">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60" name="Shape 194"/>
              <p:cNvCxnSpPr/>
              <p:nvPr/>
            </p:nvCxnSpPr>
            <p:spPr bwMode="auto">
              <a:xfrm rot="5400000">
                <a:off x="1041251" y="2157742"/>
                <a:ext cx="197590" cy="601491"/>
              </a:xfrm>
              <a:prstGeom prst="bentConnector3">
                <a:avLst>
                  <a:gd name="adj1" fmla="val 50000"/>
                </a:avLst>
              </a:prstGeom>
              <a:ln w="6350" cmpd="sng">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61" name="Shape 194"/>
              <p:cNvCxnSpPr/>
              <p:nvPr/>
            </p:nvCxnSpPr>
            <p:spPr bwMode="auto">
              <a:xfrm rot="16200000" flipH="1">
                <a:off x="1945202" y="1855283"/>
                <a:ext cx="197590" cy="1206411"/>
              </a:xfrm>
              <a:prstGeom prst="bentConnector3">
                <a:avLst>
                  <a:gd name="adj1" fmla="val 50000"/>
                </a:avLst>
              </a:prstGeom>
              <a:ln w="6350" cmpd="sng">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62" name="Elbow Connector 323"/>
              <p:cNvCxnSpPr>
                <a:stCxn id="121" idx="2"/>
                <a:endCxn id="113" idx="0"/>
              </p:cNvCxnSpPr>
              <p:nvPr/>
            </p:nvCxnSpPr>
            <p:spPr bwMode="auto">
              <a:xfrm rot="5400000">
                <a:off x="694862" y="2651599"/>
                <a:ext cx="149369" cy="139509"/>
              </a:xfrm>
              <a:prstGeom prst="bentConnector3">
                <a:avLst>
                  <a:gd name="adj1" fmla="val 50000"/>
                </a:avLst>
              </a:prstGeom>
              <a:ln w="6350" cmpd="sng">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grpSp>
      </p:grpSp>
      <p:sp>
        <p:nvSpPr>
          <p:cNvPr id="163" name="Tekstfelt 170"/>
          <p:cNvSpPr txBox="1"/>
          <p:nvPr/>
        </p:nvSpPr>
        <p:spPr>
          <a:xfrm>
            <a:off x="1969426" y="1909754"/>
            <a:ext cx="2994102" cy="318286"/>
          </a:xfrm>
          <a:prstGeom prst="rect">
            <a:avLst/>
          </a:prstGeom>
          <a:noFill/>
        </p:spPr>
        <p:txBody>
          <a:bodyPr wrap="square" rtlCol="0">
            <a:spAutoFit/>
          </a:bodyPr>
          <a:lstStyle>
            <a:defPPr>
              <a:defRPr lang="da-DK"/>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428" dirty="0">
                <a:cs typeface="Calibri Light"/>
              </a:rPr>
              <a:t>THE CLASSIC ORGANIZATION</a:t>
            </a:r>
          </a:p>
        </p:txBody>
      </p:sp>
      <p:sp>
        <p:nvSpPr>
          <p:cNvPr id="168" name="Title 167"/>
          <p:cNvSpPr>
            <a:spLocks noGrp="1"/>
          </p:cNvSpPr>
          <p:nvPr>
            <p:ph type="title"/>
          </p:nvPr>
        </p:nvSpPr>
        <p:spPr/>
        <p:txBody>
          <a:bodyPr/>
          <a:lstStyle/>
          <a:p>
            <a:r>
              <a:rPr lang="en-US" dirty="0"/>
              <a:t>And instead of </a:t>
            </a:r>
            <a:r>
              <a:rPr lang="en-US" dirty="0">
                <a:latin typeface="Carlsberg Sans Bold" panose="020B0804020202020204" pitchFamily="34" charset="0"/>
              </a:rPr>
              <a:t>a rigid structure</a:t>
            </a:r>
          </a:p>
        </p:txBody>
      </p:sp>
      <p:grpSp>
        <p:nvGrpSpPr>
          <p:cNvPr id="169" name="Group 168"/>
          <p:cNvGrpSpPr/>
          <p:nvPr/>
        </p:nvGrpSpPr>
        <p:grpSpPr>
          <a:xfrm>
            <a:off x="11359142" y="6581805"/>
            <a:ext cx="804355" cy="98450"/>
            <a:chOff x="4502" y="350838"/>
            <a:chExt cx="9144001" cy="1119188"/>
          </a:xfrm>
          <a:solidFill>
            <a:srgbClr val="E9EAEB"/>
          </a:solidFill>
        </p:grpSpPr>
        <p:sp>
          <p:nvSpPr>
            <p:cNvPr id="170" name="Rectangle 5"/>
            <p:cNvSpPr>
              <a:spLocks noChangeArrowheads="1"/>
            </p:cNvSpPr>
            <p:nvPr/>
          </p:nvSpPr>
          <p:spPr bwMode="auto">
            <a:xfrm>
              <a:off x="4502" y="373063"/>
              <a:ext cx="284163" cy="107156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da-DK" sz="1836"/>
            </a:p>
          </p:txBody>
        </p:sp>
        <p:sp>
          <p:nvSpPr>
            <p:cNvPr id="171" name="Freeform 6"/>
            <p:cNvSpPr>
              <a:spLocks/>
            </p:cNvSpPr>
            <p:nvPr/>
          </p:nvSpPr>
          <p:spPr bwMode="auto">
            <a:xfrm>
              <a:off x="576002" y="350838"/>
              <a:ext cx="974725" cy="1093788"/>
            </a:xfrm>
            <a:custGeom>
              <a:avLst/>
              <a:gdLst>
                <a:gd name="T0" fmla="*/ 353 w 353"/>
                <a:gd name="T1" fmla="*/ 396 h 396"/>
                <a:gd name="T2" fmla="*/ 250 w 353"/>
                <a:gd name="T3" fmla="*/ 396 h 396"/>
                <a:gd name="T4" fmla="*/ 250 w 353"/>
                <a:gd name="T5" fmla="*/ 198 h 396"/>
                <a:gd name="T6" fmla="*/ 244 w 353"/>
                <a:gd name="T7" fmla="*/ 117 h 396"/>
                <a:gd name="T8" fmla="*/ 222 w 353"/>
                <a:gd name="T9" fmla="*/ 88 h 396"/>
                <a:gd name="T10" fmla="*/ 187 w 353"/>
                <a:gd name="T11" fmla="*/ 78 h 396"/>
                <a:gd name="T12" fmla="*/ 139 w 353"/>
                <a:gd name="T13" fmla="*/ 93 h 396"/>
                <a:gd name="T14" fmla="*/ 110 w 353"/>
                <a:gd name="T15" fmla="*/ 131 h 396"/>
                <a:gd name="T16" fmla="*/ 102 w 353"/>
                <a:gd name="T17" fmla="*/ 220 h 396"/>
                <a:gd name="T18" fmla="*/ 102 w 353"/>
                <a:gd name="T19" fmla="*/ 396 h 396"/>
                <a:gd name="T20" fmla="*/ 0 w 353"/>
                <a:gd name="T21" fmla="*/ 396 h 396"/>
                <a:gd name="T22" fmla="*/ 0 w 353"/>
                <a:gd name="T23" fmla="*/ 8 h 396"/>
                <a:gd name="T24" fmla="*/ 95 w 353"/>
                <a:gd name="T25" fmla="*/ 8 h 396"/>
                <a:gd name="T26" fmla="*/ 95 w 353"/>
                <a:gd name="T27" fmla="*/ 65 h 396"/>
                <a:gd name="T28" fmla="*/ 222 w 353"/>
                <a:gd name="T29" fmla="*/ 0 h 396"/>
                <a:gd name="T30" fmla="*/ 284 w 353"/>
                <a:gd name="T31" fmla="*/ 12 h 396"/>
                <a:gd name="T32" fmla="*/ 327 w 353"/>
                <a:gd name="T33" fmla="*/ 43 h 396"/>
                <a:gd name="T34" fmla="*/ 347 w 353"/>
                <a:gd name="T35" fmla="*/ 86 h 396"/>
                <a:gd name="T36" fmla="*/ 353 w 353"/>
                <a:gd name="T37" fmla="*/ 155 h 396"/>
                <a:gd name="T38" fmla="*/ 353 w 353"/>
                <a:gd name="T39" fmla="*/ 396 h 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53" h="396">
                  <a:moveTo>
                    <a:pt x="353" y="396"/>
                  </a:moveTo>
                  <a:cubicBezTo>
                    <a:pt x="250" y="396"/>
                    <a:pt x="250" y="396"/>
                    <a:pt x="250" y="396"/>
                  </a:cubicBezTo>
                  <a:cubicBezTo>
                    <a:pt x="250" y="198"/>
                    <a:pt x="250" y="198"/>
                    <a:pt x="250" y="198"/>
                  </a:cubicBezTo>
                  <a:cubicBezTo>
                    <a:pt x="250" y="156"/>
                    <a:pt x="248" y="129"/>
                    <a:pt x="244" y="117"/>
                  </a:cubicBezTo>
                  <a:cubicBezTo>
                    <a:pt x="239" y="105"/>
                    <a:pt x="232" y="95"/>
                    <a:pt x="222" y="88"/>
                  </a:cubicBezTo>
                  <a:cubicBezTo>
                    <a:pt x="212" y="81"/>
                    <a:pt x="201" y="78"/>
                    <a:pt x="187" y="78"/>
                  </a:cubicBezTo>
                  <a:cubicBezTo>
                    <a:pt x="169" y="78"/>
                    <a:pt x="153" y="83"/>
                    <a:pt x="139" y="93"/>
                  </a:cubicBezTo>
                  <a:cubicBezTo>
                    <a:pt x="125" y="102"/>
                    <a:pt x="115" y="115"/>
                    <a:pt x="110" y="131"/>
                  </a:cubicBezTo>
                  <a:cubicBezTo>
                    <a:pt x="105" y="147"/>
                    <a:pt x="102" y="177"/>
                    <a:pt x="102" y="220"/>
                  </a:cubicBezTo>
                  <a:cubicBezTo>
                    <a:pt x="102" y="396"/>
                    <a:pt x="102" y="396"/>
                    <a:pt x="102" y="396"/>
                  </a:cubicBezTo>
                  <a:cubicBezTo>
                    <a:pt x="0" y="396"/>
                    <a:pt x="0" y="396"/>
                    <a:pt x="0" y="396"/>
                  </a:cubicBezTo>
                  <a:cubicBezTo>
                    <a:pt x="0" y="8"/>
                    <a:pt x="0" y="8"/>
                    <a:pt x="0" y="8"/>
                  </a:cubicBezTo>
                  <a:cubicBezTo>
                    <a:pt x="95" y="8"/>
                    <a:pt x="95" y="8"/>
                    <a:pt x="95" y="8"/>
                  </a:cubicBezTo>
                  <a:cubicBezTo>
                    <a:pt x="95" y="65"/>
                    <a:pt x="95" y="65"/>
                    <a:pt x="95" y="65"/>
                  </a:cubicBezTo>
                  <a:cubicBezTo>
                    <a:pt x="129" y="22"/>
                    <a:pt x="171" y="0"/>
                    <a:pt x="222" y="0"/>
                  </a:cubicBezTo>
                  <a:cubicBezTo>
                    <a:pt x="245" y="0"/>
                    <a:pt x="266" y="4"/>
                    <a:pt x="284" y="12"/>
                  </a:cubicBezTo>
                  <a:cubicBezTo>
                    <a:pt x="303" y="20"/>
                    <a:pt x="317" y="30"/>
                    <a:pt x="327" y="43"/>
                  </a:cubicBezTo>
                  <a:cubicBezTo>
                    <a:pt x="337" y="56"/>
                    <a:pt x="343" y="70"/>
                    <a:pt x="347" y="86"/>
                  </a:cubicBezTo>
                  <a:cubicBezTo>
                    <a:pt x="351" y="102"/>
                    <a:pt x="353" y="125"/>
                    <a:pt x="353" y="155"/>
                  </a:cubicBezTo>
                  <a:lnTo>
                    <a:pt x="353" y="39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da-DK" sz="1836"/>
            </a:p>
          </p:txBody>
        </p:sp>
        <p:sp>
          <p:nvSpPr>
            <p:cNvPr id="172" name="Freeform 7"/>
            <p:cNvSpPr>
              <a:spLocks/>
            </p:cNvSpPr>
            <p:nvPr/>
          </p:nvSpPr>
          <p:spPr bwMode="auto">
            <a:xfrm>
              <a:off x="1831715" y="350838"/>
              <a:ext cx="974725" cy="1093788"/>
            </a:xfrm>
            <a:custGeom>
              <a:avLst/>
              <a:gdLst>
                <a:gd name="T0" fmla="*/ 353 w 353"/>
                <a:gd name="T1" fmla="*/ 396 h 396"/>
                <a:gd name="T2" fmla="*/ 251 w 353"/>
                <a:gd name="T3" fmla="*/ 396 h 396"/>
                <a:gd name="T4" fmla="*/ 251 w 353"/>
                <a:gd name="T5" fmla="*/ 198 h 396"/>
                <a:gd name="T6" fmla="*/ 244 w 353"/>
                <a:gd name="T7" fmla="*/ 117 h 396"/>
                <a:gd name="T8" fmla="*/ 223 w 353"/>
                <a:gd name="T9" fmla="*/ 88 h 396"/>
                <a:gd name="T10" fmla="*/ 187 w 353"/>
                <a:gd name="T11" fmla="*/ 78 h 396"/>
                <a:gd name="T12" fmla="*/ 139 w 353"/>
                <a:gd name="T13" fmla="*/ 93 h 396"/>
                <a:gd name="T14" fmla="*/ 110 w 353"/>
                <a:gd name="T15" fmla="*/ 131 h 396"/>
                <a:gd name="T16" fmla="*/ 103 w 353"/>
                <a:gd name="T17" fmla="*/ 220 h 396"/>
                <a:gd name="T18" fmla="*/ 103 w 353"/>
                <a:gd name="T19" fmla="*/ 396 h 396"/>
                <a:gd name="T20" fmla="*/ 0 w 353"/>
                <a:gd name="T21" fmla="*/ 396 h 396"/>
                <a:gd name="T22" fmla="*/ 0 w 353"/>
                <a:gd name="T23" fmla="*/ 8 h 396"/>
                <a:gd name="T24" fmla="*/ 95 w 353"/>
                <a:gd name="T25" fmla="*/ 8 h 396"/>
                <a:gd name="T26" fmla="*/ 95 w 353"/>
                <a:gd name="T27" fmla="*/ 65 h 396"/>
                <a:gd name="T28" fmla="*/ 223 w 353"/>
                <a:gd name="T29" fmla="*/ 0 h 396"/>
                <a:gd name="T30" fmla="*/ 285 w 353"/>
                <a:gd name="T31" fmla="*/ 12 h 396"/>
                <a:gd name="T32" fmla="*/ 328 w 353"/>
                <a:gd name="T33" fmla="*/ 43 h 396"/>
                <a:gd name="T34" fmla="*/ 348 w 353"/>
                <a:gd name="T35" fmla="*/ 86 h 396"/>
                <a:gd name="T36" fmla="*/ 353 w 353"/>
                <a:gd name="T37" fmla="*/ 155 h 396"/>
                <a:gd name="T38" fmla="*/ 353 w 353"/>
                <a:gd name="T39" fmla="*/ 396 h 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53" h="396">
                  <a:moveTo>
                    <a:pt x="353" y="396"/>
                  </a:moveTo>
                  <a:cubicBezTo>
                    <a:pt x="251" y="396"/>
                    <a:pt x="251" y="396"/>
                    <a:pt x="251" y="396"/>
                  </a:cubicBezTo>
                  <a:cubicBezTo>
                    <a:pt x="251" y="198"/>
                    <a:pt x="251" y="198"/>
                    <a:pt x="251" y="198"/>
                  </a:cubicBezTo>
                  <a:cubicBezTo>
                    <a:pt x="251" y="156"/>
                    <a:pt x="249" y="129"/>
                    <a:pt x="244" y="117"/>
                  </a:cubicBezTo>
                  <a:cubicBezTo>
                    <a:pt x="240" y="105"/>
                    <a:pt x="233" y="95"/>
                    <a:pt x="223" y="88"/>
                  </a:cubicBezTo>
                  <a:cubicBezTo>
                    <a:pt x="213" y="81"/>
                    <a:pt x="201" y="78"/>
                    <a:pt x="187" y="78"/>
                  </a:cubicBezTo>
                  <a:cubicBezTo>
                    <a:pt x="170" y="78"/>
                    <a:pt x="154" y="83"/>
                    <a:pt x="139" y="93"/>
                  </a:cubicBezTo>
                  <a:cubicBezTo>
                    <a:pt x="125" y="102"/>
                    <a:pt x="116" y="115"/>
                    <a:pt x="110" y="131"/>
                  </a:cubicBezTo>
                  <a:cubicBezTo>
                    <a:pt x="105" y="147"/>
                    <a:pt x="103" y="177"/>
                    <a:pt x="103" y="220"/>
                  </a:cubicBezTo>
                  <a:cubicBezTo>
                    <a:pt x="103" y="396"/>
                    <a:pt x="103" y="396"/>
                    <a:pt x="103" y="396"/>
                  </a:cubicBezTo>
                  <a:cubicBezTo>
                    <a:pt x="0" y="396"/>
                    <a:pt x="0" y="396"/>
                    <a:pt x="0" y="396"/>
                  </a:cubicBezTo>
                  <a:cubicBezTo>
                    <a:pt x="0" y="8"/>
                    <a:pt x="0" y="8"/>
                    <a:pt x="0" y="8"/>
                  </a:cubicBezTo>
                  <a:cubicBezTo>
                    <a:pt x="95" y="8"/>
                    <a:pt x="95" y="8"/>
                    <a:pt x="95" y="8"/>
                  </a:cubicBezTo>
                  <a:cubicBezTo>
                    <a:pt x="95" y="65"/>
                    <a:pt x="95" y="65"/>
                    <a:pt x="95" y="65"/>
                  </a:cubicBezTo>
                  <a:cubicBezTo>
                    <a:pt x="129" y="22"/>
                    <a:pt x="172" y="0"/>
                    <a:pt x="223" y="0"/>
                  </a:cubicBezTo>
                  <a:cubicBezTo>
                    <a:pt x="246" y="0"/>
                    <a:pt x="266" y="4"/>
                    <a:pt x="285" y="12"/>
                  </a:cubicBezTo>
                  <a:cubicBezTo>
                    <a:pt x="304" y="20"/>
                    <a:pt x="318" y="30"/>
                    <a:pt x="328" y="43"/>
                  </a:cubicBezTo>
                  <a:cubicBezTo>
                    <a:pt x="337" y="56"/>
                    <a:pt x="344" y="70"/>
                    <a:pt x="348" y="86"/>
                  </a:cubicBezTo>
                  <a:cubicBezTo>
                    <a:pt x="351" y="102"/>
                    <a:pt x="353" y="125"/>
                    <a:pt x="353" y="155"/>
                  </a:cubicBezTo>
                  <a:lnTo>
                    <a:pt x="353" y="39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da-DK" sz="1836"/>
            </a:p>
          </p:txBody>
        </p:sp>
        <p:sp>
          <p:nvSpPr>
            <p:cNvPr id="173" name="Freeform 8"/>
            <p:cNvSpPr>
              <a:spLocks noEditPoints="1"/>
            </p:cNvSpPr>
            <p:nvPr/>
          </p:nvSpPr>
          <p:spPr bwMode="auto">
            <a:xfrm>
              <a:off x="3023927" y="350838"/>
              <a:ext cx="1104900" cy="1119188"/>
            </a:xfrm>
            <a:custGeom>
              <a:avLst/>
              <a:gdLst>
                <a:gd name="T0" fmla="*/ 0 w 400"/>
                <a:gd name="T1" fmla="*/ 197 h 405"/>
                <a:gd name="T2" fmla="*/ 25 w 400"/>
                <a:gd name="T3" fmla="*/ 98 h 405"/>
                <a:gd name="T4" fmla="*/ 96 w 400"/>
                <a:gd name="T5" fmla="*/ 25 h 405"/>
                <a:gd name="T6" fmla="*/ 199 w 400"/>
                <a:gd name="T7" fmla="*/ 0 h 405"/>
                <a:gd name="T8" fmla="*/ 343 w 400"/>
                <a:gd name="T9" fmla="*/ 57 h 405"/>
                <a:gd name="T10" fmla="*/ 400 w 400"/>
                <a:gd name="T11" fmla="*/ 201 h 405"/>
                <a:gd name="T12" fmla="*/ 343 w 400"/>
                <a:gd name="T13" fmla="*/ 347 h 405"/>
                <a:gd name="T14" fmla="*/ 200 w 400"/>
                <a:gd name="T15" fmla="*/ 405 h 405"/>
                <a:gd name="T16" fmla="*/ 98 w 400"/>
                <a:gd name="T17" fmla="*/ 380 h 405"/>
                <a:gd name="T18" fmla="*/ 25 w 400"/>
                <a:gd name="T19" fmla="*/ 310 h 405"/>
                <a:gd name="T20" fmla="*/ 0 w 400"/>
                <a:gd name="T21" fmla="*/ 197 h 405"/>
                <a:gd name="T22" fmla="*/ 105 w 400"/>
                <a:gd name="T23" fmla="*/ 202 h 405"/>
                <a:gd name="T24" fmla="*/ 132 w 400"/>
                <a:gd name="T25" fmla="*/ 290 h 405"/>
                <a:gd name="T26" fmla="*/ 200 w 400"/>
                <a:gd name="T27" fmla="*/ 321 h 405"/>
                <a:gd name="T28" fmla="*/ 267 w 400"/>
                <a:gd name="T29" fmla="*/ 290 h 405"/>
                <a:gd name="T30" fmla="*/ 294 w 400"/>
                <a:gd name="T31" fmla="*/ 201 h 405"/>
                <a:gd name="T32" fmla="*/ 267 w 400"/>
                <a:gd name="T33" fmla="*/ 114 h 405"/>
                <a:gd name="T34" fmla="*/ 200 w 400"/>
                <a:gd name="T35" fmla="*/ 83 h 405"/>
                <a:gd name="T36" fmla="*/ 132 w 400"/>
                <a:gd name="T37" fmla="*/ 114 h 405"/>
                <a:gd name="T38" fmla="*/ 105 w 400"/>
                <a:gd name="T39" fmla="*/ 202 h 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00" h="405">
                  <a:moveTo>
                    <a:pt x="0" y="197"/>
                  </a:moveTo>
                  <a:cubicBezTo>
                    <a:pt x="0" y="163"/>
                    <a:pt x="8" y="130"/>
                    <a:pt x="25" y="98"/>
                  </a:cubicBezTo>
                  <a:cubicBezTo>
                    <a:pt x="42" y="66"/>
                    <a:pt x="65" y="42"/>
                    <a:pt x="96" y="25"/>
                  </a:cubicBezTo>
                  <a:cubicBezTo>
                    <a:pt x="127" y="8"/>
                    <a:pt x="161" y="0"/>
                    <a:pt x="199" y="0"/>
                  </a:cubicBezTo>
                  <a:cubicBezTo>
                    <a:pt x="258" y="0"/>
                    <a:pt x="306" y="19"/>
                    <a:pt x="343" y="57"/>
                  </a:cubicBezTo>
                  <a:cubicBezTo>
                    <a:pt x="381" y="95"/>
                    <a:pt x="400" y="143"/>
                    <a:pt x="400" y="201"/>
                  </a:cubicBezTo>
                  <a:cubicBezTo>
                    <a:pt x="400" y="260"/>
                    <a:pt x="381" y="308"/>
                    <a:pt x="343" y="347"/>
                  </a:cubicBezTo>
                  <a:cubicBezTo>
                    <a:pt x="305" y="385"/>
                    <a:pt x="257" y="405"/>
                    <a:pt x="200" y="405"/>
                  </a:cubicBezTo>
                  <a:cubicBezTo>
                    <a:pt x="165" y="405"/>
                    <a:pt x="131" y="397"/>
                    <a:pt x="98" y="380"/>
                  </a:cubicBezTo>
                  <a:cubicBezTo>
                    <a:pt x="66" y="364"/>
                    <a:pt x="42" y="341"/>
                    <a:pt x="25" y="310"/>
                  </a:cubicBezTo>
                  <a:cubicBezTo>
                    <a:pt x="8" y="279"/>
                    <a:pt x="0" y="241"/>
                    <a:pt x="0" y="197"/>
                  </a:cubicBezTo>
                  <a:close/>
                  <a:moveTo>
                    <a:pt x="105" y="202"/>
                  </a:moveTo>
                  <a:cubicBezTo>
                    <a:pt x="105" y="241"/>
                    <a:pt x="114" y="270"/>
                    <a:pt x="132" y="290"/>
                  </a:cubicBezTo>
                  <a:cubicBezTo>
                    <a:pt x="150" y="311"/>
                    <a:pt x="173" y="321"/>
                    <a:pt x="200" y="321"/>
                  </a:cubicBezTo>
                  <a:cubicBezTo>
                    <a:pt x="226" y="321"/>
                    <a:pt x="249" y="311"/>
                    <a:pt x="267" y="290"/>
                  </a:cubicBezTo>
                  <a:cubicBezTo>
                    <a:pt x="285" y="270"/>
                    <a:pt x="294" y="240"/>
                    <a:pt x="294" y="201"/>
                  </a:cubicBezTo>
                  <a:cubicBezTo>
                    <a:pt x="294" y="163"/>
                    <a:pt x="285" y="134"/>
                    <a:pt x="267" y="114"/>
                  </a:cubicBezTo>
                  <a:cubicBezTo>
                    <a:pt x="249" y="93"/>
                    <a:pt x="226" y="83"/>
                    <a:pt x="200" y="83"/>
                  </a:cubicBezTo>
                  <a:cubicBezTo>
                    <a:pt x="173" y="83"/>
                    <a:pt x="150" y="93"/>
                    <a:pt x="132" y="114"/>
                  </a:cubicBezTo>
                  <a:cubicBezTo>
                    <a:pt x="114" y="134"/>
                    <a:pt x="105" y="164"/>
                    <a:pt x="105" y="20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da-DK" sz="1836"/>
            </a:p>
          </p:txBody>
        </p:sp>
        <p:sp>
          <p:nvSpPr>
            <p:cNvPr id="174" name="Freeform 9"/>
            <p:cNvSpPr>
              <a:spLocks/>
            </p:cNvSpPr>
            <p:nvPr/>
          </p:nvSpPr>
          <p:spPr bwMode="auto">
            <a:xfrm>
              <a:off x="4208202" y="373063"/>
              <a:ext cx="1112838" cy="1071563"/>
            </a:xfrm>
            <a:custGeom>
              <a:avLst/>
              <a:gdLst>
                <a:gd name="T0" fmla="*/ 157 w 403"/>
                <a:gd name="T1" fmla="*/ 388 h 388"/>
                <a:gd name="T2" fmla="*/ 0 w 403"/>
                <a:gd name="T3" fmla="*/ 0 h 388"/>
                <a:gd name="T4" fmla="*/ 108 w 403"/>
                <a:gd name="T5" fmla="*/ 0 h 388"/>
                <a:gd name="T6" fmla="*/ 181 w 403"/>
                <a:gd name="T7" fmla="*/ 198 h 388"/>
                <a:gd name="T8" fmla="*/ 202 w 403"/>
                <a:gd name="T9" fmla="*/ 264 h 388"/>
                <a:gd name="T10" fmla="*/ 213 w 403"/>
                <a:gd name="T11" fmla="*/ 231 h 388"/>
                <a:gd name="T12" fmla="*/ 224 w 403"/>
                <a:gd name="T13" fmla="*/ 198 h 388"/>
                <a:gd name="T14" fmla="*/ 297 w 403"/>
                <a:gd name="T15" fmla="*/ 0 h 388"/>
                <a:gd name="T16" fmla="*/ 403 w 403"/>
                <a:gd name="T17" fmla="*/ 0 h 388"/>
                <a:gd name="T18" fmla="*/ 249 w 403"/>
                <a:gd name="T19" fmla="*/ 388 h 388"/>
                <a:gd name="T20" fmla="*/ 157 w 403"/>
                <a:gd name="T21" fmla="*/ 388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3" h="388">
                  <a:moveTo>
                    <a:pt x="157" y="388"/>
                  </a:moveTo>
                  <a:cubicBezTo>
                    <a:pt x="0" y="0"/>
                    <a:pt x="0" y="0"/>
                    <a:pt x="0" y="0"/>
                  </a:cubicBezTo>
                  <a:cubicBezTo>
                    <a:pt x="108" y="0"/>
                    <a:pt x="108" y="0"/>
                    <a:pt x="108" y="0"/>
                  </a:cubicBezTo>
                  <a:cubicBezTo>
                    <a:pt x="181" y="198"/>
                    <a:pt x="181" y="198"/>
                    <a:pt x="181" y="198"/>
                  </a:cubicBezTo>
                  <a:cubicBezTo>
                    <a:pt x="202" y="264"/>
                    <a:pt x="202" y="264"/>
                    <a:pt x="202" y="264"/>
                  </a:cubicBezTo>
                  <a:cubicBezTo>
                    <a:pt x="208" y="247"/>
                    <a:pt x="211" y="236"/>
                    <a:pt x="213" y="231"/>
                  </a:cubicBezTo>
                  <a:cubicBezTo>
                    <a:pt x="216" y="220"/>
                    <a:pt x="220" y="209"/>
                    <a:pt x="224" y="198"/>
                  </a:cubicBezTo>
                  <a:cubicBezTo>
                    <a:pt x="297" y="0"/>
                    <a:pt x="297" y="0"/>
                    <a:pt x="297" y="0"/>
                  </a:cubicBezTo>
                  <a:cubicBezTo>
                    <a:pt x="403" y="0"/>
                    <a:pt x="403" y="0"/>
                    <a:pt x="403" y="0"/>
                  </a:cubicBezTo>
                  <a:cubicBezTo>
                    <a:pt x="249" y="388"/>
                    <a:pt x="249" y="388"/>
                    <a:pt x="249" y="388"/>
                  </a:cubicBezTo>
                  <a:lnTo>
                    <a:pt x="157" y="38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da-DK" sz="1836"/>
            </a:p>
          </p:txBody>
        </p:sp>
        <p:sp>
          <p:nvSpPr>
            <p:cNvPr id="175" name="Rectangle 10"/>
            <p:cNvSpPr>
              <a:spLocks noChangeArrowheads="1"/>
            </p:cNvSpPr>
            <p:nvPr/>
          </p:nvSpPr>
          <p:spPr bwMode="auto">
            <a:xfrm>
              <a:off x="5492490" y="373063"/>
              <a:ext cx="280988" cy="107156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da-DK" sz="1836"/>
            </a:p>
          </p:txBody>
        </p:sp>
        <p:sp>
          <p:nvSpPr>
            <p:cNvPr id="176" name="Freeform 11"/>
            <p:cNvSpPr>
              <a:spLocks/>
            </p:cNvSpPr>
            <p:nvPr/>
          </p:nvSpPr>
          <p:spPr bwMode="auto">
            <a:xfrm>
              <a:off x="5963977" y="350838"/>
              <a:ext cx="996950" cy="1119188"/>
            </a:xfrm>
            <a:custGeom>
              <a:avLst/>
              <a:gdLst>
                <a:gd name="T0" fmla="*/ 0 w 361"/>
                <a:gd name="T1" fmla="*/ 285 h 405"/>
                <a:gd name="T2" fmla="*/ 102 w 361"/>
                <a:gd name="T3" fmla="*/ 270 h 405"/>
                <a:gd name="T4" fmla="*/ 129 w 361"/>
                <a:gd name="T5" fmla="*/ 315 h 405"/>
                <a:gd name="T6" fmla="*/ 185 w 361"/>
                <a:gd name="T7" fmla="*/ 330 h 405"/>
                <a:gd name="T8" fmla="*/ 245 w 361"/>
                <a:gd name="T9" fmla="*/ 316 h 405"/>
                <a:gd name="T10" fmla="*/ 259 w 361"/>
                <a:gd name="T11" fmla="*/ 289 h 405"/>
                <a:gd name="T12" fmla="*/ 251 w 361"/>
                <a:gd name="T13" fmla="*/ 269 h 405"/>
                <a:gd name="T14" fmla="*/ 217 w 361"/>
                <a:gd name="T15" fmla="*/ 256 h 405"/>
                <a:gd name="T16" fmla="*/ 60 w 361"/>
                <a:gd name="T17" fmla="*/ 206 h 405"/>
                <a:gd name="T18" fmla="*/ 14 w 361"/>
                <a:gd name="T19" fmla="*/ 119 h 405"/>
                <a:gd name="T20" fmla="*/ 54 w 361"/>
                <a:gd name="T21" fmla="*/ 34 h 405"/>
                <a:gd name="T22" fmla="*/ 177 w 361"/>
                <a:gd name="T23" fmla="*/ 0 h 405"/>
                <a:gd name="T24" fmla="*/ 295 w 361"/>
                <a:gd name="T25" fmla="*/ 26 h 405"/>
                <a:gd name="T26" fmla="*/ 348 w 361"/>
                <a:gd name="T27" fmla="*/ 102 h 405"/>
                <a:gd name="T28" fmla="*/ 252 w 361"/>
                <a:gd name="T29" fmla="*/ 120 h 405"/>
                <a:gd name="T30" fmla="*/ 228 w 361"/>
                <a:gd name="T31" fmla="*/ 85 h 405"/>
                <a:gd name="T32" fmla="*/ 179 w 361"/>
                <a:gd name="T33" fmla="*/ 73 h 405"/>
                <a:gd name="T34" fmla="*/ 121 w 361"/>
                <a:gd name="T35" fmla="*/ 85 h 405"/>
                <a:gd name="T36" fmla="*/ 109 w 361"/>
                <a:gd name="T37" fmla="*/ 105 h 405"/>
                <a:gd name="T38" fmla="*/ 119 w 361"/>
                <a:gd name="T39" fmla="*/ 124 h 405"/>
                <a:gd name="T40" fmla="*/ 215 w 361"/>
                <a:gd name="T41" fmla="*/ 153 h 405"/>
                <a:gd name="T42" fmla="*/ 329 w 361"/>
                <a:gd name="T43" fmla="*/ 198 h 405"/>
                <a:gd name="T44" fmla="*/ 361 w 361"/>
                <a:gd name="T45" fmla="*/ 275 h 405"/>
                <a:gd name="T46" fmla="*/ 317 w 361"/>
                <a:gd name="T47" fmla="*/ 366 h 405"/>
                <a:gd name="T48" fmla="*/ 185 w 361"/>
                <a:gd name="T49" fmla="*/ 405 h 405"/>
                <a:gd name="T50" fmla="*/ 60 w 361"/>
                <a:gd name="T51" fmla="*/ 372 h 405"/>
                <a:gd name="T52" fmla="*/ 0 w 361"/>
                <a:gd name="T53" fmla="*/ 285 h 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61" h="405">
                  <a:moveTo>
                    <a:pt x="0" y="285"/>
                  </a:moveTo>
                  <a:cubicBezTo>
                    <a:pt x="102" y="270"/>
                    <a:pt x="102" y="270"/>
                    <a:pt x="102" y="270"/>
                  </a:cubicBezTo>
                  <a:cubicBezTo>
                    <a:pt x="107" y="290"/>
                    <a:pt x="116" y="305"/>
                    <a:pt x="129" y="315"/>
                  </a:cubicBezTo>
                  <a:cubicBezTo>
                    <a:pt x="142" y="325"/>
                    <a:pt x="161" y="330"/>
                    <a:pt x="185" y="330"/>
                  </a:cubicBezTo>
                  <a:cubicBezTo>
                    <a:pt x="212" y="330"/>
                    <a:pt x="232" y="326"/>
                    <a:pt x="245" y="316"/>
                  </a:cubicBezTo>
                  <a:cubicBezTo>
                    <a:pt x="254" y="309"/>
                    <a:pt x="259" y="300"/>
                    <a:pt x="259" y="289"/>
                  </a:cubicBezTo>
                  <a:cubicBezTo>
                    <a:pt x="259" y="281"/>
                    <a:pt x="256" y="274"/>
                    <a:pt x="251" y="269"/>
                  </a:cubicBezTo>
                  <a:cubicBezTo>
                    <a:pt x="246" y="264"/>
                    <a:pt x="235" y="260"/>
                    <a:pt x="217" y="256"/>
                  </a:cubicBezTo>
                  <a:cubicBezTo>
                    <a:pt x="134" y="237"/>
                    <a:pt x="82" y="221"/>
                    <a:pt x="60" y="206"/>
                  </a:cubicBezTo>
                  <a:cubicBezTo>
                    <a:pt x="29" y="185"/>
                    <a:pt x="14" y="156"/>
                    <a:pt x="14" y="119"/>
                  </a:cubicBezTo>
                  <a:cubicBezTo>
                    <a:pt x="14" y="85"/>
                    <a:pt x="27" y="57"/>
                    <a:pt x="54" y="34"/>
                  </a:cubicBezTo>
                  <a:cubicBezTo>
                    <a:pt x="80" y="11"/>
                    <a:pt x="121" y="0"/>
                    <a:pt x="177" y="0"/>
                  </a:cubicBezTo>
                  <a:cubicBezTo>
                    <a:pt x="230" y="0"/>
                    <a:pt x="269" y="8"/>
                    <a:pt x="295" y="26"/>
                  </a:cubicBezTo>
                  <a:cubicBezTo>
                    <a:pt x="321" y="43"/>
                    <a:pt x="339" y="68"/>
                    <a:pt x="348" y="102"/>
                  </a:cubicBezTo>
                  <a:cubicBezTo>
                    <a:pt x="252" y="120"/>
                    <a:pt x="252" y="120"/>
                    <a:pt x="252" y="120"/>
                  </a:cubicBezTo>
                  <a:cubicBezTo>
                    <a:pt x="247" y="105"/>
                    <a:pt x="240" y="93"/>
                    <a:pt x="228" y="85"/>
                  </a:cubicBezTo>
                  <a:cubicBezTo>
                    <a:pt x="217" y="77"/>
                    <a:pt x="200" y="73"/>
                    <a:pt x="179" y="73"/>
                  </a:cubicBezTo>
                  <a:cubicBezTo>
                    <a:pt x="152" y="73"/>
                    <a:pt x="132" y="77"/>
                    <a:pt x="121" y="85"/>
                  </a:cubicBezTo>
                  <a:cubicBezTo>
                    <a:pt x="113" y="90"/>
                    <a:pt x="109" y="97"/>
                    <a:pt x="109" y="105"/>
                  </a:cubicBezTo>
                  <a:cubicBezTo>
                    <a:pt x="109" y="113"/>
                    <a:pt x="112" y="119"/>
                    <a:pt x="119" y="124"/>
                  </a:cubicBezTo>
                  <a:cubicBezTo>
                    <a:pt x="128" y="131"/>
                    <a:pt x="160" y="140"/>
                    <a:pt x="215" y="153"/>
                  </a:cubicBezTo>
                  <a:cubicBezTo>
                    <a:pt x="270" y="165"/>
                    <a:pt x="308" y="180"/>
                    <a:pt x="329" y="198"/>
                  </a:cubicBezTo>
                  <a:cubicBezTo>
                    <a:pt x="351" y="217"/>
                    <a:pt x="361" y="242"/>
                    <a:pt x="361" y="275"/>
                  </a:cubicBezTo>
                  <a:cubicBezTo>
                    <a:pt x="361" y="310"/>
                    <a:pt x="347" y="341"/>
                    <a:pt x="317" y="366"/>
                  </a:cubicBezTo>
                  <a:cubicBezTo>
                    <a:pt x="287" y="392"/>
                    <a:pt x="243" y="405"/>
                    <a:pt x="185" y="405"/>
                  </a:cubicBezTo>
                  <a:cubicBezTo>
                    <a:pt x="132" y="405"/>
                    <a:pt x="91" y="394"/>
                    <a:pt x="60" y="372"/>
                  </a:cubicBezTo>
                  <a:cubicBezTo>
                    <a:pt x="29" y="351"/>
                    <a:pt x="9" y="322"/>
                    <a:pt x="0" y="28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da-DK" sz="1836"/>
            </a:p>
          </p:txBody>
        </p:sp>
        <p:sp>
          <p:nvSpPr>
            <p:cNvPr id="177" name="Freeform 12"/>
            <p:cNvSpPr>
              <a:spLocks noEditPoints="1"/>
            </p:cNvSpPr>
            <p:nvPr/>
          </p:nvSpPr>
          <p:spPr bwMode="auto">
            <a:xfrm>
              <a:off x="7143490" y="350838"/>
              <a:ext cx="1101725" cy="1119188"/>
            </a:xfrm>
            <a:custGeom>
              <a:avLst/>
              <a:gdLst>
                <a:gd name="T0" fmla="*/ 0 w 399"/>
                <a:gd name="T1" fmla="*/ 197 h 405"/>
                <a:gd name="T2" fmla="*/ 25 w 399"/>
                <a:gd name="T3" fmla="*/ 98 h 405"/>
                <a:gd name="T4" fmla="*/ 96 w 399"/>
                <a:gd name="T5" fmla="*/ 25 h 405"/>
                <a:gd name="T6" fmla="*/ 199 w 399"/>
                <a:gd name="T7" fmla="*/ 0 h 405"/>
                <a:gd name="T8" fmla="*/ 343 w 399"/>
                <a:gd name="T9" fmla="*/ 57 h 405"/>
                <a:gd name="T10" fmla="*/ 399 w 399"/>
                <a:gd name="T11" fmla="*/ 201 h 405"/>
                <a:gd name="T12" fmla="*/ 343 w 399"/>
                <a:gd name="T13" fmla="*/ 347 h 405"/>
                <a:gd name="T14" fmla="*/ 200 w 399"/>
                <a:gd name="T15" fmla="*/ 405 h 405"/>
                <a:gd name="T16" fmla="*/ 98 w 399"/>
                <a:gd name="T17" fmla="*/ 380 h 405"/>
                <a:gd name="T18" fmla="*/ 25 w 399"/>
                <a:gd name="T19" fmla="*/ 310 h 405"/>
                <a:gd name="T20" fmla="*/ 0 w 399"/>
                <a:gd name="T21" fmla="*/ 197 h 405"/>
                <a:gd name="T22" fmla="*/ 105 w 399"/>
                <a:gd name="T23" fmla="*/ 202 h 405"/>
                <a:gd name="T24" fmla="*/ 132 w 399"/>
                <a:gd name="T25" fmla="*/ 290 h 405"/>
                <a:gd name="T26" fmla="*/ 200 w 399"/>
                <a:gd name="T27" fmla="*/ 321 h 405"/>
                <a:gd name="T28" fmla="*/ 267 w 399"/>
                <a:gd name="T29" fmla="*/ 290 h 405"/>
                <a:gd name="T30" fmla="*/ 294 w 399"/>
                <a:gd name="T31" fmla="*/ 201 h 405"/>
                <a:gd name="T32" fmla="*/ 267 w 399"/>
                <a:gd name="T33" fmla="*/ 114 h 405"/>
                <a:gd name="T34" fmla="*/ 200 w 399"/>
                <a:gd name="T35" fmla="*/ 83 h 405"/>
                <a:gd name="T36" fmla="*/ 132 w 399"/>
                <a:gd name="T37" fmla="*/ 114 h 405"/>
                <a:gd name="T38" fmla="*/ 105 w 399"/>
                <a:gd name="T39" fmla="*/ 202 h 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99" h="405">
                  <a:moveTo>
                    <a:pt x="0" y="197"/>
                  </a:moveTo>
                  <a:cubicBezTo>
                    <a:pt x="0" y="163"/>
                    <a:pt x="8" y="130"/>
                    <a:pt x="25" y="98"/>
                  </a:cubicBezTo>
                  <a:cubicBezTo>
                    <a:pt x="42" y="66"/>
                    <a:pt x="65" y="42"/>
                    <a:pt x="96" y="25"/>
                  </a:cubicBezTo>
                  <a:cubicBezTo>
                    <a:pt x="127" y="8"/>
                    <a:pt x="161" y="0"/>
                    <a:pt x="199" y="0"/>
                  </a:cubicBezTo>
                  <a:cubicBezTo>
                    <a:pt x="258" y="0"/>
                    <a:pt x="306" y="19"/>
                    <a:pt x="343" y="57"/>
                  </a:cubicBezTo>
                  <a:cubicBezTo>
                    <a:pt x="381" y="95"/>
                    <a:pt x="399" y="143"/>
                    <a:pt x="399" y="201"/>
                  </a:cubicBezTo>
                  <a:cubicBezTo>
                    <a:pt x="399" y="260"/>
                    <a:pt x="381" y="308"/>
                    <a:pt x="343" y="347"/>
                  </a:cubicBezTo>
                  <a:cubicBezTo>
                    <a:pt x="305" y="385"/>
                    <a:pt x="257" y="405"/>
                    <a:pt x="200" y="405"/>
                  </a:cubicBezTo>
                  <a:cubicBezTo>
                    <a:pt x="164" y="405"/>
                    <a:pt x="131" y="397"/>
                    <a:pt x="98" y="380"/>
                  </a:cubicBezTo>
                  <a:cubicBezTo>
                    <a:pt x="66" y="364"/>
                    <a:pt x="42" y="341"/>
                    <a:pt x="25" y="310"/>
                  </a:cubicBezTo>
                  <a:cubicBezTo>
                    <a:pt x="8" y="279"/>
                    <a:pt x="0" y="241"/>
                    <a:pt x="0" y="197"/>
                  </a:cubicBezTo>
                  <a:close/>
                  <a:moveTo>
                    <a:pt x="105" y="202"/>
                  </a:moveTo>
                  <a:cubicBezTo>
                    <a:pt x="105" y="241"/>
                    <a:pt x="114" y="270"/>
                    <a:pt x="132" y="290"/>
                  </a:cubicBezTo>
                  <a:cubicBezTo>
                    <a:pt x="150" y="311"/>
                    <a:pt x="173" y="321"/>
                    <a:pt x="200" y="321"/>
                  </a:cubicBezTo>
                  <a:cubicBezTo>
                    <a:pt x="226" y="321"/>
                    <a:pt x="249" y="311"/>
                    <a:pt x="267" y="290"/>
                  </a:cubicBezTo>
                  <a:cubicBezTo>
                    <a:pt x="285" y="270"/>
                    <a:pt x="294" y="240"/>
                    <a:pt x="294" y="201"/>
                  </a:cubicBezTo>
                  <a:cubicBezTo>
                    <a:pt x="294" y="163"/>
                    <a:pt x="285" y="134"/>
                    <a:pt x="267" y="114"/>
                  </a:cubicBezTo>
                  <a:cubicBezTo>
                    <a:pt x="249" y="93"/>
                    <a:pt x="226" y="83"/>
                    <a:pt x="200" y="83"/>
                  </a:cubicBezTo>
                  <a:cubicBezTo>
                    <a:pt x="173" y="83"/>
                    <a:pt x="150" y="93"/>
                    <a:pt x="132" y="114"/>
                  </a:cubicBezTo>
                  <a:cubicBezTo>
                    <a:pt x="114" y="134"/>
                    <a:pt x="105" y="164"/>
                    <a:pt x="105" y="20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da-DK" sz="1836"/>
            </a:p>
          </p:txBody>
        </p:sp>
        <p:sp>
          <p:nvSpPr>
            <p:cNvPr id="178" name="Freeform 13"/>
            <p:cNvSpPr>
              <a:spLocks/>
            </p:cNvSpPr>
            <p:nvPr/>
          </p:nvSpPr>
          <p:spPr bwMode="auto">
            <a:xfrm>
              <a:off x="8454765" y="350838"/>
              <a:ext cx="693738" cy="1093788"/>
            </a:xfrm>
            <a:custGeom>
              <a:avLst/>
              <a:gdLst>
                <a:gd name="T0" fmla="*/ 102 w 251"/>
                <a:gd name="T1" fmla="*/ 396 h 396"/>
                <a:gd name="T2" fmla="*/ 0 w 251"/>
                <a:gd name="T3" fmla="*/ 396 h 396"/>
                <a:gd name="T4" fmla="*/ 0 w 251"/>
                <a:gd name="T5" fmla="*/ 8 h 396"/>
                <a:gd name="T6" fmla="*/ 95 w 251"/>
                <a:gd name="T7" fmla="*/ 8 h 396"/>
                <a:gd name="T8" fmla="*/ 95 w 251"/>
                <a:gd name="T9" fmla="*/ 63 h 396"/>
                <a:gd name="T10" fmla="*/ 139 w 251"/>
                <a:gd name="T11" fmla="*/ 12 h 396"/>
                <a:gd name="T12" fmla="*/ 183 w 251"/>
                <a:gd name="T13" fmla="*/ 0 h 396"/>
                <a:gd name="T14" fmla="*/ 251 w 251"/>
                <a:gd name="T15" fmla="*/ 19 h 396"/>
                <a:gd name="T16" fmla="*/ 219 w 251"/>
                <a:gd name="T17" fmla="*/ 108 h 396"/>
                <a:gd name="T18" fmla="*/ 171 w 251"/>
                <a:gd name="T19" fmla="*/ 92 h 396"/>
                <a:gd name="T20" fmla="*/ 134 w 251"/>
                <a:gd name="T21" fmla="*/ 103 h 396"/>
                <a:gd name="T22" fmla="*/ 111 w 251"/>
                <a:gd name="T23" fmla="*/ 146 h 396"/>
                <a:gd name="T24" fmla="*/ 102 w 251"/>
                <a:gd name="T25" fmla="*/ 276 h 396"/>
                <a:gd name="T26" fmla="*/ 102 w 251"/>
                <a:gd name="T27" fmla="*/ 396 h 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 h="396">
                  <a:moveTo>
                    <a:pt x="102" y="396"/>
                  </a:moveTo>
                  <a:cubicBezTo>
                    <a:pt x="0" y="396"/>
                    <a:pt x="0" y="396"/>
                    <a:pt x="0" y="396"/>
                  </a:cubicBezTo>
                  <a:cubicBezTo>
                    <a:pt x="0" y="8"/>
                    <a:pt x="0" y="8"/>
                    <a:pt x="0" y="8"/>
                  </a:cubicBezTo>
                  <a:cubicBezTo>
                    <a:pt x="95" y="8"/>
                    <a:pt x="95" y="8"/>
                    <a:pt x="95" y="8"/>
                  </a:cubicBezTo>
                  <a:cubicBezTo>
                    <a:pt x="95" y="63"/>
                    <a:pt x="95" y="63"/>
                    <a:pt x="95" y="63"/>
                  </a:cubicBezTo>
                  <a:cubicBezTo>
                    <a:pt x="111" y="37"/>
                    <a:pt x="126" y="20"/>
                    <a:pt x="139" y="12"/>
                  </a:cubicBezTo>
                  <a:cubicBezTo>
                    <a:pt x="152" y="4"/>
                    <a:pt x="167" y="0"/>
                    <a:pt x="183" y="0"/>
                  </a:cubicBezTo>
                  <a:cubicBezTo>
                    <a:pt x="206" y="0"/>
                    <a:pt x="229" y="6"/>
                    <a:pt x="251" y="19"/>
                  </a:cubicBezTo>
                  <a:cubicBezTo>
                    <a:pt x="219" y="108"/>
                    <a:pt x="219" y="108"/>
                    <a:pt x="219" y="108"/>
                  </a:cubicBezTo>
                  <a:cubicBezTo>
                    <a:pt x="202" y="97"/>
                    <a:pt x="186" y="92"/>
                    <a:pt x="171" y="92"/>
                  </a:cubicBezTo>
                  <a:cubicBezTo>
                    <a:pt x="156" y="92"/>
                    <a:pt x="144" y="96"/>
                    <a:pt x="134" y="103"/>
                  </a:cubicBezTo>
                  <a:cubicBezTo>
                    <a:pt x="124" y="111"/>
                    <a:pt x="116" y="126"/>
                    <a:pt x="111" y="146"/>
                  </a:cubicBezTo>
                  <a:cubicBezTo>
                    <a:pt x="105" y="167"/>
                    <a:pt x="102" y="210"/>
                    <a:pt x="102" y="276"/>
                  </a:cubicBezTo>
                  <a:lnTo>
                    <a:pt x="102" y="39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da-DK" sz="1836"/>
            </a:p>
          </p:txBody>
        </p:sp>
      </p:grpSp>
      <p:sp>
        <p:nvSpPr>
          <p:cNvPr id="179" name="TextBox 178"/>
          <p:cNvSpPr txBox="1"/>
          <p:nvPr/>
        </p:nvSpPr>
        <p:spPr>
          <a:xfrm>
            <a:off x="11131382" y="6523084"/>
            <a:ext cx="283167" cy="222217"/>
          </a:xfrm>
          <a:prstGeom prst="rect">
            <a:avLst/>
          </a:prstGeom>
          <a:noFill/>
        </p:spPr>
        <p:txBody>
          <a:bodyPr wrap="none" rtlCol="0">
            <a:spAutoFit/>
          </a:bodyPr>
          <a:lstStyle/>
          <a:p>
            <a:r>
              <a:rPr lang="da-DK" sz="816" dirty="0">
                <a:solidFill>
                  <a:srgbClr val="E9EAEB"/>
                </a:solidFill>
              </a:rPr>
              <a:t>©</a:t>
            </a:r>
          </a:p>
        </p:txBody>
      </p:sp>
    </p:spTree>
    <p:extLst>
      <p:ext uri="{BB962C8B-B14F-4D97-AF65-F5344CB8AC3E}">
        <p14:creationId xmlns:p14="http://schemas.microsoft.com/office/powerpoint/2010/main" val="299875908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0"/>
                                  </p:stCondLst>
                                  <p:childTnLst>
                                    <p:set>
                                      <p:cBhvr>
                                        <p:cTn id="6" dur="1" fill="hold">
                                          <p:stCondLst>
                                            <p:cond delay="0"/>
                                          </p:stCondLst>
                                        </p:cTn>
                                        <p:tgtEl>
                                          <p:spTgt spid="101"/>
                                        </p:tgtEl>
                                        <p:attrNameLst>
                                          <p:attrName>style.visibility</p:attrName>
                                        </p:attrNameLst>
                                      </p:cBhvr>
                                      <p:to>
                                        <p:strVal val="visible"/>
                                      </p:to>
                                    </p:set>
                                    <p:animEffect transition="in" filter="fade">
                                      <p:cBhvr>
                                        <p:cTn id="7" dur="2000"/>
                                        <p:tgtEl>
                                          <p:spTgt spid="101"/>
                                        </p:tgtEl>
                                      </p:cBhvr>
                                    </p:animEffect>
                                  </p:childTnLst>
                                </p:cTn>
                              </p:par>
                              <p:par>
                                <p:cTn id="8" presetID="10" presetClass="entr" presetSubtype="0" fill="hold" nodeType="withEffect">
                                  <p:stCondLst>
                                    <p:cond delay="1000"/>
                                  </p:stCondLst>
                                  <p:childTnLst>
                                    <p:set>
                                      <p:cBhvr>
                                        <p:cTn id="9" dur="1" fill="hold">
                                          <p:stCondLst>
                                            <p:cond delay="0"/>
                                          </p:stCondLst>
                                        </p:cTn>
                                        <p:tgtEl>
                                          <p:spTgt spid="102"/>
                                        </p:tgtEl>
                                        <p:attrNameLst>
                                          <p:attrName>style.visibility</p:attrName>
                                        </p:attrNameLst>
                                      </p:cBhvr>
                                      <p:to>
                                        <p:strVal val="visible"/>
                                      </p:to>
                                    </p:set>
                                    <p:animEffect transition="in" filter="fade">
                                      <p:cBhvr>
                                        <p:cTn id="10" dur="2000"/>
                                        <p:tgtEl>
                                          <p:spTgt spid="102"/>
                                        </p:tgtEl>
                                      </p:cBhvr>
                                    </p:animEffect>
                                  </p:childTnLst>
                                </p:cTn>
                              </p:par>
                              <p:par>
                                <p:cTn id="11" presetID="10" presetClass="entr" presetSubtype="0" fill="hold" grpId="0" nodeType="withEffect">
                                  <p:stCondLst>
                                    <p:cond delay="1000"/>
                                  </p:stCondLst>
                                  <p:childTnLst>
                                    <p:set>
                                      <p:cBhvr>
                                        <p:cTn id="12" dur="1" fill="hold">
                                          <p:stCondLst>
                                            <p:cond delay="0"/>
                                          </p:stCondLst>
                                        </p:cTn>
                                        <p:tgtEl>
                                          <p:spTgt spid="163"/>
                                        </p:tgtEl>
                                        <p:attrNameLst>
                                          <p:attrName>style.visibility</p:attrName>
                                        </p:attrNameLst>
                                      </p:cBhvr>
                                      <p:to>
                                        <p:strVal val="visible"/>
                                      </p:to>
                                    </p:set>
                                    <p:animEffect transition="in" filter="fade">
                                      <p:cBhvr>
                                        <p:cTn id="13" dur="2000"/>
                                        <p:tgtEl>
                                          <p:spTgt spid="16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1" grpId="0" animBg="1"/>
      <p:bldP spid="163" grpId="0"/>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ktangel 172"/>
          <p:cNvSpPr/>
          <p:nvPr/>
        </p:nvSpPr>
        <p:spPr>
          <a:xfrm>
            <a:off x="5403913" y="1780532"/>
            <a:ext cx="4857434" cy="3461709"/>
          </a:xfrm>
          <a:prstGeom prst="rect">
            <a:avLst/>
          </a:prstGeom>
          <a:solidFill>
            <a:schemeClr val="bg1">
              <a:lumMod val="95000"/>
            </a:schemeClr>
          </a:solidFill>
          <a:ln w="9525" cmpd="sng">
            <a:solidFill>
              <a:schemeClr val="tx2">
                <a:lumMod val="60000"/>
                <a:lumOff val="40000"/>
              </a:schemeClr>
            </a:solidFill>
            <a:prstDash val="dot"/>
          </a:ln>
        </p:spPr>
        <p:style>
          <a:lnRef idx="2">
            <a:schemeClr val="accent2"/>
          </a:lnRef>
          <a:fillRef idx="1">
            <a:schemeClr val="lt1"/>
          </a:fillRef>
          <a:effectRef idx="0">
            <a:schemeClr val="accent2"/>
          </a:effectRef>
          <a:fontRef idx="minor">
            <a:schemeClr val="dk1"/>
          </a:fontRef>
        </p:style>
        <p:txBody>
          <a:bodyPr rtlCol="0" anchor="ctr"/>
          <a:lstStyle/>
          <a:p>
            <a:pPr algn="ctr" defTabSz="466298"/>
            <a:endParaRPr lang="en-US" sz="1071"/>
          </a:p>
        </p:txBody>
      </p:sp>
      <p:grpSp>
        <p:nvGrpSpPr>
          <p:cNvPr id="3" name="Grupper 193"/>
          <p:cNvGrpSpPr>
            <a:grpSpLocks noChangeAspect="1"/>
          </p:cNvGrpSpPr>
          <p:nvPr/>
        </p:nvGrpSpPr>
        <p:grpSpPr>
          <a:xfrm>
            <a:off x="5917101" y="2395247"/>
            <a:ext cx="4019118" cy="2602020"/>
            <a:chOff x="4493356" y="1258654"/>
            <a:chExt cx="3472623" cy="2248213"/>
          </a:xfrm>
        </p:grpSpPr>
        <p:sp>
          <p:nvSpPr>
            <p:cNvPr id="4" name="Oval 36"/>
            <p:cNvSpPr/>
            <p:nvPr/>
          </p:nvSpPr>
          <p:spPr bwMode="auto">
            <a:xfrm rot="21396707">
              <a:off x="6066550" y="2172286"/>
              <a:ext cx="104017" cy="100385"/>
            </a:xfrm>
            <a:prstGeom prst="ellipse">
              <a:avLst/>
            </a:prstGeom>
            <a:solidFill>
              <a:schemeClr val="tx2">
                <a:lumMod val="60000"/>
                <a:lumOff val="4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a-DK" sz="1122"/>
            </a:p>
          </p:txBody>
        </p:sp>
        <p:sp>
          <p:nvSpPr>
            <p:cNvPr id="5" name="Rectangle 37"/>
            <p:cNvSpPr/>
            <p:nvPr/>
          </p:nvSpPr>
          <p:spPr bwMode="auto">
            <a:xfrm rot="21396707">
              <a:off x="5955960" y="2564758"/>
              <a:ext cx="102667" cy="100385"/>
            </a:xfrm>
            <a:prstGeom prst="rect">
              <a:avLst/>
            </a:prstGeom>
            <a:solidFill>
              <a:schemeClr val="tx1">
                <a:lumMod val="65000"/>
                <a:lumOff val="3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a-DK" sz="1122"/>
            </a:p>
          </p:txBody>
        </p:sp>
        <p:sp>
          <p:nvSpPr>
            <p:cNvPr id="6" name="Oval 38"/>
            <p:cNvSpPr/>
            <p:nvPr/>
          </p:nvSpPr>
          <p:spPr bwMode="auto">
            <a:xfrm rot="21396707">
              <a:off x="6366791" y="2658763"/>
              <a:ext cx="104017" cy="100385"/>
            </a:xfrm>
            <a:prstGeom prst="ellipse">
              <a:avLst/>
            </a:prstGeom>
            <a:solidFill>
              <a:schemeClr val="tx2">
                <a:lumMod val="60000"/>
                <a:lumOff val="4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a-DK" sz="1122"/>
            </a:p>
          </p:txBody>
        </p:sp>
        <p:sp>
          <p:nvSpPr>
            <p:cNvPr id="7" name="Rectangle 40"/>
            <p:cNvSpPr/>
            <p:nvPr/>
          </p:nvSpPr>
          <p:spPr bwMode="auto">
            <a:xfrm rot="21396707">
              <a:off x="6174309" y="2414766"/>
              <a:ext cx="104017" cy="100385"/>
            </a:xfrm>
            <a:prstGeom prst="rect">
              <a:avLst/>
            </a:prstGeom>
            <a:solidFill>
              <a:srgbClr val="FFBB1E"/>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a-DK" sz="1122"/>
            </a:p>
          </p:txBody>
        </p:sp>
        <p:sp>
          <p:nvSpPr>
            <p:cNvPr id="8" name="Oval 43"/>
            <p:cNvSpPr/>
            <p:nvPr/>
          </p:nvSpPr>
          <p:spPr bwMode="auto">
            <a:xfrm rot="21396707">
              <a:off x="6124400" y="2910804"/>
              <a:ext cx="104019" cy="100385"/>
            </a:xfrm>
            <a:prstGeom prst="ellipse">
              <a:avLst/>
            </a:prstGeom>
            <a:solidFill>
              <a:srgbClr val="FFBB1E"/>
            </a:solidFill>
            <a:ln w="317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a-DK" sz="1122"/>
            </a:p>
          </p:txBody>
        </p:sp>
        <p:sp>
          <p:nvSpPr>
            <p:cNvPr id="9" name="Oval 44"/>
            <p:cNvSpPr/>
            <p:nvPr/>
          </p:nvSpPr>
          <p:spPr bwMode="auto">
            <a:xfrm rot="21396707">
              <a:off x="5648510" y="2954907"/>
              <a:ext cx="104019" cy="100385"/>
            </a:xfrm>
            <a:prstGeom prst="ellipse">
              <a:avLst/>
            </a:prstGeom>
            <a:solidFill>
              <a:schemeClr val="tx1">
                <a:lumMod val="65000"/>
                <a:lumOff val="35000"/>
              </a:schemeClr>
            </a:solidFill>
            <a:ln w="317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a-DK" sz="1122"/>
            </a:p>
          </p:txBody>
        </p:sp>
        <p:sp>
          <p:nvSpPr>
            <p:cNvPr id="10" name="Oval 45"/>
            <p:cNvSpPr/>
            <p:nvPr/>
          </p:nvSpPr>
          <p:spPr bwMode="auto">
            <a:xfrm rot="21396707">
              <a:off x="6049342" y="3254523"/>
              <a:ext cx="104019" cy="100385"/>
            </a:xfrm>
            <a:prstGeom prst="ellipse">
              <a:avLst/>
            </a:prstGeom>
            <a:solidFill>
              <a:schemeClr val="accent5"/>
            </a:solidFill>
            <a:ln w="317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a-DK" sz="1122"/>
            </a:p>
          </p:txBody>
        </p:sp>
        <p:sp>
          <p:nvSpPr>
            <p:cNvPr id="11" name="Oval 46"/>
            <p:cNvSpPr/>
            <p:nvPr/>
          </p:nvSpPr>
          <p:spPr bwMode="auto">
            <a:xfrm rot="21396707">
              <a:off x="6494038" y="3122696"/>
              <a:ext cx="104019" cy="100385"/>
            </a:xfrm>
            <a:prstGeom prst="ellipse">
              <a:avLst/>
            </a:prstGeom>
            <a:solidFill>
              <a:schemeClr val="accent5"/>
            </a:solidFill>
            <a:ln w="317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a-DK" sz="1122"/>
            </a:p>
          </p:txBody>
        </p:sp>
        <p:sp>
          <p:nvSpPr>
            <p:cNvPr id="12" name="Oval 52"/>
            <p:cNvSpPr/>
            <p:nvPr/>
          </p:nvSpPr>
          <p:spPr bwMode="auto">
            <a:xfrm rot="21396707">
              <a:off x="6234627" y="2095538"/>
              <a:ext cx="102667" cy="100385"/>
            </a:xfrm>
            <a:prstGeom prst="ellipse">
              <a:avLst/>
            </a:prstGeom>
            <a:solidFill>
              <a:schemeClr val="tx1">
                <a:lumMod val="65000"/>
                <a:lumOff val="3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a-DK" sz="1122"/>
            </a:p>
          </p:txBody>
        </p:sp>
        <p:sp>
          <p:nvSpPr>
            <p:cNvPr id="13" name="Oval 53"/>
            <p:cNvSpPr/>
            <p:nvPr/>
          </p:nvSpPr>
          <p:spPr bwMode="auto">
            <a:xfrm rot="21396707">
              <a:off x="6655102" y="2876277"/>
              <a:ext cx="104019" cy="100385"/>
            </a:xfrm>
            <a:prstGeom prst="ellipse">
              <a:avLst/>
            </a:prstGeom>
            <a:solidFill>
              <a:schemeClr val="tx2">
                <a:lumMod val="60000"/>
                <a:lumOff val="4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a-DK" sz="1122"/>
            </a:p>
          </p:txBody>
        </p:sp>
        <p:sp>
          <p:nvSpPr>
            <p:cNvPr id="14" name="Rectangle 67"/>
            <p:cNvSpPr/>
            <p:nvPr/>
          </p:nvSpPr>
          <p:spPr bwMode="auto">
            <a:xfrm rot="21396707">
              <a:off x="5178191" y="1978390"/>
              <a:ext cx="104019" cy="100385"/>
            </a:xfrm>
            <a:prstGeom prst="rect">
              <a:avLst/>
            </a:prstGeom>
            <a:solidFill>
              <a:schemeClr val="tx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a-DK" sz="1122"/>
            </a:p>
          </p:txBody>
        </p:sp>
        <p:sp>
          <p:nvSpPr>
            <p:cNvPr id="15" name="Oval 68"/>
            <p:cNvSpPr/>
            <p:nvPr/>
          </p:nvSpPr>
          <p:spPr bwMode="auto">
            <a:xfrm rot="1223465">
              <a:off x="5812003" y="2160294"/>
              <a:ext cx="104017" cy="100385"/>
            </a:xfrm>
            <a:prstGeom prst="ellipse">
              <a:avLst/>
            </a:prstGeom>
            <a:solidFill>
              <a:schemeClr val="tx1">
                <a:lumMod val="65000"/>
                <a:lumOff val="3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a-DK" sz="1122"/>
            </a:p>
          </p:txBody>
        </p:sp>
        <p:sp>
          <p:nvSpPr>
            <p:cNvPr id="16" name="Oval 69"/>
            <p:cNvSpPr/>
            <p:nvPr/>
          </p:nvSpPr>
          <p:spPr bwMode="auto">
            <a:xfrm rot="1223465">
              <a:off x="5682841" y="1725046"/>
              <a:ext cx="104019" cy="100385"/>
            </a:xfrm>
            <a:prstGeom prst="ellipse">
              <a:avLst/>
            </a:prstGeom>
            <a:solidFill>
              <a:schemeClr val="accent5"/>
            </a:solidFill>
            <a:ln w="317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a-DK" sz="1122"/>
            </a:p>
          </p:txBody>
        </p:sp>
        <p:sp>
          <p:nvSpPr>
            <p:cNvPr id="17" name="Rectangle 70"/>
            <p:cNvSpPr/>
            <p:nvPr/>
          </p:nvSpPr>
          <p:spPr bwMode="auto">
            <a:xfrm rot="21396707">
              <a:off x="5460095" y="1917047"/>
              <a:ext cx="102667" cy="100385"/>
            </a:xfrm>
            <a:prstGeom prst="rect">
              <a:avLst/>
            </a:prstGeom>
            <a:solidFill>
              <a:schemeClr val="tx2">
                <a:lumMod val="60000"/>
                <a:lumOff val="4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a-DK" sz="1122"/>
            </a:p>
          </p:txBody>
        </p:sp>
        <p:sp>
          <p:nvSpPr>
            <p:cNvPr id="18" name="Oval 71"/>
            <p:cNvSpPr/>
            <p:nvPr/>
          </p:nvSpPr>
          <p:spPr bwMode="auto">
            <a:xfrm rot="1223465">
              <a:off x="5168145" y="2251497"/>
              <a:ext cx="102667" cy="100385"/>
            </a:xfrm>
            <a:prstGeom prst="ellipse">
              <a:avLst/>
            </a:prstGeom>
            <a:solidFill>
              <a:schemeClr val="tx2">
                <a:lumMod val="60000"/>
                <a:lumOff val="4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a-DK" sz="1122"/>
            </a:p>
          </p:txBody>
        </p:sp>
        <p:sp>
          <p:nvSpPr>
            <p:cNvPr id="19" name="Oval 72"/>
            <p:cNvSpPr/>
            <p:nvPr/>
          </p:nvSpPr>
          <p:spPr bwMode="auto">
            <a:xfrm rot="1223465">
              <a:off x="5554574" y="1559974"/>
              <a:ext cx="104017" cy="100385"/>
            </a:xfrm>
            <a:prstGeom prst="ellipse">
              <a:avLst/>
            </a:prstGeom>
            <a:solidFill>
              <a:schemeClr val="tx2">
                <a:lumMod val="60000"/>
                <a:lumOff val="4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a-DK" sz="1122"/>
            </a:p>
          </p:txBody>
        </p:sp>
        <p:sp>
          <p:nvSpPr>
            <p:cNvPr id="20" name="Oval 73"/>
            <p:cNvSpPr/>
            <p:nvPr/>
          </p:nvSpPr>
          <p:spPr bwMode="auto">
            <a:xfrm rot="1223465">
              <a:off x="5963200" y="1751898"/>
              <a:ext cx="104019" cy="100385"/>
            </a:xfrm>
            <a:prstGeom prst="ellipse">
              <a:avLst/>
            </a:prstGeom>
            <a:solidFill>
              <a:schemeClr val="tx2">
                <a:lumMod val="60000"/>
                <a:lumOff val="4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a-DK" sz="1122"/>
            </a:p>
          </p:txBody>
        </p:sp>
        <p:sp>
          <p:nvSpPr>
            <p:cNvPr id="21" name="Oval 74"/>
            <p:cNvSpPr/>
            <p:nvPr/>
          </p:nvSpPr>
          <p:spPr bwMode="auto">
            <a:xfrm rot="1223465">
              <a:off x="5559799" y="2429827"/>
              <a:ext cx="104017" cy="100385"/>
            </a:xfrm>
            <a:prstGeom prst="ellipse">
              <a:avLst/>
            </a:prstGeom>
            <a:solidFill>
              <a:schemeClr val="tx2">
                <a:lumMod val="60000"/>
                <a:lumOff val="40000"/>
              </a:schemeClr>
            </a:solidFill>
            <a:ln w="317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a-DK" sz="1122"/>
            </a:p>
          </p:txBody>
        </p:sp>
        <p:sp>
          <p:nvSpPr>
            <p:cNvPr id="22" name="Oval 75"/>
            <p:cNvSpPr/>
            <p:nvPr/>
          </p:nvSpPr>
          <p:spPr bwMode="auto">
            <a:xfrm rot="1223465">
              <a:off x="5441052" y="2173423"/>
              <a:ext cx="104017" cy="100385"/>
            </a:xfrm>
            <a:prstGeom prst="ellipse">
              <a:avLst/>
            </a:prstGeom>
            <a:solidFill>
              <a:schemeClr val="tx2">
                <a:lumMod val="60000"/>
                <a:lumOff val="4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a-DK" sz="1122"/>
            </a:p>
          </p:txBody>
        </p:sp>
        <p:sp>
          <p:nvSpPr>
            <p:cNvPr id="23" name="Oval 76"/>
            <p:cNvSpPr/>
            <p:nvPr/>
          </p:nvSpPr>
          <p:spPr bwMode="auto">
            <a:xfrm rot="1223465">
              <a:off x="5371789" y="1682630"/>
              <a:ext cx="104019" cy="100385"/>
            </a:xfrm>
            <a:prstGeom prst="ellipse">
              <a:avLst/>
            </a:prstGeom>
            <a:solidFill>
              <a:schemeClr val="tx2">
                <a:lumMod val="60000"/>
                <a:lumOff val="4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a-DK" sz="1122"/>
            </a:p>
          </p:txBody>
        </p:sp>
        <p:cxnSp>
          <p:nvCxnSpPr>
            <p:cNvPr id="24" name="Straight Connector 58"/>
            <p:cNvCxnSpPr/>
            <p:nvPr/>
          </p:nvCxnSpPr>
          <p:spPr bwMode="auto">
            <a:xfrm flipH="1" flipV="1">
              <a:off x="5633913" y="2526099"/>
              <a:ext cx="490577" cy="437970"/>
            </a:xfrm>
            <a:prstGeom prst="line">
              <a:avLst/>
            </a:prstGeom>
            <a:ln w="6350" cmpd="sng">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25" name="Straight Connector 58"/>
            <p:cNvCxnSpPr/>
            <p:nvPr/>
          </p:nvCxnSpPr>
          <p:spPr bwMode="auto">
            <a:xfrm flipH="1" flipV="1">
              <a:off x="5633913" y="2526099"/>
              <a:ext cx="63641" cy="428894"/>
            </a:xfrm>
            <a:prstGeom prst="line">
              <a:avLst/>
            </a:prstGeom>
            <a:ln w="6350" cmpd="sng">
              <a:solidFill>
                <a:srgbClr val="7F7F7F"/>
              </a:solidFill>
            </a:ln>
          </p:spPr>
          <p:style>
            <a:lnRef idx="1">
              <a:schemeClr val="accent1"/>
            </a:lnRef>
            <a:fillRef idx="0">
              <a:schemeClr val="accent1"/>
            </a:fillRef>
            <a:effectRef idx="0">
              <a:schemeClr val="accent1"/>
            </a:effectRef>
            <a:fontRef idx="minor">
              <a:schemeClr val="tx1"/>
            </a:fontRef>
          </p:style>
        </p:cxnSp>
        <p:sp>
          <p:nvSpPr>
            <p:cNvPr id="26" name="Ellipse 43"/>
            <p:cNvSpPr/>
            <p:nvPr/>
          </p:nvSpPr>
          <p:spPr>
            <a:xfrm>
              <a:off x="6399319" y="1409431"/>
              <a:ext cx="1034361" cy="1034361"/>
            </a:xfrm>
            <a:prstGeom prst="ellipse">
              <a:avLst/>
            </a:prstGeom>
            <a:noFill/>
            <a:ln w="9525" cmpd="sng">
              <a:solidFill>
                <a:schemeClr val="tx2"/>
              </a:solidFill>
              <a:prstDash val="dash"/>
            </a:ln>
          </p:spPr>
          <p:style>
            <a:lnRef idx="2">
              <a:schemeClr val="accent2"/>
            </a:lnRef>
            <a:fillRef idx="1">
              <a:schemeClr val="lt1"/>
            </a:fillRef>
            <a:effectRef idx="0">
              <a:schemeClr val="accent2"/>
            </a:effectRef>
            <a:fontRef idx="minor">
              <a:schemeClr val="dk1"/>
            </a:fontRef>
          </p:style>
          <p:txBody>
            <a:bodyPr rtlCol="0" anchor="ctr"/>
            <a:lstStyle/>
            <a:p>
              <a:pPr algn="ctr"/>
              <a:endParaRPr lang="en-US" sz="1122"/>
            </a:p>
          </p:txBody>
        </p:sp>
        <p:cxnSp>
          <p:nvCxnSpPr>
            <p:cNvPr id="27" name="Straight Connector 58"/>
            <p:cNvCxnSpPr/>
            <p:nvPr/>
          </p:nvCxnSpPr>
          <p:spPr bwMode="auto">
            <a:xfrm flipH="1" flipV="1">
              <a:off x="5660558" y="2498142"/>
              <a:ext cx="295493" cy="119843"/>
            </a:xfrm>
            <a:prstGeom prst="line">
              <a:avLst/>
            </a:prstGeom>
            <a:ln w="6350" cmpd="sng">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bwMode="auto">
            <a:xfrm>
              <a:off x="6058540" y="2611915"/>
              <a:ext cx="79061" cy="315825"/>
            </a:xfrm>
            <a:prstGeom prst="line">
              <a:avLst/>
            </a:prstGeom>
            <a:ln w="6350" cmpd="sng">
              <a:solidFill>
                <a:srgbClr val="75829A"/>
              </a:solidFill>
            </a:ln>
          </p:spPr>
          <p:style>
            <a:lnRef idx="1">
              <a:schemeClr val="accent1"/>
            </a:lnRef>
            <a:fillRef idx="0">
              <a:schemeClr val="accent1"/>
            </a:fillRef>
            <a:effectRef idx="0">
              <a:schemeClr val="accent1"/>
            </a:effectRef>
            <a:fontRef idx="minor">
              <a:schemeClr val="tx1"/>
            </a:fontRef>
          </p:style>
        </p:cxnSp>
        <p:cxnSp>
          <p:nvCxnSpPr>
            <p:cNvPr id="29" name="Straight Connector 29"/>
            <p:cNvCxnSpPr/>
            <p:nvPr/>
          </p:nvCxnSpPr>
          <p:spPr bwMode="auto">
            <a:xfrm flipH="1">
              <a:off x="5752438" y="2964071"/>
              <a:ext cx="372053" cy="37954"/>
            </a:xfrm>
            <a:prstGeom prst="line">
              <a:avLst/>
            </a:prstGeom>
            <a:ln w="6350" cmpd="sng">
              <a:solidFill>
                <a:srgbClr val="75829A"/>
              </a:solidFill>
            </a:ln>
          </p:spPr>
          <p:style>
            <a:lnRef idx="1">
              <a:schemeClr val="accent1"/>
            </a:lnRef>
            <a:fillRef idx="0">
              <a:schemeClr val="accent1"/>
            </a:fillRef>
            <a:effectRef idx="0">
              <a:schemeClr val="accent1"/>
            </a:effectRef>
            <a:fontRef idx="minor">
              <a:schemeClr val="tx1"/>
            </a:fontRef>
          </p:style>
        </p:cxnSp>
        <p:grpSp>
          <p:nvGrpSpPr>
            <p:cNvPr id="30" name="Grupper 76"/>
            <p:cNvGrpSpPr/>
            <p:nvPr/>
          </p:nvGrpSpPr>
          <p:grpSpPr>
            <a:xfrm>
              <a:off x="5265872" y="1694606"/>
              <a:ext cx="1958228" cy="1607035"/>
              <a:chOff x="5005359" y="1894035"/>
              <a:chExt cx="2869709" cy="2355054"/>
            </a:xfrm>
          </p:grpSpPr>
          <p:cxnSp>
            <p:nvCxnSpPr>
              <p:cNvPr id="62" name="Straight Connector 6"/>
              <p:cNvCxnSpPr/>
              <p:nvPr/>
            </p:nvCxnSpPr>
            <p:spPr bwMode="auto">
              <a:xfrm>
                <a:off x="6751809" y="3429259"/>
                <a:ext cx="308764" cy="221293"/>
              </a:xfrm>
              <a:prstGeom prst="line">
                <a:avLst/>
              </a:prstGeom>
              <a:ln w="6350" cmpd="sng">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63" name="Straight Connector 8"/>
              <p:cNvCxnSpPr/>
              <p:nvPr/>
            </p:nvCxnSpPr>
            <p:spPr bwMode="auto">
              <a:xfrm>
                <a:off x="5699196" y="3863249"/>
                <a:ext cx="473658" cy="341609"/>
              </a:xfrm>
              <a:prstGeom prst="line">
                <a:avLst/>
              </a:prstGeom>
              <a:ln w="6350" cmpd="sng">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64" name="Straight Connector 9"/>
              <p:cNvCxnSpPr/>
              <p:nvPr/>
            </p:nvCxnSpPr>
            <p:spPr bwMode="auto">
              <a:xfrm flipV="1">
                <a:off x="6390449" y="3435629"/>
                <a:ext cx="253762" cy="259150"/>
              </a:xfrm>
              <a:prstGeom prst="line">
                <a:avLst/>
              </a:prstGeom>
              <a:ln w="6350" cmpd="sng">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65" name="Straight Connector 10"/>
              <p:cNvCxnSpPr/>
              <p:nvPr/>
            </p:nvCxnSpPr>
            <p:spPr bwMode="auto">
              <a:xfrm flipH="1">
                <a:off x="6932139" y="3772711"/>
                <a:ext cx="189655" cy="232587"/>
              </a:xfrm>
              <a:prstGeom prst="line">
                <a:avLst/>
              </a:prstGeom>
              <a:ln w="6350" cmpd="sng">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66" name="Straight Connector 11"/>
              <p:cNvCxnSpPr/>
              <p:nvPr/>
            </p:nvCxnSpPr>
            <p:spPr bwMode="auto">
              <a:xfrm flipH="1">
                <a:off x="6305814" y="4064908"/>
                <a:ext cx="499515" cy="184181"/>
              </a:xfrm>
              <a:prstGeom prst="line">
                <a:avLst/>
              </a:prstGeom>
              <a:ln w="6350" cmpd="sng">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67" name="Straight Connector 20"/>
              <p:cNvCxnSpPr/>
              <p:nvPr/>
            </p:nvCxnSpPr>
            <p:spPr bwMode="auto">
              <a:xfrm flipH="1">
                <a:off x="6335377" y="3096380"/>
                <a:ext cx="81833" cy="580079"/>
              </a:xfrm>
              <a:prstGeom prst="line">
                <a:avLst/>
              </a:prstGeom>
              <a:ln w="6350" cmpd="sng">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68" name="Straight Connector 21"/>
              <p:cNvCxnSpPr/>
              <p:nvPr/>
            </p:nvCxnSpPr>
            <p:spPr bwMode="auto">
              <a:xfrm>
                <a:off x="6417209" y="3096380"/>
                <a:ext cx="220854" cy="235410"/>
              </a:xfrm>
              <a:prstGeom prst="line">
                <a:avLst/>
              </a:prstGeom>
              <a:ln w="6350" cmpd="sng">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69" name="Straight Connector 22"/>
              <p:cNvCxnSpPr/>
              <p:nvPr/>
            </p:nvCxnSpPr>
            <p:spPr bwMode="auto">
              <a:xfrm flipH="1">
                <a:off x="6225383" y="3823313"/>
                <a:ext cx="118688" cy="356854"/>
              </a:xfrm>
              <a:prstGeom prst="line">
                <a:avLst/>
              </a:prstGeom>
              <a:ln w="6350" cmpd="sng">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70" name="Straight Connector 25"/>
              <p:cNvCxnSpPr/>
              <p:nvPr/>
            </p:nvCxnSpPr>
            <p:spPr bwMode="auto">
              <a:xfrm flipV="1">
                <a:off x="6166988" y="3027459"/>
                <a:ext cx="169790" cy="210861"/>
              </a:xfrm>
              <a:prstGeom prst="line">
                <a:avLst/>
              </a:prstGeom>
              <a:ln w="6350" cmpd="sng">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71" name="Straight Connector 26"/>
              <p:cNvCxnSpPr/>
              <p:nvPr/>
            </p:nvCxnSpPr>
            <p:spPr bwMode="auto">
              <a:xfrm flipV="1">
                <a:off x="5693049" y="3316192"/>
                <a:ext cx="403189" cy="443216"/>
              </a:xfrm>
              <a:prstGeom prst="line">
                <a:avLst/>
              </a:prstGeom>
              <a:ln w="6350" cmpd="sng">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72" name="Straight Connector 28"/>
              <p:cNvCxnSpPr/>
              <p:nvPr/>
            </p:nvCxnSpPr>
            <p:spPr bwMode="auto">
              <a:xfrm flipH="1">
                <a:off x="6415808" y="3703791"/>
                <a:ext cx="625554" cy="41591"/>
              </a:xfrm>
              <a:prstGeom prst="line">
                <a:avLst/>
              </a:prstGeom>
              <a:ln w="6350" cmpd="sng">
                <a:solidFill>
                  <a:srgbClr val="7F7F7F"/>
                </a:solidFill>
              </a:ln>
            </p:spPr>
            <p:style>
              <a:lnRef idx="1">
                <a:schemeClr val="accent1"/>
              </a:lnRef>
              <a:fillRef idx="0">
                <a:schemeClr val="accent1"/>
              </a:fillRef>
              <a:effectRef idx="0">
                <a:schemeClr val="accent1"/>
              </a:effectRef>
              <a:fontRef idx="minor">
                <a:schemeClr val="tx1"/>
              </a:fontRef>
            </p:style>
          </p:cxnSp>
          <p:grpSp>
            <p:nvGrpSpPr>
              <p:cNvPr id="73" name="Grupper 88"/>
              <p:cNvGrpSpPr/>
              <p:nvPr/>
            </p:nvGrpSpPr>
            <p:grpSpPr>
              <a:xfrm>
                <a:off x="5005359" y="1894035"/>
                <a:ext cx="2869709" cy="1133424"/>
                <a:chOff x="5005359" y="1894035"/>
                <a:chExt cx="2869709" cy="1133424"/>
              </a:xfrm>
            </p:grpSpPr>
            <p:cxnSp>
              <p:nvCxnSpPr>
                <p:cNvPr id="74" name="Straight Connector 4"/>
                <p:cNvCxnSpPr/>
                <p:nvPr/>
              </p:nvCxnSpPr>
              <p:spPr bwMode="auto">
                <a:xfrm flipV="1">
                  <a:off x="5953357" y="2672116"/>
                  <a:ext cx="225504" cy="4478"/>
                </a:xfrm>
                <a:prstGeom prst="line">
                  <a:avLst/>
                </a:prstGeom>
                <a:ln w="6350" cmpd="sng">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75" name="Straight Connector 5"/>
                <p:cNvCxnSpPr/>
                <p:nvPr/>
              </p:nvCxnSpPr>
              <p:spPr bwMode="auto">
                <a:xfrm flipH="1" flipV="1">
                  <a:off x="6259293" y="2741038"/>
                  <a:ext cx="149223" cy="208491"/>
                </a:xfrm>
                <a:prstGeom prst="line">
                  <a:avLst/>
                </a:prstGeom>
                <a:ln w="6350" cmpd="sng">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76" name="Straight Connector 13"/>
                <p:cNvCxnSpPr>
                  <a:endCxn id="5" idx="7"/>
                </p:cNvCxnSpPr>
                <p:nvPr/>
              </p:nvCxnSpPr>
              <p:spPr bwMode="auto">
                <a:xfrm flipH="1">
                  <a:off x="7112371" y="2148248"/>
                  <a:ext cx="196204" cy="14854"/>
                </a:xfrm>
                <a:prstGeom prst="line">
                  <a:avLst/>
                </a:prstGeom>
                <a:ln w="6350" cmpd="sng">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77" name="Straight Connector 14"/>
                <p:cNvCxnSpPr>
                  <a:stCxn id="6" idx="2"/>
                </p:cNvCxnSpPr>
                <p:nvPr/>
              </p:nvCxnSpPr>
              <p:spPr bwMode="auto">
                <a:xfrm flipH="1">
                  <a:off x="7435385" y="2025926"/>
                  <a:ext cx="118458" cy="62711"/>
                </a:xfrm>
                <a:prstGeom prst="line">
                  <a:avLst/>
                </a:prstGeom>
                <a:ln w="6350" cmpd="sng">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78" name="Straight Connector 15"/>
                <p:cNvCxnSpPr>
                  <a:stCxn id="7" idx="2"/>
                  <a:endCxn id="5" idx="6"/>
                </p:cNvCxnSpPr>
                <p:nvPr/>
              </p:nvCxnSpPr>
              <p:spPr bwMode="auto">
                <a:xfrm flipH="1" flipV="1">
                  <a:off x="7137731" y="2213704"/>
                  <a:ext cx="356890" cy="147404"/>
                </a:xfrm>
                <a:prstGeom prst="line">
                  <a:avLst/>
                </a:prstGeom>
                <a:ln w="6350" cmpd="sng">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79" name="Straight Connector 16"/>
                <p:cNvCxnSpPr>
                  <a:stCxn id="5" idx="3"/>
                </p:cNvCxnSpPr>
                <p:nvPr/>
              </p:nvCxnSpPr>
              <p:spPr bwMode="auto">
                <a:xfrm flipH="1">
                  <a:off x="6408516" y="2273315"/>
                  <a:ext cx="602406" cy="676214"/>
                </a:xfrm>
                <a:prstGeom prst="line">
                  <a:avLst/>
                </a:prstGeom>
                <a:ln w="6350" cmpd="sng">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80" name="Straight Connector 18"/>
                <p:cNvCxnSpPr>
                  <a:stCxn id="7" idx="7"/>
                  <a:endCxn id="9" idx="3"/>
                </p:cNvCxnSpPr>
                <p:nvPr/>
              </p:nvCxnSpPr>
              <p:spPr bwMode="auto">
                <a:xfrm flipV="1">
                  <a:off x="7621430" y="2158865"/>
                  <a:ext cx="186776" cy="142633"/>
                </a:xfrm>
                <a:prstGeom prst="line">
                  <a:avLst/>
                </a:prstGeom>
                <a:ln w="6350" cmpd="sng">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81" name="Straight Connector 19"/>
                <p:cNvCxnSpPr>
                  <a:stCxn id="8" idx="1"/>
                  <a:endCxn id="5" idx="5"/>
                </p:cNvCxnSpPr>
                <p:nvPr/>
              </p:nvCxnSpPr>
              <p:spPr bwMode="auto">
                <a:xfrm flipH="1" flipV="1">
                  <a:off x="7118519" y="2266944"/>
                  <a:ext cx="42768" cy="207208"/>
                </a:xfrm>
                <a:prstGeom prst="line">
                  <a:avLst/>
                </a:prstGeom>
                <a:ln w="6350" cmpd="sng">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82" name="Straight Connector 23"/>
                <p:cNvCxnSpPr/>
                <p:nvPr/>
              </p:nvCxnSpPr>
              <p:spPr bwMode="auto">
                <a:xfrm>
                  <a:off x="6979927" y="1938987"/>
                  <a:ext cx="303289" cy="158660"/>
                </a:xfrm>
                <a:prstGeom prst="line">
                  <a:avLst/>
                </a:prstGeom>
                <a:ln w="6350" cmpd="sng">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83" name="Straight Connector 24"/>
                <p:cNvCxnSpPr>
                  <a:endCxn id="4" idx="4"/>
                </p:cNvCxnSpPr>
                <p:nvPr/>
              </p:nvCxnSpPr>
              <p:spPr bwMode="auto">
                <a:xfrm flipV="1">
                  <a:off x="7354954" y="1894035"/>
                  <a:ext cx="4348" cy="125680"/>
                </a:xfrm>
                <a:prstGeom prst="line">
                  <a:avLst/>
                </a:prstGeom>
                <a:ln w="6350" cmpd="sng">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84" name="Straight Connector 30"/>
                <p:cNvCxnSpPr>
                  <a:stCxn id="10" idx="4"/>
                  <a:endCxn id="11" idx="0"/>
                </p:cNvCxnSpPr>
                <p:nvPr/>
              </p:nvCxnSpPr>
              <p:spPr bwMode="auto">
                <a:xfrm flipH="1">
                  <a:off x="7833274" y="2465234"/>
                  <a:ext cx="41794" cy="183152"/>
                </a:xfrm>
                <a:prstGeom prst="line">
                  <a:avLst/>
                </a:prstGeom>
                <a:ln w="6350" cmpd="sng">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85" name="Straight Connector 31"/>
                <p:cNvCxnSpPr>
                  <a:stCxn id="10" idx="3"/>
                </p:cNvCxnSpPr>
                <p:nvPr/>
              </p:nvCxnSpPr>
              <p:spPr bwMode="auto">
                <a:xfrm flipH="1">
                  <a:off x="7597870" y="2446872"/>
                  <a:ext cx="222825" cy="198126"/>
                </a:xfrm>
                <a:prstGeom prst="line">
                  <a:avLst/>
                </a:prstGeom>
                <a:ln w="6350" cmpd="sng">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86" name="Straight Connector 32"/>
                <p:cNvCxnSpPr/>
                <p:nvPr/>
              </p:nvCxnSpPr>
              <p:spPr bwMode="auto">
                <a:xfrm flipH="1" flipV="1">
                  <a:off x="5914311" y="2717569"/>
                  <a:ext cx="422466" cy="309890"/>
                </a:xfrm>
                <a:prstGeom prst="line">
                  <a:avLst/>
                </a:prstGeom>
                <a:ln w="6350" cmpd="sng">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87" name="Straight Connector 33"/>
                <p:cNvCxnSpPr/>
                <p:nvPr/>
              </p:nvCxnSpPr>
              <p:spPr bwMode="auto">
                <a:xfrm flipV="1">
                  <a:off x="6408516" y="2628569"/>
                  <a:ext cx="96099" cy="320960"/>
                </a:xfrm>
                <a:prstGeom prst="line">
                  <a:avLst/>
                </a:prstGeom>
                <a:ln w="6350" cmpd="sng">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88" name="Straight Connector 34"/>
                <p:cNvCxnSpPr>
                  <a:endCxn id="8" idx="2"/>
                </p:cNvCxnSpPr>
                <p:nvPr/>
              </p:nvCxnSpPr>
              <p:spPr bwMode="auto">
                <a:xfrm flipV="1">
                  <a:off x="6488946" y="2527392"/>
                  <a:ext cx="653130" cy="491058"/>
                </a:xfrm>
                <a:prstGeom prst="line">
                  <a:avLst/>
                </a:prstGeom>
                <a:ln w="6350" cmpd="sng">
                  <a:solidFill>
                    <a:srgbClr val="7F7F7F"/>
                  </a:solidFill>
                </a:ln>
              </p:spPr>
              <p:style>
                <a:lnRef idx="1">
                  <a:schemeClr val="accent1"/>
                </a:lnRef>
                <a:fillRef idx="0">
                  <a:schemeClr val="accent1"/>
                </a:fillRef>
                <a:effectRef idx="0">
                  <a:schemeClr val="accent1"/>
                </a:effectRef>
                <a:fontRef idx="minor">
                  <a:schemeClr val="tx1"/>
                </a:fontRef>
              </p:style>
            </p:cxnSp>
            <p:grpSp>
              <p:nvGrpSpPr>
                <p:cNvPr id="89" name="Grupper 104"/>
                <p:cNvGrpSpPr/>
                <p:nvPr/>
              </p:nvGrpSpPr>
              <p:grpSpPr>
                <a:xfrm>
                  <a:off x="5005359" y="1984653"/>
                  <a:ext cx="1072504" cy="992848"/>
                  <a:chOff x="5005359" y="1984653"/>
                  <a:chExt cx="1072504" cy="992848"/>
                </a:xfrm>
              </p:grpSpPr>
              <p:cxnSp>
                <p:nvCxnSpPr>
                  <p:cNvPr id="90" name="Straight Connector 55"/>
                  <p:cNvCxnSpPr/>
                  <p:nvPr/>
                </p:nvCxnSpPr>
                <p:spPr bwMode="auto">
                  <a:xfrm rot="21396707" flipV="1">
                    <a:off x="5026954" y="2304888"/>
                    <a:ext cx="265277" cy="65382"/>
                  </a:xfrm>
                  <a:prstGeom prst="line">
                    <a:avLst/>
                  </a:prstGeom>
                  <a:ln w="6350" cmpd="sng">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91" name="Straight Connector 56"/>
                  <p:cNvCxnSpPr/>
                  <p:nvPr/>
                </p:nvCxnSpPr>
                <p:spPr bwMode="auto">
                  <a:xfrm flipH="1" flipV="1">
                    <a:off x="5406939" y="2639304"/>
                    <a:ext cx="406338" cy="40709"/>
                  </a:xfrm>
                  <a:prstGeom prst="line">
                    <a:avLst/>
                  </a:prstGeom>
                  <a:ln w="6350" cmpd="sng">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92" name="Straight Connector 57"/>
                  <p:cNvCxnSpPr/>
                  <p:nvPr/>
                </p:nvCxnSpPr>
                <p:spPr bwMode="auto">
                  <a:xfrm flipV="1">
                    <a:off x="5005359" y="2699252"/>
                    <a:ext cx="264302" cy="54225"/>
                  </a:xfrm>
                  <a:prstGeom prst="line">
                    <a:avLst/>
                  </a:prstGeom>
                  <a:ln w="6350" cmpd="sng">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93" name="Straight Connector 58"/>
                  <p:cNvCxnSpPr/>
                  <p:nvPr/>
                </p:nvCxnSpPr>
                <p:spPr bwMode="auto">
                  <a:xfrm flipH="1" flipV="1">
                    <a:off x="5370694" y="2736807"/>
                    <a:ext cx="109233" cy="240694"/>
                  </a:xfrm>
                  <a:prstGeom prst="line">
                    <a:avLst/>
                  </a:prstGeom>
                  <a:ln w="6350" cmpd="sng">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94" name="Straight Connector 60"/>
                  <p:cNvCxnSpPr/>
                  <p:nvPr/>
                </p:nvCxnSpPr>
                <p:spPr bwMode="auto">
                  <a:xfrm flipH="1">
                    <a:off x="5363928" y="2366994"/>
                    <a:ext cx="5637" cy="233339"/>
                  </a:xfrm>
                  <a:prstGeom prst="line">
                    <a:avLst/>
                  </a:prstGeom>
                  <a:ln w="6350" cmpd="sng">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95" name="Straight Connector 61"/>
                  <p:cNvCxnSpPr/>
                  <p:nvPr/>
                </p:nvCxnSpPr>
                <p:spPr bwMode="auto">
                  <a:xfrm flipH="1" flipV="1">
                    <a:off x="5725028" y="2079728"/>
                    <a:ext cx="124493" cy="502781"/>
                  </a:xfrm>
                  <a:prstGeom prst="line">
                    <a:avLst/>
                  </a:prstGeom>
                  <a:ln w="6350" cmpd="sng">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96" name="Straight Connector 62"/>
                  <p:cNvCxnSpPr/>
                  <p:nvPr/>
                </p:nvCxnSpPr>
                <p:spPr bwMode="auto">
                  <a:xfrm rot="15996707" flipH="1">
                    <a:off x="5210745" y="2078641"/>
                    <a:ext cx="208858" cy="79187"/>
                  </a:xfrm>
                  <a:prstGeom prst="line">
                    <a:avLst/>
                  </a:prstGeom>
                  <a:ln w="6350" cmpd="sng">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97" name="Straight Connector 63"/>
                  <p:cNvCxnSpPr/>
                  <p:nvPr/>
                </p:nvCxnSpPr>
                <p:spPr bwMode="auto">
                  <a:xfrm rot="9387689">
                    <a:off x="5772353" y="1984653"/>
                    <a:ext cx="251419" cy="94441"/>
                  </a:xfrm>
                  <a:prstGeom prst="line">
                    <a:avLst/>
                  </a:prstGeom>
                  <a:ln w="6350" cmpd="sng">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98" name="Straight Connector 65"/>
                  <p:cNvCxnSpPr/>
                  <p:nvPr/>
                </p:nvCxnSpPr>
                <p:spPr bwMode="auto">
                  <a:xfrm flipH="1">
                    <a:off x="5907544" y="2120494"/>
                    <a:ext cx="170319" cy="460599"/>
                  </a:xfrm>
                  <a:prstGeom prst="line">
                    <a:avLst/>
                  </a:prstGeom>
                  <a:ln w="6350" cmpd="sng">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99" name="Straight Connector 66"/>
                  <p:cNvCxnSpPr/>
                  <p:nvPr/>
                </p:nvCxnSpPr>
                <p:spPr bwMode="auto">
                  <a:xfrm>
                    <a:off x="5369565" y="2366994"/>
                    <a:ext cx="440910" cy="256489"/>
                  </a:xfrm>
                  <a:prstGeom prst="line">
                    <a:avLst/>
                  </a:prstGeom>
                  <a:ln w="6350" cmpd="sng">
                    <a:solidFill>
                      <a:srgbClr val="7F7F7F"/>
                    </a:solidFill>
                  </a:ln>
                </p:spPr>
                <p:style>
                  <a:lnRef idx="1">
                    <a:schemeClr val="accent1"/>
                  </a:lnRef>
                  <a:fillRef idx="0">
                    <a:schemeClr val="accent1"/>
                  </a:fillRef>
                  <a:effectRef idx="0">
                    <a:schemeClr val="accent1"/>
                  </a:effectRef>
                  <a:fontRef idx="minor">
                    <a:schemeClr val="tx1"/>
                  </a:fontRef>
                </p:style>
              </p:cxnSp>
            </p:grpSp>
          </p:grpSp>
        </p:grpSp>
        <p:cxnSp>
          <p:nvCxnSpPr>
            <p:cNvPr id="31" name="Straight Connector 34"/>
            <p:cNvCxnSpPr>
              <a:stCxn id="8" idx="5"/>
            </p:cNvCxnSpPr>
            <p:nvPr/>
          </p:nvCxnSpPr>
          <p:spPr bwMode="auto">
            <a:xfrm>
              <a:off x="6814647" y="2156976"/>
              <a:ext cx="133765" cy="90747"/>
            </a:xfrm>
            <a:prstGeom prst="line">
              <a:avLst/>
            </a:prstGeom>
            <a:ln w="6350" cmpd="sng">
              <a:solidFill>
                <a:srgbClr val="A3ACBB"/>
              </a:solidFill>
            </a:ln>
          </p:spPr>
          <p:style>
            <a:lnRef idx="1">
              <a:schemeClr val="accent1"/>
            </a:lnRef>
            <a:fillRef idx="0">
              <a:schemeClr val="accent1"/>
            </a:fillRef>
            <a:effectRef idx="0">
              <a:schemeClr val="accent1"/>
            </a:effectRef>
            <a:fontRef idx="minor">
              <a:schemeClr val="tx1"/>
            </a:fontRef>
          </p:style>
        </p:cxnSp>
        <p:grpSp>
          <p:nvGrpSpPr>
            <p:cNvPr id="32" name="Grupper 62"/>
            <p:cNvGrpSpPr/>
            <p:nvPr/>
          </p:nvGrpSpPr>
          <p:grpSpPr>
            <a:xfrm>
              <a:off x="6509344" y="1594310"/>
              <a:ext cx="763120" cy="715344"/>
              <a:chOff x="6940300" y="1804563"/>
              <a:chExt cx="1118325" cy="1048310"/>
            </a:xfrm>
            <a:solidFill>
              <a:srgbClr val="FFFFFF"/>
            </a:solidFill>
          </p:grpSpPr>
          <p:sp>
            <p:nvSpPr>
              <p:cNvPr id="51" name="Oval 39"/>
              <p:cNvSpPr/>
              <p:nvPr/>
            </p:nvSpPr>
            <p:spPr bwMode="auto">
              <a:xfrm rot="21396707">
                <a:off x="7583603" y="2684056"/>
                <a:ext cx="152435" cy="147108"/>
              </a:xfrm>
              <a:prstGeom prst="ellipse">
                <a:avLst/>
              </a:prstGeom>
              <a:grpFill/>
              <a:ln w="3175" cmpd="sng">
                <a:solidFill>
                  <a:schemeClr val="tx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a-DK" sz="1122"/>
              </a:p>
            </p:txBody>
          </p:sp>
          <p:sp>
            <p:nvSpPr>
              <p:cNvPr id="52" name="Oval 41"/>
              <p:cNvSpPr/>
              <p:nvPr/>
            </p:nvSpPr>
            <p:spPr bwMode="auto">
              <a:xfrm rot="21396707">
                <a:off x="7395758" y="2077095"/>
                <a:ext cx="152435" cy="147110"/>
              </a:xfrm>
              <a:prstGeom prst="ellipse">
                <a:avLst/>
              </a:prstGeom>
              <a:grpFill/>
              <a:ln w="3175" cmpd="sng">
                <a:solidFill>
                  <a:schemeClr val="tx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a-DK" sz="1122"/>
              </a:p>
            </p:txBody>
          </p:sp>
          <p:sp>
            <p:nvSpPr>
              <p:cNvPr id="53" name="Rectangle 42"/>
              <p:cNvSpPr/>
              <p:nvPr/>
            </p:nvSpPr>
            <p:spPr bwMode="auto">
              <a:xfrm rot="21396707">
                <a:off x="6940300" y="1927444"/>
                <a:ext cx="152434" cy="147110"/>
              </a:xfrm>
              <a:prstGeom prst="rect">
                <a:avLst/>
              </a:prstGeom>
              <a:grpFill/>
              <a:ln w="3175" cmpd="sng">
                <a:solidFill>
                  <a:schemeClr val="tx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a-DK" sz="1122"/>
              </a:p>
            </p:txBody>
          </p:sp>
          <p:sp>
            <p:nvSpPr>
              <p:cNvPr id="54" name="Oval 47"/>
              <p:cNvSpPr/>
              <p:nvPr/>
            </p:nvSpPr>
            <p:spPr bwMode="auto">
              <a:xfrm rot="21396707">
                <a:off x="7391412" y="1804563"/>
                <a:ext cx="152434" cy="147108"/>
              </a:xfrm>
              <a:prstGeom prst="ellipse">
                <a:avLst/>
              </a:prstGeom>
              <a:grpFill/>
              <a:ln w="3175" cmpd="sng">
                <a:solidFill>
                  <a:schemeClr val="tx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a-DK" sz="1122"/>
              </a:p>
            </p:txBody>
          </p:sp>
          <p:sp>
            <p:nvSpPr>
              <p:cNvPr id="55" name="Oval 48"/>
              <p:cNvSpPr/>
              <p:nvPr/>
            </p:nvSpPr>
            <p:spPr bwMode="auto">
              <a:xfrm rot="21396707">
                <a:off x="7098104" y="2202161"/>
                <a:ext cx="152434" cy="147110"/>
              </a:xfrm>
              <a:prstGeom prst="ellipse">
                <a:avLst/>
              </a:prstGeom>
              <a:grpFill/>
              <a:ln w="3175" cmpd="sng">
                <a:solidFill>
                  <a:schemeClr val="tx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a-DK" sz="1122"/>
              </a:p>
            </p:txBody>
          </p:sp>
          <p:sp>
            <p:nvSpPr>
              <p:cNvPr id="56" name="Oval 49"/>
              <p:cNvSpPr/>
              <p:nvPr/>
            </p:nvSpPr>
            <p:spPr bwMode="auto">
              <a:xfrm rot="21396707">
                <a:off x="7666386" y="2005375"/>
                <a:ext cx="152435" cy="147110"/>
              </a:xfrm>
              <a:prstGeom prst="ellipse">
                <a:avLst/>
              </a:prstGeom>
              <a:grpFill/>
              <a:ln w="3175" cmpd="sng">
                <a:solidFill>
                  <a:schemeClr val="tx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a-DK" sz="1122"/>
              </a:p>
            </p:txBody>
          </p:sp>
          <p:sp>
            <p:nvSpPr>
              <p:cNvPr id="57" name="Oval 50"/>
              <p:cNvSpPr/>
              <p:nvPr/>
            </p:nvSpPr>
            <p:spPr bwMode="auto">
              <a:xfrm rot="21396707">
                <a:off x="7607162" y="2340556"/>
                <a:ext cx="152434" cy="147110"/>
              </a:xfrm>
              <a:prstGeom prst="ellipse">
                <a:avLst/>
              </a:prstGeom>
              <a:grpFill/>
              <a:ln w="3175" cmpd="sng">
                <a:solidFill>
                  <a:schemeClr val="tx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a-DK" sz="1122"/>
              </a:p>
            </p:txBody>
          </p:sp>
          <p:sp>
            <p:nvSpPr>
              <p:cNvPr id="58" name="Oval 51"/>
              <p:cNvSpPr/>
              <p:nvPr/>
            </p:nvSpPr>
            <p:spPr bwMode="auto">
              <a:xfrm rot="21396707">
                <a:off x="7254618" y="2506840"/>
                <a:ext cx="152434" cy="147110"/>
              </a:xfrm>
              <a:prstGeom prst="ellipse">
                <a:avLst/>
              </a:prstGeom>
              <a:grpFill/>
              <a:ln w="3175" cmpd="sng">
                <a:solidFill>
                  <a:schemeClr val="tx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a-DK" sz="1122"/>
              </a:p>
            </p:txBody>
          </p:sp>
          <p:sp>
            <p:nvSpPr>
              <p:cNvPr id="59" name="Oval 54"/>
              <p:cNvSpPr/>
              <p:nvPr/>
            </p:nvSpPr>
            <p:spPr bwMode="auto">
              <a:xfrm rot="21396707">
                <a:off x="7895679" y="2087753"/>
                <a:ext cx="150455" cy="147110"/>
              </a:xfrm>
              <a:prstGeom prst="ellipse">
                <a:avLst/>
              </a:prstGeom>
              <a:grpFill/>
              <a:ln w="3175" cmpd="sng">
                <a:solidFill>
                  <a:schemeClr val="tx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a-DK" sz="1122"/>
              </a:p>
            </p:txBody>
          </p:sp>
          <p:sp>
            <p:nvSpPr>
              <p:cNvPr id="60" name="Oval 77"/>
              <p:cNvSpPr/>
              <p:nvPr/>
            </p:nvSpPr>
            <p:spPr bwMode="auto">
              <a:xfrm rot="21396707">
                <a:off x="7908170" y="2375759"/>
                <a:ext cx="150455" cy="147110"/>
              </a:xfrm>
              <a:prstGeom prst="ellipse">
                <a:avLst/>
              </a:prstGeom>
              <a:grpFill/>
              <a:ln w="3175" cmpd="sng">
                <a:solidFill>
                  <a:schemeClr val="tx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a-DK" sz="1122"/>
              </a:p>
            </p:txBody>
          </p:sp>
          <p:sp>
            <p:nvSpPr>
              <p:cNvPr id="61" name="Oval 39"/>
              <p:cNvSpPr/>
              <p:nvPr/>
            </p:nvSpPr>
            <p:spPr bwMode="auto">
              <a:xfrm rot="21396707">
                <a:off x="7874080" y="2705765"/>
                <a:ext cx="152435" cy="147108"/>
              </a:xfrm>
              <a:prstGeom prst="ellipse">
                <a:avLst/>
              </a:prstGeom>
              <a:grpFill/>
              <a:ln w="3175" cmpd="sng">
                <a:solidFill>
                  <a:schemeClr val="tx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a-DK" sz="1122"/>
              </a:p>
            </p:txBody>
          </p:sp>
        </p:grpSp>
        <p:cxnSp>
          <p:nvCxnSpPr>
            <p:cNvPr id="33" name="Lige forbindelse 59"/>
            <p:cNvCxnSpPr/>
            <p:nvPr/>
          </p:nvCxnSpPr>
          <p:spPr>
            <a:xfrm>
              <a:off x="7644281" y="1466091"/>
              <a:ext cx="278394" cy="0"/>
            </a:xfrm>
            <a:prstGeom prst="line">
              <a:avLst/>
            </a:prstGeom>
          </p:spPr>
          <p:style>
            <a:lnRef idx="1">
              <a:schemeClr val="dk1"/>
            </a:lnRef>
            <a:fillRef idx="0">
              <a:schemeClr val="dk1"/>
            </a:fillRef>
            <a:effectRef idx="0">
              <a:schemeClr val="dk1"/>
            </a:effectRef>
            <a:fontRef idx="minor">
              <a:schemeClr val="tx1"/>
            </a:fontRef>
          </p:style>
        </p:cxnSp>
        <p:cxnSp>
          <p:nvCxnSpPr>
            <p:cNvPr id="34" name="Lige pilforbindelse 60"/>
            <p:cNvCxnSpPr/>
            <p:nvPr/>
          </p:nvCxnSpPr>
          <p:spPr>
            <a:xfrm flipH="1">
              <a:off x="7433680" y="1466091"/>
              <a:ext cx="210601" cy="164476"/>
            </a:xfrm>
            <a:prstGeom prst="straightConnector1">
              <a:avLst/>
            </a:prstGeom>
            <a:ln>
              <a:headEnd type="none"/>
              <a:tailEnd type="triangle"/>
            </a:ln>
          </p:spPr>
          <p:style>
            <a:lnRef idx="1">
              <a:schemeClr val="dk1"/>
            </a:lnRef>
            <a:fillRef idx="0">
              <a:schemeClr val="dk1"/>
            </a:fillRef>
            <a:effectRef idx="0">
              <a:schemeClr val="dk1"/>
            </a:effectRef>
            <a:fontRef idx="minor">
              <a:schemeClr val="tx1"/>
            </a:fontRef>
          </p:style>
        </p:cxnSp>
        <p:sp>
          <p:nvSpPr>
            <p:cNvPr id="35" name="Tekstfelt 46"/>
            <p:cNvSpPr txBox="1"/>
            <p:nvPr/>
          </p:nvSpPr>
          <p:spPr>
            <a:xfrm>
              <a:off x="7509980" y="1258654"/>
              <a:ext cx="455999" cy="205846"/>
            </a:xfrm>
            <a:prstGeom prst="rect">
              <a:avLst/>
            </a:prstGeom>
            <a:noFill/>
          </p:spPr>
          <p:txBody>
            <a:bodyPr wrap="square" rtlCol="0">
              <a:spAutoFit/>
            </a:bodyPr>
            <a:lstStyle/>
            <a:p>
              <a:pPr algn="r"/>
              <a:r>
                <a:rPr lang="en-US" sz="918" dirty="0">
                  <a:cs typeface="Calibri Light"/>
                </a:rPr>
                <a:t>SILO</a:t>
              </a:r>
            </a:p>
          </p:txBody>
        </p:sp>
        <p:cxnSp>
          <p:nvCxnSpPr>
            <p:cNvPr id="36" name="Lige forbindelse 47"/>
            <p:cNvCxnSpPr/>
            <p:nvPr/>
          </p:nvCxnSpPr>
          <p:spPr>
            <a:xfrm>
              <a:off x="6549852" y="2616010"/>
              <a:ext cx="1372823" cy="0"/>
            </a:xfrm>
            <a:prstGeom prst="line">
              <a:avLst/>
            </a:prstGeom>
          </p:spPr>
          <p:style>
            <a:lnRef idx="1">
              <a:schemeClr val="dk1"/>
            </a:lnRef>
            <a:fillRef idx="0">
              <a:schemeClr val="dk1"/>
            </a:fillRef>
            <a:effectRef idx="0">
              <a:schemeClr val="dk1"/>
            </a:effectRef>
            <a:fontRef idx="minor">
              <a:schemeClr val="tx1"/>
            </a:fontRef>
          </p:style>
        </p:cxnSp>
        <p:cxnSp>
          <p:nvCxnSpPr>
            <p:cNvPr id="37" name="Lige pilforbindelse 48"/>
            <p:cNvCxnSpPr/>
            <p:nvPr/>
          </p:nvCxnSpPr>
          <p:spPr>
            <a:xfrm flipH="1" flipV="1">
              <a:off x="6363915" y="2515057"/>
              <a:ext cx="188488" cy="102925"/>
            </a:xfrm>
            <a:prstGeom prst="straightConnector1">
              <a:avLst/>
            </a:prstGeom>
            <a:ln>
              <a:headEnd type="none"/>
              <a:tailEnd type="triangle"/>
            </a:ln>
          </p:spPr>
          <p:style>
            <a:lnRef idx="1">
              <a:schemeClr val="dk1"/>
            </a:lnRef>
            <a:fillRef idx="0">
              <a:schemeClr val="dk1"/>
            </a:fillRef>
            <a:effectRef idx="0">
              <a:schemeClr val="dk1"/>
            </a:effectRef>
            <a:fontRef idx="minor">
              <a:schemeClr val="tx1"/>
            </a:fontRef>
          </p:style>
        </p:cxnSp>
        <p:cxnSp>
          <p:nvCxnSpPr>
            <p:cNvPr id="38" name="Lige forbindelse 49"/>
            <p:cNvCxnSpPr/>
            <p:nvPr/>
          </p:nvCxnSpPr>
          <p:spPr>
            <a:xfrm>
              <a:off x="6664992" y="3505976"/>
              <a:ext cx="1257681" cy="0"/>
            </a:xfrm>
            <a:prstGeom prst="line">
              <a:avLst/>
            </a:prstGeom>
          </p:spPr>
          <p:style>
            <a:lnRef idx="1">
              <a:schemeClr val="dk1"/>
            </a:lnRef>
            <a:fillRef idx="0">
              <a:schemeClr val="dk1"/>
            </a:fillRef>
            <a:effectRef idx="0">
              <a:schemeClr val="dk1"/>
            </a:effectRef>
            <a:fontRef idx="minor">
              <a:schemeClr val="tx1"/>
            </a:fontRef>
          </p:style>
        </p:cxnSp>
        <p:cxnSp>
          <p:nvCxnSpPr>
            <p:cNvPr id="39" name="Lige pilforbindelse 50"/>
            <p:cNvCxnSpPr/>
            <p:nvPr/>
          </p:nvCxnSpPr>
          <p:spPr>
            <a:xfrm flipH="1" flipV="1">
              <a:off x="6231751" y="3038353"/>
              <a:ext cx="436554" cy="468514"/>
            </a:xfrm>
            <a:prstGeom prst="straightConnector1">
              <a:avLst/>
            </a:prstGeom>
            <a:ln>
              <a:headEnd type="none"/>
              <a:tailEnd type="triangle"/>
            </a:ln>
          </p:spPr>
          <p:style>
            <a:lnRef idx="1">
              <a:schemeClr val="dk1"/>
            </a:lnRef>
            <a:fillRef idx="0">
              <a:schemeClr val="dk1"/>
            </a:fillRef>
            <a:effectRef idx="0">
              <a:schemeClr val="dk1"/>
            </a:effectRef>
            <a:fontRef idx="minor">
              <a:schemeClr val="tx1"/>
            </a:fontRef>
          </p:style>
        </p:cxnSp>
        <p:cxnSp>
          <p:nvCxnSpPr>
            <p:cNvPr id="40" name="Lige forbindelse 51"/>
            <p:cNvCxnSpPr/>
            <p:nvPr/>
          </p:nvCxnSpPr>
          <p:spPr>
            <a:xfrm flipH="1">
              <a:off x="4569344" y="2941506"/>
              <a:ext cx="861295" cy="0"/>
            </a:xfrm>
            <a:prstGeom prst="line">
              <a:avLst/>
            </a:prstGeom>
          </p:spPr>
          <p:style>
            <a:lnRef idx="1">
              <a:schemeClr val="dk1"/>
            </a:lnRef>
            <a:fillRef idx="0">
              <a:schemeClr val="dk1"/>
            </a:fillRef>
            <a:effectRef idx="0">
              <a:schemeClr val="dk1"/>
            </a:effectRef>
            <a:fontRef idx="minor">
              <a:schemeClr val="tx1"/>
            </a:fontRef>
          </p:style>
        </p:cxnSp>
        <p:cxnSp>
          <p:nvCxnSpPr>
            <p:cNvPr id="41" name="Lige pilforbindelse 52"/>
            <p:cNvCxnSpPr/>
            <p:nvPr/>
          </p:nvCxnSpPr>
          <p:spPr>
            <a:xfrm flipV="1">
              <a:off x="5430638" y="2569922"/>
              <a:ext cx="133487" cy="367262"/>
            </a:xfrm>
            <a:prstGeom prst="straightConnector1">
              <a:avLst/>
            </a:prstGeom>
            <a:ln>
              <a:headEnd type="none"/>
              <a:tailEnd type="triangle"/>
            </a:ln>
          </p:spPr>
          <p:style>
            <a:lnRef idx="1">
              <a:schemeClr val="dk1"/>
            </a:lnRef>
            <a:fillRef idx="0">
              <a:schemeClr val="dk1"/>
            </a:fillRef>
            <a:effectRef idx="0">
              <a:schemeClr val="dk1"/>
            </a:effectRef>
            <a:fontRef idx="minor">
              <a:schemeClr val="tx1"/>
            </a:fontRef>
          </p:style>
        </p:cxnSp>
        <p:cxnSp>
          <p:nvCxnSpPr>
            <p:cNvPr id="42" name="Lige forbindelse 53"/>
            <p:cNvCxnSpPr/>
            <p:nvPr/>
          </p:nvCxnSpPr>
          <p:spPr>
            <a:xfrm flipH="1">
              <a:off x="4569347" y="1866000"/>
              <a:ext cx="352275" cy="9321"/>
            </a:xfrm>
            <a:prstGeom prst="line">
              <a:avLst/>
            </a:prstGeom>
          </p:spPr>
          <p:style>
            <a:lnRef idx="1">
              <a:schemeClr val="dk1"/>
            </a:lnRef>
            <a:fillRef idx="0">
              <a:schemeClr val="dk1"/>
            </a:fillRef>
            <a:effectRef idx="0">
              <a:schemeClr val="dk1"/>
            </a:effectRef>
            <a:fontRef idx="minor">
              <a:schemeClr val="tx1"/>
            </a:fontRef>
          </p:style>
        </p:cxnSp>
        <p:cxnSp>
          <p:nvCxnSpPr>
            <p:cNvPr id="43" name="Lige pilforbindelse 54"/>
            <p:cNvCxnSpPr/>
            <p:nvPr/>
          </p:nvCxnSpPr>
          <p:spPr>
            <a:xfrm>
              <a:off x="4921620" y="1866000"/>
              <a:ext cx="210601" cy="102993"/>
            </a:xfrm>
            <a:prstGeom prst="straightConnector1">
              <a:avLst/>
            </a:prstGeom>
            <a:ln>
              <a:headEnd type="none"/>
              <a:tailEnd type="triangle"/>
            </a:ln>
          </p:spPr>
          <p:style>
            <a:lnRef idx="1">
              <a:schemeClr val="dk1"/>
            </a:lnRef>
            <a:fillRef idx="0">
              <a:schemeClr val="dk1"/>
            </a:fillRef>
            <a:effectRef idx="0">
              <a:schemeClr val="dk1"/>
            </a:effectRef>
            <a:fontRef idx="minor">
              <a:schemeClr val="tx1"/>
            </a:fontRef>
          </p:style>
        </p:cxnSp>
        <p:sp>
          <p:nvSpPr>
            <p:cNvPr id="44" name="Tekstfelt 55"/>
            <p:cNvSpPr txBox="1"/>
            <p:nvPr/>
          </p:nvSpPr>
          <p:spPr>
            <a:xfrm>
              <a:off x="6961519" y="2401291"/>
              <a:ext cx="1004457" cy="205846"/>
            </a:xfrm>
            <a:prstGeom prst="rect">
              <a:avLst/>
            </a:prstGeom>
            <a:noFill/>
          </p:spPr>
          <p:txBody>
            <a:bodyPr wrap="square" rtlCol="0">
              <a:spAutoFit/>
            </a:bodyPr>
            <a:lstStyle/>
            <a:p>
              <a:pPr algn="r"/>
              <a:r>
                <a:rPr lang="en-US" sz="918" dirty="0">
                  <a:cs typeface="Calibri Light"/>
                </a:rPr>
                <a:t>BOTTLENECK</a:t>
              </a:r>
            </a:p>
          </p:txBody>
        </p:sp>
        <p:sp>
          <p:nvSpPr>
            <p:cNvPr id="45" name="Tekstfelt 56"/>
            <p:cNvSpPr txBox="1"/>
            <p:nvPr/>
          </p:nvSpPr>
          <p:spPr>
            <a:xfrm>
              <a:off x="6703649" y="3299432"/>
              <a:ext cx="1262330" cy="205846"/>
            </a:xfrm>
            <a:prstGeom prst="rect">
              <a:avLst/>
            </a:prstGeom>
            <a:noFill/>
          </p:spPr>
          <p:txBody>
            <a:bodyPr wrap="square" rtlCol="0">
              <a:spAutoFit/>
            </a:bodyPr>
            <a:lstStyle/>
            <a:p>
              <a:pPr algn="r"/>
              <a:r>
                <a:rPr lang="en-US" sz="918" dirty="0">
                  <a:cs typeface="Calibri Light"/>
                </a:rPr>
                <a:t>CONNECTOR</a:t>
              </a:r>
            </a:p>
          </p:txBody>
        </p:sp>
        <p:sp>
          <p:nvSpPr>
            <p:cNvPr id="46" name="Tekstfelt 57"/>
            <p:cNvSpPr txBox="1"/>
            <p:nvPr/>
          </p:nvSpPr>
          <p:spPr>
            <a:xfrm>
              <a:off x="4501054" y="2724658"/>
              <a:ext cx="831519" cy="205846"/>
            </a:xfrm>
            <a:prstGeom prst="rect">
              <a:avLst/>
            </a:prstGeom>
            <a:noFill/>
          </p:spPr>
          <p:txBody>
            <a:bodyPr wrap="square" rtlCol="0">
              <a:spAutoFit/>
            </a:bodyPr>
            <a:lstStyle/>
            <a:p>
              <a:r>
                <a:rPr lang="en-US" sz="918" dirty="0">
                  <a:cs typeface="Calibri Light"/>
                </a:rPr>
                <a:t>BROKER</a:t>
              </a:r>
            </a:p>
          </p:txBody>
        </p:sp>
        <p:sp>
          <p:nvSpPr>
            <p:cNvPr id="47" name="Tekstfelt 58"/>
            <p:cNvSpPr txBox="1"/>
            <p:nvPr/>
          </p:nvSpPr>
          <p:spPr>
            <a:xfrm>
              <a:off x="4501054" y="1659313"/>
              <a:ext cx="554248" cy="205846"/>
            </a:xfrm>
            <a:prstGeom prst="rect">
              <a:avLst/>
            </a:prstGeom>
            <a:noFill/>
          </p:spPr>
          <p:txBody>
            <a:bodyPr wrap="square" rtlCol="0">
              <a:spAutoFit/>
            </a:bodyPr>
            <a:lstStyle/>
            <a:p>
              <a:r>
                <a:rPr lang="en-US" sz="918" dirty="0">
                  <a:cs typeface="Calibri Light"/>
                </a:rPr>
                <a:t>CEO</a:t>
              </a:r>
            </a:p>
          </p:txBody>
        </p:sp>
        <p:cxnSp>
          <p:nvCxnSpPr>
            <p:cNvPr id="48" name="Lige forbindelse 166"/>
            <p:cNvCxnSpPr/>
            <p:nvPr/>
          </p:nvCxnSpPr>
          <p:spPr>
            <a:xfrm flipH="1">
              <a:off x="4569347" y="3446963"/>
              <a:ext cx="1101002" cy="0"/>
            </a:xfrm>
            <a:prstGeom prst="line">
              <a:avLst/>
            </a:prstGeom>
          </p:spPr>
          <p:style>
            <a:lnRef idx="1">
              <a:schemeClr val="dk1"/>
            </a:lnRef>
            <a:fillRef idx="0">
              <a:schemeClr val="dk1"/>
            </a:fillRef>
            <a:effectRef idx="0">
              <a:schemeClr val="dk1"/>
            </a:effectRef>
            <a:fontRef idx="minor">
              <a:schemeClr val="tx1"/>
            </a:fontRef>
          </p:style>
        </p:cxnSp>
        <p:cxnSp>
          <p:nvCxnSpPr>
            <p:cNvPr id="49" name="Lige pilforbindelse 167"/>
            <p:cNvCxnSpPr/>
            <p:nvPr/>
          </p:nvCxnSpPr>
          <p:spPr>
            <a:xfrm flipV="1">
              <a:off x="5672821" y="3186285"/>
              <a:ext cx="169086" cy="260913"/>
            </a:xfrm>
            <a:prstGeom prst="straightConnector1">
              <a:avLst/>
            </a:prstGeom>
            <a:ln>
              <a:headEnd type="none"/>
              <a:tailEnd type="triangle"/>
            </a:ln>
          </p:spPr>
          <p:style>
            <a:lnRef idx="1">
              <a:schemeClr val="dk1"/>
            </a:lnRef>
            <a:fillRef idx="0">
              <a:schemeClr val="dk1"/>
            </a:fillRef>
            <a:effectRef idx="0">
              <a:schemeClr val="dk1"/>
            </a:effectRef>
            <a:fontRef idx="minor">
              <a:schemeClr val="tx1"/>
            </a:fontRef>
          </p:style>
        </p:cxnSp>
        <p:sp>
          <p:nvSpPr>
            <p:cNvPr id="50" name="Tekstfelt 168"/>
            <p:cNvSpPr txBox="1"/>
            <p:nvPr/>
          </p:nvSpPr>
          <p:spPr>
            <a:xfrm>
              <a:off x="4493356" y="3246913"/>
              <a:ext cx="1125064" cy="205846"/>
            </a:xfrm>
            <a:prstGeom prst="rect">
              <a:avLst/>
            </a:prstGeom>
            <a:noFill/>
          </p:spPr>
          <p:txBody>
            <a:bodyPr wrap="square" rtlCol="0">
              <a:spAutoFit/>
            </a:bodyPr>
            <a:lstStyle/>
            <a:p>
              <a:r>
                <a:rPr lang="en-US" sz="918" dirty="0">
                  <a:cs typeface="Calibri Light"/>
                </a:rPr>
                <a:t>CONNECTION</a:t>
              </a:r>
            </a:p>
          </p:txBody>
        </p:sp>
      </p:grpSp>
      <p:sp>
        <p:nvSpPr>
          <p:cNvPr id="100" name="Tekstfelt 171"/>
          <p:cNvSpPr txBox="1"/>
          <p:nvPr/>
        </p:nvSpPr>
        <p:spPr>
          <a:xfrm>
            <a:off x="5534645" y="1912118"/>
            <a:ext cx="4788853" cy="318286"/>
          </a:xfrm>
          <a:prstGeom prst="rect">
            <a:avLst/>
          </a:prstGeom>
          <a:noFill/>
        </p:spPr>
        <p:txBody>
          <a:bodyPr wrap="square" rtlCol="0">
            <a:spAutoFit/>
          </a:bodyPr>
          <a:lstStyle/>
          <a:p>
            <a:pPr algn="ctr"/>
            <a:r>
              <a:rPr lang="en-US" sz="1428" dirty="0">
                <a:cs typeface="Calibri Light"/>
              </a:rPr>
              <a:t>THE REAL ORGANIZATION</a:t>
            </a:r>
          </a:p>
        </p:txBody>
      </p:sp>
      <p:sp>
        <p:nvSpPr>
          <p:cNvPr id="101" name="Rektangel 172"/>
          <p:cNvSpPr/>
          <p:nvPr/>
        </p:nvSpPr>
        <p:spPr>
          <a:xfrm>
            <a:off x="1954251" y="1786315"/>
            <a:ext cx="3009277" cy="3461709"/>
          </a:xfrm>
          <a:prstGeom prst="rect">
            <a:avLst/>
          </a:prstGeom>
          <a:solidFill>
            <a:schemeClr val="bg1">
              <a:lumMod val="95000"/>
            </a:schemeClr>
          </a:solidFill>
          <a:ln w="9525" cmpd="sng">
            <a:solidFill>
              <a:schemeClr val="tx2">
                <a:lumMod val="60000"/>
                <a:lumOff val="40000"/>
              </a:schemeClr>
            </a:solidFill>
            <a:prstDash val="dot"/>
          </a:ln>
        </p:spPr>
        <p:style>
          <a:lnRef idx="2">
            <a:schemeClr val="accent2"/>
          </a:lnRef>
          <a:fillRef idx="1">
            <a:schemeClr val="lt1"/>
          </a:fillRef>
          <a:effectRef idx="0">
            <a:schemeClr val="accent2"/>
          </a:effectRef>
          <a:fontRef idx="minor">
            <a:schemeClr val="dk1"/>
          </a:fontRef>
        </p:style>
        <p:txBody>
          <a:bodyPr rtlCol="0" anchor="ctr"/>
          <a:lstStyle>
            <a:defPPr>
              <a:defRPr lang="da-DK"/>
            </a:defPPr>
            <a:lvl1pPr marL="0" algn="l" defTabSz="457200" rtl="0" eaLnBrk="1" latinLnBrk="0" hangingPunct="1">
              <a:defRPr sz="1800" kern="1200">
                <a:solidFill>
                  <a:schemeClr val="dk1"/>
                </a:solidFill>
                <a:latin typeface="+mn-lt"/>
                <a:ea typeface="+mn-ea"/>
                <a:cs typeface="+mn-cs"/>
              </a:defRPr>
            </a:lvl1pPr>
            <a:lvl2pPr marL="457200" algn="l" defTabSz="457200" rtl="0" eaLnBrk="1" latinLnBrk="0" hangingPunct="1">
              <a:defRPr sz="1800" kern="1200">
                <a:solidFill>
                  <a:schemeClr val="dk1"/>
                </a:solidFill>
                <a:latin typeface="+mn-lt"/>
                <a:ea typeface="+mn-ea"/>
                <a:cs typeface="+mn-cs"/>
              </a:defRPr>
            </a:lvl2pPr>
            <a:lvl3pPr marL="914400" algn="l" defTabSz="457200" rtl="0" eaLnBrk="1" latinLnBrk="0" hangingPunct="1">
              <a:defRPr sz="1800" kern="1200">
                <a:solidFill>
                  <a:schemeClr val="dk1"/>
                </a:solidFill>
                <a:latin typeface="+mn-lt"/>
                <a:ea typeface="+mn-ea"/>
                <a:cs typeface="+mn-cs"/>
              </a:defRPr>
            </a:lvl3pPr>
            <a:lvl4pPr marL="1371600" algn="l" defTabSz="457200" rtl="0" eaLnBrk="1" latinLnBrk="0" hangingPunct="1">
              <a:defRPr sz="1800" kern="1200">
                <a:solidFill>
                  <a:schemeClr val="dk1"/>
                </a:solidFill>
                <a:latin typeface="+mn-lt"/>
                <a:ea typeface="+mn-ea"/>
                <a:cs typeface="+mn-cs"/>
              </a:defRPr>
            </a:lvl4pPr>
            <a:lvl5pPr marL="1828800" algn="l" defTabSz="457200" rtl="0" eaLnBrk="1" latinLnBrk="0" hangingPunct="1">
              <a:defRPr sz="1800" kern="1200">
                <a:solidFill>
                  <a:schemeClr val="dk1"/>
                </a:solidFill>
                <a:latin typeface="+mn-lt"/>
                <a:ea typeface="+mn-ea"/>
                <a:cs typeface="+mn-cs"/>
              </a:defRPr>
            </a:lvl5pPr>
            <a:lvl6pPr marL="2286000" algn="l" defTabSz="457200" rtl="0" eaLnBrk="1" latinLnBrk="0" hangingPunct="1">
              <a:defRPr sz="1800" kern="1200">
                <a:solidFill>
                  <a:schemeClr val="dk1"/>
                </a:solidFill>
                <a:latin typeface="+mn-lt"/>
                <a:ea typeface="+mn-ea"/>
                <a:cs typeface="+mn-cs"/>
              </a:defRPr>
            </a:lvl6pPr>
            <a:lvl7pPr marL="2743200" algn="l" defTabSz="457200" rtl="0" eaLnBrk="1" latinLnBrk="0" hangingPunct="1">
              <a:defRPr sz="1800" kern="1200">
                <a:solidFill>
                  <a:schemeClr val="dk1"/>
                </a:solidFill>
                <a:latin typeface="+mn-lt"/>
                <a:ea typeface="+mn-ea"/>
                <a:cs typeface="+mn-cs"/>
              </a:defRPr>
            </a:lvl7pPr>
            <a:lvl8pPr marL="3200400" algn="l" defTabSz="457200" rtl="0" eaLnBrk="1" latinLnBrk="0" hangingPunct="1">
              <a:defRPr sz="1800" kern="1200">
                <a:solidFill>
                  <a:schemeClr val="dk1"/>
                </a:solidFill>
                <a:latin typeface="+mn-lt"/>
                <a:ea typeface="+mn-ea"/>
                <a:cs typeface="+mn-cs"/>
              </a:defRPr>
            </a:lvl8pPr>
            <a:lvl9pPr marL="3657600" algn="l" defTabSz="457200" rtl="0" eaLnBrk="1" latinLnBrk="0" hangingPunct="1">
              <a:defRPr sz="1800" kern="1200">
                <a:solidFill>
                  <a:schemeClr val="dk1"/>
                </a:solidFill>
                <a:latin typeface="+mn-lt"/>
                <a:ea typeface="+mn-ea"/>
                <a:cs typeface="+mn-cs"/>
              </a:defRPr>
            </a:lvl9pPr>
          </a:lstStyle>
          <a:p>
            <a:pPr algn="ctr"/>
            <a:endParaRPr lang="en-US" sz="1071"/>
          </a:p>
        </p:txBody>
      </p:sp>
      <p:grpSp>
        <p:nvGrpSpPr>
          <p:cNvPr id="102" name="Grupper 1"/>
          <p:cNvGrpSpPr/>
          <p:nvPr/>
        </p:nvGrpSpPr>
        <p:grpSpPr>
          <a:xfrm>
            <a:off x="2279799" y="3191701"/>
            <a:ext cx="2465788" cy="1137498"/>
            <a:chOff x="486506" y="2246348"/>
            <a:chExt cx="2175012" cy="1003359"/>
          </a:xfrm>
        </p:grpSpPr>
        <p:sp>
          <p:nvSpPr>
            <p:cNvPr id="103" name="Rectangle 102"/>
            <p:cNvSpPr/>
            <p:nvPr/>
          </p:nvSpPr>
          <p:spPr bwMode="auto">
            <a:xfrm>
              <a:off x="1262612" y="2246348"/>
              <a:ext cx="73778" cy="73911"/>
            </a:xfrm>
            <a:prstGeom prst="rect">
              <a:avLst/>
            </a:prstGeom>
            <a:solidFill>
              <a:schemeClr val="tx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defRPr/>
              </a:pPr>
              <a:endParaRPr lang="da-DK" sz="1071"/>
            </a:p>
          </p:txBody>
        </p:sp>
        <p:sp>
          <p:nvSpPr>
            <p:cNvPr id="104" name="Rectangle 103"/>
            <p:cNvSpPr/>
            <p:nvPr/>
          </p:nvSpPr>
          <p:spPr bwMode="auto">
            <a:xfrm>
              <a:off x="1300937" y="2490888"/>
              <a:ext cx="73778" cy="74896"/>
            </a:xfrm>
            <a:prstGeom prst="rect">
              <a:avLst/>
            </a:prstGeom>
            <a:solidFill>
              <a:srgbClr val="FFBB1E"/>
            </a:solidFill>
            <a:ln w="3175">
              <a:solidFill>
                <a:srgbClr val="FFBB1E"/>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defRPr/>
              </a:pPr>
              <a:endParaRPr lang="da-DK" sz="1071"/>
            </a:p>
          </p:txBody>
        </p:sp>
        <p:sp>
          <p:nvSpPr>
            <p:cNvPr id="105" name="Oval 104"/>
            <p:cNvSpPr/>
            <p:nvPr/>
          </p:nvSpPr>
          <p:spPr bwMode="auto">
            <a:xfrm>
              <a:off x="1417833" y="2733315"/>
              <a:ext cx="73778" cy="73911"/>
            </a:xfrm>
            <a:prstGeom prst="ellipse">
              <a:avLst/>
            </a:prstGeom>
            <a:solidFill>
              <a:srgbClr val="FFBB1E"/>
            </a:solidFill>
            <a:ln w="3175">
              <a:solidFill>
                <a:srgbClr val="FFBB1E"/>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defRPr/>
              </a:pPr>
              <a:endParaRPr lang="da-DK" sz="1071"/>
            </a:p>
          </p:txBody>
        </p:sp>
        <p:sp>
          <p:nvSpPr>
            <p:cNvPr id="106" name="Oval 105"/>
            <p:cNvSpPr/>
            <p:nvPr/>
          </p:nvSpPr>
          <p:spPr bwMode="auto">
            <a:xfrm>
              <a:off x="1417833" y="2854529"/>
              <a:ext cx="73778" cy="73911"/>
            </a:xfrm>
            <a:prstGeom prst="ellipse">
              <a:avLst/>
            </a:prstGeom>
            <a:solidFill>
              <a:srgbClr val="FFBB1E"/>
            </a:solidFill>
            <a:ln w="3175">
              <a:solidFill>
                <a:srgbClr val="FFBB1E"/>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defRPr/>
              </a:pPr>
              <a:endParaRPr lang="da-DK" sz="1071"/>
            </a:p>
          </p:txBody>
        </p:sp>
        <p:sp>
          <p:nvSpPr>
            <p:cNvPr id="107" name="Oval 106"/>
            <p:cNvSpPr/>
            <p:nvPr/>
          </p:nvSpPr>
          <p:spPr bwMode="auto">
            <a:xfrm>
              <a:off x="1417833" y="2975743"/>
              <a:ext cx="73778" cy="73911"/>
            </a:xfrm>
            <a:prstGeom prst="ellipse">
              <a:avLst/>
            </a:prstGeom>
            <a:solidFill>
              <a:srgbClr val="FFBB1E"/>
            </a:solidFill>
            <a:ln w="3175">
              <a:solidFill>
                <a:srgbClr val="FFBB1E"/>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defRPr/>
              </a:pPr>
              <a:endParaRPr lang="da-DK" sz="1071"/>
            </a:p>
          </p:txBody>
        </p:sp>
        <p:sp>
          <p:nvSpPr>
            <p:cNvPr id="108" name="Rectangle 107"/>
            <p:cNvSpPr/>
            <p:nvPr/>
          </p:nvSpPr>
          <p:spPr bwMode="auto">
            <a:xfrm>
              <a:off x="1616171" y="2490888"/>
              <a:ext cx="72820" cy="74896"/>
            </a:xfrm>
            <a:prstGeom prst="rect">
              <a:avLst/>
            </a:prstGeom>
            <a:solidFill>
              <a:srgbClr val="595959"/>
            </a:solidFill>
            <a:ln w="3175">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defRPr/>
              </a:pPr>
              <a:endParaRPr lang="da-DK" sz="1071"/>
            </a:p>
          </p:txBody>
        </p:sp>
        <p:sp>
          <p:nvSpPr>
            <p:cNvPr id="109" name="Oval 108"/>
            <p:cNvSpPr/>
            <p:nvPr/>
          </p:nvSpPr>
          <p:spPr bwMode="auto">
            <a:xfrm>
              <a:off x="1732107" y="2733315"/>
              <a:ext cx="73778" cy="73911"/>
            </a:xfrm>
            <a:prstGeom prst="ellipse">
              <a:avLst/>
            </a:prstGeom>
            <a:solidFill>
              <a:srgbClr val="595959"/>
            </a:solidFill>
            <a:ln w="3175">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defRPr/>
              </a:pPr>
              <a:endParaRPr lang="da-DK" sz="1071"/>
            </a:p>
          </p:txBody>
        </p:sp>
        <p:sp>
          <p:nvSpPr>
            <p:cNvPr id="110" name="Oval 109"/>
            <p:cNvSpPr/>
            <p:nvPr/>
          </p:nvSpPr>
          <p:spPr bwMode="auto">
            <a:xfrm>
              <a:off x="1732107" y="2854529"/>
              <a:ext cx="73778" cy="73911"/>
            </a:xfrm>
            <a:prstGeom prst="ellipse">
              <a:avLst/>
            </a:prstGeom>
            <a:solidFill>
              <a:srgbClr val="595959"/>
            </a:solidFill>
            <a:ln w="3175">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defRPr/>
              </a:pPr>
              <a:endParaRPr lang="da-DK" sz="1071"/>
            </a:p>
          </p:txBody>
        </p:sp>
        <p:sp>
          <p:nvSpPr>
            <p:cNvPr id="111" name="Oval 110"/>
            <p:cNvSpPr/>
            <p:nvPr/>
          </p:nvSpPr>
          <p:spPr bwMode="auto">
            <a:xfrm>
              <a:off x="1732107" y="2975743"/>
              <a:ext cx="73778" cy="73911"/>
            </a:xfrm>
            <a:prstGeom prst="ellipse">
              <a:avLst/>
            </a:prstGeom>
            <a:solidFill>
              <a:srgbClr val="595959"/>
            </a:solidFill>
            <a:ln w="3175">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defRPr/>
              </a:pPr>
              <a:endParaRPr lang="da-DK" sz="1071"/>
            </a:p>
          </p:txBody>
        </p:sp>
        <p:sp>
          <p:nvSpPr>
            <p:cNvPr id="112" name="Oval 111"/>
            <p:cNvSpPr/>
            <p:nvPr/>
          </p:nvSpPr>
          <p:spPr bwMode="auto">
            <a:xfrm>
              <a:off x="486506" y="2690942"/>
              <a:ext cx="73778" cy="73911"/>
            </a:xfrm>
            <a:prstGeom prst="ellipse">
              <a:avLst/>
            </a:prstGeom>
            <a:solidFill>
              <a:srgbClr val="75829A"/>
            </a:solidFill>
            <a:ln w="3175">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defRPr/>
              </a:pPr>
              <a:endParaRPr lang="da-DK" sz="1071"/>
            </a:p>
          </p:txBody>
        </p:sp>
        <p:sp>
          <p:nvSpPr>
            <p:cNvPr id="113" name="Oval 112"/>
            <p:cNvSpPr/>
            <p:nvPr/>
          </p:nvSpPr>
          <p:spPr bwMode="auto">
            <a:xfrm>
              <a:off x="641727" y="2690942"/>
              <a:ext cx="73778" cy="73911"/>
            </a:xfrm>
            <a:prstGeom prst="ellipse">
              <a:avLst/>
            </a:prstGeom>
            <a:solidFill>
              <a:srgbClr val="75829A"/>
            </a:solidFill>
            <a:ln w="3175">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defRPr/>
              </a:pPr>
              <a:endParaRPr lang="da-DK" sz="1071"/>
            </a:p>
          </p:txBody>
        </p:sp>
        <p:sp>
          <p:nvSpPr>
            <p:cNvPr id="114" name="Oval 113"/>
            <p:cNvSpPr/>
            <p:nvPr/>
          </p:nvSpPr>
          <p:spPr bwMode="auto">
            <a:xfrm>
              <a:off x="564117" y="2810182"/>
              <a:ext cx="73779" cy="74896"/>
            </a:xfrm>
            <a:prstGeom prst="ellipse">
              <a:avLst/>
            </a:prstGeom>
            <a:solidFill>
              <a:srgbClr val="75829A"/>
            </a:solidFill>
            <a:ln w="3175">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defRPr/>
              </a:pPr>
              <a:endParaRPr lang="da-DK" sz="1071"/>
            </a:p>
          </p:txBody>
        </p:sp>
        <p:sp>
          <p:nvSpPr>
            <p:cNvPr id="115" name="Oval 114"/>
            <p:cNvSpPr/>
            <p:nvPr/>
          </p:nvSpPr>
          <p:spPr bwMode="auto">
            <a:xfrm>
              <a:off x="719336" y="2810182"/>
              <a:ext cx="73779" cy="74896"/>
            </a:xfrm>
            <a:prstGeom prst="ellipse">
              <a:avLst/>
            </a:prstGeom>
            <a:solidFill>
              <a:srgbClr val="75829A"/>
            </a:solidFill>
            <a:ln w="3175">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defRPr/>
              </a:pPr>
              <a:endParaRPr lang="da-DK" sz="1071"/>
            </a:p>
          </p:txBody>
        </p:sp>
        <p:sp>
          <p:nvSpPr>
            <p:cNvPr id="116" name="Oval 115"/>
            <p:cNvSpPr/>
            <p:nvPr/>
          </p:nvSpPr>
          <p:spPr bwMode="auto">
            <a:xfrm>
              <a:off x="952169" y="2690942"/>
              <a:ext cx="73778" cy="73911"/>
            </a:xfrm>
            <a:prstGeom prst="ellipse">
              <a:avLst/>
            </a:prstGeom>
            <a:solidFill>
              <a:srgbClr val="75829A"/>
            </a:solidFill>
            <a:ln w="3175">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defRPr/>
              </a:pPr>
              <a:endParaRPr lang="da-DK" sz="1071"/>
            </a:p>
          </p:txBody>
        </p:sp>
        <p:sp>
          <p:nvSpPr>
            <p:cNvPr id="117" name="Oval 116"/>
            <p:cNvSpPr/>
            <p:nvPr/>
          </p:nvSpPr>
          <p:spPr bwMode="auto">
            <a:xfrm>
              <a:off x="1072896" y="2812154"/>
              <a:ext cx="72820" cy="73911"/>
            </a:xfrm>
            <a:prstGeom prst="ellipse">
              <a:avLst/>
            </a:prstGeom>
            <a:solidFill>
              <a:srgbClr val="75829A"/>
            </a:solidFill>
            <a:ln w="3175">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defRPr/>
              </a:pPr>
              <a:endParaRPr lang="da-DK" sz="1071"/>
            </a:p>
          </p:txBody>
        </p:sp>
        <p:sp>
          <p:nvSpPr>
            <p:cNvPr id="118" name="Oval 117"/>
            <p:cNvSpPr/>
            <p:nvPr/>
          </p:nvSpPr>
          <p:spPr bwMode="auto">
            <a:xfrm>
              <a:off x="1072896" y="2933368"/>
              <a:ext cx="72820" cy="73911"/>
            </a:xfrm>
            <a:prstGeom prst="ellipse">
              <a:avLst/>
            </a:prstGeom>
            <a:solidFill>
              <a:srgbClr val="75829A"/>
            </a:solidFill>
            <a:ln w="3175">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defRPr/>
              </a:pPr>
              <a:endParaRPr lang="da-DK" sz="1071"/>
            </a:p>
          </p:txBody>
        </p:sp>
        <p:sp>
          <p:nvSpPr>
            <p:cNvPr id="119" name="Oval 118"/>
            <p:cNvSpPr/>
            <p:nvPr/>
          </p:nvSpPr>
          <p:spPr bwMode="auto">
            <a:xfrm>
              <a:off x="1072896" y="3054582"/>
              <a:ext cx="72820" cy="73911"/>
            </a:xfrm>
            <a:prstGeom prst="ellipse">
              <a:avLst/>
            </a:prstGeom>
            <a:solidFill>
              <a:srgbClr val="75829A"/>
            </a:solidFill>
            <a:ln w="3175">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defRPr/>
              </a:pPr>
              <a:endParaRPr lang="da-DK" sz="1071"/>
            </a:p>
          </p:txBody>
        </p:sp>
        <p:sp>
          <p:nvSpPr>
            <p:cNvPr id="120" name="Oval 119"/>
            <p:cNvSpPr/>
            <p:nvPr/>
          </p:nvSpPr>
          <p:spPr bwMode="auto">
            <a:xfrm>
              <a:off x="1072896" y="3175796"/>
              <a:ext cx="72820" cy="73911"/>
            </a:xfrm>
            <a:prstGeom prst="ellipse">
              <a:avLst/>
            </a:prstGeom>
            <a:solidFill>
              <a:srgbClr val="75829A"/>
            </a:solidFill>
            <a:ln w="3175">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defRPr/>
              </a:pPr>
              <a:endParaRPr lang="da-DK" sz="1071"/>
            </a:p>
          </p:txBody>
        </p:sp>
        <p:sp>
          <p:nvSpPr>
            <p:cNvPr id="121" name="Rectangle 120"/>
            <p:cNvSpPr/>
            <p:nvPr/>
          </p:nvSpPr>
          <p:spPr bwMode="auto">
            <a:xfrm>
              <a:off x="757663" y="2490888"/>
              <a:ext cx="73779" cy="74896"/>
            </a:xfrm>
            <a:prstGeom prst="rect">
              <a:avLst/>
            </a:prstGeom>
            <a:solidFill>
              <a:srgbClr val="75829A"/>
            </a:solidFill>
            <a:ln w="3175">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defRPr/>
              </a:pPr>
              <a:endParaRPr lang="da-DK" sz="1071"/>
            </a:p>
          </p:txBody>
        </p:sp>
        <p:sp>
          <p:nvSpPr>
            <p:cNvPr id="122" name="Oval 121"/>
            <p:cNvSpPr/>
            <p:nvPr/>
          </p:nvSpPr>
          <p:spPr bwMode="auto">
            <a:xfrm>
              <a:off x="2467971" y="2690942"/>
              <a:ext cx="72820" cy="73911"/>
            </a:xfrm>
            <a:prstGeom prst="ellipse">
              <a:avLst/>
            </a:prstGeom>
            <a:solidFill>
              <a:schemeClr val="bg1"/>
            </a:solidFill>
            <a:ln w="3175">
              <a:solidFill>
                <a:schemeClr val="tx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defRPr/>
              </a:pPr>
              <a:endParaRPr lang="da-DK" sz="1071"/>
            </a:p>
          </p:txBody>
        </p:sp>
        <p:sp>
          <p:nvSpPr>
            <p:cNvPr id="123" name="Oval 122"/>
            <p:cNvSpPr/>
            <p:nvPr/>
          </p:nvSpPr>
          <p:spPr bwMode="auto">
            <a:xfrm>
              <a:off x="2587739" y="2812154"/>
              <a:ext cx="73779" cy="73911"/>
            </a:xfrm>
            <a:prstGeom prst="ellipse">
              <a:avLst/>
            </a:prstGeom>
            <a:solidFill>
              <a:schemeClr val="bg1"/>
            </a:solidFill>
            <a:ln w="3175">
              <a:solidFill>
                <a:schemeClr val="tx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defRPr/>
              </a:pPr>
              <a:endParaRPr lang="da-DK" sz="1071"/>
            </a:p>
          </p:txBody>
        </p:sp>
        <p:sp>
          <p:nvSpPr>
            <p:cNvPr id="124" name="Oval 123"/>
            <p:cNvSpPr/>
            <p:nvPr/>
          </p:nvSpPr>
          <p:spPr bwMode="auto">
            <a:xfrm>
              <a:off x="2587739" y="2933368"/>
              <a:ext cx="73779" cy="73911"/>
            </a:xfrm>
            <a:prstGeom prst="ellipse">
              <a:avLst/>
            </a:prstGeom>
            <a:solidFill>
              <a:schemeClr val="bg1"/>
            </a:solidFill>
            <a:ln w="3175">
              <a:solidFill>
                <a:schemeClr val="tx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defRPr/>
              </a:pPr>
              <a:endParaRPr lang="da-DK" sz="1071"/>
            </a:p>
          </p:txBody>
        </p:sp>
        <p:sp>
          <p:nvSpPr>
            <p:cNvPr id="125" name="Oval 124"/>
            <p:cNvSpPr/>
            <p:nvPr/>
          </p:nvSpPr>
          <p:spPr bwMode="auto">
            <a:xfrm>
              <a:off x="2587739" y="3054582"/>
              <a:ext cx="73779" cy="73911"/>
            </a:xfrm>
            <a:prstGeom prst="ellipse">
              <a:avLst/>
            </a:prstGeom>
            <a:solidFill>
              <a:schemeClr val="bg1"/>
            </a:solidFill>
            <a:ln w="3175">
              <a:solidFill>
                <a:schemeClr val="tx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defRPr/>
              </a:pPr>
              <a:endParaRPr lang="da-DK" sz="1071"/>
            </a:p>
          </p:txBody>
        </p:sp>
        <p:sp>
          <p:nvSpPr>
            <p:cNvPr id="126" name="Oval 125"/>
            <p:cNvSpPr/>
            <p:nvPr/>
          </p:nvSpPr>
          <p:spPr bwMode="auto">
            <a:xfrm>
              <a:off x="2587739" y="3175796"/>
              <a:ext cx="73779" cy="73911"/>
            </a:xfrm>
            <a:prstGeom prst="ellipse">
              <a:avLst/>
            </a:prstGeom>
            <a:solidFill>
              <a:schemeClr val="bg1"/>
            </a:solidFill>
            <a:ln w="3175">
              <a:solidFill>
                <a:schemeClr val="tx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defRPr/>
              </a:pPr>
              <a:endParaRPr lang="da-DK" sz="1071"/>
            </a:p>
          </p:txBody>
        </p:sp>
        <p:sp>
          <p:nvSpPr>
            <p:cNvPr id="127" name="Rectangle 126"/>
            <p:cNvSpPr/>
            <p:nvPr/>
          </p:nvSpPr>
          <p:spPr bwMode="auto">
            <a:xfrm>
              <a:off x="2273464" y="2490888"/>
              <a:ext cx="73779" cy="74896"/>
            </a:xfrm>
            <a:prstGeom prst="rect">
              <a:avLst/>
            </a:prstGeom>
            <a:solidFill>
              <a:schemeClr val="bg1"/>
            </a:solidFill>
            <a:ln w="3175">
              <a:solidFill>
                <a:schemeClr val="tx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defRPr/>
              </a:pPr>
              <a:endParaRPr lang="da-DK" sz="1071"/>
            </a:p>
          </p:txBody>
        </p:sp>
        <p:sp>
          <p:nvSpPr>
            <p:cNvPr id="128" name="Oval 127"/>
            <p:cNvSpPr/>
            <p:nvPr/>
          </p:nvSpPr>
          <p:spPr bwMode="auto">
            <a:xfrm>
              <a:off x="2079917" y="2690942"/>
              <a:ext cx="72820" cy="73911"/>
            </a:xfrm>
            <a:prstGeom prst="ellipse">
              <a:avLst/>
            </a:prstGeom>
            <a:solidFill>
              <a:schemeClr val="bg1"/>
            </a:solidFill>
            <a:ln w="3175">
              <a:solidFill>
                <a:schemeClr val="tx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defRPr/>
              </a:pPr>
              <a:endParaRPr lang="da-DK" sz="1071"/>
            </a:p>
          </p:txBody>
        </p:sp>
        <p:sp>
          <p:nvSpPr>
            <p:cNvPr id="129" name="Oval 128"/>
            <p:cNvSpPr/>
            <p:nvPr/>
          </p:nvSpPr>
          <p:spPr bwMode="auto">
            <a:xfrm>
              <a:off x="2199688" y="2812154"/>
              <a:ext cx="73778" cy="73911"/>
            </a:xfrm>
            <a:prstGeom prst="ellipse">
              <a:avLst/>
            </a:prstGeom>
            <a:solidFill>
              <a:schemeClr val="bg1"/>
            </a:solidFill>
            <a:ln w="3175">
              <a:solidFill>
                <a:schemeClr val="tx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defRPr/>
              </a:pPr>
              <a:endParaRPr lang="da-DK" sz="1071"/>
            </a:p>
          </p:txBody>
        </p:sp>
        <p:sp>
          <p:nvSpPr>
            <p:cNvPr id="130" name="Oval 129"/>
            <p:cNvSpPr/>
            <p:nvPr/>
          </p:nvSpPr>
          <p:spPr bwMode="auto">
            <a:xfrm>
              <a:off x="2199688" y="2933368"/>
              <a:ext cx="73778" cy="73911"/>
            </a:xfrm>
            <a:prstGeom prst="ellipse">
              <a:avLst/>
            </a:prstGeom>
            <a:solidFill>
              <a:schemeClr val="bg1"/>
            </a:solidFill>
            <a:ln w="3175">
              <a:solidFill>
                <a:schemeClr val="tx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defRPr/>
              </a:pPr>
              <a:endParaRPr lang="da-DK" sz="1071"/>
            </a:p>
          </p:txBody>
        </p:sp>
        <p:sp>
          <p:nvSpPr>
            <p:cNvPr id="131" name="Oval 130"/>
            <p:cNvSpPr/>
            <p:nvPr/>
          </p:nvSpPr>
          <p:spPr bwMode="auto">
            <a:xfrm>
              <a:off x="2199688" y="3054582"/>
              <a:ext cx="73778" cy="73911"/>
            </a:xfrm>
            <a:prstGeom prst="ellipse">
              <a:avLst/>
            </a:prstGeom>
            <a:solidFill>
              <a:schemeClr val="bg1"/>
            </a:solidFill>
            <a:ln w="3175">
              <a:solidFill>
                <a:schemeClr val="tx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defRPr/>
              </a:pPr>
              <a:endParaRPr lang="da-DK" sz="1071"/>
            </a:p>
          </p:txBody>
        </p:sp>
        <p:sp>
          <p:nvSpPr>
            <p:cNvPr id="132" name="Oval 131"/>
            <p:cNvSpPr/>
            <p:nvPr/>
          </p:nvSpPr>
          <p:spPr bwMode="auto">
            <a:xfrm>
              <a:off x="2199688" y="3175796"/>
              <a:ext cx="73778" cy="73911"/>
            </a:xfrm>
            <a:prstGeom prst="ellipse">
              <a:avLst/>
            </a:prstGeom>
            <a:solidFill>
              <a:schemeClr val="bg1"/>
            </a:solidFill>
            <a:ln w="3175">
              <a:solidFill>
                <a:schemeClr val="tx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a-DK"/>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defRPr/>
              </a:pPr>
              <a:endParaRPr lang="da-DK" sz="1071"/>
            </a:p>
          </p:txBody>
        </p:sp>
        <p:cxnSp>
          <p:nvCxnSpPr>
            <p:cNvPr id="133" name="Elbow Connector 294"/>
            <p:cNvCxnSpPr>
              <a:endCxn id="122" idx="0"/>
            </p:cNvCxnSpPr>
            <p:nvPr/>
          </p:nvCxnSpPr>
          <p:spPr bwMode="auto">
            <a:xfrm rot="16200000" flipH="1">
              <a:off x="2344550" y="2531109"/>
              <a:ext cx="125156" cy="194506"/>
            </a:xfrm>
            <a:prstGeom prst="bentConnector3">
              <a:avLst>
                <a:gd name="adj1" fmla="val 50000"/>
              </a:avLst>
            </a:prstGeom>
            <a:ln w="6350" cmpd="sng">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34" name="Elbow Connector 295"/>
            <p:cNvCxnSpPr>
              <a:stCxn id="122" idx="4"/>
              <a:endCxn id="123" idx="2"/>
            </p:cNvCxnSpPr>
            <p:nvPr/>
          </p:nvCxnSpPr>
          <p:spPr bwMode="auto">
            <a:xfrm rot="16200000" flipH="1">
              <a:off x="2504177" y="2765054"/>
              <a:ext cx="83765" cy="83360"/>
            </a:xfrm>
            <a:prstGeom prst="bentConnector2">
              <a:avLst/>
            </a:prstGeom>
            <a:ln w="6350" cmpd="sng">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35" name="Elbow Connector 296"/>
            <p:cNvCxnSpPr>
              <a:stCxn id="122" idx="4"/>
              <a:endCxn id="124" idx="2"/>
            </p:cNvCxnSpPr>
            <p:nvPr/>
          </p:nvCxnSpPr>
          <p:spPr bwMode="auto">
            <a:xfrm rot="16200000" flipH="1">
              <a:off x="2443570" y="2825661"/>
              <a:ext cx="204979" cy="83360"/>
            </a:xfrm>
            <a:prstGeom prst="bentConnector2">
              <a:avLst/>
            </a:prstGeom>
            <a:ln w="6350" cmpd="sng">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36" name="Elbow Connector 297"/>
            <p:cNvCxnSpPr>
              <a:stCxn id="122" idx="4"/>
              <a:endCxn id="125" idx="2"/>
            </p:cNvCxnSpPr>
            <p:nvPr/>
          </p:nvCxnSpPr>
          <p:spPr bwMode="auto">
            <a:xfrm rot="16200000" flipH="1">
              <a:off x="2382963" y="2886269"/>
              <a:ext cx="326193" cy="83360"/>
            </a:xfrm>
            <a:prstGeom prst="bentConnector2">
              <a:avLst/>
            </a:prstGeom>
            <a:ln w="6350" cmpd="sng">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37" name="Elbow Connector 298"/>
            <p:cNvCxnSpPr>
              <a:stCxn id="122" idx="4"/>
              <a:endCxn id="126" idx="2"/>
            </p:cNvCxnSpPr>
            <p:nvPr/>
          </p:nvCxnSpPr>
          <p:spPr bwMode="auto">
            <a:xfrm rot="16200000" flipH="1">
              <a:off x="2322356" y="2946875"/>
              <a:ext cx="447407" cy="83360"/>
            </a:xfrm>
            <a:prstGeom prst="bentConnector2">
              <a:avLst/>
            </a:prstGeom>
            <a:ln w="6350" cmpd="sng">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38" name="Elbow Connector 299"/>
            <p:cNvCxnSpPr>
              <a:endCxn id="128" idx="0"/>
            </p:cNvCxnSpPr>
            <p:nvPr/>
          </p:nvCxnSpPr>
          <p:spPr bwMode="auto">
            <a:xfrm rot="5400000">
              <a:off x="2150522" y="2531588"/>
              <a:ext cx="125156" cy="193547"/>
            </a:xfrm>
            <a:prstGeom prst="bentConnector3">
              <a:avLst>
                <a:gd name="adj1" fmla="val 50000"/>
              </a:avLst>
            </a:prstGeom>
            <a:ln w="6350" cmpd="sng">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39" name="Elbow Connector 300"/>
            <p:cNvCxnSpPr>
              <a:stCxn id="128" idx="4"/>
              <a:endCxn id="129" idx="2"/>
            </p:cNvCxnSpPr>
            <p:nvPr/>
          </p:nvCxnSpPr>
          <p:spPr bwMode="auto">
            <a:xfrm rot="16200000" flipH="1">
              <a:off x="2116124" y="2765052"/>
              <a:ext cx="83765" cy="83360"/>
            </a:xfrm>
            <a:prstGeom prst="bentConnector2">
              <a:avLst/>
            </a:prstGeom>
            <a:ln w="6350" cmpd="sng">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40" name="Elbow Connector 301"/>
            <p:cNvCxnSpPr>
              <a:stCxn id="128" idx="4"/>
              <a:endCxn id="130" idx="2"/>
            </p:cNvCxnSpPr>
            <p:nvPr/>
          </p:nvCxnSpPr>
          <p:spPr bwMode="auto">
            <a:xfrm rot="16200000" flipH="1">
              <a:off x="2055518" y="2825661"/>
              <a:ext cx="204979" cy="83360"/>
            </a:xfrm>
            <a:prstGeom prst="bentConnector2">
              <a:avLst/>
            </a:prstGeom>
            <a:ln w="6350" cmpd="sng">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41" name="Elbow Connector 302"/>
            <p:cNvCxnSpPr>
              <a:stCxn id="128" idx="4"/>
              <a:endCxn id="131" idx="2"/>
            </p:cNvCxnSpPr>
            <p:nvPr/>
          </p:nvCxnSpPr>
          <p:spPr bwMode="auto">
            <a:xfrm rot="16200000" flipH="1">
              <a:off x="1994911" y="2886267"/>
              <a:ext cx="326193" cy="83360"/>
            </a:xfrm>
            <a:prstGeom prst="bentConnector2">
              <a:avLst/>
            </a:prstGeom>
            <a:ln w="6350" cmpd="sng">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42" name="Elbow Connector 303"/>
            <p:cNvCxnSpPr>
              <a:stCxn id="128" idx="4"/>
              <a:endCxn id="132" idx="2"/>
            </p:cNvCxnSpPr>
            <p:nvPr/>
          </p:nvCxnSpPr>
          <p:spPr bwMode="auto">
            <a:xfrm rot="16200000" flipH="1">
              <a:off x="1934304" y="2946875"/>
              <a:ext cx="447407" cy="83360"/>
            </a:xfrm>
            <a:prstGeom prst="bentConnector2">
              <a:avLst/>
            </a:prstGeom>
            <a:ln w="6350" cmpd="sng">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grpSp>
          <p:nvGrpSpPr>
            <p:cNvPr id="143" name="Grupper 125"/>
            <p:cNvGrpSpPr/>
            <p:nvPr/>
          </p:nvGrpSpPr>
          <p:grpSpPr>
            <a:xfrm>
              <a:off x="522915" y="2325313"/>
              <a:ext cx="1786961" cy="886926"/>
              <a:chOff x="514541" y="2359693"/>
              <a:chExt cx="2132661" cy="1058517"/>
            </a:xfrm>
          </p:grpSpPr>
          <p:cxnSp>
            <p:nvCxnSpPr>
              <p:cNvPr id="144" name="Elbow Connector 305"/>
              <p:cNvCxnSpPr>
                <a:endCxn id="112" idx="0"/>
              </p:cNvCxnSpPr>
              <p:nvPr/>
            </p:nvCxnSpPr>
            <p:spPr bwMode="auto">
              <a:xfrm rot="5400000">
                <a:off x="602236" y="2558974"/>
                <a:ext cx="149369" cy="324759"/>
              </a:xfrm>
              <a:prstGeom prst="bentConnector3">
                <a:avLst>
                  <a:gd name="adj1" fmla="val 50000"/>
                </a:avLst>
              </a:prstGeom>
              <a:ln w="6350" cmpd="sng">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45" name="Elbow Connector 306"/>
              <p:cNvCxnSpPr>
                <a:endCxn id="116" idx="0"/>
              </p:cNvCxnSpPr>
              <p:nvPr/>
            </p:nvCxnSpPr>
            <p:spPr bwMode="auto">
              <a:xfrm rot="16200000" flipH="1">
                <a:off x="880112" y="2605858"/>
                <a:ext cx="149369" cy="230991"/>
              </a:xfrm>
              <a:prstGeom prst="bentConnector3">
                <a:avLst>
                  <a:gd name="adj1" fmla="val 50000"/>
                </a:avLst>
              </a:prstGeom>
              <a:ln w="6350" cmpd="sng">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46" name="Elbow Connector 307"/>
              <p:cNvCxnSpPr>
                <a:stCxn id="113" idx="4"/>
                <a:endCxn id="115" idx="2"/>
              </p:cNvCxnSpPr>
              <p:nvPr/>
            </p:nvCxnSpPr>
            <p:spPr bwMode="auto">
              <a:xfrm rot="16200000" flipH="1">
                <a:off x="674979" y="2909058"/>
                <a:ext cx="98795" cy="49171"/>
              </a:xfrm>
              <a:prstGeom prst="bentConnector2">
                <a:avLst/>
              </a:prstGeom>
              <a:ln w="6350" cmpd="sng">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47" name="Elbow Connector 308"/>
              <p:cNvCxnSpPr>
                <a:stCxn id="112" idx="4"/>
                <a:endCxn id="114" idx="2"/>
              </p:cNvCxnSpPr>
              <p:nvPr/>
            </p:nvCxnSpPr>
            <p:spPr bwMode="auto">
              <a:xfrm rot="16200000" flipH="1">
                <a:off x="489730" y="2909058"/>
                <a:ext cx="98795" cy="49171"/>
              </a:xfrm>
              <a:prstGeom prst="bentConnector2">
                <a:avLst/>
              </a:prstGeom>
              <a:ln w="6350" cmpd="sng">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48" name="Elbow Connector 309"/>
              <p:cNvCxnSpPr>
                <a:stCxn id="116" idx="4"/>
                <a:endCxn id="117" idx="2"/>
              </p:cNvCxnSpPr>
              <p:nvPr/>
            </p:nvCxnSpPr>
            <p:spPr bwMode="auto">
              <a:xfrm rot="16200000" flipH="1">
                <a:off x="1070620" y="2883917"/>
                <a:ext cx="99971" cy="100629"/>
              </a:xfrm>
              <a:prstGeom prst="bentConnector2">
                <a:avLst/>
              </a:prstGeom>
              <a:ln w="6350" cmpd="sng">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49" name="Elbow Connector 310"/>
              <p:cNvCxnSpPr>
                <a:stCxn id="116" idx="4"/>
                <a:endCxn id="118" idx="2"/>
              </p:cNvCxnSpPr>
              <p:nvPr/>
            </p:nvCxnSpPr>
            <p:spPr bwMode="auto">
              <a:xfrm rot="16200000" flipH="1">
                <a:off x="998289" y="2956249"/>
                <a:ext cx="244634" cy="100629"/>
              </a:xfrm>
              <a:prstGeom prst="bentConnector2">
                <a:avLst/>
              </a:prstGeom>
              <a:ln w="6350" cmpd="sng">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50" name="Elbow Connector 311"/>
              <p:cNvCxnSpPr>
                <a:stCxn id="116" idx="4"/>
                <a:endCxn id="119" idx="2"/>
              </p:cNvCxnSpPr>
              <p:nvPr/>
            </p:nvCxnSpPr>
            <p:spPr bwMode="auto">
              <a:xfrm rot="16200000" flipH="1">
                <a:off x="925957" y="3028582"/>
                <a:ext cx="389299" cy="100629"/>
              </a:xfrm>
              <a:prstGeom prst="bentConnector2">
                <a:avLst/>
              </a:prstGeom>
              <a:ln w="6350" cmpd="sng">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51" name="Elbow Connector 312"/>
              <p:cNvCxnSpPr>
                <a:stCxn id="116" idx="4"/>
                <a:endCxn id="120" idx="2"/>
              </p:cNvCxnSpPr>
              <p:nvPr/>
            </p:nvCxnSpPr>
            <p:spPr bwMode="auto">
              <a:xfrm rot="16200000" flipH="1">
                <a:off x="853625" y="3100914"/>
                <a:ext cx="533962" cy="100629"/>
              </a:xfrm>
              <a:prstGeom prst="bentConnector2">
                <a:avLst/>
              </a:prstGeom>
              <a:ln w="6350" cmpd="sng">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52" name="Shape 176"/>
              <p:cNvCxnSpPr>
                <a:endCxn id="105" idx="2"/>
              </p:cNvCxnSpPr>
              <p:nvPr/>
            </p:nvCxnSpPr>
            <p:spPr bwMode="auto">
              <a:xfrm rot="16200000" flipH="1">
                <a:off x="1412813" y="2721530"/>
                <a:ext cx="244634" cy="94913"/>
              </a:xfrm>
              <a:prstGeom prst="bentConnector2">
                <a:avLst/>
              </a:prstGeom>
              <a:ln w="6350" cmpd="sng">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53" name="Shape 177"/>
              <p:cNvCxnSpPr>
                <a:endCxn id="106" idx="2"/>
              </p:cNvCxnSpPr>
              <p:nvPr/>
            </p:nvCxnSpPr>
            <p:spPr bwMode="auto">
              <a:xfrm rot="16200000" flipH="1">
                <a:off x="1340481" y="2793862"/>
                <a:ext cx="389299" cy="94913"/>
              </a:xfrm>
              <a:prstGeom prst="bentConnector2">
                <a:avLst/>
              </a:prstGeom>
              <a:ln w="6350" cmpd="sng">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54" name="Shape 178"/>
              <p:cNvCxnSpPr>
                <a:endCxn id="107" idx="2"/>
              </p:cNvCxnSpPr>
              <p:nvPr/>
            </p:nvCxnSpPr>
            <p:spPr bwMode="auto">
              <a:xfrm rot="16200000" flipH="1">
                <a:off x="1268151" y="2866193"/>
                <a:ext cx="533962" cy="94913"/>
              </a:xfrm>
              <a:prstGeom prst="bentConnector2">
                <a:avLst/>
              </a:prstGeom>
              <a:ln w="6350" cmpd="sng">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55" name="Shape 180"/>
              <p:cNvCxnSpPr>
                <a:endCxn id="109" idx="2"/>
              </p:cNvCxnSpPr>
              <p:nvPr/>
            </p:nvCxnSpPr>
            <p:spPr bwMode="auto">
              <a:xfrm rot="16200000" flipH="1">
                <a:off x="1787889" y="2721530"/>
                <a:ext cx="244634" cy="94913"/>
              </a:xfrm>
              <a:prstGeom prst="bentConnector2">
                <a:avLst/>
              </a:prstGeom>
              <a:ln w="6350" cmpd="sng">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56" name="Shape 182"/>
              <p:cNvCxnSpPr>
                <a:endCxn id="110" idx="2"/>
              </p:cNvCxnSpPr>
              <p:nvPr/>
            </p:nvCxnSpPr>
            <p:spPr bwMode="auto">
              <a:xfrm rot="16200000" flipH="1">
                <a:off x="1715557" y="2793862"/>
                <a:ext cx="389299" cy="94913"/>
              </a:xfrm>
              <a:prstGeom prst="bentConnector2">
                <a:avLst/>
              </a:prstGeom>
              <a:ln w="6350" cmpd="sng">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57" name="Shape 184"/>
              <p:cNvCxnSpPr>
                <a:endCxn id="111" idx="2"/>
              </p:cNvCxnSpPr>
              <p:nvPr/>
            </p:nvCxnSpPr>
            <p:spPr bwMode="auto">
              <a:xfrm rot="16200000" flipH="1">
                <a:off x="1643225" y="2866193"/>
                <a:ext cx="533962" cy="94913"/>
              </a:xfrm>
              <a:prstGeom prst="bentConnector2">
                <a:avLst/>
              </a:prstGeom>
              <a:ln w="6350" cmpd="sng">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58" name="Shape 194"/>
              <p:cNvCxnSpPr/>
              <p:nvPr/>
            </p:nvCxnSpPr>
            <p:spPr bwMode="auto">
              <a:xfrm rot="16200000" flipH="1">
                <a:off x="1365438" y="2435046"/>
                <a:ext cx="197590" cy="46884"/>
              </a:xfrm>
              <a:prstGeom prst="bentConnector3">
                <a:avLst>
                  <a:gd name="adj1" fmla="val 50000"/>
                </a:avLst>
              </a:prstGeom>
              <a:ln w="6350" cmpd="sng">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59" name="Shape 194"/>
              <p:cNvCxnSpPr/>
              <p:nvPr/>
            </p:nvCxnSpPr>
            <p:spPr bwMode="auto">
              <a:xfrm rot="16200000" flipH="1">
                <a:off x="1552976" y="2247509"/>
                <a:ext cx="197590" cy="421958"/>
              </a:xfrm>
              <a:prstGeom prst="bentConnector3">
                <a:avLst>
                  <a:gd name="adj1" fmla="val 50000"/>
                </a:avLst>
              </a:prstGeom>
              <a:ln w="6350" cmpd="sng">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60" name="Shape 194"/>
              <p:cNvCxnSpPr/>
              <p:nvPr/>
            </p:nvCxnSpPr>
            <p:spPr bwMode="auto">
              <a:xfrm rot="5400000">
                <a:off x="1041251" y="2157742"/>
                <a:ext cx="197590" cy="601491"/>
              </a:xfrm>
              <a:prstGeom prst="bentConnector3">
                <a:avLst>
                  <a:gd name="adj1" fmla="val 50000"/>
                </a:avLst>
              </a:prstGeom>
              <a:ln w="6350" cmpd="sng">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61" name="Shape 194"/>
              <p:cNvCxnSpPr/>
              <p:nvPr/>
            </p:nvCxnSpPr>
            <p:spPr bwMode="auto">
              <a:xfrm rot="16200000" flipH="1">
                <a:off x="1945202" y="1855283"/>
                <a:ext cx="197590" cy="1206411"/>
              </a:xfrm>
              <a:prstGeom prst="bentConnector3">
                <a:avLst>
                  <a:gd name="adj1" fmla="val 50000"/>
                </a:avLst>
              </a:prstGeom>
              <a:ln w="6350" cmpd="sng">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62" name="Elbow Connector 323"/>
              <p:cNvCxnSpPr>
                <a:stCxn id="121" idx="2"/>
                <a:endCxn id="113" idx="0"/>
              </p:cNvCxnSpPr>
              <p:nvPr/>
            </p:nvCxnSpPr>
            <p:spPr bwMode="auto">
              <a:xfrm rot="5400000">
                <a:off x="694862" y="2651599"/>
                <a:ext cx="149369" cy="139509"/>
              </a:xfrm>
              <a:prstGeom prst="bentConnector3">
                <a:avLst>
                  <a:gd name="adj1" fmla="val 50000"/>
                </a:avLst>
              </a:prstGeom>
              <a:ln w="6350" cmpd="sng">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grpSp>
      </p:grpSp>
      <p:sp>
        <p:nvSpPr>
          <p:cNvPr id="163" name="Tekstfelt 170"/>
          <p:cNvSpPr txBox="1"/>
          <p:nvPr/>
        </p:nvSpPr>
        <p:spPr>
          <a:xfrm>
            <a:off x="1969426" y="1909754"/>
            <a:ext cx="2994102" cy="318286"/>
          </a:xfrm>
          <a:prstGeom prst="rect">
            <a:avLst/>
          </a:prstGeom>
          <a:noFill/>
        </p:spPr>
        <p:txBody>
          <a:bodyPr wrap="square" rtlCol="0">
            <a:spAutoFit/>
          </a:bodyPr>
          <a:lstStyle>
            <a:defPPr>
              <a:defRPr lang="da-DK"/>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428" dirty="0">
                <a:cs typeface="Calibri Light"/>
              </a:rPr>
              <a:t>THE CLASSIC ORGANIZATION</a:t>
            </a:r>
          </a:p>
        </p:txBody>
      </p:sp>
      <p:sp>
        <p:nvSpPr>
          <p:cNvPr id="164" name="Højrepil 178"/>
          <p:cNvSpPr/>
          <p:nvPr/>
        </p:nvSpPr>
        <p:spPr>
          <a:xfrm>
            <a:off x="4967585" y="3217577"/>
            <a:ext cx="571814" cy="560243"/>
          </a:xfrm>
          <a:prstGeom prst="rightArrow">
            <a:avLst/>
          </a:prstGeom>
          <a:solidFill>
            <a:schemeClr val="bg2"/>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rtlCol="0" anchor="ctr"/>
          <a:lstStyle>
            <a:defPPr>
              <a:defRPr lang="da-DK"/>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US" sz="1836">
              <a:solidFill>
                <a:schemeClr val="tx2">
                  <a:lumMod val="40000"/>
                  <a:lumOff val="60000"/>
                </a:schemeClr>
              </a:solidFill>
            </a:endParaRPr>
          </a:p>
        </p:txBody>
      </p:sp>
      <p:cxnSp>
        <p:nvCxnSpPr>
          <p:cNvPr id="165" name="Lige pilforbindelse 48"/>
          <p:cNvCxnSpPr/>
          <p:nvPr/>
        </p:nvCxnSpPr>
        <p:spPr>
          <a:xfrm flipH="1">
            <a:off x="7616941" y="2717985"/>
            <a:ext cx="292482" cy="707483"/>
          </a:xfrm>
          <a:prstGeom prst="straightConnector1">
            <a:avLst/>
          </a:prstGeom>
          <a:ln>
            <a:headEnd type="none"/>
            <a:tailEnd type="triangle"/>
          </a:ln>
        </p:spPr>
        <p:style>
          <a:lnRef idx="1">
            <a:schemeClr val="dk1"/>
          </a:lnRef>
          <a:fillRef idx="0">
            <a:schemeClr val="dk1"/>
          </a:fillRef>
          <a:effectRef idx="0">
            <a:schemeClr val="dk1"/>
          </a:effectRef>
          <a:fontRef idx="minor">
            <a:schemeClr val="tx1"/>
          </a:fontRef>
        </p:style>
      </p:cxnSp>
      <p:cxnSp>
        <p:nvCxnSpPr>
          <p:cNvPr id="166" name="Lige forbindelse 47"/>
          <p:cNvCxnSpPr/>
          <p:nvPr/>
        </p:nvCxnSpPr>
        <p:spPr>
          <a:xfrm flipV="1">
            <a:off x="7004688" y="2713317"/>
            <a:ext cx="915453" cy="4667"/>
          </a:xfrm>
          <a:prstGeom prst="line">
            <a:avLst/>
          </a:prstGeom>
        </p:spPr>
        <p:style>
          <a:lnRef idx="1">
            <a:schemeClr val="dk1"/>
          </a:lnRef>
          <a:fillRef idx="0">
            <a:schemeClr val="dk1"/>
          </a:fillRef>
          <a:effectRef idx="0">
            <a:schemeClr val="dk1"/>
          </a:effectRef>
          <a:fontRef idx="minor">
            <a:schemeClr val="tx1"/>
          </a:fontRef>
        </p:style>
      </p:cxnSp>
      <p:sp>
        <p:nvSpPr>
          <p:cNvPr id="167" name="Tekstfelt 56"/>
          <p:cNvSpPr txBox="1"/>
          <p:nvPr/>
        </p:nvSpPr>
        <p:spPr>
          <a:xfrm>
            <a:off x="6453932" y="2522307"/>
            <a:ext cx="1460986" cy="222217"/>
          </a:xfrm>
          <a:prstGeom prst="rect">
            <a:avLst/>
          </a:prstGeom>
          <a:noFill/>
        </p:spPr>
        <p:txBody>
          <a:bodyPr wrap="square" rtlCol="0">
            <a:spAutoFit/>
          </a:bodyPr>
          <a:lstStyle/>
          <a:p>
            <a:pPr algn="r"/>
            <a:r>
              <a:rPr lang="en-US" sz="816" dirty="0">
                <a:cs typeface="Calibri Light"/>
              </a:rPr>
              <a:t>KEY INFLUENCER</a:t>
            </a:r>
          </a:p>
        </p:txBody>
      </p:sp>
      <p:sp>
        <p:nvSpPr>
          <p:cNvPr id="168" name="Title 167"/>
          <p:cNvSpPr>
            <a:spLocks noGrp="1"/>
          </p:cNvSpPr>
          <p:nvPr>
            <p:ph type="title"/>
          </p:nvPr>
        </p:nvSpPr>
        <p:spPr/>
        <p:txBody>
          <a:bodyPr/>
          <a:lstStyle/>
          <a:p>
            <a:r>
              <a:rPr lang="en-US" dirty="0"/>
              <a:t>We need an </a:t>
            </a:r>
            <a:r>
              <a:rPr lang="en-US" dirty="0">
                <a:latin typeface="Carlsberg Sans Bold" panose="020B0804020202020204" pitchFamily="34" charset="0"/>
              </a:rPr>
              <a:t>adaptive approach</a:t>
            </a:r>
          </a:p>
        </p:txBody>
      </p:sp>
      <p:grpSp>
        <p:nvGrpSpPr>
          <p:cNvPr id="169" name="Group 168"/>
          <p:cNvGrpSpPr/>
          <p:nvPr/>
        </p:nvGrpSpPr>
        <p:grpSpPr>
          <a:xfrm>
            <a:off x="11359142" y="6581805"/>
            <a:ext cx="804355" cy="98450"/>
            <a:chOff x="4502" y="350838"/>
            <a:chExt cx="9144001" cy="1119188"/>
          </a:xfrm>
          <a:solidFill>
            <a:srgbClr val="E9EAEB"/>
          </a:solidFill>
        </p:grpSpPr>
        <p:sp>
          <p:nvSpPr>
            <p:cNvPr id="170" name="Rectangle 5"/>
            <p:cNvSpPr>
              <a:spLocks noChangeArrowheads="1"/>
            </p:cNvSpPr>
            <p:nvPr/>
          </p:nvSpPr>
          <p:spPr bwMode="auto">
            <a:xfrm>
              <a:off x="4502" y="373063"/>
              <a:ext cx="284163" cy="107156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da-DK" sz="1836"/>
            </a:p>
          </p:txBody>
        </p:sp>
        <p:sp>
          <p:nvSpPr>
            <p:cNvPr id="171" name="Freeform 6"/>
            <p:cNvSpPr>
              <a:spLocks/>
            </p:cNvSpPr>
            <p:nvPr/>
          </p:nvSpPr>
          <p:spPr bwMode="auto">
            <a:xfrm>
              <a:off x="576002" y="350838"/>
              <a:ext cx="974725" cy="1093788"/>
            </a:xfrm>
            <a:custGeom>
              <a:avLst/>
              <a:gdLst>
                <a:gd name="T0" fmla="*/ 353 w 353"/>
                <a:gd name="T1" fmla="*/ 396 h 396"/>
                <a:gd name="T2" fmla="*/ 250 w 353"/>
                <a:gd name="T3" fmla="*/ 396 h 396"/>
                <a:gd name="T4" fmla="*/ 250 w 353"/>
                <a:gd name="T5" fmla="*/ 198 h 396"/>
                <a:gd name="T6" fmla="*/ 244 w 353"/>
                <a:gd name="T7" fmla="*/ 117 h 396"/>
                <a:gd name="T8" fmla="*/ 222 w 353"/>
                <a:gd name="T9" fmla="*/ 88 h 396"/>
                <a:gd name="T10" fmla="*/ 187 w 353"/>
                <a:gd name="T11" fmla="*/ 78 h 396"/>
                <a:gd name="T12" fmla="*/ 139 w 353"/>
                <a:gd name="T13" fmla="*/ 93 h 396"/>
                <a:gd name="T14" fmla="*/ 110 w 353"/>
                <a:gd name="T15" fmla="*/ 131 h 396"/>
                <a:gd name="T16" fmla="*/ 102 w 353"/>
                <a:gd name="T17" fmla="*/ 220 h 396"/>
                <a:gd name="T18" fmla="*/ 102 w 353"/>
                <a:gd name="T19" fmla="*/ 396 h 396"/>
                <a:gd name="T20" fmla="*/ 0 w 353"/>
                <a:gd name="T21" fmla="*/ 396 h 396"/>
                <a:gd name="T22" fmla="*/ 0 w 353"/>
                <a:gd name="T23" fmla="*/ 8 h 396"/>
                <a:gd name="T24" fmla="*/ 95 w 353"/>
                <a:gd name="T25" fmla="*/ 8 h 396"/>
                <a:gd name="T26" fmla="*/ 95 w 353"/>
                <a:gd name="T27" fmla="*/ 65 h 396"/>
                <a:gd name="T28" fmla="*/ 222 w 353"/>
                <a:gd name="T29" fmla="*/ 0 h 396"/>
                <a:gd name="T30" fmla="*/ 284 w 353"/>
                <a:gd name="T31" fmla="*/ 12 h 396"/>
                <a:gd name="T32" fmla="*/ 327 w 353"/>
                <a:gd name="T33" fmla="*/ 43 h 396"/>
                <a:gd name="T34" fmla="*/ 347 w 353"/>
                <a:gd name="T35" fmla="*/ 86 h 396"/>
                <a:gd name="T36" fmla="*/ 353 w 353"/>
                <a:gd name="T37" fmla="*/ 155 h 396"/>
                <a:gd name="T38" fmla="*/ 353 w 353"/>
                <a:gd name="T39" fmla="*/ 396 h 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53" h="396">
                  <a:moveTo>
                    <a:pt x="353" y="396"/>
                  </a:moveTo>
                  <a:cubicBezTo>
                    <a:pt x="250" y="396"/>
                    <a:pt x="250" y="396"/>
                    <a:pt x="250" y="396"/>
                  </a:cubicBezTo>
                  <a:cubicBezTo>
                    <a:pt x="250" y="198"/>
                    <a:pt x="250" y="198"/>
                    <a:pt x="250" y="198"/>
                  </a:cubicBezTo>
                  <a:cubicBezTo>
                    <a:pt x="250" y="156"/>
                    <a:pt x="248" y="129"/>
                    <a:pt x="244" y="117"/>
                  </a:cubicBezTo>
                  <a:cubicBezTo>
                    <a:pt x="239" y="105"/>
                    <a:pt x="232" y="95"/>
                    <a:pt x="222" y="88"/>
                  </a:cubicBezTo>
                  <a:cubicBezTo>
                    <a:pt x="212" y="81"/>
                    <a:pt x="201" y="78"/>
                    <a:pt x="187" y="78"/>
                  </a:cubicBezTo>
                  <a:cubicBezTo>
                    <a:pt x="169" y="78"/>
                    <a:pt x="153" y="83"/>
                    <a:pt x="139" y="93"/>
                  </a:cubicBezTo>
                  <a:cubicBezTo>
                    <a:pt x="125" y="102"/>
                    <a:pt x="115" y="115"/>
                    <a:pt x="110" y="131"/>
                  </a:cubicBezTo>
                  <a:cubicBezTo>
                    <a:pt x="105" y="147"/>
                    <a:pt x="102" y="177"/>
                    <a:pt x="102" y="220"/>
                  </a:cubicBezTo>
                  <a:cubicBezTo>
                    <a:pt x="102" y="396"/>
                    <a:pt x="102" y="396"/>
                    <a:pt x="102" y="396"/>
                  </a:cubicBezTo>
                  <a:cubicBezTo>
                    <a:pt x="0" y="396"/>
                    <a:pt x="0" y="396"/>
                    <a:pt x="0" y="396"/>
                  </a:cubicBezTo>
                  <a:cubicBezTo>
                    <a:pt x="0" y="8"/>
                    <a:pt x="0" y="8"/>
                    <a:pt x="0" y="8"/>
                  </a:cubicBezTo>
                  <a:cubicBezTo>
                    <a:pt x="95" y="8"/>
                    <a:pt x="95" y="8"/>
                    <a:pt x="95" y="8"/>
                  </a:cubicBezTo>
                  <a:cubicBezTo>
                    <a:pt x="95" y="65"/>
                    <a:pt x="95" y="65"/>
                    <a:pt x="95" y="65"/>
                  </a:cubicBezTo>
                  <a:cubicBezTo>
                    <a:pt x="129" y="22"/>
                    <a:pt x="171" y="0"/>
                    <a:pt x="222" y="0"/>
                  </a:cubicBezTo>
                  <a:cubicBezTo>
                    <a:pt x="245" y="0"/>
                    <a:pt x="266" y="4"/>
                    <a:pt x="284" y="12"/>
                  </a:cubicBezTo>
                  <a:cubicBezTo>
                    <a:pt x="303" y="20"/>
                    <a:pt x="317" y="30"/>
                    <a:pt x="327" y="43"/>
                  </a:cubicBezTo>
                  <a:cubicBezTo>
                    <a:pt x="337" y="56"/>
                    <a:pt x="343" y="70"/>
                    <a:pt x="347" y="86"/>
                  </a:cubicBezTo>
                  <a:cubicBezTo>
                    <a:pt x="351" y="102"/>
                    <a:pt x="353" y="125"/>
                    <a:pt x="353" y="155"/>
                  </a:cubicBezTo>
                  <a:lnTo>
                    <a:pt x="353" y="39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da-DK" sz="1836"/>
            </a:p>
          </p:txBody>
        </p:sp>
        <p:sp>
          <p:nvSpPr>
            <p:cNvPr id="172" name="Freeform 7"/>
            <p:cNvSpPr>
              <a:spLocks/>
            </p:cNvSpPr>
            <p:nvPr/>
          </p:nvSpPr>
          <p:spPr bwMode="auto">
            <a:xfrm>
              <a:off x="1831715" y="350838"/>
              <a:ext cx="974725" cy="1093788"/>
            </a:xfrm>
            <a:custGeom>
              <a:avLst/>
              <a:gdLst>
                <a:gd name="T0" fmla="*/ 353 w 353"/>
                <a:gd name="T1" fmla="*/ 396 h 396"/>
                <a:gd name="T2" fmla="*/ 251 w 353"/>
                <a:gd name="T3" fmla="*/ 396 h 396"/>
                <a:gd name="T4" fmla="*/ 251 w 353"/>
                <a:gd name="T5" fmla="*/ 198 h 396"/>
                <a:gd name="T6" fmla="*/ 244 w 353"/>
                <a:gd name="T7" fmla="*/ 117 h 396"/>
                <a:gd name="T8" fmla="*/ 223 w 353"/>
                <a:gd name="T9" fmla="*/ 88 h 396"/>
                <a:gd name="T10" fmla="*/ 187 w 353"/>
                <a:gd name="T11" fmla="*/ 78 h 396"/>
                <a:gd name="T12" fmla="*/ 139 w 353"/>
                <a:gd name="T13" fmla="*/ 93 h 396"/>
                <a:gd name="T14" fmla="*/ 110 w 353"/>
                <a:gd name="T15" fmla="*/ 131 h 396"/>
                <a:gd name="T16" fmla="*/ 103 w 353"/>
                <a:gd name="T17" fmla="*/ 220 h 396"/>
                <a:gd name="T18" fmla="*/ 103 w 353"/>
                <a:gd name="T19" fmla="*/ 396 h 396"/>
                <a:gd name="T20" fmla="*/ 0 w 353"/>
                <a:gd name="T21" fmla="*/ 396 h 396"/>
                <a:gd name="T22" fmla="*/ 0 w 353"/>
                <a:gd name="T23" fmla="*/ 8 h 396"/>
                <a:gd name="T24" fmla="*/ 95 w 353"/>
                <a:gd name="T25" fmla="*/ 8 h 396"/>
                <a:gd name="T26" fmla="*/ 95 w 353"/>
                <a:gd name="T27" fmla="*/ 65 h 396"/>
                <a:gd name="T28" fmla="*/ 223 w 353"/>
                <a:gd name="T29" fmla="*/ 0 h 396"/>
                <a:gd name="T30" fmla="*/ 285 w 353"/>
                <a:gd name="T31" fmla="*/ 12 h 396"/>
                <a:gd name="T32" fmla="*/ 328 w 353"/>
                <a:gd name="T33" fmla="*/ 43 h 396"/>
                <a:gd name="T34" fmla="*/ 348 w 353"/>
                <a:gd name="T35" fmla="*/ 86 h 396"/>
                <a:gd name="T36" fmla="*/ 353 w 353"/>
                <a:gd name="T37" fmla="*/ 155 h 396"/>
                <a:gd name="T38" fmla="*/ 353 w 353"/>
                <a:gd name="T39" fmla="*/ 396 h 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53" h="396">
                  <a:moveTo>
                    <a:pt x="353" y="396"/>
                  </a:moveTo>
                  <a:cubicBezTo>
                    <a:pt x="251" y="396"/>
                    <a:pt x="251" y="396"/>
                    <a:pt x="251" y="396"/>
                  </a:cubicBezTo>
                  <a:cubicBezTo>
                    <a:pt x="251" y="198"/>
                    <a:pt x="251" y="198"/>
                    <a:pt x="251" y="198"/>
                  </a:cubicBezTo>
                  <a:cubicBezTo>
                    <a:pt x="251" y="156"/>
                    <a:pt x="249" y="129"/>
                    <a:pt x="244" y="117"/>
                  </a:cubicBezTo>
                  <a:cubicBezTo>
                    <a:pt x="240" y="105"/>
                    <a:pt x="233" y="95"/>
                    <a:pt x="223" y="88"/>
                  </a:cubicBezTo>
                  <a:cubicBezTo>
                    <a:pt x="213" y="81"/>
                    <a:pt x="201" y="78"/>
                    <a:pt x="187" y="78"/>
                  </a:cubicBezTo>
                  <a:cubicBezTo>
                    <a:pt x="170" y="78"/>
                    <a:pt x="154" y="83"/>
                    <a:pt x="139" y="93"/>
                  </a:cubicBezTo>
                  <a:cubicBezTo>
                    <a:pt x="125" y="102"/>
                    <a:pt x="116" y="115"/>
                    <a:pt x="110" y="131"/>
                  </a:cubicBezTo>
                  <a:cubicBezTo>
                    <a:pt x="105" y="147"/>
                    <a:pt x="103" y="177"/>
                    <a:pt x="103" y="220"/>
                  </a:cubicBezTo>
                  <a:cubicBezTo>
                    <a:pt x="103" y="396"/>
                    <a:pt x="103" y="396"/>
                    <a:pt x="103" y="396"/>
                  </a:cubicBezTo>
                  <a:cubicBezTo>
                    <a:pt x="0" y="396"/>
                    <a:pt x="0" y="396"/>
                    <a:pt x="0" y="396"/>
                  </a:cubicBezTo>
                  <a:cubicBezTo>
                    <a:pt x="0" y="8"/>
                    <a:pt x="0" y="8"/>
                    <a:pt x="0" y="8"/>
                  </a:cubicBezTo>
                  <a:cubicBezTo>
                    <a:pt x="95" y="8"/>
                    <a:pt x="95" y="8"/>
                    <a:pt x="95" y="8"/>
                  </a:cubicBezTo>
                  <a:cubicBezTo>
                    <a:pt x="95" y="65"/>
                    <a:pt x="95" y="65"/>
                    <a:pt x="95" y="65"/>
                  </a:cubicBezTo>
                  <a:cubicBezTo>
                    <a:pt x="129" y="22"/>
                    <a:pt x="172" y="0"/>
                    <a:pt x="223" y="0"/>
                  </a:cubicBezTo>
                  <a:cubicBezTo>
                    <a:pt x="246" y="0"/>
                    <a:pt x="266" y="4"/>
                    <a:pt x="285" y="12"/>
                  </a:cubicBezTo>
                  <a:cubicBezTo>
                    <a:pt x="304" y="20"/>
                    <a:pt x="318" y="30"/>
                    <a:pt x="328" y="43"/>
                  </a:cubicBezTo>
                  <a:cubicBezTo>
                    <a:pt x="337" y="56"/>
                    <a:pt x="344" y="70"/>
                    <a:pt x="348" y="86"/>
                  </a:cubicBezTo>
                  <a:cubicBezTo>
                    <a:pt x="351" y="102"/>
                    <a:pt x="353" y="125"/>
                    <a:pt x="353" y="155"/>
                  </a:cubicBezTo>
                  <a:lnTo>
                    <a:pt x="353" y="39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da-DK" sz="1836"/>
            </a:p>
          </p:txBody>
        </p:sp>
        <p:sp>
          <p:nvSpPr>
            <p:cNvPr id="173" name="Freeform 8"/>
            <p:cNvSpPr>
              <a:spLocks noEditPoints="1"/>
            </p:cNvSpPr>
            <p:nvPr/>
          </p:nvSpPr>
          <p:spPr bwMode="auto">
            <a:xfrm>
              <a:off x="3023927" y="350838"/>
              <a:ext cx="1104900" cy="1119188"/>
            </a:xfrm>
            <a:custGeom>
              <a:avLst/>
              <a:gdLst>
                <a:gd name="T0" fmla="*/ 0 w 400"/>
                <a:gd name="T1" fmla="*/ 197 h 405"/>
                <a:gd name="T2" fmla="*/ 25 w 400"/>
                <a:gd name="T3" fmla="*/ 98 h 405"/>
                <a:gd name="T4" fmla="*/ 96 w 400"/>
                <a:gd name="T5" fmla="*/ 25 h 405"/>
                <a:gd name="T6" fmla="*/ 199 w 400"/>
                <a:gd name="T7" fmla="*/ 0 h 405"/>
                <a:gd name="T8" fmla="*/ 343 w 400"/>
                <a:gd name="T9" fmla="*/ 57 h 405"/>
                <a:gd name="T10" fmla="*/ 400 w 400"/>
                <a:gd name="T11" fmla="*/ 201 h 405"/>
                <a:gd name="T12" fmla="*/ 343 w 400"/>
                <a:gd name="T13" fmla="*/ 347 h 405"/>
                <a:gd name="T14" fmla="*/ 200 w 400"/>
                <a:gd name="T15" fmla="*/ 405 h 405"/>
                <a:gd name="T16" fmla="*/ 98 w 400"/>
                <a:gd name="T17" fmla="*/ 380 h 405"/>
                <a:gd name="T18" fmla="*/ 25 w 400"/>
                <a:gd name="T19" fmla="*/ 310 h 405"/>
                <a:gd name="T20" fmla="*/ 0 w 400"/>
                <a:gd name="T21" fmla="*/ 197 h 405"/>
                <a:gd name="T22" fmla="*/ 105 w 400"/>
                <a:gd name="T23" fmla="*/ 202 h 405"/>
                <a:gd name="T24" fmla="*/ 132 w 400"/>
                <a:gd name="T25" fmla="*/ 290 h 405"/>
                <a:gd name="T26" fmla="*/ 200 w 400"/>
                <a:gd name="T27" fmla="*/ 321 h 405"/>
                <a:gd name="T28" fmla="*/ 267 w 400"/>
                <a:gd name="T29" fmla="*/ 290 h 405"/>
                <a:gd name="T30" fmla="*/ 294 w 400"/>
                <a:gd name="T31" fmla="*/ 201 h 405"/>
                <a:gd name="T32" fmla="*/ 267 w 400"/>
                <a:gd name="T33" fmla="*/ 114 h 405"/>
                <a:gd name="T34" fmla="*/ 200 w 400"/>
                <a:gd name="T35" fmla="*/ 83 h 405"/>
                <a:gd name="T36" fmla="*/ 132 w 400"/>
                <a:gd name="T37" fmla="*/ 114 h 405"/>
                <a:gd name="T38" fmla="*/ 105 w 400"/>
                <a:gd name="T39" fmla="*/ 202 h 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00" h="405">
                  <a:moveTo>
                    <a:pt x="0" y="197"/>
                  </a:moveTo>
                  <a:cubicBezTo>
                    <a:pt x="0" y="163"/>
                    <a:pt x="8" y="130"/>
                    <a:pt x="25" y="98"/>
                  </a:cubicBezTo>
                  <a:cubicBezTo>
                    <a:pt x="42" y="66"/>
                    <a:pt x="65" y="42"/>
                    <a:pt x="96" y="25"/>
                  </a:cubicBezTo>
                  <a:cubicBezTo>
                    <a:pt x="127" y="8"/>
                    <a:pt x="161" y="0"/>
                    <a:pt x="199" y="0"/>
                  </a:cubicBezTo>
                  <a:cubicBezTo>
                    <a:pt x="258" y="0"/>
                    <a:pt x="306" y="19"/>
                    <a:pt x="343" y="57"/>
                  </a:cubicBezTo>
                  <a:cubicBezTo>
                    <a:pt x="381" y="95"/>
                    <a:pt x="400" y="143"/>
                    <a:pt x="400" y="201"/>
                  </a:cubicBezTo>
                  <a:cubicBezTo>
                    <a:pt x="400" y="260"/>
                    <a:pt x="381" y="308"/>
                    <a:pt x="343" y="347"/>
                  </a:cubicBezTo>
                  <a:cubicBezTo>
                    <a:pt x="305" y="385"/>
                    <a:pt x="257" y="405"/>
                    <a:pt x="200" y="405"/>
                  </a:cubicBezTo>
                  <a:cubicBezTo>
                    <a:pt x="165" y="405"/>
                    <a:pt x="131" y="397"/>
                    <a:pt x="98" y="380"/>
                  </a:cubicBezTo>
                  <a:cubicBezTo>
                    <a:pt x="66" y="364"/>
                    <a:pt x="42" y="341"/>
                    <a:pt x="25" y="310"/>
                  </a:cubicBezTo>
                  <a:cubicBezTo>
                    <a:pt x="8" y="279"/>
                    <a:pt x="0" y="241"/>
                    <a:pt x="0" y="197"/>
                  </a:cubicBezTo>
                  <a:close/>
                  <a:moveTo>
                    <a:pt x="105" y="202"/>
                  </a:moveTo>
                  <a:cubicBezTo>
                    <a:pt x="105" y="241"/>
                    <a:pt x="114" y="270"/>
                    <a:pt x="132" y="290"/>
                  </a:cubicBezTo>
                  <a:cubicBezTo>
                    <a:pt x="150" y="311"/>
                    <a:pt x="173" y="321"/>
                    <a:pt x="200" y="321"/>
                  </a:cubicBezTo>
                  <a:cubicBezTo>
                    <a:pt x="226" y="321"/>
                    <a:pt x="249" y="311"/>
                    <a:pt x="267" y="290"/>
                  </a:cubicBezTo>
                  <a:cubicBezTo>
                    <a:pt x="285" y="270"/>
                    <a:pt x="294" y="240"/>
                    <a:pt x="294" y="201"/>
                  </a:cubicBezTo>
                  <a:cubicBezTo>
                    <a:pt x="294" y="163"/>
                    <a:pt x="285" y="134"/>
                    <a:pt x="267" y="114"/>
                  </a:cubicBezTo>
                  <a:cubicBezTo>
                    <a:pt x="249" y="93"/>
                    <a:pt x="226" y="83"/>
                    <a:pt x="200" y="83"/>
                  </a:cubicBezTo>
                  <a:cubicBezTo>
                    <a:pt x="173" y="83"/>
                    <a:pt x="150" y="93"/>
                    <a:pt x="132" y="114"/>
                  </a:cubicBezTo>
                  <a:cubicBezTo>
                    <a:pt x="114" y="134"/>
                    <a:pt x="105" y="164"/>
                    <a:pt x="105" y="20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da-DK" sz="1836"/>
            </a:p>
          </p:txBody>
        </p:sp>
        <p:sp>
          <p:nvSpPr>
            <p:cNvPr id="174" name="Freeform 9"/>
            <p:cNvSpPr>
              <a:spLocks/>
            </p:cNvSpPr>
            <p:nvPr/>
          </p:nvSpPr>
          <p:spPr bwMode="auto">
            <a:xfrm>
              <a:off x="4208202" y="373063"/>
              <a:ext cx="1112838" cy="1071563"/>
            </a:xfrm>
            <a:custGeom>
              <a:avLst/>
              <a:gdLst>
                <a:gd name="T0" fmla="*/ 157 w 403"/>
                <a:gd name="T1" fmla="*/ 388 h 388"/>
                <a:gd name="T2" fmla="*/ 0 w 403"/>
                <a:gd name="T3" fmla="*/ 0 h 388"/>
                <a:gd name="T4" fmla="*/ 108 w 403"/>
                <a:gd name="T5" fmla="*/ 0 h 388"/>
                <a:gd name="T6" fmla="*/ 181 w 403"/>
                <a:gd name="T7" fmla="*/ 198 h 388"/>
                <a:gd name="T8" fmla="*/ 202 w 403"/>
                <a:gd name="T9" fmla="*/ 264 h 388"/>
                <a:gd name="T10" fmla="*/ 213 w 403"/>
                <a:gd name="T11" fmla="*/ 231 h 388"/>
                <a:gd name="T12" fmla="*/ 224 w 403"/>
                <a:gd name="T13" fmla="*/ 198 h 388"/>
                <a:gd name="T14" fmla="*/ 297 w 403"/>
                <a:gd name="T15" fmla="*/ 0 h 388"/>
                <a:gd name="T16" fmla="*/ 403 w 403"/>
                <a:gd name="T17" fmla="*/ 0 h 388"/>
                <a:gd name="T18" fmla="*/ 249 w 403"/>
                <a:gd name="T19" fmla="*/ 388 h 388"/>
                <a:gd name="T20" fmla="*/ 157 w 403"/>
                <a:gd name="T21" fmla="*/ 388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3" h="388">
                  <a:moveTo>
                    <a:pt x="157" y="388"/>
                  </a:moveTo>
                  <a:cubicBezTo>
                    <a:pt x="0" y="0"/>
                    <a:pt x="0" y="0"/>
                    <a:pt x="0" y="0"/>
                  </a:cubicBezTo>
                  <a:cubicBezTo>
                    <a:pt x="108" y="0"/>
                    <a:pt x="108" y="0"/>
                    <a:pt x="108" y="0"/>
                  </a:cubicBezTo>
                  <a:cubicBezTo>
                    <a:pt x="181" y="198"/>
                    <a:pt x="181" y="198"/>
                    <a:pt x="181" y="198"/>
                  </a:cubicBezTo>
                  <a:cubicBezTo>
                    <a:pt x="202" y="264"/>
                    <a:pt x="202" y="264"/>
                    <a:pt x="202" y="264"/>
                  </a:cubicBezTo>
                  <a:cubicBezTo>
                    <a:pt x="208" y="247"/>
                    <a:pt x="211" y="236"/>
                    <a:pt x="213" y="231"/>
                  </a:cubicBezTo>
                  <a:cubicBezTo>
                    <a:pt x="216" y="220"/>
                    <a:pt x="220" y="209"/>
                    <a:pt x="224" y="198"/>
                  </a:cubicBezTo>
                  <a:cubicBezTo>
                    <a:pt x="297" y="0"/>
                    <a:pt x="297" y="0"/>
                    <a:pt x="297" y="0"/>
                  </a:cubicBezTo>
                  <a:cubicBezTo>
                    <a:pt x="403" y="0"/>
                    <a:pt x="403" y="0"/>
                    <a:pt x="403" y="0"/>
                  </a:cubicBezTo>
                  <a:cubicBezTo>
                    <a:pt x="249" y="388"/>
                    <a:pt x="249" y="388"/>
                    <a:pt x="249" y="388"/>
                  </a:cubicBezTo>
                  <a:lnTo>
                    <a:pt x="157" y="38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da-DK" sz="1836"/>
            </a:p>
          </p:txBody>
        </p:sp>
        <p:sp>
          <p:nvSpPr>
            <p:cNvPr id="175" name="Rectangle 10"/>
            <p:cNvSpPr>
              <a:spLocks noChangeArrowheads="1"/>
            </p:cNvSpPr>
            <p:nvPr/>
          </p:nvSpPr>
          <p:spPr bwMode="auto">
            <a:xfrm>
              <a:off x="5492490" y="373063"/>
              <a:ext cx="280988" cy="107156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da-DK" sz="1836"/>
            </a:p>
          </p:txBody>
        </p:sp>
        <p:sp>
          <p:nvSpPr>
            <p:cNvPr id="176" name="Freeform 11"/>
            <p:cNvSpPr>
              <a:spLocks/>
            </p:cNvSpPr>
            <p:nvPr/>
          </p:nvSpPr>
          <p:spPr bwMode="auto">
            <a:xfrm>
              <a:off x="5963977" y="350838"/>
              <a:ext cx="996950" cy="1119188"/>
            </a:xfrm>
            <a:custGeom>
              <a:avLst/>
              <a:gdLst>
                <a:gd name="T0" fmla="*/ 0 w 361"/>
                <a:gd name="T1" fmla="*/ 285 h 405"/>
                <a:gd name="T2" fmla="*/ 102 w 361"/>
                <a:gd name="T3" fmla="*/ 270 h 405"/>
                <a:gd name="T4" fmla="*/ 129 w 361"/>
                <a:gd name="T5" fmla="*/ 315 h 405"/>
                <a:gd name="T6" fmla="*/ 185 w 361"/>
                <a:gd name="T7" fmla="*/ 330 h 405"/>
                <a:gd name="T8" fmla="*/ 245 w 361"/>
                <a:gd name="T9" fmla="*/ 316 h 405"/>
                <a:gd name="T10" fmla="*/ 259 w 361"/>
                <a:gd name="T11" fmla="*/ 289 h 405"/>
                <a:gd name="T12" fmla="*/ 251 w 361"/>
                <a:gd name="T13" fmla="*/ 269 h 405"/>
                <a:gd name="T14" fmla="*/ 217 w 361"/>
                <a:gd name="T15" fmla="*/ 256 h 405"/>
                <a:gd name="T16" fmla="*/ 60 w 361"/>
                <a:gd name="T17" fmla="*/ 206 h 405"/>
                <a:gd name="T18" fmla="*/ 14 w 361"/>
                <a:gd name="T19" fmla="*/ 119 h 405"/>
                <a:gd name="T20" fmla="*/ 54 w 361"/>
                <a:gd name="T21" fmla="*/ 34 h 405"/>
                <a:gd name="T22" fmla="*/ 177 w 361"/>
                <a:gd name="T23" fmla="*/ 0 h 405"/>
                <a:gd name="T24" fmla="*/ 295 w 361"/>
                <a:gd name="T25" fmla="*/ 26 h 405"/>
                <a:gd name="T26" fmla="*/ 348 w 361"/>
                <a:gd name="T27" fmla="*/ 102 h 405"/>
                <a:gd name="T28" fmla="*/ 252 w 361"/>
                <a:gd name="T29" fmla="*/ 120 h 405"/>
                <a:gd name="T30" fmla="*/ 228 w 361"/>
                <a:gd name="T31" fmla="*/ 85 h 405"/>
                <a:gd name="T32" fmla="*/ 179 w 361"/>
                <a:gd name="T33" fmla="*/ 73 h 405"/>
                <a:gd name="T34" fmla="*/ 121 w 361"/>
                <a:gd name="T35" fmla="*/ 85 h 405"/>
                <a:gd name="T36" fmla="*/ 109 w 361"/>
                <a:gd name="T37" fmla="*/ 105 h 405"/>
                <a:gd name="T38" fmla="*/ 119 w 361"/>
                <a:gd name="T39" fmla="*/ 124 h 405"/>
                <a:gd name="T40" fmla="*/ 215 w 361"/>
                <a:gd name="T41" fmla="*/ 153 h 405"/>
                <a:gd name="T42" fmla="*/ 329 w 361"/>
                <a:gd name="T43" fmla="*/ 198 h 405"/>
                <a:gd name="T44" fmla="*/ 361 w 361"/>
                <a:gd name="T45" fmla="*/ 275 h 405"/>
                <a:gd name="T46" fmla="*/ 317 w 361"/>
                <a:gd name="T47" fmla="*/ 366 h 405"/>
                <a:gd name="T48" fmla="*/ 185 w 361"/>
                <a:gd name="T49" fmla="*/ 405 h 405"/>
                <a:gd name="T50" fmla="*/ 60 w 361"/>
                <a:gd name="T51" fmla="*/ 372 h 405"/>
                <a:gd name="T52" fmla="*/ 0 w 361"/>
                <a:gd name="T53" fmla="*/ 285 h 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61" h="405">
                  <a:moveTo>
                    <a:pt x="0" y="285"/>
                  </a:moveTo>
                  <a:cubicBezTo>
                    <a:pt x="102" y="270"/>
                    <a:pt x="102" y="270"/>
                    <a:pt x="102" y="270"/>
                  </a:cubicBezTo>
                  <a:cubicBezTo>
                    <a:pt x="107" y="290"/>
                    <a:pt x="116" y="305"/>
                    <a:pt x="129" y="315"/>
                  </a:cubicBezTo>
                  <a:cubicBezTo>
                    <a:pt x="142" y="325"/>
                    <a:pt x="161" y="330"/>
                    <a:pt x="185" y="330"/>
                  </a:cubicBezTo>
                  <a:cubicBezTo>
                    <a:pt x="212" y="330"/>
                    <a:pt x="232" y="326"/>
                    <a:pt x="245" y="316"/>
                  </a:cubicBezTo>
                  <a:cubicBezTo>
                    <a:pt x="254" y="309"/>
                    <a:pt x="259" y="300"/>
                    <a:pt x="259" y="289"/>
                  </a:cubicBezTo>
                  <a:cubicBezTo>
                    <a:pt x="259" y="281"/>
                    <a:pt x="256" y="274"/>
                    <a:pt x="251" y="269"/>
                  </a:cubicBezTo>
                  <a:cubicBezTo>
                    <a:pt x="246" y="264"/>
                    <a:pt x="235" y="260"/>
                    <a:pt x="217" y="256"/>
                  </a:cubicBezTo>
                  <a:cubicBezTo>
                    <a:pt x="134" y="237"/>
                    <a:pt x="82" y="221"/>
                    <a:pt x="60" y="206"/>
                  </a:cubicBezTo>
                  <a:cubicBezTo>
                    <a:pt x="29" y="185"/>
                    <a:pt x="14" y="156"/>
                    <a:pt x="14" y="119"/>
                  </a:cubicBezTo>
                  <a:cubicBezTo>
                    <a:pt x="14" y="85"/>
                    <a:pt x="27" y="57"/>
                    <a:pt x="54" y="34"/>
                  </a:cubicBezTo>
                  <a:cubicBezTo>
                    <a:pt x="80" y="11"/>
                    <a:pt x="121" y="0"/>
                    <a:pt x="177" y="0"/>
                  </a:cubicBezTo>
                  <a:cubicBezTo>
                    <a:pt x="230" y="0"/>
                    <a:pt x="269" y="8"/>
                    <a:pt x="295" y="26"/>
                  </a:cubicBezTo>
                  <a:cubicBezTo>
                    <a:pt x="321" y="43"/>
                    <a:pt x="339" y="68"/>
                    <a:pt x="348" y="102"/>
                  </a:cubicBezTo>
                  <a:cubicBezTo>
                    <a:pt x="252" y="120"/>
                    <a:pt x="252" y="120"/>
                    <a:pt x="252" y="120"/>
                  </a:cubicBezTo>
                  <a:cubicBezTo>
                    <a:pt x="247" y="105"/>
                    <a:pt x="240" y="93"/>
                    <a:pt x="228" y="85"/>
                  </a:cubicBezTo>
                  <a:cubicBezTo>
                    <a:pt x="217" y="77"/>
                    <a:pt x="200" y="73"/>
                    <a:pt x="179" y="73"/>
                  </a:cubicBezTo>
                  <a:cubicBezTo>
                    <a:pt x="152" y="73"/>
                    <a:pt x="132" y="77"/>
                    <a:pt x="121" y="85"/>
                  </a:cubicBezTo>
                  <a:cubicBezTo>
                    <a:pt x="113" y="90"/>
                    <a:pt x="109" y="97"/>
                    <a:pt x="109" y="105"/>
                  </a:cubicBezTo>
                  <a:cubicBezTo>
                    <a:pt x="109" y="113"/>
                    <a:pt x="112" y="119"/>
                    <a:pt x="119" y="124"/>
                  </a:cubicBezTo>
                  <a:cubicBezTo>
                    <a:pt x="128" y="131"/>
                    <a:pt x="160" y="140"/>
                    <a:pt x="215" y="153"/>
                  </a:cubicBezTo>
                  <a:cubicBezTo>
                    <a:pt x="270" y="165"/>
                    <a:pt x="308" y="180"/>
                    <a:pt x="329" y="198"/>
                  </a:cubicBezTo>
                  <a:cubicBezTo>
                    <a:pt x="351" y="217"/>
                    <a:pt x="361" y="242"/>
                    <a:pt x="361" y="275"/>
                  </a:cubicBezTo>
                  <a:cubicBezTo>
                    <a:pt x="361" y="310"/>
                    <a:pt x="347" y="341"/>
                    <a:pt x="317" y="366"/>
                  </a:cubicBezTo>
                  <a:cubicBezTo>
                    <a:pt x="287" y="392"/>
                    <a:pt x="243" y="405"/>
                    <a:pt x="185" y="405"/>
                  </a:cubicBezTo>
                  <a:cubicBezTo>
                    <a:pt x="132" y="405"/>
                    <a:pt x="91" y="394"/>
                    <a:pt x="60" y="372"/>
                  </a:cubicBezTo>
                  <a:cubicBezTo>
                    <a:pt x="29" y="351"/>
                    <a:pt x="9" y="322"/>
                    <a:pt x="0" y="28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da-DK" sz="1836"/>
            </a:p>
          </p:txBody>
        </p:sp>
        <p:sp>
          <p:nvSpPr>
            <p:cNvPr id="177" name="Freeform 12"/>
            <p:cNvSpPr>
              <a:spLocks noEditPoints="1"/>
            </p:cNvSpPr>
            <p:nvPr/>
          </p:nvSpPr>
          <p:spPr bwMode="auto">
            <a:xfrm>
              <a:off x="7143490" y="350838"/>
              <a:ext cx="1101725" cy="1119188"/>
            </a:xfrm>
            <a:custGeom>
              <a:avLst/>
              <a:gdLst>
                <a:gd name="T0" fmla="*/ 0 w 399"/>
                <a:gd name="T1" fmla="*/ 197 h 405"/>
                <a:gd name="T2" fmla="*/ 25 w 399"/>
                <a:gd name="T3" fmla="*/ 98 h 405"/>
                <a:gd name="T4" fmla="*/ 96 w 399"/>
                <a:gd name="T5" fmla="*/ 25 h 405"/>
                <a:gd name="T6" fmla="*/ 199 w 399"/>
                <a:gd name="T7" fmla="*/ 0 h 405"/>
                <a:gd name="T8" fmla="*/ 343 w 399"/>
                <a:gd name="T9" fmla="*/ 57 h 405"/>
                <a:gd name="T10" fmla="*/ 399 w 399"/>
                <a:gd name="T11" fmla="*/ 201 h 405"/>
                <a:gd name="T12" fmla="*/ 343 w 399"/>
                <a:gd name="T13" fmla="*/ 347 h 405"/>
                <a:gd name="T14" fmla="*/ 200 w 399"/>
                <a:gd name="T15" fmla="*/ 405 h 405"/>
                <a:gd name="T16" fmla="*/ 98 w 399"/>
                <a:gd name="T17" fmla="*/ 380 h 405"/>
                <a:gd name="T18" fmla="*/ 25 w 399"/>
                <a:gd name="T19" fmla="*/ 310 h 405"/>
                <a:gd name="T20" fmla="*/ 0 w 399"/>
                <a:gd name="T21" fmla="*/ 197 h 405"/>
                <a:gd name="T22" fmla="*/ 105 w 399"/>
                <a:gd name="T23" fmla="*/ 202 h 405"/>
                <a:gd name="T24" fmla="*/ 132 w 399"/>
                <a:gd name="T25" fmla="*/ 290 h 405"/>
                <a:gd name="T26" fmla="*/ 200 w 399"/>
                <a:gd name="T27" fmla="*/ 321 h 405"/>
                <a:gd name="T28" fmla="*/ 267 w 399"/>
                <a:gd name="T29" fmla="*/ 290 h 405"/>
                <a:gd name="T30" fmla="*/ 294 w 399"/>
                <a:gd name="T31" fmla="*/ 201 h 405"/>
                <a:gd name="T32" fmla="*/ 267 w 399"/>
                <a:gd name="T33" fmla="*/ 114 h 405"/>
                <a:gd name="T34" fmla="*/ 200 w 399"/>
                <a:gd name="T35" fmla="*/ 83 h 405"/>
                <a:gd name="T36" fmla="*/ 132 w 399"/>
                <a:gd name="T37" fmla="*/ 114 h 405"/>
                <a:gd name="T38" fmla="*/ 105 w 399"/>
                <a:gd name="T39" fmla="*/ 202 h 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99" h="405">
                  <a:moveTo>
                    <a:pt x="0" y="197"/>
                  </a:moveTo>
                  <a:cubicBezTo>
                    <a:pt x="0" y="163"/>
                    <a:pt x="8" y="130"/>
                    <a:pt x="25" y="98"/>
                  </a:cubicBezTo>
                  <a:cubicBezTo>
                    <a:pt x="42" y="66"/>
                    <a:pt x="65" y="42"/>
                    <a:pt x="96" y="25"/>
                  </a:cubicBezTo>
                  <a:cubicBezTo>
                    <a:pt x="127" y="8"/>
                    <a:pt x="161" y="0"/>
                    <a:pt x="199" y="0"/>
                  </a:cubicBezTo>
                  <a:cubicBezTo>
                    <a:pt x="258" y="0"/>
                    <a:pt x="306" y="19"/>
                    <a:pt x="343" y="57"/>
                  </a:cubicBezTo>
                  <a:cubicBezTo>
                    <a:pt x="381" y="95"/>
                    <a:pt x="399" y="143"/>
                    <a:pt x="399" y="201"/>
                  </a:cubicBezTo>
                  <a:cubicBezTo>
                    <a:pt x="399" y="260"/>
                    <a:pt x="381" y="308"/>
                    <a:pt x="343" y="347"/>
                  </a:cubicBezTo>
                  <a:cubicBezTo>
                    <a:pt x="305" y="385"/>
                    <a:pt x="257" y="405"/>
                    <a:pt x="200" y="405"/>
                  </a:cubicBezTo>
                  <a:cubicBezTo>
                    <a:pt x="164" y="405"/>
                    <a:pt x="131" y="397"/>
                    <a:pt x="98" y="380"/>
                  </a:cubicBezTo>
                  <a:cubicBezTo>
                    <a:pt x="66" y="364"/>
                    <a:pt x="42" y="341"/>
                    <a:pt x="25" y="310"/>
                  </a:cubicBezTo>
                  <a:cubicBezTo>
                    <a:pt x="8" y="279"/>
                    <a:pt x="0" y="241"/>
                    <a:pt x="0" y="197"/>
                  </a:cubicBezTo>
                  <a:close/>
                  <a:moveTo>
                    <a:pt x="105" y="202"/>
                  </a:moveTo>
                  <a:cubicBezTo>
                    <a:pt x="105" y="241"/>
                    <a:pt x="114" y="270"/>
                    <a:pt x="132" y="290"/>
                  </a:cubicBezTo>
                  <a:cubicBezTo>
                    <a:pt x="150" y="311"/>
                    <a:pt x="173" y="321"/>
                    <a:pt x="200" y="321"/>
                  </a:cubicBezTo>
                  <a:cubicBezTo>
                    <a:pt x="226" y="321"/>
                    <a:pt x="249" y="311"/>
                    <a:pt x="267" y="290"/>
                  </a:cubicBezTo>
                  <a:cubicBezTo>
                    <a:pt x="285" y="270"/>
                    <a:pt x="294" y="240"/>
                    <a:pt x="294" y="201"/>
                  </a:cubicBezTo>
                  <a:cubicBezTo>
                    <a:pt x="294" y="163"/>
                    <a:pt x="285" y="134"/>
                    <a:pt x="267" y="114"/>
                  </a:cubicBezTo>
                  <a:cubicBezTo>
                    <a:pt x="249" y="93"/>
                    <a:pt x="226" y="83"/>
                    <a:pt x="200" y="83"/>
                  </a:cubicBezTo>
                  <a:cubicBezTo>
                    <a:pt x="173" y="83"/>
                    <a:pt x="150" y="93"/>
                    <a:pt x="132" y="114"/>
                  </a:cubicBezTo>
                  <a:cubicBezTo>
                    <a:pt x="114" y="134"/>
                    <a:pt x="105" y="164"/>
                    <a:pt x="105" y="20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da-DK" sz="1836"/>
            </a:p>
          </p:txBody>
        </p:sp>
        <p:sp>
          <p:nvSpPr>
            <p:cNvPr id="178" name="Freeform 13"/>
            <p:cNvSpPr>
              <a:spLocks/>
            </p:cNvSpPr>
            <p:nvPr/>
          </p:nvSpPr>
          <p:spPr bwMode="auto">
            <a:xfrm>
              <a:off x="8454765" y="350838"/>
              <a:ext cx="693738" cy="1093788"/>
            </a:xfrm>
            <a:custGeom>
              <a:avLst/>
              <a:gdLst>
                <a:gd name="T0" fmla="*/ 102 w 251"/>
                <a:gd name="T1" fmla="*/ 396 h 396"/>
                <a:gd name="T2" fmla="*/ 0 w 251"/>
                <a:gd name="T3" fmla="*/ 396 h 396"/>
                <a:gd name="T4" fmla="*/ 0 w 251"/>
                <a:gd name="T5" fmla="*/ 8 h 396"/>
                <a:gd name="T6" fmla="*/ 95 w 251"/>
                <a:gd name="T7" fmla="*/ 8 h 396"/>
                <a:gd name="T8" fmla="*/ 95 w 251"/>
                <a:gd name="T9" fmla="*/ 63 h 396"/>
                <a:gd name="T10" fmla="*/ 139 w 251"/>
                <a:gd name="T11" fmla="*/ 12 h 396"/>
                <a:gd name="T12" fmla="*/ 183 w 251"/>
                <a:gd name="T13" fmla="*/ 0 h 396"/>
                <a:gd name="T14" fmla="*/ 251 w 251"/>
                <a:gd name="T15" fmla="*/ 19 h 396"/>
                <a:gd name="T16" fmla="*/ 219 w 251"/>
                <a:gd name="T17" fmla="*/ 108 h 396"/>
                <a:gd name="T18" fmla="*/ 171 w 251"/>
                <a:gd name="T19" fmla="*/ 92 h 396"/>
                <a:gd name="T20" fmla="*/ 134 w 251"/>
                <a:gd name="T21" fmla="*/ 103 h 396"/>
                <a:gd name="T22" fmla="*/ 111 w 251"/>
                <a:gd name="T23" fmla="*/ 146 h 396"/>
                <a:gd name="T24" fmla="*/ 102 w 251"/>
                <a:gd name="T25" fmla="*/ 276 h 396"/>
                <a:gd name="T26" fmla="*/ 102 w 251"/>
                <a:gd name="T27" fmla="*/ 396 h 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 h="396">
                  <a:moveTo>
                    <a:pt x="102" y="396"/>
                  </a:moveTo>
                  <a:cubicBezTo>
                    <a:pt x="0" y="396"/>
                    <a:pt x="0" y="396"/>
                    <a:pt x="0" y="396"/>
                  </a:cubicBezTo>
                  <a:cubicBezTo>
                    <a:pt x="0" y="8"/>
                    <a:pt x="0" y="8"/>
                    <a:pt x="0" y="8"/>
                  </a:cubicBezTo>
                  <a:cubicBezTo>
                    <a:pt x="95" y="8"/>
                    <a:pt x="95" y="8"/>
                    <a:pt x="95" y="8"/>
                  </a:cubicBezTo>
                  <a:cubicBezTo>
                    <a:pt x="95" y="63"/>
                    <a:pt x="95" y="63"/>
                    <a:pt x="95" y="63"/>
                  </a:cubicBezTo>
                  <a:cubicBezTo>
                    <a:pt x="111" y="37"/>
                    <a:pt x="126" y="20"/>
                    <a:pt x="139" y="12"/>
                  </a:cubicBezTo>
                  <a:cubicBezTo>
                    <a:pt x="152" y="4"/>
                    <a:pt x="167" y="0"/>
                    <a:pt x="183" y="0"/>
                  </a:cubicBezTo>
                  <a:cubicBezTo>
                    <a:pt x="206" y="0"/>
                    <a:pt x="229" y="6"/>
                    <a:pt x="251" y="19"/>
                  </a:cubicBezTo>
                  <a:cubicBezTo>
                    <a:pt x="219" y="108"/>
                    <a:pt x="219" y="108"/>
                    <a:pt x="219" y="108"/>
                  </a:cubicBezTo>
                  <a:cubicBezTo>
                    <a:pt x="202" y="97"/>
                    <a:pt x="186" y="92"/>
                    <a:pt x="171" y="92"/>
                  </a:cubicBezTo>
                  <a:cubicBezTo>
                    <a:pt x="156" y="92"/>
                    <a:pt x="144" y="96"/>
                    <a:pt x="134" y="103"/>
                  </a:cubicBezTo>
                  <a:cubicBezTo>
                    <a:pt x="124" y="111"/>
                    <a:pt x="116" y="126"/>
                    <a:pt x="111" y="146"/>
                  </a:cubicBezTo>
                  <a:cubicBezTo>
                    <a:pt x="105" y="167"/>
                    <a:pt x="102" y="210"/>
                    <a:pt x="102" y="276"/>
                  </a:cubicBezTo>
                  <a:lnTo>
                    <a:pt x="102" y="39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da-DK" sz="1836"/>
            </a:p>
          </p:txBody>
        </p:sp>
      </p:grpSp>
      <p:sp>
        <p:nvSpPr>
          <p:cNvPr id="179" name="TextBox 178"/>
          <p:cNvSpPr txBox="1"/>
          <p:nvPr/>
        </p:nvSpPr>
        <p:spPr>
          <a:xfrm>
            <a:off x="11131382" y="6523084"/>
            <a:ext cx="283167" cy="222217"/>
          </a:xfrm>
          <a:prstGeom prst="rect">
            <a:avLst/>
          </a:prstGeom>
          <a:noFill/>
        </p:spPr>
        <p:txBody>
          <a:bodyPr wrap="none" rtlCol="0">
            <a:spAutoFit/>
          </a:bodyPr>
          <a:lstStyle/>
          <a:p>
            <a:r>
              <a:rPr lang="da-DK" sz="816" dirty="0">
                <a:solidFill>
                  <a:srgbClr val="E9EAEB"/>
                </a:solidFill>
              </a:rPr>
              <a:t>©</a:t>
            </a:r>
          </a:p>
        </p:txBody>
      </p:sp>
    </p:spTree>
    <p:extLst>
      <p:ext uri="{BB962C8B-B14F-4D97-AF65-F5344CB8AC3E}">
        <p14:creationId xmlns:p14="http://schemas.microsoft.com/office/powerpoint/2010/main" val="1360866026"/>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0"/>
                                  </p:stCondLst>
                                  <p:childTnLst>
                                    <p:set>
                                      <p:cBhvr>
                                        <p:cTn id="6" dur="1" fill="hold">
                                          <p:stCondLst>
                                            <p:cond delay="0"/>
                                          </p:stCondLst>
                                        </p:cTn>
                                        <p:tgtEl>
                                          <p:spTgt spid="101"/>
                                        </p:tgtEl>
                                        <p:attrNameLst>
                                          <p:attrName>style.visibility</p:attrName>
                                        </p:attrNameLst>
                                      </p:cBhvr>
                                      <p:to>
                                        <p:strVal val="visible"/>
                                      </p:to>
                                    </p:set>
                                    <p:animEffect transition="in" filter="fade">
                                      <p:cBhvr>
                                        <p:cTn id="7" dur="2000"/>
                                        <p:tgtEl>
                                          <p:spTgt spid="101"/>
                                        </p:tgtEl>
                                      </p:cBhvr>
                                    </p:animEffect>
                                  </p:childTnLst>
                                </p:cTn>
                              </p:par>
                              <p:par>
                                <p:cTn id="8" presetID="10" presetClass="entr" presetSubtype="0" fill="hold" nodeType="withEffect">
                                  <p:stCondLst>
                                    <p:cond delay="1000"/>
                                  </p:stCondLst>
                                  <p:childTnLst>
                                    <p:set>
                                      <p:cBhvr>
                                        <p:cTn id="9" dur="1" fill="hold">
                                          <p:stCondLst>
                                            <p:cond delay="0"/>
                                          </p:stCondLst>
                                        </p:cTn>
                                        <p:tgtEl>
                                          <p:spTgt spid="102"/>
                                        </p:tgtEl>
                                        <p:attrNameLst>
                                          <p:attrName>style.visibility</p:attrName>
                                        </p:attrNameLst>
                                      </p:cBhvr>
                                      <p:to>
                                        <p:strVal val="visible"/>
                                      </p:to>
                                    </p:set>
                                    <p:animEffect transition="in" filter="fade">
                                      <p:cBhvr>
                                        <p:cTn id="10" dur="2000"/>
                                        <p:tgtEl>
                                          <p:spTgt spid="102"/>
                                        </p:tgtEl>
                                      </p:cBhvr>
                                    </p:animEffect>
                                  </p:childTnLst>
                                </p:cTn>
                              </p:par>
                              <p:par>
                                <p:cTn id="11" presetID="10" presetClass="entr" presetSubtype="0" fill="hold" grpId="0" nodeType="withEffect">
                                  <p:stCondLst>
                                    <p:cond delay="1000"/>
                                  </p:stCondLst>
                                  <p:childTnLst>
                                    <p:set>
                                      <p:cBhvr>
                                        <p:cTn id="12" dur="1" fill="hold">
                                          <p:stCondLst>
                                            <p:cond delay="0"/>
                                          </p:stCondLst>
                                        </p:cTn>
                                        <p:tgtEl>
                                          <p:spTgt spid="163"/>
                                        </p:tgtEl>
                                        <p:attrNameLst>
                                          <p:attrName>style.visibility</p:attrName>
                                        </p:attrNameLst>
                                      </p:cBhvr>
                                      <p:to>
                                        <p:strVal val="visible"/>
                                      </p:to>
                                    </p:set>
                                    <p:animEffect transition="in" filter="fade">
                                      <p:cBhvr>
                                        <p:cTn id="13" dur="2000"/>
                                        <p:tgtEl>
                                          <p:spTgt spid="163"/>
                                        </p:tgtEl>
                                      </p:cBhvr>
                                    </p:animEffect>
                                  </p:childTnLst>
                                </p:cTn>
                              </p:par>
                              <p:par>
                                <p:cTn id="14" presetID="10" presetClass="entr" presetSubtype="0" fill="hold" grpId="0" nodeType="withEffect">
                                  <p:stCondLst>
                                    <p:cond delay="1500"/>
                                  </p:stCondLst>
                                  <p:childTnLst>
                                    <p:set>
                                      <p:cBhvr>
                                        <p:cTn id="15" dur="1" fill="hold">
                                          <p:stCondLst>
                                            <p:cond delay="0"/>
                                          </p:stCondLst>
                                        </p:cTn>
                                        <p:tgtEl>
                                          <p:spTgt spid="2"/>
                                        </p:tgtEl>
                                        <p:attrNameLst>
                                          <p:attrName>style.visibility</p:attrName>
                                        </p:attrNameLst>
                                      </p:cBhvr>
                                      <p:to>
                                        <p:strVal val="visible"/>
                                      </p:to>
                                    </p:set>
                                    <p:animEffect transition="in" filter="fade">
                                      <p:cBhvr>
                                        <p:cTn id="16" dur="2000"/>
                                        <p:tgtEl>
                                          <p:spTgt spid="2"/>
                                        </p:tgtEl>
                                      </p:cBhvr>
                                    </p:animEffect>
                                  </p:childTnLst>
                                </p:cTn>
                              </p:par>
                              <p:par>
                                <p:cTn id="17" presetID="10" presetClass="entr" presetSubtype="0" fill="hold" nodeType="withEffect">
                                  <p:stCondLst>
                                    <p:cond delay="1500"/>
                                  </p:stCondLst>
                                  <p:childTnLst>
                                    <p:set>
                                      <p:cBhvr>
                                        <p:cTn id="18" dur="1" fill="hold">
                                          <p:stCondLst>
                                            <p:cond delay="0"/>
                                          </p:stCondLst>
                                        </p:cTn>
                                        <p:tgtEl>
                                          <p:spTgt spid="3"/>
                                        </p:tgtEl>
                                        <p:attrNameLst>
                                          <p:attrName>style.visibility</p:attrName>
                                        </p:attrNameLst>
                                      </p:cBhvr>
                                      <p:to>
                                        <p:strVal val="visible"/>
                                      </p:to>
                                    </p:set>
                                    <p:animEffect transition="in" filter="fade">
                                      <p:cBhvr>
                                        <p:cTn id="19" dur="2000"/>
                                        <p:tgtEl>
                                          <p:spTgt spid="3"/>
                                        </p:tgtEl>
                                      </p:cBhvr>
                                    </p:animEffect>
                                  </p:childTnLst>
                                </p:cTn>
                              </p:par>
                              <p:par>
                                <p:cTn id="20" presetID="10" presetClass="entr" presetSubtype="0" fill="hold" grpId="0" nodeType="withEffect">
                                  <p:stCondLst>
                                    <p:cond delay="1500"/>
                                  </p:stCondLst>
                                  <p:childTnLst>
                                    <p:set>
                                      <p:cBhvr>
                                        <p:cTn id="21" dur="1" fill="hold">
                                          <p:stCondLst>
                                            <p:cond delay="0"/>
                                          </p:stCondLst>
                                        </p:cTn>
                                        <p:tgtEl>
                                          <p:spTgt spid="100"/>
                                        </p:tgtEl>
                                        <p:attrNameLst>
                                          <p:attrName>style.visibility</p:attrName>
                                        </p:attrNameLst>
                                      </p:cBhvr>
                                      <p:to>
                                        <p:strVal val="visible"/>
                                      </p:to>
                                    </p:set>
                                    <p:animEffect transition="in" filter="fade">
                                      <p:cBhvr>
                                        <p:cTn id="22" dur="2000"/>
                                        <p:tgtEl>
                                          <p:spTgt spid="100"/>
                                        </p:tgtEl>
                                      </p:cBhvr>
                                    </p:animEffect>
                                  </p:childTnLst>
                                </p:cTn>
                              </p:par>
                              <p:par>
                                <p:cTn id="23" presetID="10" presetClass="entr" presetSubtype="0" fill="hold" grpId="0" nodeType="withEffect">
                                  <p:stCondLst>
                                    <p:cond delay="1500"/>
                                  </p:stCondLst>
                                  <p:childTnLst>
                                    <p:set>
                                      <p:cBhvr>
                                        <p:cTn id="24" dur="1" fill="hold">
                                          <p:stCondLst>
                                            <p:cond delay="0"/>
                                          </p:stCondLst>
                                        </p:cTn>
                                        <p:tgtEl>
                                          <p:spTgt spid="164"/>
                                        </p:tgtEl>
                                        <p:attrNameLst>
                                          <p:attrName>style.visibility</p:attrName>
                                        </p:attrNameLst>
                                      </p:cBhvr>
                                      <p:to>
                                        <p:strVal val="visible"/>
                                      </p:to>
                                    </p:set>
                                    <p:animEffect transition="in" filter="fade">
                                      <p:cBhvr>
                                        <p:cTn id="25" dur="2000"/>
                                        <p:tgtEl>
                                          <p:spTgt spid="164"/>
                                        </p:tgtEl>
                                      </p:cBhvr>
                                    </p:animEffect>
                                  </p:childTnLst>
                                </p:cTn>
                              </p:par>
                              <p:par>
                                <p:cTn id="26" presetID="10" presetClass="entr" presetSubtype="0" fill="hold" nodeType="withEffect">
                                  <p:stCondLst>
                                    <p:cond delay="1500"/>
                                  </p:stCondLst>
                                  <p:childTnLst>
                                    <p:set>
                                      <p:cBhvr>
                                        <p:cTn id="27" dur="1" fill="hold">
                                          <p:stCondLst>
                                            <p:cond delay="0"/>
                                          </p:stCondLst>
                                        </p:cTn>
                                        <p:tgtEl>
                                          <p:spTgt spid="165"/>
                                        </p:tgtEl>
                                        <p:attrNameLst>
                                          <p:attrName>style.visibility</p:attrName>
                                        </p:attrNameLst>
                                      </p:cBhvr>
                                      <p:to>
                                        <p:strVal val="visible"/>
                                      </p:to>
                                    </p:set>
                                    <p:animEffect transition="in" filter="fade">
                                      <p:cBhvr>
                                        <p:cTn id="28" dur="2000"/>
                                        <p:tgtEl>
                                          <p:spTgt spid="165"/>
                                        </p:tgtEl>
                                      </p:cBhvr>
                                    </p:animEffect>
                                  </p:childTnLst>
                                </p:cTn>
                              </p:par>
                              <p:par>
                                <p:cTn id="29" presetID="10" presetClass="entr" presetSubtype="0" fill="hold" nodeType="withEffect">
                                  <p:stCondLst>
                                    <p:cond delay="1500"/>
                                  </p:stCondLst>
                                  <p:childTnLst>
                                    <p:set>
                                      <p:cBhvr>
                                        <p:cTn id="30" dur="1" fill="hold">
                                          <p:stCondLst>
                                            <p:cond delay="0"/>
                                          </p:stCondLst>
                                        </p:cTn>
                                        <p:tgtEl>
                                          <p:spTgt spid="166"/>
                                        </p:tgtEl>
                                        <p:attrNameLst>
                                          <p:attrName>style.visibility</p:attrName>
                                        </p:attrNameLst>
                                      </p:cBhvr>
                                      <p:to>
                                        <p:strVal val="visible"/>
                                      </p:to>
                                    </p:set>
                                    <p:animEffect transition="in" filter="fade">
                                      <p:cBhvr>
                                        <p:cTn id="31" dur="2000"/>
                                        <p:tgtEl>
                                          <p:spTgt spid="166"/>
                                        </p:tgtEl>
                                      </p:cBhvr>
                                    </p:animEffect>
                                  </p:childTnLst>
                                </p:cTn>
                              </p:par>
                              <p:par>
                                <p:cTn id="32" presetID="10" presetClass="entr" presetSubtype="0" fill="hold" grpId="0" nodeType="withEffect">
                                  <p:stCondLst>
                                    <p:cond delay="1500"/>
                                  </p:stCondLst>
                                  <p:childTnLst>
                                    <p:set>
                                      <p:cBhvr>
                                        <p:cTn id="33" dur="1" fill="hold">
                                          <p:stCondLst>
                                            <p:cond delay="0"/>
                                          </p:stCondLst>
                                        </p:cTn>
                                        <p:tgtEl>
                                          <p:spTgt spid="167"/>
                                        </p:tgtEl>
                                        <p:attrNameLst>
                                          <p:attrName>style.visibility</p:attrName>
                                        </p:attrNameLst>
                                      </p:cBhvr>
                                      <p:to>
                                        <p:strVal val="visible"/>
                                      </p:to>
                                    </p:set>
                                    <p:animEffect transition="in" filter="fade">
                                      <p:cBhvr>
                                        <p:cTn id="34" dur="2000"/>
                                        <p:tgtEl>
                                          <p:spTgt spid="16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100" grpId="0"/>
      <p:bldP spid="101" grpId="0" animBg="1"/>
      <p:bldP spid="163" grpId="0"/>
      <p:bldP spid="164" grpId="0" animBg="1"/>
      <p:bldP spid="167" grpId="0"/>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grayscl/>
            <a:extLst>
              <a:ext uri="{28A0092B-C50C-407E-A947-70E740481C1C}">
                <a14:useLocalDpi xmlns:a14="http://schemas.microsoft.com/office/drawing/2010/main" val="0"/>
              </a:ext>
            </a:extLst>
          </a:blip>
          <a:stretch>
            <a:fillRect/>
          </a:stretch>
        </p:blipFill>
        <p:spPr>
          <a:xfrm>
            <a:off x="3096973" y="1378343"/>
            <a:ext cx="5676850" cy="5444682"/>
          </a:xfrm>
          <a:prstGeom prst="rect">
            <a:avLst/>
          </a:prstGeom>
        </p:spPr>
      </p:pic>
      <p:sp>
        <p:nvSpPr>
          <p:cNvPr id="5" name="Content Placeholder 4"/>
          <p:cNvSpPr txBox="1">
            <a:spLocks/>
          </p:cNvSpPr>
          <p:nvPr/>
        </p:nvSpPr>
        <p:spPr>
          <a:xfrm>
            <a:off x="9853591" y="6691967"/>
            <a:ext cx="2582002" cy="302558"/>
          </a:xfrm>
          <a:prstGeom prst="rect">
            <a:avLst/>
          </a:prstGeom>
        </p:spPr>
        <p:txBody>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fontAlgn="base">
              <a:spcAft>
                <a:spcPct val="0"/>
              </a:spcAft>
              <a:buNone/>
            </a:pPr>
            <a:r>
              <a:rPr lang="en-GB" sz="1020" dirty="0">
                <a:solidFill>
                  <a:schemeClr val="bg2"/>
                </a:solidFill>
              </a:rPr>
              <a:t>Source:</a:t>
            </a:r>
            <a:r>
              <a:rPr lang="en-US" sz="1020" dirty="0">
                <a:solidFill>
                  <a:schemeClr val="bg2"/>
                </a:solidFill>
              </a:rPr>
              <a:t> Hansgaard, J. (2015)</a:t>
            </a:r>
            <a:endParaRPr lang="da-DK" sz="1020" dirty="0">
              <a:solidFill>
                <a:schemeClr val="bg2"/>
              </a:solidFill>
            </a:endParaRPr>
          </a:p>
        </p:txBody>
      </p:sp>
      <p:sp>
        <p:nvSpPr>
          <p:cNvPr id="9" name="Title 1"/>
          <p:cNvSpPr>
            <a:spLocks noGrp="1"/>
          </p:cNvSpPr>
          <p:nvPr>
            <p:ph type="title"/>
          </p:nvPr>
        </p:nvSpPr>
        <p:spPr>
          <a:xfrm>
            <a:off x="933485" y="285534"/>
            <a:ext cx="10569504" cy="833837"/>
          </a:xfrm>
        </p:spPr>
        <p:txBody>
          <a:bodyPr/>
          <a:lstStyle/>
          <a:p>
            <a:r>
              <a:rPr lang="en-US" dirty="0"/>
              <a:t>We acknowledge that </a:t>
            </a:r>
            <a:r>
              <a:rPr lang="en-US" dirty="0">
                <a:latin typeface="Carlsberg Sans Bold" panose="020B0804020202020204" pitchFamily="34" charset="0"/>
              </a:rPr>
              <a:t>change is hard</a:t>
            </a:r>
            <a:r>
              <a:rPr lang="en-US" dirty="0"/>
              <a:t> work</a:t>
            </a:r>
            <a:endParaRPr lang="en-US" dirty="0">
              <a:latin typeface="Carlsberg Sans Bold" panose="020B0804020202020204" pitchFamily="34" charset="0"/>
            </a:endParaRPr>
          </a:p>
        </p:txBody>
      </p:sp>
    </p:spTree>
    <p:extLst>
      <p:ext uri="{BB962C8B-B14F-4D97-AF65-F5344CB8AC3E}">
        <p14:creationId xmlns:p14="http://schemas.microsoft.com/office/powerpoint/2010/main" val="279023756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100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20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wrap="square" lIns="146304" tIns="91440" rIns="146304" bIns="91440" rtlCol="0" anchor="t">
            <a:noAutofit/>
          </a:bodyPr>
          <a:lstStyle/>
          <a:p>
            <a:r>
              <a:rPr lang="en-US" dirty="0"/>
              <a:t>And achieved </a:t>
            </a:r>
            <a:r>
              <a:rPr lang="en-US" b="1" dirty="0"/>
              <a:t>great value</a:t>
            </a:r>
          </a:p>
        </p:txBody>
      </p:sp>
      <p:sp>
        <p:nvSpPr>
          <p:cNvPr id="3" name="Content Placeholder 2"/>
          <p:cNvSpPr>
            <a:spLocks noGrp="1"/>
          </p:cNvSpPr>
          <p:nvPr>
            <p:ph idx="1"/>
          </p:nvPr>
        </p:nvSpPr>
        <p:spPr>
          <a:xfrm>
            <a:off x="1646237" y="1243471"/>
            <a:ext cx="9122476" cy="4719686"/>
          </a:xfrm>
        </p:spPr>
        <p:txBody>
          <a:bodyPr anchor="ctr"/>
          <a:lstStyle/>
          <a:p>
            <a:pPr marL="0" indent="0" algn="ctr">
              <a:spcBef>
                <a:spcPts val="0"/>
              </a:spcBef>
              <a:buNone/>
            </a:pPr>
            <a:r>
              <a:rPr lang="en-US" sz="2400" dirty="0"/>
              <a:t>Every day employees make </a:t>
            </a:r>
            <a:r>
              <a:rPr lang="en-US" sz="2400" dirty="0">
                <a:solidFill>
                  <a:schemeClr val="accent6"/>
                </a:solidFill>
              </a:rPr>
              <a:t>4000 Skype conferences </a:t>
            </a:r>
            <a:r>
              <a:rPr lang="en-US" sz="2400" dirty="0"/>
              <a:t>and , send .</a:t>
            </a:r>
            <a:endParaRPr lang="en-US" sz="2400" dirty="0">
              <a:solidFill>
                <a:schemeClr val="accent6"/>
              </a:solidFill>
            </a:endParaRPr>
          </a:p>
        </p:txBody>
      </p:sp>
    </p:spTree>
    <p:extLst>
      <p:ext uri="{BB962C8B-B14F-4D97-AF65-F5344CB8AC3E}">
        <p14:creationId xmlns:p14="http://schemas.microsoft.com/office/powerpoint/2010/main" val="104998639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2000"/>
                                        <p:tgtEl>
                                          <p:spTgt spid="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3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wrap="square" lIns="146304" tIns="91440" rIns="146304" bIns="91440" rtlCol="0" anchor="t">
            <a:noAutofit/>
          </a:bodyPr>
          <a:lstStyle/>
          <a:p>
            <a:r>
              <a:rPr lang="en-US" dirty="0"/>
              <a:t>But still </a:t>
            </a:r>
            <a:r>
              <a:rPr lang="en-US" b="1" dirty="0"/>
              <a:t>noise and clutter </a:t>
            </a:r>
            <a:r>
              <a:rPr lang="en-US" dirty="0"/>
              <a:t>makes the important difficult to find</a:t>
            </a:r>
          </a:p>
        </p:txBody>
      </p:sp>
      <p:sp>
        <p:nvSpPr>
          <p:cNvPr id="3" name="Content Placeholder 2"/>
          <p:cNvSpPr>
            <a:spLocks noGrp="1"/>
          </p:cNvSpPr>
          <p:nvPr>
            <p:ph idx="1"/>
          </p:nvPr>
        </p:nvSpPr>
        <p:spPr>
          <a:xfrm>
            <a:off x="274639" y="1243471"/>
            <a:ext cx="11887196" cy="4719686"/>
          </a:xfrm>
        </p:spPr>
        <p:txBody>
          <a:bodyPr anchor="ctr"/>
          <a:lstStyle/>
          <a:p>
            <a:pPr marL="0" indent="0" algn="ctr">
              <a:spcBef>
                <a:spcPts val="0"/>
              </a:spcBef>
              <a:buNone/>
            </a:pPr>
            <a:r>
              <a:rPr lang="en-US" sz="2400" dirty="0"/>
              <a:t>We send </a:t>
            </a:r>
            <a:r>
              <a:rPr lang="en-US" sz="2400" dirty="0">
                <a:solidFill>
                  <a:schemeClr val="accent6"/>
                </a:solidFill>
              </a:rPr>
              <a:t>360.000 mails </a:t>
            </a:r>
            <a:r>
              <a:rPr lang="en-US" sz="2400" dirty="0"/>
              <a:t>every day and increase it by </a:t>
            </a:r>
            <a:r>
              <a:rPr lang="en-US" sz="2400" dirty="0">
                <a:solidFill>
                  <a:schemeClr val="accent6"/>
                </a:solidFill>
              </a:rPr>
              <a:t>30%</a:t>
            </a:r>
            <a:r>
              <a:rPr lang="en-US" sz="2400" dirty="0"/>
              <a:t> every year.</a:t>
            </a:r>
          </a:p>
          <a:p>
            <a:pPr marL="0" indent="0" algn="ctr">
              <a:spcBef>
                <a:spcPts val="0"/>
              </a:spcBef>
              <a:buNone/>
            </a:pPr>
            <a:r>
              <a:rPr lang="en-US" sz="2400" dirty="0"/>
              <a:t>We store </a:t>
            </a:r>
            <a:r>
              <a:rPr lang="en-US" sz="2400" dirty="0">
                <a:solidFill>
                  <a:schemeClr val="accent6"/>
                </a:solidFill>
              </a:rPr>
              <a:t>250TB files </a:t>
            </a:r>
            <a:r>
              <a:rPr lang="en-US" sz="2400" dirty="0"/>
              <a:t>on file-shares and increase it by </a:t>
            </a:r>
            <a:r>
              <a:rPr lang="en-US" sz="2400" dirty="0">
                <a:solidFill>
                  <a:schemeClr val="accent6"/>
                </a:solidFill>
              </a:rPr>
              <a:t>20%</a:t>
            </a:r>
            <a:r>
              <a:rPr lang="en-US" sz="2400" dirty="0"/>
              <a:t> every year</a:t>
            </a:r>
            <a:r>
              <a:rPr lang="en-US" sz="2400" dirty="0">
                <a:solidFill>
                  <a:schemeClr val="accent6"/>
                </a:solidFill>
              </a:rPr>
              <a:t>.</a:t>
            </a:r>
          </a:p>
        </p:txBody>
      </p:sp>
    </p:spTree>
    <p:extLst>
      <p:ext uri="{BB962C8B-B14F-4D97-AF65-F5344CB8AC3E}">
        <p14:creationId xmlns:p14="http://schemas.microsoft.com/office/powerpoint/2010/main" val="365651515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2000"/>
                                        <p:tgtEl>
                                          <p:spTgt spid="3">
                                            <p:txEl>
                                              <p:pRg st="0" end="0"/>
                                            </p:txEl>
                                          </p:spTgt>
                                        </p:tgtEl>
                                      </p:cBhvr>
                                    </p:animEffect>
                                  </p:childTnLst>
                                </p:cTn>
                              </p:par>
                              <p:par>
                                <p:cTn id="8" presetID="10" presetClass="entr" presetSubtype="0" fill="hold" grpId="0" nodeType="withEffect">
                                  <p:stCondLst>
                                    <p:cond delay="1000"/>
                                  </p:stCondLst>
                                  <p:childTnLst>
                                    <p:set>
                                      <p:cBhvr>
                                        <p:cTn id="9" dur="1" fill="hold">
                                          <p:stCondLst>
                                            <p:cond delay="0"/>
                                          </p:stCondLst>
                                        </p:cTn>
                                        <p:tgtEl>
                                          <p:spTgt spid="3">
                                            <p:txEl>
                                              <p:pRg st="1" end="1"/>
                                            </p:txEl>
                                          </p:spTgt>
                                        </p:tgtEl>
                                        <p:attrNameLst>
                                          <p:attrName>style.visibility</p:attrName>
                                        </p:attrNameLst>
                                      </p:cBhvr>
                                      <p:to>
                                        <p:strVal val="visible"/>
                                      </p:to>
                                    </p:set>
                                    <p:animEffect transition="in" filter="fade">
                                      <p:cBhvr>
                                        <p:cTn id="10" dur="2000"/>
                                        <p:tgtEl>
                                          <p:spTgt spid="3">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3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wrap="square" lIns="146304" tIns="91440" rIns="146304" bIns="91440" rtlCol="0" anchor="t">
            <a:noAutofit/>
          </a:bodyPr>
          <a:lstStyle/>
          <a:p>
            <a:r>
              <a:rPr lang="en-US" b="1" dirty="0"/>
              <a:t>Too many options </a:t>
            </a:r>
            <a:r>
              <a:rPr lang="en-US" dirty="0"/>
              <a:t>makes collaboration complex </a:t>
            </a:r>
          </a:p>
        </p:txBody>
      </p:sp>
      <p:sp>
        <p:nvSpPr>
          <p:cNvPr id="3" name="Content Placeholder 2"/>
          <p:cNvSpPr>
            <a:spLocks noGrp="1"/>
          </p:cNvSpPr>
          <p:nvPr>
            <p:ph idx="1"/>
          </p:nvPr>
        </p:nvSpPr>
        <p:spPr>
          <a:xfrm>
            <a:off x="122237" y="1243471"/>
            <a:ext cx="12192002" cy="4719686"/>
          </a:xfrm>
        </p:spPr>
        <p:txBody>
          <a:bodyPr anchor="ctr"/>
          <a:lstStyle/>
          <a:p>
            <a:pPr marL="0" indent="0" algn="ctr">
              <a:spcBef>
                <a:spcPts val="0"/>
              </a:spcBef>
              <a:buNone/>
            </a:pPr>
            <a:r>
              <a:rPr lang="en-US" sz="2400" dirty="0"/>
              <a:t>In 2016 Q1, we used over </a:t>
            </a:r>
            <a:r>
              <a:rPr lang="en-US" sz="2400" dirty="0">
                <a:solidFill>
                  <a:schemeClr val="accent6"/>
                </a:solidFill>
              </a:rPr>
              <a:t>700 different </a:t>
            </a:r>
            <a:r>
              <a:rPr lang="en-US" sz="2400" dirty="0"/>
              <a:t>online tools for collaboration, </a:t>
            </a:r>
          </a:p>
          <a:p>
            <a:pPr marL="0" indent="0" algn="ctr">
              <a:spcBef>
                <a:spcPts val="0"/>
              </a:spcBef>
              <a:buNone/>
            </a:pPr>
            <a:r>
              <a:rPr lang="en-US" sz="2400" dirty="0"/>
              <a:t>and 9% of these had significant </a:t>
            </a:r>
            <a:r>
              <a:rPr lang="en-US" sz="2400" dirty="0">
                <a:solidFill>
                  <a:schemeClr val="accent6"/>
                </a:solidFill>
              </a:rPr>
              <a:t>security risks</a:t>
            </a:r>
          </a:p>
        </p:txBody>
      </p:sp>
    </p:spTree>
    <p:extLst>
      <p:ext uri="{BB962C8B-B14F-4D97-AF65-F5344CB8AC3E}">
        <p14:creationId xmlns:p14="http://schemas.microsoft.com/office/powerpoint/2010/main" val="120668916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2000"/>
                                        <p:tgtEl>
                                          <p:spTgt spid="3">
                                            <p:txEl>
                                              <p:pRg st="0" end="0"/>
                                            </p:txEl>
                                          </p:spTgt>
                                        </p:tgtEl>
                                      </p:cBhvr>
                                    </p:animEffect>
                                  </p:childTnLst>
                                </p:cTn>
                              </p:par>
                              <p:par>
                                <p:cTn id="8" presetID="10" presetClass="entr" presetSubtype="0" fill="hold" grpId="0" nodeType="withEffect">
                                  <p:stCondLst>
                                    <p:cond delay="1000"/>
                                  </p:stCondLst>
                                  <p:childTnLst>
                                    <p:set>
                                      <p:cBhvr>
                                        <p:cTn id="9" dur="1" fill="hold">
                                          <p:stCondLst>
                                            <p:cond delay="0"/>
                                          </p:stCondLst>
                                        </p:cTn>
                                        <p:tgtEl>
                                          <p:spTgt spid="3">
                                            <p:txEl>
                                              <p:pRg st="1" end="1"/>
                                            </p:txEl>
                                          </p:spTgt>
                                        </p:tgtEl>
                                        <p:attrNameLst>
                                          <p:attrName>style.visibility</p:attrName>
                                        </p:attrNameLst>
                                      </p:cBhvr>
                                      <p:to>
                                        <p:strVal val="visible"/>
                                      </p:to>
                                    </p:set>
                                    <p:animEffect transition="in" filter="fade">
                                      <p:cBhvr>
                                        <p:cTn id="10" dur="2000"/>
                                        <p:tgtEl>
                                          <p:spTgt spid="3">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3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wrap="square" lIns="146304" tIns="91440" rIns="146304" bIns="91440" rtlCol="0" anchor="t">
            <a:noAutofit/>
          </a:bodyPr>
          <a:lstStyle/>
          <a:p>
            <a:r>
              <a:rPr lang="en-US" dirty="0"/>
              <a:t>And </a:t>
            </a:r>
            <a:r>
              <a:rPr lang="en-US" b="1" dirty="0"/>
              <a:t>reduces the value </a:t>
            </a:r>
            <a:r>
              <a:rPr lang="en-US" dirty="0"/>
              <a:t>of our investments</a:t>
            </a:r>
          </a:p>
        </p:txBody>
      </p:sp>
      <p:sp>
        <p:nvSpPr>
          <p:cNvPr id="3" name="Content Placeholder 2"/>
          <p:cNvSpPr>
            <a:spLocks noGrp="1"/>
          </p:cNvSpPr>
          <p:nvPr>
            <p:ph idx="1"/>
          </p:nvPr>
        </p:nvSpPr>
        <p:spPr>
          <a:xfrm>
            <a:off x="579438" y="1243471"/>
            <a:ext cx="11277600" cy="4719686"/>
          </a:xfrm>
        </p:spPr>
        <p:txBody>
          <a:bodyPr anchor="ctr"/>
          <a:lstStyle/>
          <a:p>
            <a:pPr marL="0" indent="0" algn="ctr">
              <a:spcBef>
                <a:spcPts val="0"/>
              </a:spcBef>
              <a:buNone/>
            </a:pPr>
            <a:r>
              <a:rPr lang="en-US" sz="2400" dirty="0"/>
              <a:t>Top </a:t>
            </a:r>
            <a:r>
              <a:rPr lang="en-US" sz="2400" dirty="0">
                <a:solidFill>
                  <a:schemeClr val="accent6"/>
                </a:solidFill>
              </a:rPr>
              <a:t>10%</a:t>
            </a:r>
            <a:r>
              <a:rPr lang="en-US" sz="2400" dirty="0"/>
              <a:t> of Skype users account for </a:t>
            </a:r>
            <a:r>
              <a:rPr lang="en-US" sz="2400" dirty="0">
                <a:solidFill>
                  <a:schemeClr val="accent6"/>
                </a:solidFill>
              </a:rPr>
              <a:t>80% </a:t>
            </a:r>
            <a:r>
              <a:rPr lang="en-US" sz="2400" dirty="0"/>
              <a:t>of total usage, </a:t>
            </a:r>
          </a:p>
          <a:p>
            <a:pPr marL="0" indent="0" algn="ctr">
              <a:spcBef>
                <a:spcPts val="0"/>
              </a:spcBef>
              <a:buNone/>
            </a:pPr>
            <a:r>
              <a:rPr lang="en-US" sz="2400" dirty="0"/>
              <a:t>and top </a:t>
            </a:r>
            <a:r>
              <a:rPr lang="en-US" sz="2400" dirty="0">
                <a:solidFill>
                  <a:schemeClr val="accent6"/>
                </a:solidFill>
              </a:rPr>
              <a:t>10%</a:t>
            </a:r>
            <a:r>
              <a:rPr lang="en-US" sz="2400" dirty="0"/>
              <a:t> of OneDrive users account for </a:t>
            </a:r>
            <a:r>
              <a:rPr lang="en-US" sz="2400" dirty="0">
                <a:solidFill>
                  <a:schemeClr val="accent6"/>
                </a:solidFill>
              </a:rPr>
              <a:t>97% </a:t>
            </a:r>
            <a:r>
              <a:rPr lang="en-US" sz="2400" dirty="0"/>
              <a:t>of total usage</a:t>
            </a:r>
          </a:p>
        </p:txBody>
      </p:sp>
    </p:spTree>
    <p:extLst>
      <p:ext uri="{BB962C8B-B14F-4D97-AF65-F5344CB8AC3E}">
        <p14:creationId xmlns:p14="http://schemas.microsoft.com/office/powerpoint/2010/main" val="64185230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2000"/>
                                        <p:tgtEl>
                                          <p:spTgt spid="3">
                                            <p:txEl>
                                              <p:pRg st="0" end="0"/>
                                            </p:txEl>
                                          </p:spTgt>
                                        </p:tgtEl>
                                      </p:cBhvr>
                                    </p:animEffect>
                                  </p:childTnLst>
                                </p:cTn>
                              </p:par>
                              <p:par>
                                <p:cTn id="8" presetID="10" presetClass="entr" presetSubtype="0" fill="hold" grpId="0" nodeType="withEffect">
                                  <p:stCondLst>
                                    <p:cond delay="1000"/>
                                  </p:stCondLst>
                                  <p:childTnLst>
                                    <p:set>
                                      <p:cBhvr>
                                        <p:cTn id="9" dur="1" fill="hold">
                                          <p:stCondLst>
                                            <p:cond delay="0"/>
                                          </p:stCondLst>
                                        </p:cTn>
                                        <p:tgtEl>
                                          <p:spTgt spid="3">
                                            <p:txEl>
                                              <p:pRg st="1" end="1"/>
                                            </p:txEl>
                                          </p:spTgt>
                                        </p:tgtEl>
                                        <p:attrNameLst>
                                          <p:attrName>style.visibility</p:attrName>
                                        </p:attrNameLst>
                                      </p:cBhvr>
                                      <p:to>
                                        <p:strVal val="visible"/>
                                      </p:to>
                                    </p:set>
                                    <p:animEffect transition="in" filter="fade">
                                      <p:cBhvr>
                                        <p:cTn id="10" dur="2000"/>
                                        <p:tgtEl>
                                          <p:spTgt spid="3">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3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274637" y="2963862"/>
            <a:ext cx="11887200" cy="794064"/>
          </a:xfrm>
        </p:spPr>
        <p:txBody>
          <a:bodyPr/>
          <a:lstStyle/>
          <a:p>
            <a:pPr algn="ctr"/>
            <a:r>
              <a:rPr lang="en-US" sz="4400" dirty="0"/>
              <a:t>A </a:t>
            </a:r>
            <a:r>
              <a:rPr lang="en-US" sz="4400" b="1" dirty="0"/>
              <a:t>great workplace </a:t>
            </a:r>
            <a:r>
              <a:rPr lang="en-US" sz="4400" dirty="0"/>
              <a:t>is not just about technology</a:t>
            </a:r>
          </a:p>
        </p:txBody>
      </p:sp>
    </p:spTree>
    <p:extLst>
      <p:ext uri="{BB962C8B-B14F-4D97-AF65-F5344CB8AC3E}">
        <p14:creationId xmlns:p14="http://schemas.microsoft.com/office/powerpoint/2010/main" val="687767397"/>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You </a:t>
            </a:r>
            <a:r>
              <a:rPr lang="en-US" b="1" dirty="0"/>
              <a:t>cannot fight </a:t>
            </a:r>
            <a:r>
              <a:rPr lang="en-US" dirty="0"/>
              <a:t>change</a:t>
            </a:r>
          </a:p>
        </p:txBody>
      </p:sp>
      <p:sp>
        <p:nvSpPr>
          <p:cNvPr id="3" name="Content Placeholder 2"/>
          <p:cNvSpPr>
            <a:spLocks noGrp="1"/>
          </p:cNvSpPr>
          <p:nvPr>
            <p:ph idx="1"/>
          </p:nvPr>
        </p:nvSpPr>
        <p:spPr>
          <a:xfrm>
            <a:off x="1371099" y="1243471"/>
            <a:ext cx="9694277" cy="4719686"/>
          </a:xfrm>
        </p:spPr>
        <p:txBody>
          <a:bodyPr anchor="ctr"/>
          <a:lstStyle/>
          <a:p>
            <a:pPr marL="0" indent="0" algn="ctr">
              <a:buNone/>
            </a:pPr>
            <a:r>
              <a:rPr lang="en-US" sz="2400" dirty="0"/>
              <a:t>Creative disruption has </a:t>
            </a:r>
            <a:r>
              <a:rPr lang="en-US" sz="2400" dirty="0">
                <a:solidFill>
                  <a:schemeClr val="accent6"/>
                </a:solidFill>
              </a:rPr>
              <a:t>decreased life-expectancy </a:t>
            </a:r>
            <a:r>
              <a:rPr lang="en-US" sz="2400" dirty="0"/>
              <a:t>of Fortune 500 companies from 75 years to 15 years, and it’s </a:t>
            </a:r>
            <a:r>
              <a:rPr lang="en-US" sz="2400" dirty="0">
                <a:solidFill>
                  <a:schemeClr val="accent6"/>
                </a:solidFill>
              </a:rPr>
              <a:t>still going down</a:t>
            </a:r>
            <a:r>
              <a:rPr lang="en-US" sz="2400" dirty="0"/>
              <a:t>.</a:t>
            </a:r>
          </a:p>
        </p:txBody>
      </p:sp>
    </p:spTree>
    <p:extLst>
      <p:ext uri="{BB962C8B-B14F-4D97-AF65-F5344CB8AC3E}">
        <p14:creationId xmlns:p14="http://schemas.microsoft.com/office/powerpoint/2010/main" val="59896869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2000"/>
                                        <p:tgtEl>
                                          <p:spTgt spid="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nd it starts with </a:t>
            </a:r>
            <a:r>
              <a:rPr lang="en-US" dirty="0">
                <a:latin typeface="Carlsberg Sans Bold" panose="020B0804020202020204" pitchFamily="34" charset="0"/>
              </a:rPr>
              <a:t>people</a:t>
            </a:r>
          </a:p>
        </p:txBody>
      </p:sp>
      <p:sp>
        <p:nvSpPr>
          <p:cNvPr id="22" name="TextBox 21"/>
          <p:cNvSpPr txBox="1"/>
          <p:nvPr/>
        </p:nvSpPr>
        <p:spPr>
          <a:xfrm>
            <a:off x="9630887" y="6743402"/>
            <a:ext cx="2790777" cy="254262"/>
          </a:xfrm>
          <a:prstGeom prst="rect">
            <a:avLst/>
          </a:prstGeom>
          <a:noFill/>
          <a:ln>
            <a:noFill/>
          </a:ln>
        </p:spPr>
        <p:txBody>
          <a:bodyPr wrap="square" rtlCol="0">
            <a:spAutoFit/>
          </a:bodyPr>
          <a:lstStyle/>
          <a:p>
            <a:pPr algn="r"/>
            <a:r>
              <a:rPr lang="en-US" sz="1020" dirty="0">
                <a:solidFill>
                  <a:schemeClr val="bg2"/>
                </a:solidFill>
              </a:rPr>
              <a:t>Photo: </a:t>
            </a:r>
            <a:r>
              <a:rPr lang="en-US" sz="1020" dirty="0">
                <a:solidFill>
                  <a:schemeClr val="bg2"/>
                </a:solidFill>
                <a:hlinkClick r:id="rId2"/>
              </a:rPr>
              <a:t>Steve Wilson</a:t>
            </a:r>
            <a:endParaRPr lang="en-US" sz="1020" dirty="0">
              <a:solidFill>
                <a:schemeClr val="bg2"/>
              </a:solidFill>
            </a:endParaRPr>
          </a:p>
        </p:txBody>
      </p:sp>
      <p:pic>
        <p:nvPicPr>
          <p:cNvPr id="54" name="Picture 53"/>
          <p:cNvPicPr>
            <a:picLocks noChangeAspect="1"/>
          </p:cNvPicPr>
          <p:nvPr/>
        </p:nvPicPr>
        <p:blipFill>
          <a:blip r:embed="rId3">
            <a:extLst>
              <a:ext uri="{BEBA8EAE-BF5A-486C-A8C5-ECC9F3942E4B}">
                <a14:imgProps xmlns:a14="http://schemas.microsoft.com/office/drawing/2010/main">
                  <a14:imgLayer r:embed="rId4">
                    <a14:imgEffect>
                      <a14:saturation sat="88000"/>
                    </a14:imgEffect>
                    <a14:imgEffect>
                      <a14:brightnessContrast bright="24000" contrast="-20000"/>
                    </a14:imgEffect>
                  </a14:imgLayer>
                </a14:imgProps>
              </a:ext>
            </a:extLst>
          </a:blip>
          <a:stretch>
            <a:fillRect/>
          </a:stretch>
        </p:blipFill>
        <p:spPr>
          <a:xfrm>
            <a:off x="5606557" y="2362060"/>
            <a:ext cx="1321473" cy="2209675"/>
          </a:xfrm>
          <a:prstGeom prst="rect">
            <a:avLst/>
          </a:prstGeom>
        </p:spPr>
      </p:pic>
    </p:spTree>
    <p:extLst>
      <p:ext uri="{BB962C8B-B14F-4D97-AF65-F5344CB8AC3E}">
        <p14:creationId xmlns:p14="http://schemas.microsoft.com/office/powerpoint/2010/main" val="1532773763"/>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sp>
        <p:nvSpPr>
          <p:cNvPr id="4" name="Text Placeholder 5"/>
          <p:cNvSpPr txBox="1">
            <a:spLocks/>
          </p:cNvSpPr>
          <p:nvPr/>
        </p:nvSpPr>
        <p:spPr>
          <a:xfrm>
            <a:off x="5380037" y="4640262"/>
            <a:ext cx="6858000" cy="2179058"/>
          </a:xfrm>
          <a:prstGeom prst="rect">
            <a:avLst/>
          </a:prstGeom>
        </p:spPr>
        <p:txBody>
          <a:bodyPr vert="horz" wrap="square" lIns="146304" tIns="91440" rIns="146304" bIns="91440" rtlCol="0">
            <a:spAutoFit/>
          </a:bodyPr>
          <a:lstStyle>
            <a:lvl1pPr marL="0"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4000" kern="1200" spc="0" baseline="0">
                <a:gradFill>
                  <a:gsLst>
                    <a:gs pos="20354">
                      <a:schemeClr val="tx2"/>
                    </a:gs>
                    <a:gs pos="40000">
                      <a:schemeClr val="tx2"/>
                    </a:gs>
                  </a:gsLst>
                  <a:lin ang="5400000" scaled="0"/>
                </a:gradFill>
                <a:latin typeface="+mj-lt"/>
                <a:ea typeface="+mn-ea"/>
                <a:cs typeface="+mn-cs"/>
              </a:defRPr>
            </a:lvl1pPr>
            <a:lvl2pPr marL="0" marR="0" indent="0" algn="l" defTabSz="932667" rtl="0" eaLnBrk="1" fontAlgn="auto" latinLnBrk="0" hangingPunct="1">
              <a:lnSpc>
                <a:spcPct val="90000"/>
              </a:lnSpc>
              <a:spcBef>
                <a:spcPct val="20000"/>
              </a:spcBef>
              <a:spcAft>
                <a:spcPts val="0"/>
              </a:spcAft>
              <a:buClr>
                <a:schemeClr val="tx1"/>
              </a:buClr>
              <a:buSzPct val="90000"/>
              <a:buFontTx/>
              <a:buNone/>
              <a:tabLst/>
              <a:defRPr sz="2000" kern="1200" spc="0" baseline="0">
                <a:gradFill>
                  <a:gsLst>
                    <a:gs pos="1250">
                      <a:schemeClr val="tx1"/>
                    </a:gs>
                    <a:gs pos="100000">
                      <a:schemeClr val="tx1"/>
                    </a:gs>
                  </a:gsLst>
                  <a:lin ang="5400000" scaled="0"/>
                </a:gradFill>
                <a:latin typeface="+mn-lt"/>
                <a:ea typeface="+mn-ea"/>
                <a:cs typeface="+mn-cs"/>
              </a:defRPr>
            </a:lvl2pPr>
            <a:lvl3pPr marL="228582"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3pPr>
            <a:lvl4pPr marL="457163"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4pPr>
            <a:lvl5pPr marL="685745"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5pPr>
            <a:lvl6pPr marL="2564834"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170"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503"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838"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32742">
              <a:spcBef>
                <a:spcPct val="0"/>
              </a:spcBef>
            </a:pPr>
            <a:r>
              <a:rPr lang="en-US" sz="2400" dirty="0">
                <a:gradFill>
                  <a:gsLst>
                    <a:gs pos="24779">
                      <a:srgbClr val="292929"/>
                    </a:gs>
                    <a:gs pos="52000">
                      <a:srgbClr val="292929"/>
                    </a:gs>
                  </a:gsLst>
                  <a:lin ang="5400000" scaled="1"/>
                </a:gradFill>
                <a:latin typeface="+mn-lt"/>
              </a:rPr>
              <a:t>From your PC or Tablet visit MyIgnite at </a:t>
            </a:r>
            <a:r>
              <a:rPr lang="en-US" sz="2400" dirty="0">
                <a:gradFill>
                  <a:gsLst>
                    <a:gs pos="24779">
                      <a:srgbClr val="292929"/>
                    </a:gs>
                    <a:gs pos="52000">
                      <a:srgbClr val="292929"/>
                    </a:gs>
                  </a:gsLst>
                  <a:lin ang="5400000" scaled="1"/>
                </a:gradFill>
                <a:latin typeface="+mn-lt"/>
                <a:hlinkClick r:id="rId3"/>
              </a:rPr>
              <a:t>http://myignite.microsoft.com</a:t>
            </a:r>
            <a:endParaRPr lang="en-US" sz="2400" dirty="0">
              <a:gradFill>
                <a:gsLst>
                  <a:gs pos="24779">
                    <a:srgbClr val="292929"/>
                  </a:gs>
                  <a:gs pos="52000">
                    <a:srgbClr val="292929"/>
                  </a:gs>
                </a:gsLst>
                <a:lin ang="5400000" scaled="1"/>
              </a:gradFill>
              <a:latin typeface="+mn-lt"/>
            </a:endParaRPr>
          </a:p>
          <a:p>
            <a:pPr defTabSz="932742">
              <a:spcBef>
                <a:spcPct val="0"/>
              </a:spcBef>
            </a:pPr>
            <a:endParaRPr lang="en-US" sz="2400" dirty="0">
              <a:gradFill>
                <a:gsLst>
                  <a:gs pos="24779">
                    <a:srgbClr val="292929"/>
                  </a:gs>
                  <a:gs pos="52000">
                    <a:srgbClr val="292929"/>
                  </a:gs>
                </a:gsLst>
                <a:lin ang="5400000" scaled="1"/>
              </a:gradFill>
              <a:latin typeface="+mn-lt"/>
            </a:endParaRPr>
          </a:p>
          <a:p>
            <a:pPr defTabSz="932742">
              <a:spcBef>
                <a:spcPct val="0"/>
              </a:spcBef>
            </a:pPr>
            <a:r>
              <a:rPr lang="en-US" sz="2400" dirty="0">
                <a:gradFill>
                  <a:gsLst>
                    <a:gs pos="24779">
                      <a:srgbClr val="292929"/>
                    </a:gs>
                    <a:gs pos="52000">
                      <a:srgbClr val="292929"/>
                    </a:gs>
                  </a:gsLst>
                  <a:lin ang="5400000" scaled="1"/>
                </a:gradFill>
                <a:latin typeface="+mn-lt"/>
              </a:rPr>
              <a:t>From your phone download and use the Ignite Mobile App by scanning  the QR code above or visiting </a:t>
            </a:r>
            <a:r>
              <a:rPr lang="en-US" sz="2400" dirty="0">
                <a:gradFill>
                  <a:gsLst>
                    <a:gs pos="24779">
                      <a:srgbClr val="292929"/>
                    </a:gs>
                    <a:gs pos="52000">
                      <a:srgbClr val="292929"/>
                    </a:gs>
                  </a:gsLst>
                  <a:lin ang="5400000" scaled="1"/>
                </a:gradFill>
                <a:latin typeface="+mn-lt"/>
                <a:hlinkClick r:id="rId4"/>
              </a:rPr>
              <a:t>https://aka.ms/ignite.mobileapp</a:t>
            </a:r>
            <a:r>
              <a:rPr lang="en-US" sz="2400" dirty="0">
                <a:gradFill>
                  <a:gsLst>
                    <a:gs pos="24779">
                      <a:srgbClr val="292929"/>
                    </a:gs>
                    <a:gs pos="52000">
                      <a:srgbClr val="292929"/>
                    </a:gs>
                  </a:gsLst>
                  <a:lin ang="5400000" scaled="1"/>
                </a:gradFill>
                <a:latin typeface="+mn-lt"/>
              </a:rPr>
              <a:t> </a:t>
            </a:r>
          </a:p>
        </p:txBody>
      </p:sp>
      <p:sp>
        <p:nvSpPr>
          <p:cNvPr id="11" name="Title 1"/>
          <p:cNvSpPr txBox="1">
            <a:spLocks/>
          </p:cNvSpPr>
          <p:nvPr/>
        </p:nvSpPr>
        <p:spPr>
          <a:xfrm>
            <a:off x="5380037" y="295274"/>
            <a:ext cx="6784166" cy="915989"/>
          </a:xfrm>
          <a:prstGeom prst="rect">
            <a:avLst/>
          </a:prstGeom>
        </p:spPr>
        <p:txBody>
          <a:bodyPr lIns="182880" tIns="146304" rIns="182880" bIns="146304"/>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nSpc>
                <a:spcPct val="80000"/>
              </a:lnSpc>
            </a:pPr>
            <a:r>
              <a:rPr sz="4000" dirty="0">
                <a:gradFill>
                  <a:gsLst>
                    <a:gs pos="24779">
                      <a:srgbClr val="292929"/>
                    </a:gs>
                    <a:gs pos="52000">
                      <a:srgbClr val="292929"/>
                    </a:gs>
                  </a:gsLst>
                  <a:lin ang="5400000" scaled="1"/>
                </a:gradFill>
              </a:rPr>
              <a:t>Please evaluate this session</a:t>
            </a:r>
          </a:p>
          <a:p>
            <a:pPr>
              <a:lnSpc>
                <a:spcPct val="80000"/>
              </a:lnSpc>
            </a:pPr>
            <a:r>
              <a:rPr lang="en-US" sz="3200" dirty="0">
                <a:gradFill>
                  <a:gsLst>
                    <a:gs pos="24779">
                      <a:srgbClr val="292929"/>
                    </a:gs>
                    <a:gs pos="52000">
                      <a:srgbClr val="292929"/>
                    </a:gs>
                  </a:gsLst>
                  <a:lin ang="5400000" scaled="1"/>
                </a:gradFill>
              </a:rPr>
              <a:t>Your feedback is important to us!</a:t>
            </a:r>
            <a:endParaRPr sz="3600" dirty="0">
              <a:gradFill>
                <a:gsLst>
                  <a:gs pos="24779">
                    <a:srgbClr val="292929"/>
                  </a:gs>
                  <a:gs pos="52000">
                    <a:srgbClr val="292929"/>
                  </a:gs>
                </a:gsLst>
                <a:lin ang="5400000" scaled="1"/>
              </a:gradFill>
            </a:endParaRPr>
          </a:p>
        </p:txBody>
      </p:sp>
      <p:pic>
        <p:nvPicPr>
          <p:cNvPr id="14" name="Picture 13"/>
          <p:cNvPicPr>
            <a:picLocks noChangeAspect="1"/>
          </p:cNvPicPr>
          <p:nvPr/>
        </p:nvPicPr>
        <p:blipFill rotWithShape="1">
          <a:blip r:embed="rId5"/>
          <a:srcRect l="17119" r="5881"/>
          <a:stretch/>
        </p:blipFill>
        <p:spPr>
          <a:xfrm>
            <a:off x="0" y="-1"/>
            <a:ext cx="4925696" cy="6995160"/>
          </a:xfrm>
          <a:prstGeom prst="rect">
            <a:avLst/>
          </a:prstGeom>
        </p:spPr>
      </p:pic>
      <p:pic>
        <p:nvPicPr>
          <p:cNvPr id="2" name="Picture 1"/>
          <p:cNvPicPr>
            <a:picLocks noChangeAspect="1"/>
          </p:cNvPicPr>
          <p:nvPr/>
        </p:nvPicPr>
        <p:blipFill>
          <a:blip r:embed="rId6"/>
          <a:stretch>
            <a:fillRect/>
          </a:stretch>
        </p:blipFill>
        <p:spPr>
          <a:xfrm>
            <a:off x="7118985" y="1478816"/>
            <a:ext cx="3124200" cy="3124200"/>
          </a:xfrm>
          <a:prstGeom prst="rect">
            <a:avLst/>
          </a:prstGeom>
        </p:spPr>
      </p:pic>
    </p:spTree>
    <p:extLst>
      <p:ext uri="{BB962C8B-B14F-4D97-AF65-F5344CB8AC3E}">
        <p14:creationId xmlns:p14="http://schemas.microsoft.com/office/powerpoint/2010/main" val="14493380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1811039" y="1435621"/>
            <a:ext cx="4260315" cy="5027838"/>
          </a:xfrm>
        </p:spPr>
        <p:txBody>
          <a:bodyPr/>
          <a:lstStyle/>
          <a:p>
            <a:pPr marL="0" indent="0">
              <a:buNone/>
            </a:pPr>
            <a:r>
              <a:rPr lang="en-US" b="1" dirty="0"/>
              <a:t>Know why you use cloud:</a:t>
            </a:r>
          </a:p>
          <a:p>
            <a:r>
              <a:rPr lang="en-US" sz="1122" dirty="0"/>
              <a:t>Scalability? – our reason</a:t>
            </a:r>
          </a:p>
          <a:p>
            <a:r>
              <a:rPr lang="en-US" sz="1122" dirty="0"/>
              <a:t>Agility?</a:t>
            </a:r>
          </a:p>
          <a:p>
            <a:pPr marL="0" indent="0">
              <a:buNone/>
            </a:pPr>
            <a:r>
              <a:rPr lang="en-US" b="1" dirty="0"/>
              <a:t>Once you do, go all the way:</a:t>
            </a:r>
          </a:p>
          <a:p>
            <a:r>
              <a:rPr lang="en-US" sz="1122" dirty="0"/>
              <a:t>All markets, all users, all cloud, all services</a:t>
            </a:r>
          </a:p>
          <a:p>
            <a:r>
              <a:rPr lang="en-US" sz="1122" dirty="0"/>
              <a:t>Dedicated team to manage and operate</a:t>
            </a:r>
          </a:p>
          <a:p>
            <a:pPr marL="0" indent="0">
              <a:buNone/>
            </a:pPr>
            <a:r>
              <a:rPr lang="en-US" b="1" dirty="0"/>
              <a:t>Prepare for adoption and governance challenges</a:t>
            </a:r>
            <a:r>
              <a:rPr lang="en-US" dirty="0"/>
              <a:t>:</a:t>
            </a:r>
          </a:p>
          <a:p>
            <a:r>
              <a:rPr lang="en-US" sz="1122" dirty="0"/>
              <a:t>Many existing features are hardly used</a:t>
            </a:r>
          </a:p>
          <a:p>
            <a:r>
              <a:rPr lang="en-US" sz="1122" dirty="0"/>
              <a:t>Business stakeholders want to leverage new features before we can support them</a:t>
            </a:r>
          </a:p>
          <a:p>
            <a:r>
              <a:rPr lang="en-US" sz="1122" dirty="0"/>
              <a:t>Features appear or change every 1-2 weeks – Sway, Delve, Video, Blog, etc.</a:t>
            </a:r>
          </a:p>
          <a:p>
            <a:pPr marL="0" indent="0">
              <a:buNone/>
            </a:pPr>
            <a:r>
              <a:rPr lang="en-US" b="1" dirty="0"/>
              <a:t>Our conclusion – Turn it upside down:</a:t>
            </a:r>
          </a:p>
          <a:p>
            <a:r>
              <a:rPr lang="en-US" sz="1122" dirty="0"/>
              <a:t>Instead of an IT service with business projects, intranets, and content on top. </a:t>
            </a:r>
          </a:p>
          <a:p>
            <a:r>
              <a:rPr lang="en-US" sz="1122" dirty="0"/>
              <a:t>We build a modern workplace with this as an underlying infrastructure.</a:t>
            </a:r>
          </a:p>
          <a:p>
            <a:pPr marL="0" indent="0">
              <a:buNone/>
            </a:pPr>
            <a:endParaRPr lang="da-DK" dirty="0"/>
          </a:p>
        </p:txBody>
      </p:sp>
      <p:sp>
        <p:nvSpPr>
          <p:cNvPr id="3" name="Title 2"/>
          <p:cNvSpPr>
            <a:spLocks noGrp="1"/>
          </p:cNvSpPr>
          <p:nvPr>
            <p:ph type="title"/>
          </p:nvPr>
        </p:nvSpPr>
        <p:spPr/>
        <p:txBody>
          <a:bodyPr/>
          <a:lstStyle/>
          <a:p>
            <a:r>
              <a:rPr lang="en-US" dirty="0"/>
              <a:t>Lessons learned</a:t>
            </a:r>
            <a:endParaRPr lang="da-DK" dirty="0"/>
          </a:p>
        </p:txBody>
      </p:sp>
      <p:pic>
        <p:nvPicPr>
          <p:cNvPr id="6" name="Picture 5"/>
          <p:cNvPicPr>
            <a:picLocks noChangeAspect="1"/>
          </p:cNvPicPr>
          <p:nvPr/>
        </p:nvPicPr>
        <p:blipFill rotWithShape="1">
          <a:blip r:embed="rId2"/>
          <a:srcRect t="14872"/>
          <a:stretch/>
        </p:blipFill>
        <p:spPr>
          <a:xfrm>
            <a:off x="6658887" y="1367459"/>
            <a:ext cx="3292109" cy="2101874"/>
          </a:xfrm>
          <a:prstGeom prst="rect">
            <a:avLst/>
          </a:prstGeom>
        </p:spPr>
      </p:pic>
      <p:pic>
        <p:nvPicPr>
          <p:cNvPr id="4098" name="Picture 2" descr="https://upload.wikimedia.org/wikipedia/commons/7/74/Office_365_logo.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246418" y="2909731"/>
            <a:ext cx="947019" cy="217955"/>
          </a:xfrm>
          <a:prstGeom prst="rect">
            <a:avLst/>
          </a:prstGeom>
          <a:noFill/>
          <a:extLst>
            <a:ext uri="{909E8E84-426E-40DD-AFC4-6F175D3DCCD1}">
              <a14:hiddenFill xmlns:a14="http://schemas.microsoft.com/office/drawing/2010/main">
                <a:solidFill>
                  <a:srgbClr val="FFFFFF"/>
                </a:solidFill>
              </a14:hiddenFill>
            </a:ext>
          </a:extLst>
        </p:spPr>
      </p:pic>
      <p:pic>
        <p:nvPicPr>
          <p:cNvPr id="4100" name="Picture 4" descr="http://www.sangfor.net/assets/img/posts/Microsoft-Azure_logo.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980833" y="1514342"/>
            <a:ext cx="1095973" cy="367207"/>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8"/>
          <p:cNvSpPr/>
          <p:nvPr/>
        </p:nvSpPr>
        <p:spPr bwMode="auto">
          <a:xfrm>
            <a:off x="7246418" y="2345842"/>
            <a:ext cx="1058522" cy="343564"/>
          </a:xfrm>
          <a:prstGeom prst="rect">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3260" tIns="46630" rIns="93260" bIns="46630" numCol="1" rtlCol="0" anchor="ctr" anchorCtr="0" compatLnSpc="1">
            <a:prstTxWarp prst="textNoShape">
              <a:avLst/>
            </a:prstTxWarp>
          </a:bodyPr>
          <a:lstStyle/>
          <a:p>
            <a:pPr defTabSz="932597" eaLnBrk="0" fontAlgn="base" hangingPunct="0">
              <a:spcBef>
                <a:spcPct val="0"/>
              </a:spcBef>
              <a:spcAft>
                <a:spcPct val="0"/>
              </a:spcAft>
            </a:pPr>
            <a:r>
              <a:rPr lang="en-US" sz="1122" dirty="0">
                <a:solidFill>
                  <a:schemeClr val="tx1"/>
                </a:solidFill>
                <a:latin typeface="Verdana" pitchFamily="34" charset="0"/>
              </a:rPr>
              <a:t>Scalability</a:t>
            </a:r>
            <a:endParaRPr lang="da-DK" sz="1122" dirty="0">
              <a:solidFill>
                <a:schemeClr val="tx1"/>
              </a:solidFill>
              <a:latin typeface="Verdana" pitchFamily="34" charset="0"/>
            </a:endParaRPr>
          </a:p>
        </p:txBody>
      </p:sp>
      <p:sp>
        <p:nvSpPr>
          <p:cNvPr id="12" name="Rectangle 11"/>
          <p:cNvSpPr/>
          <p:nvPr/>
        </p:nvSpPr>
        <p:spPr bwMode="auto">
          <a:xfrm>
            <a:off x="7980833" y="1977380"/>
            <a:ext cx="1058522" cy="343564"/>
          </a:xfrm>
          <a:prstGeom prst="rect">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3260" tIns="46630" rIns="93260" bIns="46630" numCol="1" rtlCol="0" anchor="ctr" anchorCtr="0" compatLnSpc="1">
            <a:prstTxWarp prst="textNoShape">
              <a:avLst/>
            </a:prstTxWarp>
          </a:bodyPr>
          <a:lstStyle/>
          <a:p>
            <a:pPr defTabSz="932597" eaLnBrk="0" fontAlgn="base" hangingPunct="0">
              <a:spcBef>
                <a:spcPct val="0"/>
              </a:spcBef>
              <a:spcAft>
                <a:spcPct val="0"/>
              </a:spcAft>
            </a:pPr>
            <a:r>
              <a:rPr lang="en-US" sz="1122" dirty="0">
                <a:solidFill>
                  <a:schemeClr val="tx1"/>
                </a:solidFill>
                <a:latin typeface="Verdana" pitchFamily="34" charset="0"/>
              </a:rPr>
              <a:t>Agility</a:t>
            </a:r>
            <a:endParaRPr lang="da-DK" sz="1122" dirty="0">
              <a:solidFill>
                <a:schemeClr val="tx1"/>
              </a:solidFill>
              <a:latin typeface="Verdana" pitchFamily="34" charset="0"/>
            </a:endParaRPr>
          </a:p>
        </p:txBody>
      </p:sp>
      <p:sp>
        <p:nvSpPr>
          <p:cNvPr id="10" name="Rectangle 9"/>
          <p:cNvSpPr/>
          <p:nvPr/>
        </p:nvSpPr>
        <p:spPr bwMode="auto">
          <a:xfrm rot="1081785">
            <a:off x="2776819" y="1946908"/>
            <a:ext cx="7315200" cy="1572717"/>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000" dirty="0">
                <a:gradFill>
                  <a:gsLst>
                    <a:gs pos="5439">
                      <a:srgbClr val="F8F8F8"/>
                    </a:gs>
                    <a:gs pos="10000">
                      <a:srgbClr val="F8F8F8"/>
                    </a:gs>
                  </a:gsLst>
                  <a:lin ang="5400000" scaled="0"/>
                </a:gradFill>
              </a:rPr>
              <a:t>Draft</a:t>
            </a:r>
          </a:p>
        </p:txBody>
      </p:sp>
    </p:spTree>
    <p:extLst>
      <p:ext uri="{BB962C8B-B14F-4D97-AF65-F5344CB8AC3E}">
        <p14:creationId xmlns:p14="http://schemas.microsoft.com/office/powerpoint/2010/main" val="1419867471"/>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74638" y="1212850"/>
            <a:ext cx="11887200" cy="5336846"/>
          </a:xfrm>
        </p:spPr>
        <p:txBody>
          <a:bodyPr/>
          <a:lstStyle/>
          <a:p>
            <a:pPr fontAlgn="base"/>
            <a:r>
              <a:rPr lang="en-US" sz="1800" dirty="0"/>
              <a:t>Along the way, we learned several important lessons. First, establish common user management and support services that focus on employees. We used local service desks and integrated global processes behind the scenes to give people a seamless experience. Second, build a strong global team to support local IT, drive governance and deliver a standardized Office 365 service across markets. And third, focus on establishing firm protocols around change management, incident management and service ownership to handle incidents and the day-to-day changes in the service.</a:t>
            </a:r>
          </a:p>
          <a:p>
            <a:pPr fontAlgn="base"/>
            <a:r>
              <a:rPr lang="en-US" sz="1800" dirty="0"/>
              <a:t>To help with change management and adoption, we created corporate Office 365 training materials with a consistent approach to using the services that discouraged customization and kept complexity to a minimum. As a design principle, we use the default settings in Office 365 for at least six months. After that, any time we make a change, it’s either a global change or a legal requirement. For incident management, the local service desks and IT departments escalate any Office 365 issue to a central team in Western Europe. For service ownership, I make the overarching policy decisions, which are then managed on a day-to-day basis by two global administrators, who in turn manage our outsourced global operations team supporting the local IT shops.</a:t>
            </a:r>
          </a:p>
          <a:p>
            <a:pPr fontAlgn="base"/>
            <a:r>
              <a:rPr lang="en-US" sz="1800" dirty="0"/>
              <a:t>With a relatively small amount of work from our IT organization, we delivered a new service to the business that is transforming how people at Carlsberg collaborate across the globe. Our top executives connect from St. Petersburg, Hong Kong and Switzerland using Skype for Business Online, and our business departments are brainstorming and collaborating using interactive video meetings with hundreds of people participating to bring products to market faster. We never thought we could come so far so quickly, but thanks to Office 365, we are improving individual productivity, virtual teamwork and business efficiencies to stay ahead in the global market.</a:t>
            </a:r>
          </a:p>
          <a:p>
            <a:endParaRPr lang="en-US" sz="1800" dirty="0"/>
          </a:p>
        </p:txBody>
      </p:sp>
      <p:sp>
        <p:nvSpPr>
          <p:cNvPr id="3" name="Title 2"/>
          <p:cNvSpPr>
            <a:spLocks noGrp="1"/>
          </p:cNvSpPr>
          <p:nvPr>
            <p:ph type="title"/>
          </p:nvPr>
        </p:nvSpPr>
        <p:spPr/>
        <p:txBody>
          <a:bodyPr/>
          <a:lstStyle/>
          <a:p>
            <a:endParaRPr lang="en-US"/>
          </a:p>
        </p:txBody>
      </p:sp>
      <p:sp>
        <p:nvSpPr>
          <p:cNvPr id="4" name="Rectangle 3"/>
          <p:cNvSpPr/>
          <p:nvPr/>
        </p:nvSpPr>
        <p:spPr bwMode="auto">
          <a:xfrm rot="1081785">
            <a:off x="2776819" y="1946908"/>
            <a:ext cx="7315200" cy="1572717"/>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000" dirty="0">
                <a:gradFill>
                  <a:gsLst>
                    <a:gs pos="5439">
                      <a:srgbClr val="F8F8F8"/>
                    </a:gs>
                    <a:gs pos="10000">
                      <a:srgbClr val="F8F8F8"/>
                    </a:gs>
                  </a:gsLst>
                  <a:lin ang="5400000" scaled="0"/>
                </a:gradFill>
              </a:rPr>
              <a:t>Draft</a:t>
            </a:r>
          </a:p>
        </p:txBody>
      </p:sp>
    </p:spTree>
    <p:extLst>
      <p:ext uri="{BB962C8B-B14F-4D97-AF65-F5344CB8AC3E}">
        <p14:creationId xmlns:p14="http://schemas.microsoft.com/office/powerpoint/2010/main" val="4053028163"/>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731837" y="136892"/>
            <a:ext cx="9217024" cy="6884988"/>
          </a:xfrm>
          <a:prstGeom prst="rect">
            <a:avLst/>
          </a:prstGeom>
        </p:spPr>
      </p:pic>
      <p:pic>
        <p:nvPicPr>
          <p:cNvPr id="5" name="Picture 4"/>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262608" y="1541066"/>
            <a:ext cx="2740094" cy="1968996"/>
          </a:xfrm>
          <a:prstGeom prst="rect">
            <a:avLst/>
          </a:prstGeom>
        </p:spPr>
      </p:pic>
      <p:pic>
        <p:nvPicPr>
          <p:cNvPr id="6" name="Picture 5"/>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3137384" y="1541067"/>
            <a:ext cx="2754773" cy="1968995"/>
          </a:xfrm>
          <a:prstGeom prst="rect">
            <a:avLst/>
          </a:prstGeom>
        </p:spPr>
      </p:pic>
      <p:pic>
        <p:nvPicPr>
          <p:cNvPr id="7" name="Picture 6"/>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6014171" y="1541066"/>
            <a:ext cx="2772360" cy="1968996"/>
          </a:xfrm>
          <a:prstGeom prst="rect">
            <a:avLst/>
          </a:prstGeom>
        </p:spPr>
      </p:pic>
    </p:spTree>
    <p:extLst>
      <p:ext uri="{BB962C8B-B14F-4D97-AF65-F5344CB8AC3E}">
        <p14:creationId xmlns:p14="http://schemas.microsoft.com/office/powerpoint/2010/main" val="2510653518"/>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881" y="1"/>
            <a:ext cx="12498376" cy="6994525"/>
          </a:xfrm>
          <a:prstGeom prst="rect">
            <a:avLst/>
          </a:prstGeom>
        </p:spPr>
      </p:pic>
      <p:sp>
        <p:nvSpPr>
          <p:cNvPr id="2" name="Title 1"/>
          <p:cNvSpPr>
            <a:spLocks noGrp="1"/>
          </p:cNvSpPr>
          <p:nvPr>
            <p:ph type="title"/>
          </p:nvPr>
        </p:nvSpPr>
        <p:spPr/>
        <p:txBody>
          <a:bodyPr/>
          <a:lstStyle/>
          <a:p>
            <a:r>
              <a:rPr lang="en-US" dirty="0"/>
              <a:t>Think about football</a:t>
            </a:r>
          </a:p>
        </p:txBody>
      </p:sp>
    </p:spTree>
    <p:extLst>
      <p:ext uri="{BB962C8B-B14F-4D97-AF65-F5344CB8AC3E}">
        <p14:creationId xmlns:p14="http://schemas.microsoft.com/office/powerpoint/2010/main" val="41790508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100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20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p:cNvSpPr txBox="1"/>
          <p:nvPr/>
        </p:nvSpPr>
        <p:spPr>
          <a:xfrm>
            <a:off x="5225950" y="2796198"/>
            <a:ext cx="6462851" cy="864347"/>
          </a:xfrm>
          <a:prstGeom prst="rect">
            <a:avLst/>
          </a:prstGeom>
          <a:noFill/>
        </p:spPr>
        <p:txBody>
          <a:bodyPr wrap="square" lIns="0" tIns="0" rIns="0" bIns="0" rtlCol="0" anchor="ctr" anchorCtr="0">
            <a:spAutoFit/>
          </a:bodyPr>
          <a:lstStyle/>
          <a:p>
            <a:r>
              <a:rPr lang="en-US" sz="5507" dirty="0"/>
              <a:t>Custom icons</a:t>
            </a:r>
          </a:p>
        </p:txBody>
      </p:sp>
      <p:grpSp>
        <p:nvGrpSpPr>
          <p:cNvPr id="9" name="Group 8"/>
          <p:cNvGrpSpPr/>
          <p:nvPr/>
        </p:nvGrpSpPr>
        <p:grpSpPr>
          <a:xfrm rot="1406986">
            <a:off x="3169991" y="1727988"/>
            <a:ext cx="672511" cy="3274825"/>
            <a:chOff x="3549650" y="4835525"/>
            <a:chExt cx="182563" cy="889000"/>
          </a:xfrm>
        </p:grpSpPr>
        <p:sp>
          <p:nvSpPr>
            <p:cNvPr id="10" name="Freeform 130"/>
            <p:cNvSpPr>
              <a:spLocks/>
            </p:cNvSpPr>
            <p:nvPr/>
          </p:nvSpPr>
          <p:spPr bwMode="auto">
            <a:xfrm>
              <a:off x="3549650" y="4911725"/>
              <a:ext cx="182563" cy="812800"/>
            </a:xfrm>
            <a:custGeom>
              <a:avLst/>
              <a:gdLst>
                <a:gd name="T0" fmla="*/ 34 w 48"/>
                <a:gd name="T1" fmla="*/ 0 h 214"/>
                <a:gd name="T2" fmla="*/ 36 w 48"/>
                <a:gd name="T3" fmla="*/ 0 h 214"/>
                <a:gd name="T4" fmla="*/ 48 w 48"/>
                <a:gd name="T5" fmla="*/ 12 h 214"/>
                <a:gd name="T6" fmla="*/ 48 w 48"/>
                <a:gd name="T7" fmla="*/ 179 h 214"/>
                <a:gd name="T8" fmla="*/ 24 w 48"/>
                <a:gd name="T9" fmla="*/ 214 h 214"/>
                <a:gd name="T10" fmla="*/ 0 w 48"/>
                <a:gd name="T11" fmla="*/ 179 h 214"/>
                <a:gd name="T12" fmla="*/ 0 w 48"/>
                <a:gd name="T13" fmla="*/ 12 h 214"/>
                <a:gd name="T14" fmla="*/ 12 w 48"/>
                <a:gd name="T15" fmla="*/ 0 h 214"/>
                <a:gd name="T16" fmla="*/ 14 w 48"/>
                <a:gd name="T17" fmla="*/ 0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 h="214">
                  <a:moveTo>
                    <a:pt x="34" y="0"/>
                  </a:moveTo>
                  <a:cubicBezTo>
                    <a:pt x="36" y="0"/>
                    <a:pt x="36" y="0"/>
                    <a:pt x="36" y="0"/>
                  </a:cubicBezTo>
                  <a:cubicBezTo>
                    <a:pt x="43" y="0"/>
                    <a:pt x="48" y="5"/>
                    <a:pt x="48" y="12"/>
                  </a:cubicBezTo>
                  <a:cubicBezTo>
                    <a:pt x="48" y="179"/>
                    <a:pt x="48" y="179"/>
                    <a:pt x="48" y="179"/>
                  </a:cubicBezTo>
                  <a:cubicBezTo>
                    <a:pt x="24" y="214"/>
                    <a:pt x="24" y="214"/>
                    <a:pt x="24" y="214"/>
                  </a:cubicBezTo>
                  <a:cubicBezTo>
                    <a:pt x="0" y="179"/>
                    <a:pt x="0" y="179"/>
                    <a:pt x="0" y="179"/>
                  </a:cubicBezTo>
                  <a:cubicBezTo>
                    <a:pt x="0" y="12"/>
                    <a:pt x="0" y="12"/>
                    <a:pt x="0" y="12"/>
                  </a:cubicBezTo>
                  <a:cubicBezTo>
                    <a:pt x="0" y="5"/>
                    <a:pt x="5" y="0"/>
                    <a:pt x="12" y="0"/>
                  </a:cubicBezTo>
                  <a:cubicBezTo>
                    <a:pt x="14" y="0"/>
                    <a:pt x="14" y="0"/>
                    <a:pt x="14" y="0"/>
                  </a:cubicBezTo>
                </a:path>
              </a:pathLst>
            </a:custGeom>
            <a:noFill/>
            <a:ln w="22225" cap="rnd">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36"/>
            </a:p>
          </p:txBody>
        </p:sp>
        <p:sp>
          <p:nvSpPr>
            <p:cNvPr id="11" name="Freeform 131"/>
            <p:cNvSpPr>
              <a:spLocks/>
            </p:cNvSpPr>
            <p:nvPr/>
          </p:nvSpPr>
          <p:spPr bwMode="auto">
            <a:xfrm>
              <a:off x="3602038" y="4835525"/>
              <a:ext cx="76200" cy="441325"/>
            </a:xfrm>
            <a:custGeom>
              <a:avLst/>
              <a:gdLst>
                <a:gd name="T0" fmla="*/ 20 w 20"/>
                <a:gd name="T1" fmla="*/ 5 h 116"/>
                <a:gd name="T2" fmla="*/ 15 w 20"/>
                <a:gd name="T3" fmla="*/ 0 h 116"/>
                <a:gd name="T4" fmla="*/ 5 w 20"/>
                <a:gd name="T5" fmla="*/ 0 h 116"/>
                <a:gd name="T6" fmla="*/ 0 w 20"/>
                <a:gd name="T7" fmla="*/ 5 h 116"/>
                <a:gd name="T8" fmla="*/ 0 w 20"/>
                <a:gd name="T9" fmla="*/ 111 h 116"/>
                <a:gd name="T10" fmla="*/ 5 w 20"/>
                <a:gd name="T11" fmla="*/ 116 h 116"/>
                <a:gd name="T12" fmla="*/ 15 w 20"/>
                <a:gd name="T13" fmla="*/ 116 h 116"/>
                <a:gd name="T14" fmla="*/ 20 w 20"/>
                <a:gd name="T15" fmla="*/ 111 h 116"/>
                <a:gd name="T16" fmla="*/ 20 w 20"/>
                <a:gd name="T17" fmla="*/ 5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116">
                  <a:moveTo>
                    <a:pt x="20" y="5"/>
                  </a:moveTo>
                  <a:cubicBezTo>
                    <a:pt x="20" y="2"/>
                    <a:pt x="18" y="0"/>
                    <a:pt x="15" y="0"/>
                  </a:cubicBezTo>
                  <a:cubicBezTo>
                    <a:pt x="5" y="0"/>
                    <a:pt x="5" y="0"/>
                    <a:pt x="5" y="0"/>
                  </a:cubicBezTo>
                  <a:cubicBezTo>
                    <a:pt x="2" y="0"/>
                    <a:pt x="0" y="2"/>
                    <a:pt x="0" y="5"/>
                  </a:cubicBezTo>
                  <a:cubicBezTo>
                    <a:pt x="0" y="111"/>
                    <a:pt x="0" y="111"/>
                    <a:pt x="0" y="111"/>
                  </a:cubicBezTo>
                  <a:cubicBezTo>
                    <a:pt x="0" y="114"/>
                    <a:pt x="2" y="116"/>
                    <a:pt x="5" y="116"/>
                  </a:cubicBezTo>
                  <a:cubicBezTo>
                    <a:pt x="15" y="116"/>
                    <a:pt x="15" y="116"/>
                    <a:pt x="15" y="116"/>
                  </a:cubicBezTo>
                  <a:cubicBezTo>
                    <a:pt x="18" y="116"/>
                    <a:pt x="20" y="114"/>
                    <a:pt x="20" y="111"/>
                  </a:cubicBezTo>
                  <a:lnTo>
                    <a:pt x="20" y="5"/>
                  </a:lnTo>
                  <a:close/>
                </a:path>
              </a:pathLst>
            </a:custGeom>
            <a:noFill/>
            <a:ln w="22225" cap="rnd">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467752442"/>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hallenges</a:t>
            </a:r>
          </a:p>
        </p:txBody>
      </p:sp>
    </p:spTree>
    <p:extLst>
      <p:ext uri="{BB962C8B-B14F-4D97-AF65-F5344CB8AC3E}">
        <p14:creationId xmlns:p14="http://schemas.microsoft.com/office/powerpoint/2010/main" val="3591130864"/>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echnology</a:t>
            </a:r>
          </a:p>
        </p:txBody>
      </p:sp>
      <p:sp>
        <p:nvSpPr>
          <p:cNvPr id="21" name="Oval 18"/>
          <p:cNvSpPr>
            <a:spLocks noChangeArrowheads="1"/>
          </p:cNvSpPr>
          <p:nvPr/>
        </p:nvSpPr>
        <p:spPr bwMode="auto">
          <a:xfrm>
            <a:off x="10105564" y="1528549"/>
            <a:ext cx="1119124" cy="1119124"/>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1136" name="Freeform 24"/>
          <p:cNvSpPr>
            <a:spLocks noEditPoints="1"/>
          </p:cNvSpPr>
          <p:nvPr/>
        </p:nvSpPr>
        <p:spPr bwMode="auto">
          <a:xfrm>
            <a:off x="10449196" y="1715291"/>
            <a:ext cx="432524" cy="745640"/>
          </a:xfrm>
          <a:custGeom>
            <a:avLst/>
            <a:gdLst>
              <a:gd name="T0" fmla="*/ 138 w 276"/>
              <a:gd name="T1" fmla="*/ 454 h 475"/>
              <a:gd name="T2" fmla="*/ 159 w 276"/>
              <a:gd name="T3" fmla="*/ 433 h 475"/>
              <a:gd name="T4" fmla="*/ 138 w 276"/>
              <a:gd name="T5" fmla="*/ 413 h 475"/>
              <a:gd name="T6" fmla="*/ 117 w 276"/>
              <a:gd name="T7" fmla="*/ 433 h 475"/>
              <a:gd name="T8" fmla="*/ 138 w 276"/>
              <a:gd name="T9" fmla="*/ 454 h 475"/>
              <a:gd name="T10" fmla="*/ 138 w 276"/>
              <a:gd name="T11" fmla="*/ 422 h 475"/>
              <a:gd name="T12" fmla="*/ 149 w 276"/>
              <a:gd name="T13" fmla="*/ 433 h 475"/>
              <a:gd name="T14" fmla="*/ 138 w 276"/>
              <a:gd name="T15" fmla="*/ 445 h 475"/>
              <a:gd name="T16" fmla="*/ 127 w 276"/>
              <a:gd name="T17" fmla="*/ 433 h 475"/>
              <a:gd name="T18" fmla="*/ 138 w 276"/>
              <a:gd name="T19" fmla="*/ 422 h 475"/>
              <a:gd name="T20" fmla="*/ 174 w 276"/>
              <a:gd name="T21" fmla="*/ 31 h 475"/>
              <a:gd name="T22" fmla="*/ 102 w 276"/>
              <a:gd name="T23" fmla="*/ 31 h 475"/>
              <a:gd name="T24" fmla="*/ 97 w 276"/>
              <a:gd name="T25" fmla="*/ 35 h 475"/>
              <a:gd name="T26" fmla="*/ 102 w 276"/>
              <a:gd name="T27" fmla="*/ 40 h 475"/>
              <a:gd name="T28" fmla="*/ 174 w 276"/>
              <a:gd name="T29" fmla="*/ 40 h 475"/>
              <a:gd name="T30" fmla="*/ 179 w 276"/>
              <a:gd name="T31" fmla="*/ 35 h 475"/>
              <a:gd name="T32" fmla="*/ 174 w 276"/>
              <a:gd name="T33" fmla="*/ 31 h 475"/>
              <a:gd name="T34" fmla="*/ 241 w 276"/>
              <a:gd name="T35" fmla="*/ 0 h 475"/>
              <a:gd name="T36" fmla="*/ 35 w 276"/>
              <a:gd name="T37" fmla="*/ 0 h 475"/>
              <a:gd name="T38" fmla="*/ 0 w 276"/>
              <a:gd name="T39" fmla="*/ 36 h 475"/>
              <a:gd name="T40" fmla="*/ 0 w 276"/>
              <a:gd name="T41" fmla="*/ 439 h 475"/>
              <a:gd name="T42" fmla="*/ 35 w 276"/>
              <a:gd name="T43" fmla="*/ 475 h 475"/>
              <a:gd name="T44" fmla="*/ 241 w 276"/>
              <a:gd name="T45" fmla="*/ 475 h 475"/>
              <a:gd name="T46" fmla="*/ 276 w 276"/>
              <a:gd name="T47" fmla="*/ 439 h 475"/>
              <a:gd name="T48" fmla="*/ 276 w 276"/>
              <a:gd name="T49" fmla="*/ 36 h 475"/>
              <a:gd name="T50" fmla="*/ 241 w 276"/>
              <a:gd name="T51" fmla="*/ 0 h 475"/>
              <a:gd name="T52" fmla="*/ 267 w 276"/>
              <a:gd name="T53" fmla="*/ 439 h 475"/>
              <a:gd name="T54" fmla="*/ 241 w 276"/>
              <a:gd name="T55" fmla="*/ 465 h 475"/>
              <a:gd name="T56" fmla="*/ 35 w 276"/>
              <a:gd name="T57" fmla="*/ 465 h 475"/>
              <a:gd name="T58" fmla="*/ 9 w 276"/>
              <a:gd name="T59" fmla="*/ 439 h 475"/>
              <a:gd name="T60" fmla="*/ 9 w 276"/>
              <a:gd name="T61" fmla="*/ 399 h 475"/>
              <a:gd name="T62" fmla="*/ 267 w 276"/>
              <a:gd name="T63" fmla="*/ 399 h 475"/>
              <a:gd name="T64" fmla="*/ 267 w 276"/>
              <a:gd name="T65" fmla="*/ 439 h 475"/>
              <a:gd name="T66" fmla="*/ 267 w 276"/>
              <a:gd name="T67" fmla="*/ 390 h 475"/>
              <a:gd name="T68" fmla="*/ 9 w 276"/>
              <a:gd name="T69" fmla="*/ 390 h 475"/>
              <a:gd name="T70" fmla="*/ 9 w 276"/>
              <a:gd name="T71" fmla="*/ 70 h 475"/>
              <a:gd name="T72" fmla="*/ 267 w 276"/>
              <a:gd name="T73" fmla="*/ 70 h 475"/>
              <a:gd name="T74" fmla="*/ 267 w 276"/>
              <a:gd name="T75" fmla="*/ 390 h 475"/>
              <a:gd name="T76" fmla="*/ 267 w 276"/>
              <a:gd name="T77" fmla="*/ 60 h 475"/>
              <a:gd name="T78" fmla="*/ 9 w 276"/>
              <a:gd name="T79" fmla="*/ 60 h 475"/>
              <a:gd name="T80" fmla="*/ 9 w 276"/>
              <a:gd name="T81" fmla="*/ 36 h 475"/>
              <a:gd name="T82" fmla="*/ 35 w 276"/>
              <a:gd name="T83" fmla="*/ 9 h 475"/>
              <a:gd name="T84" fmla="*/ 241 w 276"/>
              <a:gd name="T85" fmla="*/ 9 h 475"/>
              <a:gd name="T86" fmla="*/ 267 w 276"/>
              <a:gd name="T87" fmla="*/ 36 h 475"/>
              <a:gd name="T88" fmla="*/ 267 w 276"/>
              <a:gd name="T89" fmla="*/ 60 h 4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76" h="475">
                <a:moveTo>
                  <a:pt x="138" y="454"/>
                </a:moveTo>
                <a:cubicBezTo>
                  <a:pt x="149" y="454"/>
                  <a:pt x="159" y="445"/>
                  <a:pt x="159" y="433"/>
                </a:cubicBezTo>
                <a:cubicBezTo>
                  <a:pt x="159" y="422"/>
                  <a:pt x="149" y="413"/>
                  <a:pt x="138" y="413"/>
                </a:cubicBezTo>
                <a:cubicBezTo>
                  <a:pt x="127" y="413"/>
                  <a:pt x="117" y="422"/>
                  <a:pt x="117" y="433"/>
                </a:cubicBezTo>
                <a:cubicBezTo>
                  <a:pt x="117" y="445"/>
                  <a:pt x="127" y="454"/>
                  <a:pt x="138" y="454"/>
                </a:cubicBezTo>
                <a:close/>
                <a:moveTo>
                  <a:pt x="138" y="422"/>
                </a:moveTo>
                <a:cubicBezTo>
                  <a:pt x="144" y="422"/>
                  <a:pt x="149" y="427"/>
                  <a:pt x="149" y="433"/>
                </a:cubicBezTo>
                <a:cubicBezTo>
                  <a:pt x="149" y="440"/>
                  <a:pt x="144" y="445"/>
                  <a:pt x="138" y="445"/>
                </a:cubicBezTo>
                <a:cubicBezTo>
                  <a:pt x="132" y="445"/>
                  <a:pt x="127" y="440"/>
                  <a:pt x="127" y="433"/>
                </a:cubicBezTo>
                <a:cubicBezTo>
                  <a:pt x="127" y="427"/>
                  <a:pt x="132" y="422"/>
                  <a:pt x="138" y="422"/>
                </a:cubicBezTo>
                <a:close/>
                <a:moveTo>
                  <a:pt x="174" y="31"/>
                </a:moveTo>
                <a:cubicBezTo>
                  <a:pt x="102" y="31"/>
                  <a:pt x="102" y="31"/>
                  <a:pt x="102" y="31"/>
                </a:cubicBezTo>
                <a:cubicBezTo>
                  <a:pt x="99" y="31"/>
                  <a:pt x="97" y="33"/>
                  <a:pt x="97" y="35"/>
                </a:cubicBezTo>
                <a:cubicBezTo>
                  <a:pt x="97" y="38"/>
                  <a:pt x="99" y="40"/>
                  <a:pt x="102" y="40"/>
                </a:cubicBezTo>
                <a:cubicBezTo>
                  <a:pt x="174" y="40"/>
                  <a:pt x="174" y="40"/>
                  <a:pt x="174" y="40"/>
                </a:cubicBezTo>
                <a:cubicBezTo>
                  <a:pt x="177" y="40"/>
                  <a:pt x="179" y="38"/>
                  <a:pt x="179" y="35"/>
                </a:cubicBezTo>
                <a:cubicBezTo>
                  <a:pt x="179" y="33"/>
                  <a:pt x="177" y="31"/>
                  <a:pt x="174" y="31"/>
                </a:cubicBezTo>
                <a:close/>
                <a:moveTo>
                  <a:pt x="241" y="0"/>
                </a:moveTo>
                <a:cubicBezTo>
                  <a:pt x="35" y="0"/>
                  <a:pt x="35" y="0"/>
                  <a:pt x="35" y="0"/>
                </a:cubicBezTo>
                <a:cubicBezTo>
                  <a:pt x="16" y="0"/>
                  <a:pt x="0" y="16"/>
                  <a:pt x="0" y="36"/>
                </a:cubicBezTo>
                <a:cubicBezTo>
                  <a:pt x="0" y="439"/>
                  <a:pt x="0" y="439"/>
                  <a:pt x="0" y="439"/>
                </a:cubicBezTo>
                <a:cubicBezTo>
                  <a:pt x="0" y="459"/>
                  <a:pt x="16" y="475"/>
                  <a:pt x="35" y="475"/>
                </a:cubicBezTo>
                <a:cubicBezTo>
                  <a:pt x="241" y="475"/>
                  <a:pt x="241" y="475"/>
                  <a:pt x="241" y="475"/>
                </a:cubicBezTo>
                <a:cubicBezTo>
                  <a:pt x="260" y="475"/>
                  <a:pt x="276" y="459"/>
                  <a:pt x="276" y="439"/>
                </a:cubicBezTo>
                <a:cubicBezTo>
                  <a:pt x="276" y="36"/>
                  <a:pt x="276" y="36"/>
                  <a:pt x="276" y="36"/>
                </a:cubicBezTo>
                <a:cubicBezTo>
                  <a:pt x="276" y="16"/>
                  <a:pt x="260" y="0"/>
                  <a:pt x="241" y="0"/>
                </a:cubicBezTo>
                <a:close/>
                <a:moveTo>
                  <a:pt x="267" y="439"/>
                </a:moveTo>
                <a:cubicBezTo>
                  <a:pt x="267" y="454"/>
                  <a:pt x="255" y="465"/>
                  <a:pt x="241" y="465"/>
                </a:cubicBezTo>
                <a:cubicBezTo>
                  <a:pt x="35" y="465"/>
                  <a:pt x="35" y="465"/>
                  <a:pt x="35" y="465"/>
                </a:cubicBezTo>
                <a:cubicBezTo>
                  <a:pt x="21" y="465"/>
                  <a:pt x="9" y="454"/>
                  <a:pt x="9" y="439"/>
                </a:cubicBezTo>
                <a:cubicBezTo>
                  <a:pt x="9" y="399"/>
                  <a:pt x="9" y="399"/>
                  <a:pt x="9" y="399"/>
                </a:cubicBezTo>
                <a:cubicBezTo>
                  <a:pt x="267" y="399"/>
                  <a:pt x="267" y="399"/>
                  <a:pt x="267" y="399"/>
                </a:cubicBezTo>
                <a:lnTo>
                  <a:pt x="267" y="439"/>
                </a:lnTo>
                <a:close/>
                <a:moveTo>
                  <a:pt x="267" y="390"/>
                </a:moveTo>
                <a:cubicBezTo>
                  <a:pt x="9" y="390"/>
                  <a:pt x="9" y="390"/>
                  <a:pt x="9" y="390"/>
                </a:cubicBezTo>
                <a:cubicBezTo>
                  <a:pt x="9" y="70"/>
                  <a:pt x="9" y="70"/>
                  <a:pt x="9" y="70"/>
                </a:cubicBezTo>
                <a:cubicBezTo>
                  <a:pt x="267" y="70"/>
                  <a:pt x="267" y="70"/>
                  <a:pt x="267" y="70"/>
                </a:cubicBezTo>
                <a:lnTo>
                  <a:pt x="267" y="390"/>
                </a:lnTo>
                <a:close/>
                <a:moveTo>
                  <a:pt x="267" y="60"/>
                </a:moveTo>
                <a:cubicBezTo>
                  <a:pt x="9" y="60"/>
                  <a:pt x="9" y="60"/>
                  <a:pt x="9" y="60"/>
                </a:cubicBezTo>
                <a:cubicBezTo>
                  <a:pt x="9" y="36"/>
                  <a:pt x="9" y="36"/>
                  <a:pt x="9" y="36"/>
                </a:cubicBezTo>
                <a:cubicBezTo>
                  <a:pt x="9" y="21"/>
                  <a:pt x="21" y="9"/>
                  <a:pt x="35" y="9"/>
                </a:cubicBezTo>
                <a:cubicBezTo>
                  <a:pt x="241" y="9"/>
                  <a:pt x="241" y="9"/>
                  <a:pt x="241" y="9"/>
                </a:cubicBezTo>
                <a:cubicBezTo>
                  <a:pt x="255" y="9"/>
                  <a:pt x="267" y="21"/>
                  <a:pt x="267" y="36"/>
                </a:cubicBezTo>
                <a:lnTo>
                  <a:pt x="267" y="60"/>
                </a:ln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22" name="Oval 19"/>
          <p:cNvSpPr>
            <a:spLocks noChangeArrowheads="1"/>
          </p:cNvSpPr>
          <p:nvPr/>
        </p:nvSpPr>
        <p:spPr bwMode="auto">
          <a:xfrm>
            <a:off x="8347594" y="1528549"/>
            <a:ext cx="1119124" cy="1119124"/>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1157" name="Freeform 25"/>
          <p:cNvSpPr>
            <a:spLocks noEditPoints="1"/>
          </p:cNvSpPr>
          <p:nvPr/>
        </p:nvSpPr>
        <p:spPr bwMode="auto">
          <a:xfrm>
            <a:off x="8558135" y="1801685"/>
            <a:ext cx="696713" cy="572853"/>
          </a:xfrm>
          <a:custGeom>
            <a:avLst/>
            <a:gdLst>
              <a:gd name="T0" fmla="*/ 414 w 444"/>
              <a:gd name="T1" fmla="*/ 172 h 365"/>
              <a:gd name="T2" fmla="*/ 392 w 444"/>
              <a:gd name="T3" fmla="*/ 0 h 365"/>
              <a:gd name="T4" fmla="*/ 0 w 444"/>
              <a:gd name="T5" fmla="*/ 22 h 365"/>
              <a:gd name="T6" fmla="*/ 22 w 444"/>
              <a:gd name="T7" fmla="*/ 283 h 365"/>
              <a:gd name="T8" fmla="*/ 144 w 444"/>
              <a:gd name="T9" fmla="*/ 355 h 365"/>
              <a:gd name="T10" fmla="*/ 118 w 444"/>
              <a:gd name="T11" fmla="*/ 360 h 365"/>
              <a:gd name="T12" fmla="*/ 291 w 444"/>
              <a:gd name="T13" fmla="*/ 365 h 365"/>
              <a:gd name="T14" fmla="*/ 291 w 444"/>
              <a:gd name="T15" fmla="*/ 355 h 365"/>
              <a:gd name="T16" fmla="*/ 254 w 444"/>
              <a:gd name="T17" fmla="*/ 283 h 365"/>
              <a:gd name="T18" fmla="*/ 326 w 444"/>
              <a:gd name="T19" fmla="*/ 348 h 365"/>
              <a:gd name="T20" fmla="*/ 427 w 444"/>
              <a:gd name="T21" fmla="*/ 365 h 365"/>
              <a:gd name="T22" fmla="*/ 444 w 444"/>
              <a:gd name="T23" fmla="*/ 189 h 365"/>
              <a:gd name="T24" fmla="*/ 10 w 444"/>
              <a:gd name="T25" fmla="*/ 22 h 365"/>
              <a:gd name="T26" fmla="*/ 392 w 444"/>
              <a:gd name="T27" fmla="*/ 9 h 365"/>
              <a:gd name="T28" fmla="*/ 404 w 444"/>
              <a:gd name="T29" fmla="*/ 36 h 365"/>
              <a:gd name="T30" fmla="*/ 10 w 444"/>
              <a:gd name="T31" fmla="*/ 22 h 365"/>
              <a:gd name="T32" fmla="*/ 158 w 444"/>
              <a:gd name="T33" fmla="*/ 355 h 365"/>
              <a:gd name="T34" fmla="*/ 245 w 444"/>
              <a:gd name="T35" fmla="*/ 283 h 365"/>
              <a:gd name="T36" fmla="*/ 259 w 444"/>
              <a:gd name="T37" fmla="*/ 355 h 365"/>
              <a:gd name="T38" fmla="*/ 22 w 444"/>
              <a:gd name="T39" fmla="*/ 273 h 365"/>
              <a:gd name="T40" fmla="*/ 10 w 444"/>
              <a:gd name="T41" fmla="*/ 247 h 365"/>
              <a:gd name="T42" fmla="*/ 326 w 444"/>
              <a:gd name="T43" fmla="*/ 273 h 365"/>
              <a:gd name="T44" fmla="*/ 326 w 444"/>
              <a:gd name="T45" fmla="*/ 237 h 365"/>
              <a:gd name="T46" fmla="*/ 10 w 444"/>
              <a:gd name="T47" fmla="*/ 45 h 365"/>
              <a:gd name="T48" fmla="*/ 404 w 444"/>
              <a:gd name="T49" fmla="*/ 172 h 365"/>
              <a:gd name="T50" fmla="*/ 326 w 444"/>
              <a:gd name="T51" fmla="*/ 189 h 365"/>
              <a:gd name="T52" fmla="*/ 427 w 444"/>
              <a:gd name="T53" fmla="*/ 355 h 365"/>
              <a:gd name="T54" fmla="*/ 336 w 444"/>
              <a:gd name="T55" fmla="*/ 348 h 365"/>
              <a:gd name="T56" fmla="*/ 434 w 444"/>
              <a:gd name="T57" fmla="*/ 339 h 365"/>
              <a:gd name="T58" fmla="*/ 434 w 444"/>
              <a:gd name="T59" fmla="*/ 329 h 365"/>
              <a:gd name="T60" fmla="*/ 336 w 444"/>
              <a:gd name="T61" fmla="*/ 205 h 365"/>
              <a:gd name="T62" fmla="*/ 434 w 444"/>
              <a:gd name="T63" fmla="*/ 329 h 365"/>
              <a:gd name="T64" fmla="*/ 336 w 444"/>
              <a:gd name="T65" fmla="*/ 196 h 365"/>
              <a:gd name="T66" fmla="*/ 343 w 444"/>
              <a:gd name="T67" fmla="*/ 181 h 365"/>
              <a:gd name="T68" fmla="*/ 434 w 444"/>
              <a:gd name="T69" fmla="*/ 189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44" h="365">
                <a:moveTo>
                  <a:pt x="427" y="172"/>
                </a:moveTo>
                <a:cubicBezTo>
                  <a:pt x="414" y="172"/>
                  <a:pt x="414" y="172"/>
                  <a:pt x="414" y="172"/>
                </a:cubicBezTo>
                <a:cubicBezTo>
                  <a:pt x="414" y="22"/>
                  <a:pt x="414" y="22"/>
                  <a:pt x="414" y="22"/>
                </a:cubicBezTo>
                <a:cubicBezTo>
                  <a:pt x="414" y="10"/>
                  <a:pt x="404" y="0"/>
                  <a:pt x="392" y="0"/>
                </a:cubicBezTo>
                <a:cubicBezTo>
                  <a:pt x="22" y="0"/>
                  <a:pt x="22" y="0"/>
                  <a:pt x="22" y="0"/>
                </a:cubicBezTo>
                <a:cubicBezTo>
                  <a:pt x="10" y="0"/>
                  <a:pt x="0" y="10"/>
                  <a:pt x="0" y="22"/>
                </a:cubicBezTo>
                <a:cubicBezTo>
                  <a:pt x="0" y="261"/>
                  <a:pt x="0" y="261"/>
                  <a:pt x="0" y="261"/>
                </a:cubicBezTo>
                <a:cubicBezTo>
                  <a:pt x="0" y="273"/>
                  <a:pt x="10" y="283"/>
                  <a:pt x="22" y="283"/>
                </a:cubicBezTo>
                <a:cubicBezTo>
                  <a:pt x="163" y="283"/>
                  <a:pt x="163" y="283"/>
                  <a:pt x="163" y="283"/>
                </a:cubicBezTo>
                <a:cubicBezTo>
                  <a:pt x="161" y="319"/>
                  <a:pt x="154" y="355"/>
                  <a:pt x="144" y="355"/>
                </a:cubicBezTo>
                <a:cubicBezTo>
                  <a:pt x="123" y="355"/>
                  <a:pt x="123" y="355"/>
                  <a:pt x="123" y="355"/>
                </a:cubicBezTo>
                <a:cubicBezTo>
                  <a:pt x="120" y="355"/>
                  <a:pt x="118" y="358"/>
                  <a:pt x="118" y="360"/>
                </a:cubicBezTo>
                <a:cubicBezTo>
                  <a:pt x="118" y="363"/>
                  <a:pt x="120" y="365"/>
                  <a:pt x="123" y="365"/>
                </a:cubicBezTo>
                <a:cubicBezTo>
                  <a:pt x="291" y="365"/>
                  <a:pt x="291" y="365"/>
                  <a:pt x="291" y="365"/>
                </a:cubicBezTo>
                <a:cubicBezTo>
                  <a:pt x="294" y="365"/>
                  <a:pt x="296" y="363"/>
                  <a:pt x="296" y="360"/>
                </a:cubicBezTo>
                <a:cubicBezTo>
                  <a:pt x="296" y="358"/>
                  <a:pt x="294" y="355"/>
                  <a:pt x="291" y="355"/>
                </a:cubicBezTo>
                <a:cubicBezTo>
                  <a:pt x="273" y="355"/>
                  <a:pt x="273" y="355"/>
                  <a:pt x="273" y="355"/>
                </a:cubicBezTo>
                <a:cubicBezTo>
                  <a:pt x="264" y="355"/>
                  <a:pt x="256" y="319"/>
                  <a:pt x="254" y="283"/>
                </a:cubicBezTo>
                <a:cubicBezTo>
                  <a:pt x="326" y="283"/>
                  <a:pt x="326" y="283"/>
                  <a:pt x="326" y="283"/>
                </a:cubicBezTo>
                <a:cubicBezTo>
                  <a:pt x="326" y="348"/>
                  <a:pt x="326" y="348"/>
                  <a:pt x="326" y="348"/>
                </a:cubicBezTo>
                <a:cubicBezTo>
                  <a:pt x="326" y="357"/>
                  <a:pt x="334" y="365"/>
                  <a:pt x="343" y="365"/>
                </a:cubicBezTo>
                <a:cubicBezTo>
                  <a:pt x="427" y="365"/>
                  <a:pt x="427" y="365"/>
                  <a:pt x="427" y="365"/>
                </a:cubicBezTo>
                <a:cubicBezTo>
                  <a:pt x="436" y="365"/>
                  <a:pt x="444" y="357"/>
                  <a:pt x="444" y="348"/>
                </a:cubicBezTo>
                <a:cubicBezTo>
                  <a:pt x="444" y="189"/>
                  <a:pt x="444" y="189"/>
                  <a:pt x="444" y="189"/>
                </a:cubicBezTo>
                <a:cubicBezTo>
                  <a:pt x="444" y="179"/>
                  <a:pt x="436" y="172"/>
                  <a:pt x="427" y="172"/>
                </a:cubicBezTo>
                <a:close/>
                <a:moveTo>
                  <a:pt x="10" y="22"/>
                </a:moveTo>
                <a:cubicBezTo>
                  <a:pt x="10" y="15"/>
                  <a:pt x="15" y="9"/>
                  <a:pt x="22" y="9"/>
                </a:cubicBezTo>
                <a:cubicBezTo>
                  <a:pt x="392" y="9"/>
                  <a:pt x="392" y="9"/>
                  <a:pt x="392" y="9"/>
                </a:cubicBezTo>
                <a:cubicBezTo>
                  <a:pt x="399" y="9"/>
                  <a:pt x="404" y="15"/>
                  <a:pt x="404" y="22"/>
                </a:cubicBezTo>
                <a:cubicBezTo>
                  <a:pt x="404" y="36"/>
                  <a:pt x="404" y="36"/>
                  <a:pt x="404" y="36"/>
                </a:cubicBezTo>
                <a:cubicBezTo>
                  <a:pt x="10" y="36"/>
                  <a:pt x="10" y="36"/>
                  <a:pt x="10" y="36"/>
                </a:cubicBezTo>
                <a:lnTo>
                  <a:pt x="10" y="22"/>
                </a:lnTo>
                <a:close/>
                <a:moveTo>
                  <a:pt x="259" y="355"/>
                </a:moveTo>
                <a:cubicBezTo>
                  <a:pt x="158" y="355"/>
                  <a:pt x="158" y="355"/>
                  <a:pt x="158" y="355"/>
                </a:cubicBezTo>
                <a:cubicBezTo>
                  <a:pt x="169" y="338"/>
                  <a:pt x="172" y="301"/>
                  <a:pt x="172" y="283"/>
                </a:cubicBezTo>
                <a:cubicBezTo>
                  <a:pt x="245" y="283"/>
                  <a:pt x="245" y="283"/>
                  <a:pt x="245" y="283"/>
                </a:cubicBezTo>
                <a:cubicBezTo>
                  <a:pt x="245" y="290"/>
                  <a:pt x="246" y="305"/>
                  <a:pt x="249" y="320"/>
                </a:cubicBezTo>
                <a:cubicBezTo>
                  <a:pt x="251" y="336"/>
                  <a:pt x="255" y="348"/>
                  <a:pt x="259" y="355"/>
                </a:cubicBezTo>
                <a:close/>
                <a:moveTo>
                  <a:pt x="326" y="273"/>
                </a:moveTo>
                <a:cubicBezTo>
                  <a:pt x="22" y="273"/>
                  <a:pt x="22" y="273"/>
                  <a:pt x="22" y="273"/>
                </a:cubicBezTo>
                <a:cubicBezTo>
                  <a:pt x="15" y="273"/>
                  <a:pt x="10" y="268"/>
                  <a:pt x="10" y="261"/>
                </a:cubicBezTo>
                <a:cubicBezTo>
                  <a:pt x="10" y="247"/>
                  <a:pt x="10" y="247"/>
                  <a:pt x="10" y="247"/>
                </a:cubicBezTo>
                <a:cubicBezTo>
                  <a:pt x="326" y="247"/>
                  <a:pt x="326" y="247"/>
                  <a:pt x="326" y="247"/>
                </a:cubicBezTo>
                <a:lnTo>
                  <a:pt x="326" y="273"/>
                </a:lnTo>
                <a:close/>
                <a:moveTo>
                  <a:pt x="326" y="189"/>
                </a:moveTo>
                <a:cubicBezTo>
                  <a:pt x="326" y="237"/>
                  <a:pt x="326" y="237"/>
                  <a:pt x="326" y="237"/>
                </a:cubicBezTo>
                <a:cubicBezTo>
                  <a:pt x="10" y="237"/>
                  <a:pt x="10" y="237"/>
                  <a:pt x="10" y="237"/>
                </a:cubicBezTo>
                <a:cubicBezTo>
                  <a:pt x="10" y="45"/>
                  <a:pt x="10" y="45"/>
                  <a:pt x="10" y="45"/>
                </a:cubicBezTo>
                <a:cubicBezTo>
                  <a:pt x="404" y="45"/>
                  <a:pt x="404" y="45"/>
                  <a:pt x="404" y="45"/>
                </a:cubicBezTo>
                <a:cubicBezTo>
                  <a:pt x="404" y="172"/>
                  <a:pt x="404" y="172"/>
                  <a:pt x="404" y="172"/>
                </a:cubicBezTo>
                <a:cubicBezTo>
                  <a:pt x="343" y="172"/>
                  <a:pt x="343" y="172"/>
                  <a:pt x="343" y="172"/>
                </a:cubicBezTo>
                <a:cubicBezTo>
                  <a:pt x="334" y="172"/>
                  <a:pt x="326" y="179"/>
                  <a:pt x="326" y="189"/>
                </a:cubicBezTo>
                <a:close/>
                <a:moveTo>
                  <a:pt x="434" y="348"/>
                </a:moveTo>
                <a:cubicBezTo>
                  <a:pt x="434" y="352"/>
                  <a:pt x="431" y="355"/>
                  <a:pt x="427" y="355"/>
                </a:cubicBezTo>
                <a:cubicBezTo>
                  <a:pt x="343" y="355"/>
                  <a:pt x="343" y="355"/>
                  <a:pt x="343" y="355"/>
                </a:cubicBezTo>
                <a:cubicBezTo>
                  <a:pt x="339" y="355"/>
                  <a:pt x="336" y="352"/>
                  <a:pt x="336" y="348"/>
                </a:cubicBezTo>
                <a:cubicBezTo>
                  <a:pt x="336" y="339"/>
                  <a:pt x="336" y="339"/>
                  <a:pt x="336" y="339"/>
                </a:cubicBezTo>
                <a:cubicBezTo>
                  <a:pt x="434" y="339"/>
                  <a:pt x="434" y="339"/>
                  <a:pt x="434" y="339"/>
                </a:cubicBezTo>
                <a:lnTo>
                  <a:pt x="434" y="348"/>
                </a:lnTo>
                <a:close/>
                <a:moveTo>
                  <a:pt x="434" y="329"/>
                </a:moveTo>
                <a:cubicBezTo>
                  <a:pt x="336" y="329"/>
                  <a:pt x="336" y="329"/>
                  <a:pt x="336" y="329"/>
                </a:cubicBezTo>
                <a:cubicBezTo>
                  <a:pt x="336" y="205"/>
                  <a:pt x="336" y="205"/>
                  <a:pt x="336" y="205"/>
                </a:cubicBezTo>
                <a:cubicBezTo>
                  <a:pt x="434" y="205"/>
                  <a:pt x="434" y="205"/>
                  <a:pt x="434" y="205"/>
                </a:cubicBezTo>
                <a:lnTo>
                  <a:pt x="434" y="329"/>
                </a:lnTo>
                <a:close/>
                <a:moveTo>
                  <a:pt x="434" y="196"/>
                </a:moveTo>
                <a:cubicBezTo>
                  <a:pt x="336" y="196"/>
                  <a:pt x="336" y="196"/>
                  <a:pt x="336" y="196"/>
                </a:cubicBezTo>
                <a:cubicBezTo>
                  <a:pt x="336" y="189"/>
                  <a:pt x="336" y="189"/>
                  <a:pt x="336" y="189"/>
                </a:cubicBezTo>
                <a:cubicBezTo>
                  <a:pt x="336" y="184"/>
                  <a:pt x="339" y="181"/>
                  <a:pt x="343" y="181"/>
                </a:cubicBezTo>
                <a:cubicBezTo>
                  <a:pt x="427" y="181"/>
                  <a:pt x="427" y="181"/>
                  <a:pt x="427" y="181"/>
                </a:cubicBezTo>
                <a:cubicBezTo>
                  <a:pt x="431" y="181"/>
                  <a:pt x="434" y="184"/>
                  <a:pt x="434" y="189"/>
                </a:cubicBezTo>
                <a:lnTo>
                  <a:pt x="434" y="196"/>
                </a:ln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23" name="Oval 20"/>
          <p:cNvSpPr>
            <a:spLocks noChangeArrowheads="1"/>
          </p:cNvSpPr>
          <p:nvPr/>
        </p:nvSpPr>
        <p:spPr bwMode="auto">
          <a:xfrm>
            <a:off x="6589622" y="1528549"/>
            <a:ext cx="1119124" cy="1119124"/>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1158" name="Freeform 26"/>
          <p:cNvSpPr>
            <a:spLocks noEditPoints="1"/>
          </p:cNvSpPr>
          <p:nvPr/>
        </p:nvSpPr>
        <p:spPr bwMode="auto">
          <a:xfrm>
            <a:off x="6853454" y="1801685"/>
            <a:ext cx="673202" cy="572853"/>
          </a:xfrm>
          <a:custGeom>
            <a:avLst/>
            <a:gdLst>
              <a:gd name="T0" fmla="*/ 429 w 429"/>
              <a:gd name="T1" fmla="*/ 238 h 365"/>
              <a:gd name="T2" fmla="*/ 429 w 429"/>
              <a:gd name="T3" fmla="*/ 22 h 365"/>
              <a:gd name="T4" fmla="*/ 407 w 429"/>
              <a:gd name="T5" fmla="*/ 0 h 365"/>
              <a:gd name="T6" fmla="*/ 22 w 429"/>
              <a:gd name="T7" fmla="*/ 0 h 365"/>
              <a:gd name="T8" fmla="*/ 0 w 429"/>
              <a:gd name="T9" fmla="*/ 22 h 365"/>
              <a:gd name="T10" fmla="*/ 0 w 429"/>
              <a:gd name="T11" fmla="*/ 261 h 365"/>
              <a:gd name="T12" fmla="*/ 22 w 429"/>
              <a:gd name="T13" fmla="*/ 283 h 365"/>
              <a:gd name="T14" fmla="*/ 169 w 429"/>
              <a:gd name="T15" fmla="*/ 283 h 365"/>
              <a:gd name="T16" fmla="*/ 150 w 429"/>
              <a:gd name="T17" fmla="*/ 355 h 365"/>
              <a:gd name="T18" fmla="*/ 130 w 429"/>
              <a:gd name="T19" fmla="*/ 355 h 365"/>
              <a:gd name="T20" fmla="*/ 126 w 429"/>
              <a:gd name="T21" fmla="*/ 360 h 365"/>
              <a:gd name="T22" fmla="*/ 130 w 429"/>
              <a:gd name="T23" fmla="*/ 365 h 365"/>
              <a:gd name="T24" fmla="*/ 298 w 429"/>
              <a:gd name="T25" fmla="*/ 365 h 365"/>
              <a:gd name="T26" fmla="*/ 303 w 429"/>
              <a:gd name="T27" fmla="*/ 360 h 365"/>
              <a:gd name="T28" fmla="*/ 298 w 429"/>
              <a:gd name="T29" fmla="*/ 355 h 365"/>
              <a:gd name="T30" fmla="*/ 279 w 429"/>
              <a:gd name="T31" fmla="*/ 355 h 365"/>
              <a:gd name="T32" fmla="*/ 260 w 429"/>
              <a:gd name="T33" fmla="*/ 283 h 365"/>
              <a:gd name="T34" fmla="*/ 407 w 429"/>
              <a:gd name="T35" fmla="*/ 283 h 365"/>
              <a:gd name="T36" fmla="*/ 429 w 429"/>
              <a:gd name="T37" fmla="*/ 261 h 365"/>
              <a:gd name="T38" fmla="*/ 429 w 429"/>
              <a:gd name="T39" fmla="*/ 238 h 365"/>
              <a:gd name="T40" fmla="*/ 429 w 429"/>
              <a:gd name="T41" fmla="*/ 238 h 365"/>
              <a:gd name="T42" fmla="*/ 429 w 429"/>
              <a:gd name="T43" fmla="*/ 238 h 365"/>
              <a:gd name="T44" fmla="*/ 265 w 429"/>
              <a:gd name="T45" fmla="*/ 355 h 365"/>
              <a:gd name="T46" fmla="*/ 163 w 429"/>
              <a:gd name="T47" fmla="*/ 355 h 365"/>
              <a:gd name="T48" fmla="*/ 178 w 429"/>
              <a:gd name="T49" fmla="*/ 283 h 365"/>
              <a:gd name="T50" fmla="*/ 250 w 429"/>
              <a:gd name="T51" fmla="*/ 283 h 365"/>
              <a:gd name="T52" fmla="*/ 254 w 429"/>
              <a:gd name="T53" fmla="*/ 320 h 365"/>
              <a:gd name="T54" fmla="*/ 265 w 429"/>
              <a:gd name="T55" fmla="*/ 355 h 365"/>
              <a:gd name="T56" fmla="*/ 419 w 429"/>
              <a:gd name="T57" fmla="*/ 261 h 365"/>
              <a:gd name="T58" fmla="*/ 407 w 429"/>
              <a:gd name="T59" fmla="*/ 273 h 365"/>
              <a:gd name="T60" fmla="*/ 22 w 429"/>
              <a:gd name="T61" fmla="*/ 273 h 365"/>
              <a:gd name="T62" fmla="*/ 10 w 429"/>
              <a:gd name="T63" fmla="*/ 261 h 365"/>
              <a:gd name="T64" fmla="*/ 10 w 429"/>
              <a:gd name="T65" fmla="*/ 243 h 365"/>
              <a:gd name="T66" fmla="*/ 419 w 429"/>
              <a:gd name="T67" fmla="*/ 243 h 365"/>
              <a:gd name="T68" fmla="*/ 419 w 429"/>
              <a:gd name="T69" fmla="*/ 261 h 365"/>
              <a:gd name="T70" fmla="*/ 419 w 429"/>
              <a:gd name="T71" fmla="*/ 234 h 365"/>
              <a:gd name="T72" fmla="*/ 10 w 429"/>
              <a:gd name="T73" fmla="*/ 234 h 365"/>
              <a:gd name="T74" fmla="*/ 10 w 429"/>
              <a:gd name="T75" fmla="*/ 45 h 365"/>
              <a:gd name="T76" fmla="*/ 419 w 429"/>
              <a:gd name="T77" fmla="*/ 45 h 365"/>
              <a:gd name="T78" fmla="*/ 419 w 429"/>
              <a:gd name="T79" fmla="*/ 234 h 365"/>
              <a:gd name="T80" fmla="*/ 419 w 429"/>
              <a:gd name="T81" fmla="*/ 36 h 365"/>
              <a:gd name="T82" fmla="*/ 10 w 429"/>
              <a:gd name="T83" fmla="*/ 36 h 365"/>
              <a:gd name="T84" fmla="*/ 10 w 429"/>
              <a:gd name="T85" fmla="*/ 22 h 365"/>
              <a:gd name="T86" fmla="*/ 22 w 429"/>
              <a:gd name="T87" fmla="*/ 9 h 365"/>
              <a:gd name="T88" fmla="*/ 407 w 429"/>
              <a:gd name="T89" fmla="*/ 9 h 365"/>
              <a:gd name="T90" fmla="*/ 419 w 429"/>
              <a:gd name="T91" fmla="*/ 22 h 365"/>
              <a:gd name="T92" fmla="*/ 419 w 429"/>
              <a:gd name="T93" fmla="*/ 36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29" h="365">
                <a:moveTo>
                  <a:pt x="429" y="238"/>
                </a:moveTo>
                <a:cubicBezTo>
                  <a:pt x="429" y="22"/>
                  <a:pt x="429" y="22"/>
                  <a:pt x="429" y="22"/>
                </a:cubicBezTo>
                <a:cubicBezTo>
                  <a:pt x="429" y="10"/>
                  <a:pt x="419" y="0"/>
                  <a:pt x="407" y="0"/>
                </a:cubicBezTo>
                <a:cubicBezTo>
                  <a:pt x="22" y="0"/>
                  <a:pt x="22" y="0"/>
                  <a:pt x="22" y="0"/>
                </a:cubicBezTo>
                <a:cubicBezTo>
                  <a:pt x="10" y="0"/>
                  <a:pt x="0" y="10"/>
                  <a:pt x="0" y="22"/>
                </a:cubicBezTo>
                <a:cubicBezTo>
                  <a:pt x="0" y="261"/>
                  <a:pt x="0" y="261"/>
                  <a:pt x="0" y="261"/>
                </a:cubicBezTo>
                <a:cubicBezTo>
                  <a:pt x="0" y="273"/>
                  <a:pt x="10" y="283"/>
                  <a:pt x="22" y="283"/>
                </a:cubicBezTo>
                <a:cubicBezTo>
                  <a:pt x="169" y="283"/>
                  <a:pt x="169" y="283"/>
                  <a:pt x="169" y="283"/>
                </a:cubicBezTo>
                <a:cubicBezTo>
                  <a:pt x="167" y="319"/>
                  <a:pt x="159" y="355"/>
                  <a:pt x="150" y="355"/>
                </a:cubicBezTo>
                <a:cubicBezTo>
                  <a:pt x="130" y="355"/>
                  <a:pt x="130" y="355"/>
                  <a:pt x="130" y="355"/>
                </a:cubicBezTo>
                <a:cubicBezTo>
                  <a:pt x="128" y="355"/>
                  <a:pt x="126" y="358"/>
                  <a:pt x="126" y="360"/>
                </a:cubicBezTo>
                <a:cubicBezTo>
                  <a:pt x="126" y="363"/>
                  <a:pt x="128" y="365"/>
                  <a:pt x="130" y="365"/>
                </a:cubicBezTo>
                <a:cubicBezTo>
                  <a:pt x="298" y="365"/>
                  <a:pt x="298" y="365"/>
                  <a:pt x="298" y="365"/>
                </a:cubicBezTo>
                <a:cubicBezTo>
                  <a:pt x="301" y="365"/>
                  <a:pt x="303" y="363"/>
                  <a:pt x="303" y="360"/>
                </a:cubicBezTo>
                <a:cubicBezTo>
                  <a:pt x="303" y="358"/>
                  <a:pt x="301" y="355"/>
                  <a:pt x="298" y="355"/>
                </a:cubicBezTo>
                <a:cubicBezTo>
                  <a:pt x="279" y="355"/>
                  <a:pt x="279" y="355"/>
                  <a:pt x="279" y="355"/>
                </a:cubicBezTo>
                <a:cubicBezTo>
                  <a:pt x="269" y="355"/>
                  <a:pt x="262" y="319"/>
                  <a:pt x="260" y="283"/>
                </a:cubicBezTo>
                <a:cubicBezTo>
                  <a:pt x="407" y="283"/>
                  <a:pt x="407" y="283"/>
                  <a:pt x="407" y="283"/>
                </a:cubicBezTo>
                <a:cubicBezTo>
                  <a:pt x="419" y="283"/>
                  <a:pt x="429" y="273"/>
                  <a:pt x="429" y="261"/>
                </a:cubicBezTo>
                <a:cubicBezTo>
                  <a:pt x="429" y="238"/>
                  <a:pt x="429" y="238"/>
                  <a:pt x="429" y="238"/>
                </a:cubicBezTo>
                <a:cubicBezTo>
                  <a:pt x="429" y="238"/>
                  <a:pt x="429" y="238"/>
                  <a:pt x="429" y="238"/>
                </a:cubicBezTo>
                <a:cubicBezTo>
                  <a:pt x="429" y="238"/>
                  <a:pt x="429" y="238"/>
                  <a:pt x="429" y="238"/>
                </a:cubicBezTo>
                <a:close/>
                <a:moveTo>
                  <a:pt x="265" y="355"/>
                </a:moveTo>
                <a:cubicBezTo>
                  <a:pt x="163" y="355"/>
                  <a:pt x="163" y="355"/>
                  <a:pt x="163" y="355"/>
                </a:cubicBezTo>
                <a:cubicBezTo>
                  <a:pt x="174" y="338"/>
                  <a:pt x="177" y="301"/>
                  <a:pt x="178" y="283"/>
                </a:cubicBezTo>
                <a:cubicBezTo>
                  <a:pt x="250" y="283"/>
                  <a:pt x="250" y="283"/>
                  <a:pt x="250" y="283"/>
                </a:cubicBezTo>
                <a:cubicBezTo>
                  <a:pt x="251" y="290"/>
                  <a:pt x="252" y="305"/>
                  <a:pt x="254" y="320"/>
                </a:cubicBezTo>
                <a:cubicBezTo>
                  <a:pt x="257" y="336"/>
                  <a:pt x="261" y="348"/>
                  <a:pt x="265" y="355"/>
                </a:cubicBezTo>
                <a:close/>
                <a:moveTo>
                  <a:pt x="419" y="261"/>
                </a:moveTo>
                <a:cubicBezTo>
                  <a:pt x="419" y="268"/>
                  <a:pt x="414" y="273"/>
                  <a:pt x="407" y="273"/>
                </a:cubicBezTo>
                <a:cubicBezTo>
                  <a:pt x="22" y="273"/>
                  <a:pt x="22" y="273"/>
                  <a:pt x="22" y="273"/>
                </a:cubicBezTo>
                <a:cubicBezTo>
                  <a:pt x="15" y="273"/>
                  <a:pt x="10" y="268"/>
                  <a:pt x="10" y="261"/>
                </a:cubicBezTo>
                <a:cubicBezTo>
                  <a:pt x="10" y="243"/>
                  <a:pt x="10" y="243"/>
                  <a:pt x="10" y="243"/>
                </a:cubicBezTo>
                <a:cubicBezTo>
                  <a:pt x="419" y="243"/>
                  <a:pt x="419" y="243"/>
                  <a:pt x="419" y="243"/>
                </a:cubicBezTo>
                <a:lnTo>
                  <a:pt x="419" y="261"/>
                </a:lnTo>
                <a:close/>
                <a:moveTo>
                  <a:pt x="419" y="234"/>
                </a:moveTo>
                <a:cubicBezTo>
                  <a:pt x="10" y="234"/>
                  <a:pt x="10" y="234"/>
                  <a:pt x="10" y="234"/>
                </a:cubicBezTo>
                <a:cubicBezTo>
                  <a:pt x="10" y="45"/>
                  <a:pt x="10" y="45"/>
                  <a:pt x="10" y="45"/>
                </a:cubicBezTo>
                <a:cubicBezTo>
                  <a:pt x="419" y="45"/>
                  <a:pt x="419" y="45"/>
                  <a:pt x="419" y="45"/>
                </a:cubicBezTo>
                <a:lnTo>
                  <a:pt x="419" y="234"/>
                </a:lnTo>
                <a:close/>
                <a:moveTo>
                  <a:pt x="419" y="36"/>
                </a:moveTo>
                <a:cubicBezTo>
                  <a:pt x="10" y="36"/>
                  <a:pt x="10" y="36"/>
                  <a:pt x="10" y="36"/>
                </a:cubicBezTo>
                <a:cubicBezTo>
                  <a:pt x="10" y="22"/>
                  <a:pt x="10" y="22"/>
                  <a:pt x="10" y="22"/>
                </a:cubicBezTo>
                <a:cubicBezTo>
                  <a:pt x="10" y="15"/>
                  <a:pt x="15" y="9"/>
                  <a:pt x="22" y="9"/>
                </a:cubicBezTo>
                <a:cubicBezTo>
                  <a:pt x="407" y="9"/>
                  <a:pt x="407" y="9"/>
                  <a:pt x="407" y="9"/>
                </a:cubicBezTo>
                <a:cubicBezTo>
                  <a:pt x="414" y="9"/>
                  <a:pt x="419" y="15"/>
                  <a:pt x="419" y="22"/>
                </a:cubicBezTo>
                <a:lnTo>
                  <a:pt x="419" y="36"/>
                </a:ln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25" name="Oval 22"/>
          <p:cNvSpPr>
            <a:spLocks noChangeArrowheads="1"/>
          </p:cNvSpPr>
          <p:nvPr/>
        </p:nvSpPr>
        <p:spPr bwMode="auto">
          <a:xfrm>
            <a:off x="3073678" y="1528549"/>
            <a:ext cx="1119124" cy="1119124"/>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1159" name="Freeform 27"/>
          <p:cNvSpPr>
            <a:spLocks noEditPoints="1"/>
          </p:cNvSpPr>
          <p:nvPr/>
        </p:nvSpPr>
        <p:spPr bwMode="auto">
          <a:xfrm>
            <a:off x="3268279" y="1862825"/>
            <a:ext cx="729921" cy="450574"/>
          </a:xfrm>
          <a:custGeom>
            <a:avLst/>
            <a:gdLst>
              <a:gd name="T0" fmla="*/ 69 w 465"/>
              <a:gd name="T1" fmla="*/ 241 h 287"/>
              <a:gd name="T2" fmla="*/ 396 w 465"/>
              <a:gd name="T3" fmla="*/ 241 h 287"/>
              <a:gd name="T4" fmla="*/ 415 w 465"/>
              <a:gd name="T5" fmla="*/ 222 h 287"/>
              <a:gd name="T6" fmla="*/ 415 w 465"/>
              <a:gd name="T7" fmla="*/ 19 h 287"/>
              <a:gd name="T8" fmla="*/ 396 w 465"/>
              <a:gd name="T9" fmla="*/ 0 h 287"/>
              <a:gd name="T10" fmla="*/ 69 w 465"/>
              <a:gd name="T11" fmla="*/ 0 h 287"/>
              <a:gd name="T12" fmla="*/ 50 w 465"/>
              <a:gd name="T13" fmla="*/ 19 h 287"/>
              <a:gd name="T14" fmla="*/ 50 w 465"/>
              <a:gd name="T15" fmla="*/ 222 h 287"/>
              <a:gd name="T16" fmla="*/ 69 w 465"/>
              <a:gd name="T17" fmla="*/ 241 h 287"/>
              <a:gd name="T18" fmla="*/ 59 w 465"/>
              <a:gd name="T19" fmla="*/ 19 h 287"/>
              <a:gd name="T20" fmla="*/ 69 w 465"/>
              <a:gd name="T21" fmla="*/ 9 h 287"/>
              <a:gd name="T22" fmla="*/ 396 w 465"/>
              <a:gd name="T23" fmla="*/ 9 h 287"/>
              <a:gd name="T24" fmla="*/ 406 w 465"/>
              <a:gd name="T25" fmla="*/ 19 h 287"/>
              <a:gd name="T26" fmla="*/ 406 w 465"/>
              <a:gd name="T27" fmla="*/ 222 h 287"/>
              <a:gd name="T28" fmla="*/ 396 w 465"/>
              <a:gd name="T29" fmla="*/ 232 h 287"/>
              <a:gd name="T30" fmla="*/ 69 w 465"/>
              <a:gd name="T31" fmla="*/ 232 h 287"/>
              <a:gd name="T32" fmla="*/ 59 w 465"/>
              <a:gd name="T33" fmla="*/ 222 h 287"/>
              <a:gd name="T34" fmla="*/ 59 w 465"/>
              <a:gd name="T35" fmla="*/ 19 h 287"/>
              <a:gd name="T36" fmla="*/ 461 w 465"/>
              <a:gd name="T37" fmla="*/ 253 h 287"/>
              <a:gd name="T38" fmla="*/ 5 w 465"/>
              <a:gd name="T39" fmla="*/ 253 h 287"/>
              <a:gd name="T40" fmla="*/ 0 w 465"/>
              <a:gd name="T41" fmla="*/ 257 h 287"/>
              <a:gd name="T42" fmla="*/ 30 w 465"/>
              <a:gd name="T43" fmla="*/ 287 h 287"/>
              <a:gd name="T44" fmla="*/ 436 w 465"/>
              <a:gd name="T45" fmla="*/ 287 h 287"/>
              <a:gd name="T46" fmla="*/ 465 w 465"/>
              <a:gd name="T47" fmla="*/ 257 h 287"/>
              <a:gd name="T48" fmla="*/ 461 w 465"/>
              <a:gd name="T49" fmla="*/ 253 h 287"/>
              <a:gd name="T50" fmla="*/ 436 w 465"/>
              <a:gd name="T51" fmla="*/ 278 h 287"/>
              <a:gd name="T52" fmla="*/ 30 w 465"/>
              <a:gd name="T53" fmla="*/ 278 h 287"/>
              <a:gd name="T54" fmla="*/ 10 w 465"/>
              <a:gd name="T55" fmla="*/ 262 h 287"/>
              <a:gd name="T56" fmla="*/ 455 w 465"/>
              <a:gd name="T57" fmla="*/ 262 h 287"/>
              <a:gd name="T58" fmla="*/ 436 w 465"/>
              <a:gd name="T59" fmla="*/ 278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65" h="287">
                <a:moveTo>
                  <a:pt x="69" y="241"/>
                </a:moveTo>
                <a:cubicBezTo>
                  <a:pt x="396" y="241"/>
                  <a:pt x="396" y="241"/>
                  <a:pt x="396" y="241"/>
                </a:cubicBezTo>
                <a:cubicBezTo>
                  <a:pt x="407" y="241"/>
                  <a:pt x="415" y="233"/>
                  <a:pt x="415" y="222"/>
                </a:cubicBezTo>
                <a:cubicBezTo>
                  <a:pt x="415" y="19"/>
                  <a:pt x="415" y="19"/>
                  <a:pt x="415" y="19"/>
                </a:cubicBezTo>
                <a:cubicBezTo>
                  <a:pt x="415" y="8"/>
                  <a:pt x="407" y="0"/>
                  <a:pt x="396" y="0"/>
                </a:cubicBezTo>
                <a:cubicBezTo>
                  <a:pt x="69" y="0"/>
                  <a:pt x="69" y="0"/>
                  <a:pt x="69" y="0"/>
                </a:cubicBezTo>
                <a:cubicBezTo>
                  <a:pt x="59" y="0"/>
                  <a:pt x="50" y="8"/>
                  <a:pt x="50" y="19"/>
                </a:cubicBezTo>
                <a:cubicBezTo>
                  <a:pt x="50" y="222"/>
                  <a:pt x="50" y="222"/>
                  <a:pt x="50" y="222"/>
                </a:cubicBezTo>
                <a:cubicBezTo>
                  <a:pt x="50" y="233"/>
                  <a:pt x="59" y="241"/>
                  <a:pt x="69" y="241"/>
                </a:cubicBezTo>
                <a:close/>
                <a:moveTo>
                  <a:pt x="59" y="19"/>
                </a:moveTo>
                <a:cubicBezTo>
                  <a:pt x="59" y="13"/>
                  <a:pt x="64" y="9"/>
                  <a:pt x="69" y="9"/>
                </a:cubicBezTo>
                <a:cubicBezTo>
                  <a:pt x="396" y="9"/>
                  <a:pt x="396" y="9"/>
                  <a:pt x="396" y="9"/>
                </a:cubicBezTo>
                <a:cubicBezTo>
                  <a:pt x="402" y="9"/>
                  <a:pt x="406" y="13"/>
                  <a:pt x="406" y="19"/>
                </a:cubicBezTo>
                <a:cubicBezTo>
                  <a:pt x="406" y="222"/>
                  <a:pt x="406" y="222"/>
                  <a:pt x="406" y="222"/>
                </a:cubicBezTo>
                <a:cubicBezTo>
                  <a:pt x="406" y="227"/>
                  <a:pt x="402" y="232"/>
                  <a:pt x="396" y="232"/>
                </a:cubicBezTo>
                <a:cubicBezTo>
                  <a:pt x="69" y="232"/>
                  <a:pt x="69" y="232"/>
                  <a:pt x="69" y="232"/>
                </a:cubicBezTo>
                <a:cubicBezTo>
                  <a:pt x="64" y="232"/>
                  <a:pt x="59" y="227"/>
                  <a:pt x="59" y="222"/>
                </a:cubicBezTo>
                <a:lnTo>
                  <a:pt x="59" y="19"/>
                </a:lnTo>
                <a:close/>
                <a:moveTo>
                  <a:pt x="461" y="253"/>
                </a:moveTo>
                <a:cubicBezTo>
                  <a:pt x="5" y="253"/>
                  <a:pt x="5" y="253"/>
                  <a:pt x="5" y="253"/>
                </a:cubicBezTo>
                <a:cubicBezTo>
                  <a:pt x="2" y="253"/>
                  <a:pt x="0" y="255"/>
                  <a:pt x="0" y="257"/>
                </a:cubicBezTo>
                <a:cubicBezTo>
                  <a:pt x="0" y="274"/>
                  <a:pt x="14" y="287"/>
                  <a:pt x="30" y="287"/>
                </a:cubicBezTo>
                <a:cubicBezTo>
                  <a:pt x="436" y="287"/>
                  <a:pt x="436" y="287"/>
                  <a:pt x="436" y="287"/>
                </a:cubicBezTo>
                <a:cubicBezTo>
                  <a:pt x="452" y="287"/>
                  <a:pt x="465" y="274"/>
                  <a:pt x="465" y="257"/>
                </a:cubicBezTo>
                <a:cubicBezTo>
                  <a:pt x="465" y="255"/>
                  <a:pt x="463" y="253"/>
                  <a:pt x="461" y="253"/>
                </a:cubicBezTo>
                <a:close/>
                <a:moveTo>
                  <a:pt x="436" y="278"/>
                </a:moveTo>
                <a:cubicBezTo>
                  <a:pt x="30" y="278"/>
                  <a:pt x="30" y="278"/>
                  <a:pt x="30" y="278"/>
                </a:cubicBezTo>
                <a:cubicBezTo>
                  <a:pt x="20" y="278"/>
                  <a:pt x="12" y="271"/>
                  <a:pt x="10" y="262"/>
                </a:cubicBezTo>
                <a:cubicBezTo>
                  <a:pt x="455" y="262"/>
                  <a:pt x="455" y="262"/>
                  <a:pt x="455" y="262"/>
                </a:cubicBezTo>
                <a:cubicBezTo>
                  <a:pt x="453" y="271"/>
                  <a:pt x="445" y="278"/>
                  <a:pt x="436" y="278"/>
                </a:cubicBez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11" name="Oval 11"/>
          <p:cNvSpPr>
            <a:spLocks noChangeArrowheads="1"/>
          </p:cNvSpPr>
          <p:nvPr/>
        </p:nvSpPr>
        <p:spPr bwMode="auto">
          <a:xfrm>
            <a:off x="1315706" y="4711628"/>
            <a:ext cx="1119124" cy="1119124"/>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1161" name="Freeform 28"/>
          <p:cNvSpPr>
            <a:spLocks noEditPoints="1"/>
          </p:cNvSpPr>
          <p:nvPr/>
        </p:nvSpPr>
        <p:spPr bwMode="auto">
          <a:xfrm>
            <a:off x="1568755" y="4918725"/>
            <a:ext cx="615019" cy="706920"/>
          </a:xfrm>
          <a:custGeom>
            <a:avLst/>
            <a:gdLst>
              <a:gd name="T0" fmla="*/ 314 w 392"/>
              <a:gd name="T1" fmla="*/ 188 h 451"/>
              <a:gd name="T2" fmla="*/ 271 w 392"/>
              <a:gd name="T3" fmla="*/ 210 h 451"/>
              <a:gd name="T4" fmla="*/ 266 w 392"/>
              <a:gd name="T5" fmla="*/ 183 h 451"/>
              <a:gd name="T6" fmla="*/ 158 w 392"/>
              <a:gd name="T7" fmla="*/ 256 h 451"/>
              <a:gd name="T8" fmla="*/ 266 w 392"/>
              <a:gd name="T9" fmla="*/ 329 h 451"/>
              <a:gd name="T10" fmla="*/ 271 w 392"/>
              <a:gd name="T11" fmla="*/ 302 h 451"/>
              <a:gd name="T12" fmla="*/ 314 w 392"/>
              <a:gd name="T13" fmla="*/ 352 h 451"/>
              <a:gd name="T14" fmla="*/ 348 w 392"/>
              <a:gd name="T15" fmla="*/ 357 h 451"/>
              <a:gd name="T16" fmla="*/ 353 w 392"/>
              <a:gd name="T17" fmla="*/ 451 h 451"/>
              <a:gd name="T18" fmla="*/ 357 w 392"/>
              <a:gd name="T19" fmla="*/ 357 h 451"/>
              <a:gd name="T20" fmla="*/ 392 w 392"/>
              <a:gd name="T21" fmla="*/ 352 h 451"/>
              <a:gd name="T22" fmla="*/ 318 w 392"/>
              <a:gd name="T23" fmla="*/ 183 h 451"/>
              <a:gd name="T24" fmla="*/ 231 w 392"/>
              <a:gd name="T25" fmla="*/ 320 h 451"/>
              <a:gd name="T26" fmla="*/ 231 w 392"/>
              <a:gd name="T27" fmla="*/ 192 h 451"/>
              <a:gd name="T28" fmla="*/ 261 w 392"/>
              <a:gd name="T29" fmla="*/ 320 h 451"/>
              <a:gd name="T30" fmla="*/ 271 w 392"/>
              <a:gd name="T31" fmla="*/ 292 h 451"/>
              <a:gd name="T32" fmla="*/ 314 w 392"/>
              <a:gd name="T33" fmla="*/ 220 h 451"/>
              <a:gd name="T34" fmla="*/ 382 w 392"/>
              <a:gd name="T35" fmla="*/ 348 h 451"/>
              <a:gd name="T36" fmla="*/ 323 w 392"/>
              <a:gd name="T37" fmla="*/ 192 h 451"/>
              <a:gd name="T38" fmla="*/ 382 w 392"/>
              <a:gd name="T39" fmla="*/ 348 h 451"/>
              <a:gd name="T40" fmla="*/ 160 w 392"/>
              <a:gd name="T41" fmla="*/ 0 h 451"/>
              <a:gd name="T42" fmla="*/ 121 w 392"/>
              <a:gd name="T43" fmla="*/ 4 h 451"/>
              <a:gd name="T44" fmla="*/ 78 w 392"/>
              <a:gd name="T45" fmla="*/ 27 h 451"/>
              <a:gd name="T46" fmla="*/ 73 w 392"/>
              <a:gd name="T47" fmla="*/ 0 h 451"/>
              <a:gd name="T48" fmla="*/ 0 w 392"/>
              <a:gd name="T49" fmla="*/ 169 h 451"/>
              <a:gd name="T50" fmla="*/ 34 w 392"/>
              <a:gd name="T51" fmla="*/ 174 h 451"/>
              <a:gd name="T52" fmla="*/ 39 w 392"/>
              <a:gd name="T53" fmla="*/ 451 h 451"/>
              <a:gd name="T54" fmla="*/ 44 w 392"/>
              <a:gd name="T55" fmla="*/ 174 h 451"/>
              <a:gd name="T56" fmla="*/ 78 w 392"/>
              <a:gd name="T57" fmla="*/ 169 h 451"/>
              <a:gd name="T58" fmla="*/ 121 w 392"/>
              <a:gd name="T59" fmla="*/ 118 h 451"/>
              <a:gd name="T60" fmla="*/ 126 w 392"/>
              <a:gd name="T61" fmla="*/ 146 h 451"/>
              <a:gd name="T62" fmla="*/ 233 w 392"/>
              <a:gd name="T63" fmla="*/ 73 h 451"/>
              <a:gd name="T64" fmla="*/ 9 w 392"/>
              <a:gd name="T65" fmla="*/ 164 h 451"/>
              <a:gd name="T66" fmla="*/ 68 w 392"/>
              <a:gd name="T67" fmla="*/ 9 h 451"/>
              <a:gd name="T68" fmla="*/ 121 w 392"/>
              <a:gd name="T69" fmla="*/ 109 h 451"/>
              <a:gd name="T70" fmla="*/ 78 w 392"/>
              <a:gd name="T71" fmla="*/ 37 h 451"/>
              <a:gd name="T72" fmla="*/ 121 w 392"/>
              <a:gd name="T73" fmla="*/ 109 h 451"/>
              <a:gd name="T74" fmla="*/ 160 w 392"/>
              <a:gd name="T75" fmla="*/ 9 h 451"/>
              <a:gd name="T76" fmla="*/ 160 w 392"/>
              <a:gd name="T77" fmla="*/ 136 h 451"/>
              <a:gd name="T78" fmla="*/ 130 w 392"/>
              <a:gd name="T79" fmla="*/ 9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92" h="451">
                <a:moveTo>
                  <a:pt x="318" y="183"/>
                </a:moveTo>
                <a:cubicBezTo>
                  <a:pt x="316" y="183"/>
                  <a:pt x="314" y="185"/>
                  <a:pt x="314" y="188"/>
                </a:cubicBezTo>
                <a:cubicBezTo>
                  <a:pt x="314" y="210"/>
                  <a:pt x="314" y="210"/>
                  <a:pt x="314" y="210"/>
                </a:cubicBezTo>
                <a:cubicBezTo>
                  <a:pt x="271" y="210"/>
                  <a:pt x="271" y="210"/>
                  <a:pt x="271" y="210"/>
                </a:cubicBezTo>
                <a:cubicBezTo>
                  <a:pt x="271" y="188"/>
                  <a:pt x="271" y="188"/>
                  <a:pt x="271" y="188"/>
                </a:cubicBezTo>
                <a:cubicBezTo>
                  <a:pt x="271" y="185"/>
                  <a:pt x="269" y="183"/>
                  <a:pt x="266" y="183"/>
                </a:cubicBezTo>
                <a:cubicBezTo>
                  <a:pt x="231" y="183"/>
                  <a:pt x="231" y="183"/>
                  <a:pt x="231" y="183"/>
                </a:cubicBezTo>
                <a:cubicBezTo>
                  <a:pt x="191" y="183"/>
                  <a:pt x="158" y="216"/>
                  <a:pt x="158" y="256"/>
                </a:cubicBezTo>
                <a:cubicBezTo>
                  <a:pt x="158" y="296"/>
                  <a:pt x="191" y="329"/>
                  <a:pt x="231" y="329"/>
                </a:cubicBezTo>
                <a:cubicBezTo>
                  <a:pt x="266" y="329"/>
                  <a:pt x="266" y="329"/>
                  <a:pt x="266" y="329"/>
                </a:cubicBezTo>
                <a:cubicBezTo>
                  <a:pt x="269" y="329"/>
                  <a:pt x="271" y="327"/>
                  <a:pt x="271" y="324"/>
                </a:cubicBezTo>
                <a:cubicBezTo>
                  <a:pt x="271" y="302"/>
                  <a:pt x="271" y="302"/>
                  <a:pt x="271" y="302"/>
                </a:cubicBezTo>
                <a:cubicBezTo>
                  <a:pt x="314" y="302"/>
                  <a:pt x="314" y="302"/>
                  <a:pt x="314" y="302"/>
                </a:cubicBezTo>
                <a:cubicBezTo>
                  <a:pt x="314" y="352"/>
                  <a:pt x="314" y="352"/>
                  <a:pt x="314" y="352"/>
                </a:cubicBezTo>
                <a:cubicBezTo>
                  <a:pt x="314" y="355"/>
                  <a:pt x="316" y="357"/>
                  <a:pt x="318" y="357"/>
                </a:cubicBezTo>
                <a:cubicBezTo>
                  <a:pt x="348" y="357"/>
                  <a:pt x="348" y="357"/>
                  <a:pt x="348" y="357"/>
                </a:cubicBezTo>
                <a:cubicBezTo>
                  <a:pt x="348" y="446"/>
                  <a:pt x="348" y="446"/>
                  <a:pt x="348" y="446"/>
                </a:cubicBezTo>
                <a:cubicBezTo>
                  <a:pt x="348" y="448"/>
                  <a:pt x="350" y="451"/>
                  <a:pt x="353" y="451"/>
                </a:cubicBezTo>
                <a:cubicBezTo>
                  <a:pt x="355" y="451"/>
                  <a:pt x="357" y="448"/>
                  <a:pt x="357" y="446"/>
                </a:cubicBezTo>
                <a:cubicBezTo>
                  <a:pt x="357" y="357"/>
                  <a:pt x="357" y="357"/>
                  <a:pt x="357" y="357"/>
                </a:cubicBezTo>
                <a:cubicBezTo>
                  <a:pt x="387" y="357"/>
                  <a:pt x="387" y="357"/>
                  <a:pt x="387" y="357"/>
                </a:cubicBezTo>
                <a:cubicBezTo>
                  <a:pt x="389" y="357"/>
                  <a:pt x="392" y="355"/>
                  <a:pt x="392" y="352"/>
                </a:cubicBezTo>
                <a:cubicBezTo>
                  <a:pt x="392" y="256"/>
                  <a:pt x="392" y="256"/>
                  <a:pt x="392" y="256"/>
                </a:cubicBezTo>
                <a:cubicBezTo>
                  <a:pt x="392" y="216"/>
                  <a:pt x="359" y="183"/>
                  <a:pt x="318" y="183"/>
                </a:cubicBezTo>
                <a:close/>
                <a:moveTo>
                  <a:pt x="261" y="320"/>
                </a:moveTo>
                <a:cubicBezTo>
                  <a:pt x="231" y="320"/>
                  <a:pt x="231" y="320"/>
                  <a:pt x="231" y="320"/>
                </a:cubicBezTo>
                <a:cubicBezTo>
                  <a:pt x="196" y="320"/>
                  <a:pt x="168" y="291"/>
                  <a:pt x="168" y="256"/>
                </a:cubicBezTo>
                <a:cubicBezTo>
                  <a:pt x="168" y="221"/>
                  <a:pt x="196" y="192"/>
                  <a:pt x="231" y="192"/>
                </a:cubicBezTo>
                <a:cubicBezTo>
                  <a:pt x="261" y="192"/>
                  <a:pt x="261" y="192"/>
                  <a:pt x="261" y="192"/>
                </a:cubicBezTo>
                <a:lnTo>
                  <a:pt x="261" y="320"/>
                </a:lnTo>
                <a:close/>
                <a:moveTo>
                  <a:pt x="314" y="292"/>
                </a:moveTo>
                <a:cubicBezTo>
                  <a:pt x="271" y="292"/>
                  <a:pt x="271" y="292"/>
                  <a:pt x="271" y="292"/>
                </a:cubicBezTo>
                <a:cubicBezTo>
                  <a:pt x="271" y="220"/>
                  <a:pt x="271" y="220"/>
                  <a:pt x="271" y="220"/>
                </a:cubicBezTo>
                <a:cubicBezTo>
                  <a:pt x="314" y="220"/>
                  <a:pt x="314" y="220"/>
                  <a:pt x="314" y="220"/>
                </a:cubicBezTo>
                <a:lnTo>
                  <a:pt x="314" y="292"/>
                </a:lnTo>
                <a:close/>
                <a:moveTo>
                  <a:pt x="382" y="348"/>
                </a:moveTo>
                <a:cubicBezTo>
                  <a:pt x="323" y="348"/>
                  <a:pt x="323" y="348"/>
                  <a:pt x="323" y="348"/>
                </a:cubicBezTo>
                <a:cubicBezTo>
                  <a:pt x="323" y="192"/>
                  <a:pt x="323" y="192"/>
                  <a:pt x="323" y="192"/>
                </a:cubicBezTo>
                <a:cubicBezTo>
                  <a:pt x="356" y="195"/>
                  <a:pt x="382" y="222"/>
                  <a:pt x="382" y="256"/>
                </a:cubicBezTo>
                <a:lnTo>
                  <a:pt x="382" y="348"/>
                </a:lnTo>
                <a:close/>
                <a:moveTo>
                  <a:pt x="233" y="73"/>
                </a:moveTo>
                <a:cubicBezTo>
                  <a:pt x="233" y="32"/>
                  <a:pt x="201" y="0"/>
                  <a:pt x="160" y="0"/>
                </a:cubicBezTo>
                <a:cubicBezTo>
                  <a:pt x="126" y="0"/>
                  <a:pt x="126" y="0"/>
                  <a:pt x="126" y="0"/>
                </a:cubicBezTo>
                <a:cubicBezTo>
                  <a:pt x="123" y="0"/>
                  <a:pt x="121" y="2"/>
                  <a:pt x="121" y="4"/>
                </a:cubicBezTo>
                <a:cubicBezTo>
                  <a:pt x="121" y="27"/>
                  <a:pt x="121" y="27"/>
                  <a:pt x="121" y="27"/>
                </a:cubicBezTo>
                <a:cubicBezTo>
                  <a:pt x="78" y="27"/>
                  <a:pt x="78" y="27"/>
                  <a:pt x="78" y="27"/>
                </a:cubicBezTo>
                <a:cubicBezTo>
                  <a:pt x="78" y="4"/>
                  <a:pt x="78" y="4"/>
                  <a:pt x="78" y="4"/>
                </a:cubicBezTo>
                <a:cubicBezTo>
                  <a:pt x="78" y="2"/>
                  <a:pt x="76" y="0"/>
                  <a:pt x="73" y="0"/>
                </a:cubicBezTo>
                <a:cubicBezTo>
                  <a:pt x="33" y="0"/>
                  <a:pt x="0" y="32"/>
                  <a:pt x="0" y="73"/>
                </a:cubicBezTo>
                <a:cubicBezTo>
                  <a:pt x="0" y="169"/>
                  <a:pt x="0" y="169"/>
                  <a:pt x="0" y="169"/>
                </a:cubicBezTo>
                <a:cubicBezTo>
                  <a:pt x="0" y="172"/>
                  <a:pt x="2" y="174"/>
                  <a:pt x="5" y="174"/>
                </a:cubicBezTo>
                <a:cubicBezTo>
                  <a:pt x="34" y="174"/>
                  <a:pt x="34" y="174"/>
                  <a:pt x="34" y="174"/>
                </a:cubicBezTo>
                <a:cubicBezTo>
                  <a:pt x="34" y="446"/>
                  <a:pt x="34" y="446"/>
                  <a:pt x="34" y="446"/>
                </a:cubicBezTo>
                <a:cubicBezTo>
                  <a:pt x="34" y="448"/>
                  <a:pt x="36" y="451"/>
                  <a:pt x="39" y="451"/>
                </a:cubicBezTo>
                <a:cubicBezTo>
                  <a:pt x="42" y="451"/>
                  <a:pt x="44" y="448"/>
                  <a:pt x="44" y="446"/>
                </a:cubicBezTo>
                <a:cubicBezTo>
                  <a:pt x="44" y="174"/>
                  <a:pt x="44" y="174"/>
                  <a:pt x="44" y="174"/>
                </a:cubicBezTo>
                <a:cubicBezTo>
                  <a:pt x="73" y="174"/>
                  <a:pt x="73" y="174"/>
                  <a:pt x="73" y="174"/>
                </a:cubicBezTo>
                <a:cubicBezTo>
                  <a:pt x="76" y="174"/>
                  <a:pt x="78" y="172"/>
                  <a:pt x="78" y="169"/>
                </a:cubicBezTo>
                <a:cubicBezTo>
                  <a:pt x="78" y="118"/>
                  <a:pt x="78" y="118"/>
                  <a:pt x="78" y="118"/>
                </a:cubicBezTo>
                <a:cubicBezTo>
                  <a:pt x="121" y="118"/>
                  <a:pt x="121" y="118"/>
                  <a:pt x="121" y="118"/>
                </a:cubicBezTo>
                <a:cubicBezTo>
                  <a:pt x="121" y="141"/>
                  <a:pt x="121" y="141"/>
                  <a:pt x="121" y="141"/>
                </a:cubicBezTo>
                <a:cubicBezTo>
                  <a:pt x="121" y="144"/>
                  <a:pt x="123" y="146"/>
                  <a:pt x="126" y="146"/>
                </a:cubicBezTo>
                <a:cubicBezTo>
                  <a:pt x="160" y="146"/>
                  <a:pt x="160" y="146"/>
                  <a:pt x="160" y="146"/>
                </a:cubicBezTo>
                <a:cubicBezTo>
                  <a:pt x="201" y="146"/>
                  <a:pt x="233" y="113"/>
                  <a:pt x="233" y="73"/>
                </a:cubicBezTo>
                <a:close/>
                <a:moveTo>
                  <a:pt x="68" y="164"/>
                </a:moveTo>
                <a:cubicBezTo>
                  <a:pt x="9" y="164"/>
                  <a:pt x="9" y="164"/>
                  <a:pt x="9" y="164"/>
                </a:cubicBezTo>
                <a:cubicBezTo>
                  <a:pt x="9" y="73"/>
                  <a:pt x="9" y="73"/>
                  <a:pt x="9" y="73"/>
                </a:cubicBezTo>
                <a:cubicBezTo>
                  <a:pt x="9" y="39"/>
                  <a:pt x="36" y="12"/>
                  <a:pt x="68" y="9"/>
                </a:cubicBezTo>
                <a:lnTo>
                  <a:pt x="68" y="164"/>
                </a:lnTo>
                <a:close/>
                <a:moveTo>
                  <a:pt x="121" y="109"/>
                </a:moveTo>
                <a:cubicBezTo>
                  <a:pt x="78" y="109"/>
                  <a:pt x="78" y="109"/>
                  <a:pt x="78" y="109"/>
                </a:cubicBezTo>
                <a:cubicBezTo>
                  <a:pt x="78" y="37"/>
                  <a:pt x="78" y="37"/>
                  <a:pt x="78" y="37"/>
                </a:cubicBezTo>
                <a:cubicBezTo>
                  <a:pt x="121" y="37"/>
                  <a:pt x="121" y="37"/>
                  <a:pt x="121" y="37"/>
                </a:cubicBezTo>
                <a:lnTo>
                  <a:pt x="121" y="109"/>
                </a:lnTo>
                <a:close/>
                <a:moveTo>
                  <a:pt x="130" y="9"/>
                </a:moveTo>
                <a:cubicBezTo>
                  <a:pt x="160" y="9"/>
                  <a:pt x="160" y="9"/>
                  <a:pt x="160" y="9"/>
                </a:cubicBezTo>
                <a:cubicBezTo>
                  <a:pt x="195" y="9"/>
                  <a:pt x="224" y="38"/>
                  <a:pt x="224" y="73"/>
                </a:cubicBezTo>
                <a:cubicBezTo>
                  <a:pt x="224" y="108"/>
                  <a:pt x="195" y="136"/>
                  <a:pt x="160" y="136"/>
                </a:cubicBezTo>
                <a:cubicBezTo>
                  <a:pt x="130" y="136"/>
                  <a:pt x="130" y="136"/>
                  <a:pt x="130" y="136"/>
                </a:cubicBezTo>
                <a:lnTo>
                  <a:pt x="130" y="9"/>
                </a:ln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24" name="Oval 21"/>
          <p:cNvSpPr>
            <a:spLocks noChangeArrowheads="1"/>
          </p:cNvSpPr>
          <p:nvPr/>
        </p:nvSpPr>
        <p:spPr bwMode="auto">
          <a:xfrm>
            <a:off x="4831649" y="1528549"/>
            <a:ext cx="1119124" cy="1119124"/>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1162" name="Freeform 29"/>
          <p:cNvSpPr>
            <a:spLocks noEditPoints="1"/>
          </p:cNvSpPr>
          <p:nvPr/>
        </p:nvSpPr>
        <p:spPr bwMode="auto">
          <a:xfrm>
            <a:off x="5084183" y="1801685"/>
            <a:ext cx="614056" cy="571524"/>
          </a:xfrm>
          <a:custGeom>
            <a:avLst/>
            <a:gdLst>
              <a:gd name="T0" fmla="*/ 365 w 391"/>
              <a:gd name="T1" fmla="*/ 0 h 364"/>
              <a:gd name="T2" fmla="*/ 26 w 391"/>
              <a:gd name="T3" fmla="*/ 0 h 364"/>
              <a:gd name="T4" fmla="*/ 0 w 391"/>
              <a:gd name="T5" fmla="*/ 26 h 364"/>
              <a:gd name="T6" fmla="*/ 0 w 391"/>
              <a:gd name="T7" fmla="*/ 282 h 364"/>
              <a:gd name="T8" fmla="*/ 26 w 391"/>
              <a:gd name="T9" fmla="*/ 308 h 364"/>
              <a:gd name="T10" fmla="*/ 152 w 391"/>
              <a:gd name="T11" fmla="*/ 308 h 364"/>
              <a:gd name="T12" fmla="*/ 137 w 391"/>
              <a:gd name="T13" fmla="*/ 355 h 364"/>
              <a:gd name="T14" fmla="*/ 92 w 391"/>
              <a:gd name="T15" fmla="*/ 355 h 364"/>
              <a:gd name="T16" fmla="*/ 87 w 391"/>
              <a:gd name="T17" fmla="*/ 360 h 364"/>
              <a:gd name="T18" fmla="*/ 92 w 391"/>
              <a:gd name="T19" fmla="*/ 364 h 364"/>
              <a:gd name="T20" fmla="*/ 299 w 391"/>
              <a:gd name="T21" fmla="*/ 364 h 364"/>
              <a:gd name="T22" fmla="*/ 304 w 391"/>
              <a:gd name="T23" fmla="*/ 360 h 364"/>
              <a:gd name="T24" fmla="*/ 299 w 391"/>
              <a:gd name="T25" fmla="*/ 355 h 364"/>
              <a:gd name="T26" fmla="*/ 254 w 391"/>
              <a:gd name="T27" fmla="*/ 355 h 364"/>
              <a:gd name="T28" fmla="*/ 239 w 391"/>
              <a:gd name="T29" fmla="*/ 308 h 364"/>
              <a:gd name="T30" fmla="*/ 365 w 391"/>
              <a:gd name="T31" fmla="*/ 308 h 364"/>
              <a:gd name="T32" fmla="*/ 391 w 391"/>
              <a:gd name="T33" fmla="*/ 282 h 364"/>
              <a:gd name="T34" fmla="*/ 391 w 391"/>
              <a:gd name="T35" fmla="*/ 26 h 364"/>
              <a:gd name="T36" fmla="*/ 365 w 391"/>
              <a:gd name="T37" fmla="*/ 0 h 364"/>
              <a:gd name="T38" fmla="*/ 244 w 391"/>
              <a:gd name="T39" fmla="*/ 355 h 364"/>
              <a:gd name="T40" fmla="*/ 147 w 391"/>
              <a:gd name="T41" fmla="*/ 355 h 364"/>
              <a:gd name="T42" fmla="*/ 161 w 391"/>
              <a:gd name="T43" fmla="*/ 308 h 364"/>
              <a:gd name="T44" fmla="*/ 229 w 391"/>
              <a:gd name="T45" fmla="*/ 308 h 364"/>
              <a:gd name="T46" fmla="*/ 244 w 391"/>
              <a:gd name="T47" fmla="*/ 355 h 364"/>
              <a:gd name="T48" fmla="*/ 382 w 391"/>
              <a:gd name="T49" fmla="*/ 282 h 364"/>
              <a:gd name="T50" fmla="*/ 365 w 391"/>
              <a:gd name="T51" fmla="*/ 299 h 364"/>
              <a:gd name="T52" fmla="*/ 26 w 391"/>
              <a:gd name="T53" fmla="*/ 299 h 364"/>
              <a:gd name="T54" fmla="*/ 9 w 391"/>
              <a:gd name="T55" fmla="*/ 282 h 364"/>
              <a:gd name="T56" fmla="*/ 9 w 391"/>
              <a:gd name="T57" fmla="*/ 26 h 364"/>
              <a:gd name="T58" fmla="*/ 26 w 391"/>
              <a:gd name="T59" fmla="*/ 10 h 364"/>
              <a:gd name="T60" fmla="*/ 365 w 391"/>
              <a:gd name="T61" fmla="*/ 10 h 364"/>
              <a:gd name="T62" fmla="*/ 382 w 391"/>
              <a:gd name="T63" fmla="*/ 26 h 364"/>
              <a:gd name="T64" fmla="*/ 382 w 391"/>
              <a:gd name="T65" fmla="*/ 282 h 364"/>
              <a:gd name="T66" fmla="*/ 347 w 391"/>
              <a:gd name="T67" fmla="*/ 38 h 364"/>
              <a:gd name="T68" fmla="*/ 44 w 391"/>
              <a:gd name="T69" fmla="*/ 38 h 364"/>
              <a:gd name="T70" fmla="*/ 39 w 391"/>
              <a:gd name="T71" fmla="*/ 43 h 364"/>
              <a:gd name="T72" fmla="*/ 39 w 391"/>
              <a:gd name="T73" fmla="*/ 229 h 364"/>
              <a:gd name="T74" fmla="*/ 44 w 391"/>
              <a:gd name="T75" fmla="*/ 234 h 364"/>
              <a:gd name="T76" fmla="*/ 347 w 391"/>
              <a:gd name="T77" fmla="*/ 234 h 364"/>
              <a:gd name="T78" fmla="*/ 352 w 391"/>
              <a:gd name="T79" fmla="*/ 229 h 364"/>
              <a:gd name="T80" fmla="*/ 352 w 391"/>
              <a:gd name="T81" fmla="*/ 43 h 364"/>
              <a:gd name="T82" fmla="*/ 347 w 391"/>
              <a:gd name="T83" fmla="*/ 38 h 364"/>
              <a:gd name="T84" fmla="*/ 343 w 391"/>
              <a:gd name="T85" fmla="*/ 225 h 364"/>
              <a:gd name="T86" fmla="*/ 48 w 391"/>
              <a:gd name="T87" fmla="*/ 225 h 364"/>
              <a:gd name="T88" fmla="*/ 48 w 391"/>
              <a:gd name="T89" fmla="*/ 47 h 364"/>
              <a:gd name="T90" fmla="*/ 343 w 391"/>
              <a:gd name="T91" fmla="*/ 47 h 364"/>
              <a:gd name="T92" fmla="*/ 343 w 391"/>
              <a:gd name="T93" fmla="*/ 225 h 364"/>
              <a:gd name="T94" fmla="*/ 195 w 391"/>
              <a:gd name="T95" fmla="*/ 252 h 364"/>
              <a:gd name="T96" fmla="*/ 178 w 391"/>
              <a:gd name="T97" fmla="*/ 270 h 364"/>
              <a:gd name="T98" fmla="*/ 195 w 391"/>
              <a:gd name="T99" fmla="*/ 288 h 364"/>
              <a:gd name="T100" fmla="*/ 213 w 391"/>
              <a:gd name="T101" fmla="*/ 270 h 364"/>
              <a:gd name="T102" fmla="*/ 195 w 391"/>
              <a:gd name="T103" fmla="*/ 252 h 364"/>
              <a:gd name="T104" fmla="*/ 195 w 391"/>
              <a:gd name="T105" fmla="*/ 278 h 364"/>
              <a:gd name="T106" fmla="*/ 187 w 391"/>
              <a:gd name="T107" fmla="*/ 270 h 364"/>
              <a:gd name="T108" fmla="*/ 195 w 391"/>
              <a:gd name="T109" fmla="*/ 261 h 364"/>
              <a:gd name="T110" fmla="*/ 204 w 391"/>
              <a:gd name="T111" fmla="*/ 270 h 364"/>
              <a:gd name="T112" fmla="*/ 195 w 391"/>
              <a:gd name="T113" fmla="*/ 278 h 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91" h="364">
                <a:moveTo>
                  <a:pt x="365" y="0"/>
                </a:moveTo>
                <a:cubicBezTo>
                  <a:pt x="26" y="0"/>
                  <a:pt x="26" y="0"/>
                  <a:pt x="26" y="0"/>
                </a:cubicBezTo>
                <a:cubicBezTo>
                  <a:pt x="12" y="0"/>
                  <a:pt x="0" y="12"/>
                  <a:pt x="0" y="26"/>
                </a:cubicBezTo>
                <a:cubicBezTo>
                  <a:pt x="0" y="282"/>
                  <a:pt x="0" y="282"/>
                  <a:pt x="0" y="282"/>
                </a:cubicBezTo>
                <a:cubicBezTo>
                  <a:pt x="0" y="297"/>
                  <a:pt x="12" y="308"/>
                  <a:pt x="26" y="308"/>
                </a:cubicBezTo>
                <a:cubicBezTo>
                  <a:pt x="152" y="308"/>
                  <a:pt x="152" y="308"/>
                  <a:pt x="152" y="308"/>
                </a:cubicBezTo>
                <a:cubicBezTo>
                  <a:pt x="137" y="355"/>
                  <a:pt x="137" y="355"/>
                  <a:pt x="137" y="355"/>
                </a:cubicBezTo>
                <a:cubicBezTo>
                  <a:pt x="92" y="355"/>
                  <a:pt x="92" y="355"/>
                  <a:pt x="92" y="355"/>
                </a:cubicBezTo>
                <a:cubicBezTo>
                  <a:pt x="89" y="355"/>
                  <a:pt x="87" y="357"/>
                  <a:pt x="87" y="360"/>
                </a:cubicBezTo>
                <a:cubicBezTo>
                  <a:pt x="87" y="362"/>
                  <a:pt x="89" y="364"/>
                  <a:pt x="92" y="364"/>
                </a:cubicBezTo>
                <a:cubicBezTo>
                  <a:pt x="299" y="364"/>
                  <a:pt x="299" y="364"/>
                  <a:pt x="299" y="364"/>
                </a:cubicBezTo>
                <a:cubicBezTo>
                  <a:pt x="302" y="364"/>
                  <a:pt x="304" y="362"/>
                  <a:pt x="304" y="360"/>
                </a:cubicBezTo>
                <a:cubicBezTo>
                  <a:pt x="304" y="357"/>
                  <a:pt x="302" y="355"/>
                  <a:pt x="299" y="355"/>
                </a:cubicBezTo>
                <a:cubicBezTo>
                  <a:pt x="254" y="355"/>
                  <a:pt x="254" y="355"/>
                  <a:pt x="254" y="355"/>
                </a:cubicBezTo>
                <a:cubicBezTo>
                  <a:pt x="239" y="308"/>
                  <a:pt x="239" y="308"/>
                  <a:pt x="239" y="308"/>
                </a:cubicBezTo>
                <a:cubicBezTo>
                  <a:pt x="365" y="308"/>
                  <a:pt x="365" y="308"/>
                  <a:pt x="365" y="308"/>
                </a:cubicBezTo>
                <a:cubicBezTo>
                  <a:pt x="379" y="308"/>
                  <a:pt x="391" y="297"/>
                  <a:pt x="391" y="282"/>
                </a:cubicBezTo>
                <a:cubicBezTo>
                  <a:pt x="391" y="26"/>
                  <a:pt x="391" y="26"/>
                  <a:pt x="391" y="26"/>
                </a:cubicBezTo>
                <a:cubicBezTo>
                  <a:pt x="391" y="12"/>
                  <a:pt x="379" y="0"/>
                  <a:pt x="365" y="0"/>
                </a:cubicBezTo>
                <a:close/>
                <a:moveTo>
                  <a:pt x="244" y="355"/>
                </a:moveTo>
                <a:cubicBezTo>
                  <a:pt x="147" y="355"/>
                  <a:pt x="147" y="355"/>
                  <a:pt x="147" y="355"/>
                </a:cubicBezTo>
                <a:cubicBezTo>
                  <a:pt x="161" y="308"/>
                  <a:pt x="161" y="308"/>
                  <a:pt x="161" y="308"/>
                </a:cubicBezTo>
                <a:cubicBezTo>
                  <a:pt x="229" y="308"/>
                  <a:pt x="229" y="308"/>
                  <a:pt x="229" y="308"/>
                </a:cubicBezTo>
                <a:lnTo>
                  <a:pt x="244" y="355"/>
                </a:lnTo>
                <a:close/>
                <a:moveTo>
                  <a:pt x="382" y="282"/>
                </a:moveTo>
                <a:cubicBezTo>
                  <a:pt x="382" y="291"/>
                  <a:pt x="374" y="299"/>
                  <a:pt x="365" y="299"/>
                </a:cubicBezTo>
                <a:cubicBezTo>
                  <a:pt x="26" y="299"/>
                  <a:pt x="26" y="299"/>
                  <a:pt x="26" y="299"/>
                </a:cubicBezTo>
                <a:cubicBezTo>
                  <a:pt x="17" y="299"/>
                  <a:pt x="9" y="291"/>
                  <a:pt x="9" y="282"/>
                </a:cubicBezTo>
                <a:cubicBezTo>
                  <a:pt x="9" y="26"/>
                  <a:pt x="9" y="26"/>
                  <a:pt x="9" y="26"/>
                </a:cubicBezTo>
                <a:cubicBezTo>
                  <a:pt x="9" y="17"/>
                  <a:pt x="17" y="10"/>
                  <a:pt x="26" y="10"/>
                </a:cubicBezTo>
                <a:cubicBezTo>
                  <a:pt x="365" y="10"/>
                  <a:pt x="365" y="10"/>
                  <a:pt x="365" y="10"/>
                </a:cubicBezTo>
                <a:cubicBezTo>
                  <a:pt x="374" y="10"/>
                  <a:pt x="382" y="17"/>
                  <a:pt x="382" y="26"/>
                </a:cubicBezTo>
                <a:lnTo>
                  <a:pt x="382" y="282"/>
                </a:lnTo>
                <a:close/>
                <a:moveTo>
                  <a:pt x="347" y="38"/>
                </a:moveTo>
                <a:cubicBezTo>
                  <a:pt x="44" y="38"/>
                  <a:pt x="44" y="38"/>
                  <a:pt x="44" y="38"/>
                </a:cubicBezTo>
                <a:cubicBezTo>
                  <a:pt x="41" y="38"/>
                  <a:pt x="39" y="40"/>
                  <a:pt x="39" y="43"/>
                </a:cubicBezTo>
                <a:cubicBezTo>
                  <a:pt x="39" y="229"/>
                  <a:pt x="39" y="229"/>
                  <a:pt x="39" y="229"/>
                </a:cubicBezTo>
                <a:cubicBezTo>
                  <a:pt x="39" y="232"/>
                  <a:pt x="41" y="234"/>
                  <a:pt x="44" y="234"/>
                </a:cubicBezTo>
                <a:cubicBezTo>
                  <a:pt x="347" y="234"/>
                  <a:pt x="347" y="234"/>
                  <a:pt x="347" y="234"/>
                </a:cubicBezTo>
                <a:cubicBezTo>
                  <a:pt x="350" y="234"/>
                  <a:pt x="352" y="232"/>
                  <a:pt x="352" y="229"/>
                </a:cubicBezTo>
                <a:cubicBezTo>
                  <a:pt x="352" y="43"/>
                  <a:pt x="352" y="43"/>
                  <a:pt x="352" y="43"/>
                </a:cubicBezTo>
                <a:cubicBezTo>
                  <a:pt x="352" y="40"/>
                  <a:pt x="350" y="38"/>
                  <a:pt x="347" y="38"/>
                </a:cubicBezTo>
                <a:close/>
                <a:moveTo>
                  <a:pt x="343" y="225"/>
                </a:moveTo>
                <a:cubicBezTo>
                  <a:pt x="48" y="225"/>
                  <a:pt x="48" y="225"/>
                  <a:pt x="48" y="225"/>
                </a:cubicBezTo>
                <a:cubicBezTo>
                  <a:pt x="48" y="47"/>
                  <a:pt x="48" y="47"/>
                  <a:pt x="48" y="47"/>
                </a:cubicBezTo>
                <a:cubicBezTo>
                  <a:pt x="343" y="47"/>
                  <a:pt x="343" y="47"/>
                  <a:pt x="343" y="47"/>
                </a:cubicBezTo>
                <a:lnTo>
                  <a:pt x="343" y="225"/>
                </a:lnTo>
                <a:close/>
                <a:moveTo>
                  <a:pt x="195" y="252"/>
                </a:moveTo>
                <a:cubicBezTo>
                  <a:pt x="186" y="252"/>
                  <a:pt x="178" y="260"/>
                  <a:pt x="178" y="270"/>
                </a:cubicBezTo>
                <a:cubicBezTo>
                  <a:pt x="178" y="280"/>
                  <a:pt x="186" y="288"/>
                  <a:pt x="195" y="288"/>
                </a:cubicBezTo>
                <a:cubicBezTo>
                  <a:pt x="205" y="288"/>
                  <a:pt x="213" y="280"/>
                  <a:pt x="213" y="270"/>
                </a:cubicBezTo>
                <a:cubicBezTo>
                  <a:pt x="213" y="260"/>
                  <a:pt x="205" y="252"/>
                  <a:pt x="195" y="252"/>
                </a:cubicBezTo>
                <a:close/>
                <a:moveTo>
                  <a:pt x="195" y="278"/>
                </a:moveTo>
                <a:cubicBezTo>
                  <a:pt x="191" y="278"/>
                  <a:pt x="187" y="274"/>
                  <a:pt x="187" y="270"/>
                </a:cubicBezTo>
                <a:cubicBezTo>
                  <a:pt x="187" y="265"/>
                  <a:pt x="191" y="261"/>
                  <a:pt x="195" y="261"/>
                </a:cubicBezTo>
                <a:cubicBezTo>
                  <a:pt x="200" y="261"/>
                  <a:pt x="204" y="265"/>
                  <a:pt x="204" y="270"/>
                </a:cubicBezTo>
                <a:cubicBezTo>
                  <a:pt x="204" y="274"/>
                  <a:pt x="200" y="278"/>
                  <a:pt x="195" y="278"/>
                </a:cubicBez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18" name="Oval 15"/>
          <p:cNvSpPr>
            <a:spLocks noChangeArrowheads="1"/>
          </p:cNvSpPr>
          <p:nvPr/>
        </p:nvSpPr>
        <p:spPr bwMode="auto">
          <a:xfrm>
            <a:off x="4831649" y="3120088"/>
            <a:ext cx="1119124" cy="1119124"/>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1163" name="Freeform 30"/>
          <p:cNvSpPr>
            <a:spLocks noEditPoints="1"/>
          </p:cNvSpPr>
          <p:nvPr/>
        </p:nvSpPr>
        <p:spPr bwMode="auto">
          <a:xfrm>
            <a:off x="5124722" y="3419807"/>
            <a:ext cx="532315" cy="519024"/>
          </a:xfrm>
          <a:custGeom>
            <a:avLst/>
            <a:gdLst>
              <a:gd name="T0" fmla="*/ 339 w 339"/>
              <a:gd name="T1" fmla="*/ 98 h 331"/>
              <a:gd name="T2" fmla="*/ 287 w 339"/>
              <a:gd name="T3" fmla="*/ 0 h 331"/>
              <a:gd name="T4" fmla="*/ 47 w 339"/>
              <a:gd name="T5" fmla="*/ 3 h 331"/>
              <a:gd name="T6" fmla="*/ 0 w 339"/>
              <a:gd name="T7" fmla="*/ 98 h 331"/>
              <a:gd name="T8" fmla="*/ 0 w 339"/>
              <a:gd name="T9" fmla="*/ 326 h 331"/>
              <a:gd name="T10" fmla="*/ 335 w 339"/>
              <a:gd name="T11" fmla="*/ 331 h 331"/>
              <a:gd name="T12" fmla="*/ 339 w 339"/>
              <a:gd name="T13" fmla="*/ 100 h 331"/>
              <a:gd name="T14" fmla="*/ 54 w 339"/>
              <a:gd name="T15" fmla="*/ 9 h 331"/>
              <a:gd name="T16" fmla="*/ 327 w 339"/>
              <a:gd name="T17" fmla="*/ 96 h 331"/>
              <a:gd name="T18" fmla="*/ 54 w 339"/>
              <a:gd name="T19" fmla="*/ 9 h 331"/>
              <a:gd name="T20" fmla="*/ 9 w 339"/>
              <a:gd name="T21" fmla="*/ 322 h 331"/>
              <a:gd name="T22" fmla="*/ 330 w 339"/>
              <a:gd name="T23" fmla="*/ 256 h 331"/>
              <a:gd name="T24" fmla="*/ 330 w 339"/>
              <a:gd name="T25" fmla="*/ 246 h 331"/>
              <a:gd name="T26" fmla="*/ 9 w 339"/>
              <a:gd name="T27" fmla="*/ 180 h 331"/>
              <a:gd name="T28" fmla="*/ 330 w 339"/>
              <a:gd name="T29" fmla="*/ 246 h 331"/>
              <a:gd name="T30" fmla="*/ 9 w 339"/>
              <a:gd name="T31" fmla="*/ 171 h 331"/>
              <a:gd name="T32" fmla="*/ 330 w 339"/>
              <a:gd name="T33" fmla="*/ 105 h 331"/>
              <a:gd name="T34" fmla="*/ 245 w 339"/>
              <a:gd name="T35" fmla="*/ 308 h 331"/>
              <a:gd name="T36" fmla="*/ 245 w 339"/>
              <a:gd name="T37" fmla="*/ 269 h 331"/>
              <a:gd name="T38" fmla="*/ 245 w 339"/>
              <a:gd name="T39" fmla="*/ 308 h 331"/>
              <a:gd name="T40" fmla="*/ 255 w 339"/>
              <a:gd name="T41" fmla="*/ 289 h 331"/>
              <a:gd name="T42" fmla="*/ 235 w 339"/>
              <a:gd name="T43" fmla="*/ 289 h 331"/>
              <a:gd name="T44" fmla="*/ 289 w 339"/>
              <a:gd name="T45" fmla="*/ 308 h 331"/>
              <a:gd name="T46" fmla="*/ 289 w 339"/>
              <a:gd name="T47" fmla="*/ 269 h 331"/>
              <a:gd name="T48" fmla="*/ 289 w 339"/>
              <a:gd name="T49" fmla="*/ 308 h 331"/>
              <a:gd name="T50" fmla="*/ 299 w 339"/>
              <a:gd name="T51" fmla="*/ 289 h 331"/>
              <a:gd name="T52" fmla="*/ 279 w 339"/>
              <a:gd name="T53" fmla="*/ 289 h 331"/>
              <a:gd name="T54" fmla="*/ 245 w 339"/>
              <a:gd name="T55" fmla="*/ 158 h 331"/>
              <a:gd name="T56" fmla="*/ 245 w 339"/>
              <a:gd name="T57" fmla="*/ 119 h 331"/>
              <a:gd name="T58" fmla="*/ 245 w 339"/>
              <a:gd name="T59" fmla="*/ 158 h 331"/>
              <a:gd name="T60" fmla="*/ 255 w 339"/>
              <a:gd name="T61" fmla="*/ 138 h 331"/>
              <a:gd name="T62" fmla="*/ 235 w 339"/>
              <a:gd name="T63" fmla="*/ 138 h 331"/>
              <a:gd name="T64" fmla="*/ 289 w 339"/>
              <a:gd name="T65" fmla="*/ 158 h 331"/>
              <a:gd name="T66" fmla="*/ 289 w 339"/>
              <a:gd name="T67" fmla="*/ 119 h 331"/>
              <a:gd name="T68" fmla="*/ 289 w 339"/>
              <a:gd name="T69" fmla="*/ 158 h 331"/>
              <a:gd name="T70" fmla="*/ 299 w 339"/>
              <a:gd name="T71" fmla="*/ 138 h 331"/>
              <a:gd name="T72" fmla="*/ 279 w 339"/>
              <a:gd name="T73" fmla="*/ 138 h 331"/>
              <a:gd name="T74" fmla="*/ 245 w 339"/>
              <a:gd name="T75" fmla="*/ 233 h 331"/>
              <a:gd name="T76" fmla="*/ 245 w 339"/>
              <a:gd name="T77" fmla="*/ 194 h 331"/>
              <a:gd name="T78" fmla="*/ 245 w 339"/>
              <a:gd name="T79" fmla="*/ 233 h 331"/>
              <a:gd name="T80" fmla="*/ 255 w 339"/>
              <a:gd name="T81" fmla="*/ 213 h 331"/>
              <a:gd name="T82" fmla="*/ 235 w 339"/>
              <a:gd name="T83" fmla="*/ 213 h 331"/>
              <a:gd name="T84" fmla="*/ 289 w 339"/>
              <a:gd name="T85" fmla="*/ 233 h 331"/>
              <a:gd name="T86" fmla="*/ 289 w 339"/>
              <a:gd name="T87" fmla="*/ 194 h 331"/>
              <a:gd name="T88" fmla="*/ 289 w 339"/>
              <a:gd name="T89" fmla="*/ 233 h 331"/>
              <a:gd name="T90" fmla="*/ 299 w 339"/>
              <a:gd name="T91" fmla="*/ 213 h 331"/>
              <a:gd name="T92" fmla="*/ 279 w 339"/>
              <a:gd name="T93" fmla="*/ 213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39" h="331">
                <a:moveTo>
                  <a:pt x="339" y="98"/>
                </a:moveTo>
                <a:cubicBezTo>
                  <a:pt x="339" y="98"/>
                  <a:pt x="339" y="98"/>
                  <a:pt x="339" y="98"/>
                </a:cubicBezTo>
                <a:cubicBezTo>
                  <a:pt x="292" y="3"/>
                  <a:pt x="292" y="3"/>
                  <a:pt x="292" y="3"/>
                </a:cubicBezTo>
                <a:cubicBezTo>
                  <a:pt x="291" y="1"/>
                  <a:pt x="289" y="0"/>
                  <a:pt x="287" y="0"/>
                </a:cubicBezTo>
                <a:cubicBezTo>
                  <a:pt x="51" y="0"/>
                  <a:pt x="51" y="0"/>
                  <a:pt x="51" y="0"/>
                </a:cubicBezTo>
                <a:cubicBezTo>
                  <a:pt x="50" y="0"/>
                  <a:pt x="48" y="1"/>
                  <a:pt x="47" y="3"/>
                </a:cubicBezTo>
                <a:cubicBezTo>
                  <a:pt x="0" y="98"/>
                  <a:pt x="0" y="98"/>
                  <a:pt x="0" y="98"/>
                </a:cubicBezTo>
                <a:cubicBezTo>
                  <a:pt x="0" y="98"/>
                  <a:pt x="0" y="98"/>
                  <a:pt x="0" y="98"/>
                </a:cubicBezTo>
                <a:cubicBezTo>
                  <a:pt x="0" y="99"/>
                  <a:pt x="0" y="100"/>
                  <a:pt x="0" y="100"/>
                </a:cubicBezTo>
                <a:cubicBezTo>
                  <a:pt x="0" y="326"/>
                  <a:pt x="0" y="326"/>
                  <a:pt x="0" y="326"/>
                </a:cubicBezTo>
                <a:cubicBezTo>
                  <a:pt x="0" y="329"/>
                  <a:pt x="2" y="331"/>
                  <a:pt x="4" y="331"/>
                </a:cubicBezTo>
                <a:cubicBezTo>
                  <a:pt x="335" y="331"/>
                  <a:pt x="335" y="331"/>
                  <a:pt x="335" y="331"/>
                </a:cubicBezTo>
                <a:cubicBezTo>
                  <a:pt x="337" y="331"/>
                  <a:pt x="339" y="329"/>
                  <a:pt x="339" y="326"/>
                </a:cubicBezTo>
                <a:cubicBezTo>
                  <a:pt x="339" y="100"/>
                  <a:pt x="339" y="100"/>
                  <a:pt x="339" y="100"/>
                </a:cubicBezTo>
                <a:cubicBezTo>
                  <a:pt x="339" y="100"/>
                  <a:pt x="339" y="99"/>
                  <a:pt x="339" y="98"/>
                </a:cubicBezTo>
                <a:close/>
                <a:moveTo>
                  <a:pt x="54" y="9"/>
                </a:moveTo>
                <a:cubicBezTo>
                  <a:pt x="285" y="9"/>
                  <a:pt x="285" y="9"/>
                  <a:pt x="285" y="9"/>
                </a:cubicBezTo>
                <a:cubicBezTo>
                  <a:pt x="327" y="96"/>
                  <a:pt x="327" y="96"/>
                  <a:pt x="327" y="96"/>
                </a:cubicBezTo>
                <a:cubicBezTo>
                  <a:pt x="12" y="96"/>
                  <a:pt x="12" y="96"/>
                  <a:pt x="12" y="96"/>
                </a:cubicBezTo>
                <a:lnTo>
                  <a:pt x="54" y="9"/>
                </a:lnTo>
                <a:close/>
                <a:moveTo>
                  <a:pt x="330" y="322"/>
                </a:moveTo>
                <a:cubicBezTo>
                  <a:pt x="9" y="322"/>
                  <a:pt x="9" y="322"/>
                  <a:pt x="9" y="322"/>
                </a:cubicBezTo>
                <a:cubicBezTo>
                  <a:pt x="9" y="256"/>
                  <a:pt x="9" y="256"/>
                  <a:pt x="9" y="256"/>
                </a:cubicBezTo>
                <a:cubicBezTo>
                  <a:pt x="330" y="256"/>
                  <a:pt x="330" y="256"/>
                  <a:pt x="330" y="256"/>
                </a:cubicBezTo>
                <a:lnTo>
                  <a:pt x="330" y="322"/>
                </a:lnTo>
                <a:close/>
                <a:moveTo>
                  <a:pt x="330" y="246"/>
                </a:moveTo>
                <a:cubicBezTo>
                  <a:pt x="9" y="246"/>
                  <a:pt x="9" y="246"/>
                  <a:pt x="9" y="246"/>
                </a:cubicBezTo>
                <a:cubicBezTo>
                  <a:pt x="9" y="180"/>
                  <a:pt x="9" y="180"/>
                  <a:pt x="9" y="180"/>
                </a:cubicBezTo>
                <a:cubicBezTo>
                  <a:pt x="330" y="180"/>
                  <a:pt x="330" y="180"/>
                  <a:pt x="330" y="180"/>
                </a:cubicBezTo>
                <a:lnTo>
                  <a:pt x="330" y="246"/>
                </a:lnTo>
                <a:close/>
                <a:moveTo>
                  <a:pt x="330" y="171"/>
                </a:moveTo>
                <a:cubicBezTo>
                  <a:pt x="9" y="171"/>
                  <a:pt x="9" y="171"/>
                  <a:pt x="9" y="171"/>
                </a:cubicBezTo>
                <a:cubicBezTo>
                  <a:pt x="9" y="105"/>
                  <a:pt x="9" y="105"/>
                  <a:pt x="9" y="105"/>
                </a:cubicBezTo>
                <a:cubicBezTo>
                  <a:pt x="330" y="105"/>
                  <a:pt x="330" y="105"/>
                  <a:pt x="330" y="105"/>
                </a:cubicBezTo>
                <a:lnTo>
                  <a:pt x="330" y="171"/>
                </a:lnTo>
                <a:close/>
                <a:moveTo>
                  <a:pt x="245" y="308"/>
                </a:moveTo>
                <a:cubicBezTo>
                  <a:pt x="256" y="308"/>
                  <a:pt x="264" y="299"/>
                  <a:pt x="264" y="289"/>
                </a:cubicBezTo>
                <a:cubicBezTo>
                  <a:pt x="264" y="278"/>
                  <a:pt x="256" y="269"/>
                  <a:pt x="245" y="269"/>
                </a:cubicBezTo>
                <a:cubicBezTo>
                  <a:pt x="234" y="269"/>
                  <a:pt x="225" y="278"/>
                  <a:pt x="225" y="289"/>
                </a:cubicBezTo>
                <a:cubicBezTo>
                  <a:pt x="225" y="299"/>
                  <a:pt x="234" y="308"/>
                  <a:pt x="245" y="308"/>
                </a:cubicBezTo>
                <a:close/>
                <a:moveTo>
                  <a:pt x="245" y="279"/>
                </a:moveTo>
                <a:cubicBezTo>
                  <a:pt x="250" y="279"/>
                  <a:pt x="255" y="283"/>
                  <a:pt x="255" y="289"/>
                </a:cubicBezTo>
                <a:cubicBezTo>
                  <a:pt x="255" y="294"/>
                  <a:pt x="250" y="299"/>
                  <a:pt x="245" y="299"/>
                </a:cubicBezTo>
                <a:cubicBezTo>
                  <a:pt x="239" y="299"/>
                  <a:pt x="235" y="294"/>
                  <a:pt x="235" y="289"/>
                </a:cubicBezTo>
                <a:cubicBezTo>
                  <a:pt x="235" y="283"/>
                  <a:pt x="239" y="279"/>
                  <a:pt x="245" y="279"/>
                </a:cubicBezTo>
                <a:close/>
                <a:moveTo>
                  <a:pt x="289" y="308"/>
                </a:moveTo>
                <a:cubicBezTo>
                  <a:pt x="299" y="308"/>
                  <a:pt x="308" y="299"/>
                  <a:pt x="308" y="289"/>
                </a:cubicBezTo>
                <a:cubicBezTo>
                  <a:pt x="308" y="278"/>
                  <a:pt x="299" y="269"/>
                  <a:pt x="289" y="269"/>
                </a:cubicBezTo>
                <a:cubicBezTo>
                  <a:pt x="278" y="269"/>
                  <a:pt x="269" y="278"/>
                  <a:pt x="269" y="289"/>
                </a:cubicBezTo>
                <a:cubicBezTo>
                  <a:pt x="269" y="299"/>
                  <a:pt x="278" y="308"/>
                  <a:pt x="289" y="308"/>
                </a:cubicBezTo>
                <a:close/>
                <a:moveTo>
                  <a:pt x="289" y="279"/>
                </a:moveTo>
                <a:cubicBezTo>
                  <a:pt x="294" y="279"/>
                  <a:pt x="299" y="283"/>
                  <a:pt x="299" y="289"/>
                </a:cubicBezTo>
                <a:cubicBezTo>
                  <a:pt x="299" y="294"/>
                  <a:pt x="294" y="299"/>
                  <a:pt x="289" y="299"/>
                </a:cubicBezTo>
                <a:cubicBezTo>
                  <a:pt x="283" y="299"/>
                  <a:pt x="279" y="294"/>
                  <a:pt x="279" y="289"/>
                </a:cubicBezTo>
                <a:cubicBezTo>
                  <a:pt x="279" y="283"/>
                  <a:pt x="283" y="279"/>
                  <a:pt x="289" y="279"/>
                </a:cubicBezTo>
                <a:close/>
                <a:moveTo>
                  <a:pt x="245" y="158"/>
                </a:moveTo>
                <a:cubicBezTo>
                  <a:pt x="256" y="158"/>
                  <a:pt x="264" y="149"/>
                  <a:pt x="264" y="138"/>
                </a:cubicBezTo>
                <a:cubicBezTo>
                  <a:pt x="264" y="127"/>
                  <a:pt x="256" y="119"/>
                  <a:pt x="245" y="119"/>
                </a:cubicBezTo>
                <a:cubicBezTo>
                  <a:pt x="234" y="119"/>
                  <a:pt x="225" y="127"/>
                  <a:pt x="225" y="138"/>
                </a:cubicBezTo>
                <a:cubicBezTo>
                  <a:pt x="225" y="149"/>
                  <a:pt x="234" y="158"/>
                  <a:pt x="245" y="158"/>
                </a:cubicBezTo>
                <a:close/>
                <a:moveTo>
                  <a:pt x="245" y="128"/>
                </a:moveTo>
                <a:cubicBezTo>
                  <a:pt x="250" y="128"/>
                  <a:pt x="255" y="133"/>
                  <a:pt x="255" y="138"/>
                </a:cubicBezTo>
                <a:cubicBezTo>
                  <a:pt x="255" y="144"/>
                  <a:pt x="250" y="148"/>
                  <a:pt x="245" y="148"/>
                </a:cubicBezTo>
                <a:cubicBezTo>
                  <a:pt x="239" y="148"/>
                  <a:pt x="235" y="144"/>
                  <a:pt x="235" y="138"/>
                </a:cubicBezTo>
                <a:cubicBezTo>
                  <a:pt x="235" y="133"/>
                  <a:pt x="239" y="128"/>
                  <a:pt x="245" y="128"/>
                </a:cubicBezTo>
                <a:close/>
                <a:moveTo>
                  <a:pt x="289" y="158"/>
                </a:moveTo>
                <a:cubicBezTo>
                  <a:pt x="299" y="158"/>
                  <a:pt x="308" y="149"/>
                  <a:pt x="308" y="138"/>
                </a:cubicBezTo>
                <a:cubicBezTo>
                  <a:pt x="308" y="127"/>
                  <a:pt x="299" y="119"/>
                  <a:pt x="289" y="119"/>
                </a:cubicBezTo>
                <a:cubicBezTo>
                  <a:pt x="278" y="119"/>
                  <a:pt x="269" y="127"/>
                  <a:pt x="269" y="138"/>
                </a:cubicBezTo>
                <a:cubicBezTo>
                  <a:pt x="269" y="149"/>
                  <a:pt x="278" y="158"/>
                  <a:pt x="289" y="158"/>
                </a:cubicBezTo>
                <a:close/>
                <a:moveTo>
                  <a:pt x="289" y="128"/>
                </a:moveTo>
                <a:cubicBezTo>
                  <a:pt x="294" y="128"/>
                  <a:pt x="299" y="133"/>
                  <a:pt x="299" y="138"/>
                </a:cubicBezTo>
                <a:cubicBezTo>
                  <a:pt x="299" y="144"/>
                  <a:pt x="294" y="148"/>
                  <a:pt x="289" y="148"/>
                </a:cubicBezTo>
                <a:cubicBezTo>
                  <a:pt x="283" y="148"/>
                  <a:pt x="279" y="144"/>
                  <a:pt x="279" y="138"/>
                </a:cubicBezTo>
                <a:cubicBezTo>
                  <a:pt x="279" y="133"/>
                  <a:pt x="283" y="128"/>
                  <a:pt x="289" y="128"/>
                </a:cubicBezTo>
                <a:close/>
                <a:moveTo>
                  <a:pt x="245" y="233"/>
                </a:moveTo>
                <a:cubicBezTo>
                  <a:pt x="256" y="233"/>
                  <a:pt x="264" y="224"/>
                  <a:pt x="264" y="213"/>
                </a:cubicBezTo>
                <a:cubicBezTo>
                  <a:pt x="264" y="203"/>
                  <a:pt x="256" y="194"/>
                  <a:pt x="245" y="194"/>
                </a:cubicBezTo>
                <a:cubicBezTo>
                  <a:pt x="234" y="194"/>
                  <a:pt x="225" y="203"/>
                  <a:pt x="225" y="213"/>
                </a:cubicBezTo>
                <a:cubicBezTo>
                  <a:pt x="225" y="224"/>
                  <a:pt x="234" y="233"/>
                  <a:pt x="245" y="233"/>
                </a:cubicBezTo>
                <a:close/>
                <a:moveTo>
                  <a:pt x="245" y="203"/>
                </a:moveTo>
                <a:cubicBezTo>
                  <a:pt x="250" y="203"/>
                  <a:pt x="255" y="208"/>
                  <a:pt x="255" y="213"/>
                </a:cubicBezTo>
                <a:cubicBezTo>
                  <a:pt x="255" y="219"/>
                  <a:pt x="250" y="223"/>
                  <a:pt x="245" y="223"/>
                </a:cubicBezTo>
                <a:cubicBezTo>
                  <a:pt x="239" y="223"/>
                  <a:pt x="235" y="219"/>
                  <a:pt x="235" y="213"/>
                </a:cubicBezTo>
                <a:cubicBezTo>
                  <a:pt x="235" y="208"/>
                  <a:pt x="239" y="203"/>
                  <a:pt x="245" y="203"/>
                </a:cubicBezTo>
                <a:close/>
                <a:moveTo>
                  <a:pt x="289" y="233"/>
                </a:moveTo>
                <a:cubicBezTo>
                  <a:pt x="299" y="233"/>
                  <a:pt x="308" y="224"/>
                  <a:pt x="308" y="213"/>
                </a:cubicBezTo>
                <a:cubicBezTo>
                  <a:pt x="308" y="203"/>
                  <a:pt x="299" y="194"/>
                  <a:pt x="289" y="194"/>
                </a:cubicBezTo>
                <a:cubicBezTo>
                  <a:pt x="278" y="194"/>
                  <a:pt x="269" y="203"/>
                  <a:pt x="269" y="213"/>
                </a:cubicBezTo>
                <a:cubicBezTo>
                  <a:pt x="269" y="224"/>
                  <a:pt x="278" y="233"/>
                  <a:pt x="289" y="233"/>
                </a:cubicBezTo>
                <a:close/>
                <a:moveTo>
                  <a:pt x="289" y="203"/>
                </a:moveTo>
                <a:cubicBezTo>
                  <a:pt x="294" y="203"/>
                  <a:pt x="299" y="208"/>
                  <a:pt x="299" y="213"/>
                </a:cubicBezTo>
                <a:cubicBezTo>
                  <a:pt x="299" y="219"/>
                  <a:pt x="294" y="223"/>
                  <a:pt x="289" y="223"/>
                </a:cubicBezTo>
                <a:cubicBezTo>
                  <a:pt x="283" y="223"/>
                  <a:pt x="279" y="219"/>
                  <a:pt x="279" y="213"/>
                </a:cubicBezTo>
                <a:cubicBezTo>
                  <a:pt x="279" y="208"/>
                  <a:pt x="283" y="203"/>
                  <a:pt x="289" y="203"/>
                </a:cubicBez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12" name="Oval 12"/>
          <p:cNvSpPr>
            <a:spLocks noChangeArrowheads="1"/>
          </p:cNvSpPr>
          <p:nvPr/>
        </p:nvSpPr>
        <p:spPr bwMode="auto">
          <a:xfrm>
            <a:off x="10105564" y="3120088"/>
            <a:ext cx="1119124" cy="1119124"/>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1164" name="Freeform 31"/>
          <p:cNvSpPr>
            <a:spLocks noEditPoints="1"/>
          </p:cNvSpPr>
          <p:nvPr/>
        </p:nvSpPr>
        <p:spPr bwMode="auto">
          <a:xfrm>
            <a:off x="10323817" y="3348697"/>
            <a:ext cx="683283" cy="661241"/>
          </a:xfrm>
          <a:custGeom>
            <a:avLst/>
            <a:gdLst>
              <a:gd name="T0" fmla="*/ 68 w 436"/>
              <a:gd name="T1" fmla="*/ 141 h 421"/>
              <a:gd name="T2" fmla="*/ 29 w 436"/>
              <a:gd name="T3" fmla="*/ 353 h 421"/>
              <a:gd name="T4" fmla="*/ 321 w 436"/>
              <a:gd name="T5" fmla="*/ 392 h 421"/>
              <a:gd name="T6" fmla="*/ 360 w 436"/>
              <a:gd name="T7" fmla="*/ 180 h 421"/>
              <a:gd name="T8" fmla="*/ 351 w 436"/>
              <a:gd name="T9" fmla="*/ 353 h 421"/>
              <a:gd name="T10" fmla="*/ 68 w 436"/>
              <a:gd name="T11" fmla="*/ 383 h 421"/>
              <a:gd name="T12" fmla="*/ 38 w 436"/>
              <a:gd name="T13" fmla="*/ 180 h 421"/>
              <a:gd name="T14" fmla="*/ 321 w 436"/>
              <a:gd name="T15" fmla="*/ 150 h 421"/>
              <a:gd name="T16" fmla="*/ 351 w 436"/>
              <a:gd name="T17" fmla="*/ 353 h 421"/>
              <a:gd name="T18" fmla="*/ 370 w 436"/>
              <a:gd name="T19" fmla="*/ 203 h 421"/>
              <a:gd name="T20" fmla="*/ 417 w 436"/>
              <a:gd name="T21" fmla="*/ 203 h 421"/>
              <a:gd name="T22" fmla="*/ 393 w 436"/>
              <a:gd name="T23" fmla="*/ 217 h 421"/>
              <a:gd name="T24" fmla="*/ 393 w 436"/>
              <a:gd name="T25" fmla="*/ 189 h 421"/>
              <a:gd name="T26" fmla="*/ 393 w 436"/>
              <a:gd name="T27" fmla="*/ 217 h 421"/>
              <a:gd name="T28" fmla="*/ 231 w 436"/>
              <a:gd name="T29" fmla="*/ 112 h 421"/>
              <a:gd name="T30" fmla="*/ 338 w 436"/>
              <a:gd name="T31" fmla="*/ 2 h 421"/>
              <a:gd name="T32" fmla="*/ 219 w 436"/>
              <a:gd name="T33" fmla="*/ 110 h 421"/>
              <a:gd name="T34" fmla="*/ 154 w 436"/>
              <a:gd name="T35" fmla="*/ 60 h 421"/>
              <a:gd name="T36" fmla="*/ 207 w 436"/>
              <a:gd name="T37" fmla="*/ 112 h 421"/>
              <a:gd name="T38" fmla="*/ 0 w 436"/>
              <a:gd name="T39" fmla="*/ 175 h 421"/>
              <a:gd name="T40" fmla="*/ 63 w 436"/>
              <a:gd name="T41" fmla="*/ 421 h 421"/>
              <a:gd name="T42" fmla="*/ 436 w 436"/>
              <a:gd name="T43" fmla="*/ 358 h 421"/>
              <a:gd name="T44" fmla="*/ 373 w 436"/>
              <a:gd name="T45" fmla="*/ 112 h 421"/>
              <a:gd name="T46" fmla="*/ 373 w 436"/>
              <a:gd name="T47" fmla="*/ 411 h 421"/>
              <a:gd name="T48" fmla="*/ 9 w 436"/>
              <a:gd name="T49" fmla="*/ 358 h 421"/>
              <a:gd name="T50" fmla="*/ 63 w 436"/>
              <a:gd name="T51" fmla="*/ 121 h 421"/>
              <a:gd name="T52" fmla="*/ 427 w 436"/>
              <a:gd name="T53" fmla="*/ 175 h 421"/>
              <a:gd name="T54" fmla="*/ 393 w 436"/>
              <a:gd name="T55" fmla="*/ 249 h 421"/>
              <a:gd name="T56" fmla="*/ 393 w 436"/>
              <a:gd name="T57" fmla="*/ 296 h 421"/>
              <a:gd name="T58" fmla="*/ 393 w 436"/>
              <a:gd name="T59" fmla="*/ 249 h 421"/>
              <a:gd name="T60" fmla="*/ 379 w 436"/>
              <a:gd name="T61" fmla="*/ 273 h 421"/>
              <a:gd name="T62" fmla="*/ 408 w 436"/>
              <a:gd name="T63" fmla="*/ 273 h 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36" h="421">
                <a:moveTo>
                  <a:pt x="321" y="141"/>
                </a:moveTo>
                <a:cubicBezTo>
                  <a:pt x="68" y="141"/>
                  <a:pt x="68" y="141"/>
                  <a:pt x="68" y="141"/>
                </a:cubicBezTo>
                <a:cubicBezTo>
                  <a:pt x="47" y="141"/>
                  <a:pt x="29" y="158"/>
                  <a:pt x="29" y="180"/>
                </a:cubicBezTo>
                <a:cubicBezTo>
                  <a:pt x="29" y="353"/>
                  <a:pt x="29" y="353"/>
                  <a:pt x="29" y="353"/>
                </a:cubicBezTo>
                <a:cubicBezTo>
                  <a:pt x="29" y="375"/>
                  <a:pt x="47" y="392"/>
                  <a:pt x="68" y="392"/>
                </a:cubicBezTo>
                <a:cubicBezTo>
                  <a:pt x="321" y="392"/>
                  <a:pt x="321" y="392"/>
                  <a:pt x="321" y="392"/>
                </a:cubicBezTo>
                <a:cubicBezTo>
                  <a:pt x="342" y="392"/>
                  <a:pt x="360" y="375"/>
                  <a:pt x="360" y="353"/>
                </a:cubicBezTo>
                <a:cubicBezTo>
                  <a:pt x="360" y="180"/>
                  <a:pt x="360" y="180"/>
                  <a:pt x="360" y="180"/>
                </a:cubicBezTo>
                <a:cubicBezTo>
                  <a:pt x="360" y="158"/>
                  <a:pt x="342" y="141"/>
                  <a:pt x="321" y="141"/>
                </a:cubicBezTo>
                <a:close/>
                <a:moveTo>
                  <a:pt x="351" y="353"/>
                </a:moveTo>
                <a:cubicBezTo>
                  <a:pt x="351" y="369"/>
                  <a:pt x="337" y="383"/>
                  <a:pt x="321" y="383"/>
                </a:cubicBezTo>
                <a:cubicBezTo>
                  <a:pt x="68" y="383"/>
                  <a:pt x="68" y="383"/>
                  <a:pt x="68" y="383"/>
                </a:cubicBezTo>
                <a:cubicBezTo>
                  <a:pt x="52" y="383"/>
                  <a:pt x="38" y="369"/>
                  <a:pt x="38" y="353"/>
                </a:cubicBezTo>
                <a:cubicBezTo>
                  <a:pt x="38" y="180"/>
                  <a:pt x="38" y="180"/>
                  <a:pt x="38" y="180"/>
                </a:cubicBezTo>
                <a:cubicBezTo>
                  <a:pt x="38" y="163"/>
                  <a:pt x="52" y="150"/>
                  <a:pt x="68" y="150"/>
                </a:cubicBezTo>
                <a:cubicBezTo>
                  <a:pt x="321" y="150"/>
                  <a:pt x="321" y="150"/>
                  <a:pt x="321" y="150"/>
                </a:cubicBezTo>
                <a:cubicBezTo>
                  <a:pt x="337" y="150"/>
                  <a:pt x="351" y="163"/>
                  <a:pt x="351" y="180"/>
                </a:cubicBezTo>
                <a:lnTo>
                  <a:pt x="351" y="353"/>
                </a:lnTo>
                <a:close/>
                <a:moveTo>
                  <a:pt x="393" y="180"/>
                </a:moveTo>
                <a:cubicBezTo>
                  <a:pt x="380" y="180"/>
                  <a:pt x="370" y="190"/>
                  <a:pt x="370" y="203"/>
                </a:cubicBezTo>
                <a:cubicBezTo>
                  <a:pt x="370" y="216"/>
                  <a:pt x="380" y="227"/>
                  <a:pt x="393" y="227"/>
                </a:cubicBezTo>
                <a:cubicBezTo>
                  <a:pt x="406" y="227"/>
                  <a:pt x="417" y="216"/>
                  <a:pt x="417" y="203"/>
                </a:cubicBezTo>
                <a:cubicBezTo>
                  <a:pt x="417" y="190"/>
                  <a:pt x="406" y="180"/>
                  <a:pt x="393" y="180"/>
                </a:cubicBezTo>
                <a:close/>
                <a:moveTo>
                  <a:pt x="393" y="217"/>
                </a:moveTo>
                <a:cubicBezTo>
                  <a:pt x="386" y="217"/>
                  <a:pt x="379" y="211"/>
                  <a:pt x="379" y="203"/>
                </a:cubicBezTo>
                <a:cubicBezTo>
                  <a:pt x="379" y="195"/>
                  <a:pt x="386" y="189"/>
                  <a:pt x="393" y="189"/>
                </a:cubicBezTo>
                <a:cubicBezTo>
                  <a:pt x="401" y="189"/>
                  <a:pt x="408" y="195"/>
                  <a:pt x="408" y="203"/>
                </a:cubicBezTo>
                <a:cubicBezTo>
                  <a:pt x="408" y="211"/>
                  <a:pt x="401" y="217"/>
                  <a:pt x="393" y="217"/>
                </a:cubicBezTo>
                <a:close/>
                <a:moveTo>
                  <a:pt x="373" y="112"/>
                </a:moveTo>
                <a:cubicBezTo>
                  <a:pt x="231" y="112"/>
                  <a:pt x="231" y="112"/>
                  <a:pt x="231" y="112"/>
                </a:cubicBezTo>
                <a:cubicBezTo>
                  <a:pt x="338" y="8"/>
                  <a:pt x="338" y="8"/>
                  <a:pt x="338" y="8"/>
                </a:cubicBezTo>
                <a:cubicBezTo>
                  <a:pt x="340" y="6"/>
                  <a:pt x="340" y="4"/>
                  <a:pt x="338" y="2"/>
                </a:cubicBezTo>
                <a:cubicBezTo>
                  <a:pt x="336" y="0"/>
                  <a:pt x="333" y="0"/>
                  <a:pt x="331" y="2"/>
                </a:cubicBezTo>
                <a:cubicBezTo>
                  <a:pt x="219" y="110"/>
                  <a:pt x="219" y="110"/>
                  <a:pt x="219" y="110"/>
                </a:cubicBezTo>
                <a:cubicBezTo>
                  <a:pt x="160" y="59"/>
                  <a:pt x="160" y="59"/>
                  <a:pt x="160" y="59"/>
                </a:cubicBezTo>
                <a:cubicBezTo>
                  <a:pt x="159" y="58"/>
                  <a:pt x="156" y="58"/>
                  <a:pt x="154" y="60"/>
                </a:cubicBezTo>
                <a:cubicBezTo>
                  <a:pt x="152" y="62"/>
                  <a:pt x="152" y="65"/>
                  <a:pt x="154" y="66"/>
                </a:cubicBezTo>
                <a:cubicBezTo>
                  <a:pt x="207" y="112"/>
                  <a:pt x="207" y="112"/>
                  <a:pt x="207" y="112"/>
                </a:cubicBezTo>
                <a:cubicBezTo>
                  <a:pt x="63" y="112"/>
                  <a:pt x="63" y="112"/>
                  <a:pt x="63" y="112"/>
                </a:cubicBezTo>
                <a:cubicBezTo>
                  <a:pt x="28" y="112"/>
                  <a:pt x="0" y="140"/>
                  <a:pt x="0" y="175"/>
                </a:cubicBezTo>
                <a:cubicBezTo>
                  <a:pt x="0" y="358"/>
                  <a:pt x="0" y="358"/>
                  <a:pt x="0" y="358"/>
                </a:cubicBezTo>
                <a:cubicBezTo>
                  <a:pt x="0" y="392"/>
                  <a:pt x="28" y="421"/>
                  <a:pt x="63" y="421"/>
                </a:cubicBezTo>
                <a:cubicBezTo>
                  <a:pt x="373" y="421"/>
                  <a:pt x="373" y="421"/>
                  <a:pt x="373" y="421"/>
                </a:cubicBezTo>
                <a:cubicBezTo>
                  <a:pt x="408" y="421"/>
                  <a:pt x="436" y="392"/>
                  <a:pt x="436" y="358"/>
                </a:cubicBezTo>
                <a:cubicBezTo>
                  <a:pt x="436" y="175"/>
                  <a:pt x="436" y="175"/>
                  <a:pt x="436" y="175"/>
                </a:cubicBezTo>
                <a:cubicBezTo>
                  <a:pt x="436" y="140"/>
                  <a:pt x="408" y="112"/>
                  <a:pt x="373" y="112"/>
                </a:cubicBezTo>
                <a:close/>
                <a:moveTo>
                  <a:pt x="427" y="358"/>
                </a:moveTo>
                <a:cubicBezTo>
                  <a:pt x="427" y="387"/>
                  <a:pt x="403" y="411"/>
                  <a:pt x="373" y="411"/>
                </a:cubicBezTo>
                <a:cubicBezTo>
                  <a:pt x="63" y="411"/>
                  <a:pt x="63" y="411"/>
                  <a:pt x="63" y="411"/>
                </a:cubicBezTo>
                <a:cubicBezTo>
                  <a:pt x="33" y="411"/>
                  <a:pt x="9" y="387"/>
                  <a:pt x="9" y="358"/>
                </a:cubicBezTo>
                <a:cubicBezTo>
                  <a:pt x="9" y="175"/>
                  <a:pt x="9" y="175"/>
                  <a:pt x="9" y="175"/>
                </a:cubicBezTo>
                <a:cubicBezTo>
                  <a:pt x="9" y="146"/>
                  <a:pt x="33" y="121"/>
                  <a:pt x="63" y="121"/>
                </a:cubicBezTo>
                <a:cubicBezTo>
                  <a:pt x="373" y="121"/>
                  <a:pt x="373" y="121"/>
                  <a:pt x="373" y="121"/>
                </a:cubicBezTo>
                <a:cubicBezTo>
                  <a:pt x="403" y="121"/>
                  <a:pt x="427" y="146"/>
                  <a:pt x="427" y="175"/>
                </a:cubicBezTo>
                <a:lnTo>
                  <a:pt x="427" y="358"/>
                </a:lnTo>
                <a:close/>
                <a:moveTo>
                  <a:pt x="393" y="249"/>
                </a:moveTo>
                <a:cubicBezTo>
                  <a:pt x="380" y="249"/>
                  <a:pt x="370" y="260"/>
                  <a:pt x="370" y="273"/>
                </a:cubicBezTo>
                <a:cubicBezTo>
                  <a:pt x="370" y="286"/>
                  <a:pt x="380" y="296"/>
                  <a:pt x="393" y="296"/>
                </a:cubicBezTo>
                <a:cubicBezTo>
                  <a:pt x="406" y="296"/>
                  <a:pt x="417" y="286"/>
                  <a:pt x="417" y="273"/>
                </a:cubicBezTo>
                <a:cubicBezTo>
                  <a:pt x="417" y="260"/>
                  <a:pt x="406" y="249"/>
                  <a:pt x="393" y="249"/>
                </a:cubicBezTo>
                <a:close/>
                <a:moveTo>
                  <a:pt x="393" y="287"/>
                </a:moveTo>
                <a:cubicBezTo>
                  <a:pt x="386" y="287"/>
                  <a:pt x="379" y="281"/>
                  <a:pt x="379" y="273"/>
                </a:cubicBezTo>
                <a:cubicBezTo>
                  <a:pt x="379" y="265"/>
                  <a:pt x="386" y="259"/>
                  <a:pt x="393" y="259"/>
                </a:cubicBezTo>
                <a:cubicBezTo>
                  <a:pt x="401" y="259"/>
                  <a:pt x="408" y="265"/>
                  <a:pt x="408" y="273"/>
                </a:cubicBezTo>
                <a:cubicBezTo>
                  <a:pt x="408" y="281"/>
                  <a:pt x="401" y="287"/>
                  <a:pt x="393" y="287"/>
                </a:cubicBez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13" name="Oval 13"/>
          <p:cNvSpPr>
            <a:spLocks noChangeArrowheads="1"/>
          </p:cNvSpPr>
          <p:nvPr/>
        </p:nvSpPr>
        <p:spPr bwMode="auto">
          <a:xfrm>
            <a:off x="8347594" y="3120088"/>
            <a:ext cx="1119124" cy="1119124"/>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1165" name="Freeform 32"/>
          <p:cNvSpPr>
            <a:spLocks noEditPoints="1"/>
          </p:cNvSpPr>
          <p:nvPr/>
        </p:nvSpPr>
        <p:spPr bwMode="auto">
          <a:xfrm>
            <a:off x="8586031" y="3451041"/>
            <a:ext cx="642251" cy="456555"/>
          </a:xfrm>
          <a:custGeom>
            <a:avLst/>
            <a:gdLst>
              <a:gd name="T0" fmla="*/ 52 w 409"/>
              <a:gd name="T1" fmla="*/ 238 h 291"/>
              <a:gd name="T2" fmla="*/ 52 w 409"/>
              <a:gd name="T3" fmla="*/ 248 h 291"/>
              <a:gd name="T4" fmla="*/ 98 w 409"/>
              <a:gd name="T5" fmla="*/ 243 h 291"/>
              <a:gd name="T6" fmla="*/ 52 w 409"/>
              <a:gd name="T7" fmla="*/ 87 h 291"/>
              <a:gd name="T8" fmla="*/ 98 w 409"/>
              <a:gd name="T9" fmla="*/ 82 h 291"/>
              <a:gd name="T10" fmla="*/ 52 w 409"/>
              <a:gd name="T11" fmla="*/ 77 h 291"/>
              <a:gd name="T12" fmla="*/ 52 w 409"/>
              <a:gd name="T13" fmla="*/ 87 h 291"/>
              <a:gd name="T14" fmla="*/ 93 w 409"/>
              <a:gd name="T15" fmla="*/ 53 h 291"/>
              <a:gd name="T16" fmla="*/ 93 w 409"/>
              <a:gd name="T17" fmla="*/ 43 h 291"/>
              <a:gd name="T18" fmla="*/ 47 w 409"/>
              <a:gd name="T19" fmla="*/ 48 h 291"/>
              <a:gd name="T20" fmla="*/ 93 w 409"/>
              <a:gd name="T21" fmla="*/ 204 h 291"/>
              <a:gd name="T22" fmla="*/ 47 w 409"/>
              <a:gd name="T23" fmla="*/ 209 h 291"/>
              <a:gd name="T24" fmla="*/ 93 w 409"/>
              <a:gd name="T25" fmla="*/ 214 h 291"/>
              <a:gd name="T26" fmla="*/ 93 w 409"/>
              <a:gd name="T27" fmla="*/ 204 h 291"/>
              <a:gd name="T28" fmla="*/ 34 w 409"/>
              <a:gd name="T29" fmla="*/ 0 h 291"/>
              <a:gd name="T30" fmla="*/ 0 w 409"/>
              <a:gd name="T31" fmla="*/ 257 h 291"/>
              <a:gd name="T32" fmla="*/ 375 w 409"/>
              <a:gd name="T33" fmla="*/ 291 h 291"/>
              <a:gd name="T34" fmla="*/ 409 w 409"/>
              <a:gd name="T35" fmla="*/ 34 h 291"/>
              <a:gd name="T36" fmla="*/ 399 w 409"/>
              <a:gd name="T37" fmla="*/ 257 h 291"/>
              <a:gd name="T38" fmla="*/ 34 w 409"/>
              <a:gd name="T39" fmla="*/ 281 h 291"/>
              <a:gd name="T40" fmla="*/ 9 w 409"/>
              <a:gd name="T41" fmla="*/ 34 h 291"/>
              <a:gd name="T42" fmla="*/ 375 w 409"/>
              <a:gd name="T43" fmla="*/ 10 h 291"/>
              <a:gd name="T44" fmla="*/ 399 w 409"/>
              <a:gd name="T45" fmla="*/ 257 h 291"/>
              <a:gd name="T46" fmla="*/ 41 w 409"/>
              <a:gd name="T47" fmla="*/ 145 h 291"/>
              <a:gd name="T48" fmla="*/ 105 w 409"/>
              <a:gd name="T49" fmla="*/ 145 h 291"/>
              <a:gd name="T50" fmla="*/ 73 w 409"/>
              <a:gd name="T51" fmla="*/ 168 h 291"/>
              <a:gd name="T52" fmla="*/ 73 w 409"/>
              <a:gd name="T53" fmla="*/ 123 h 291"/>
              <a:gd name="T54" fmla="*/ 73 w 409"/>
              <a:gd name="T55" fmla="*/ 168 h 291"/>
              <a:gd name="T56" fmla="*/ 135 w 409"/>
              <a:gd name="T57" fmla="*/ 43 h 291"/>
              <a:gd name="T58" fmla="*/ 130 w 409"/>
              <a:gd name="T59" fmla="*/ 243 h 291"/>
              <a:gd name="T60" fmla="*/ 358 w 409"/>
              <a:gd name="T61" fmla="*/ 248 h 291"/>
              <a:gd name="T62" fmla="*/ 362 w 409"/>
              <a:gd name="T63" fmla="*/ 48 h 291"/>
              <a:gd name="T64" fmla="*/ 353 w 409"/>
              <a:gd name="T65" fmla="*/ 238 h 291"/>
              <a:gd name="T66" fmla="*/ 139 w 409"/>
              <a:gd name="T67" fmla="*/ 53 h 291"/>
              <a:gd name="T68" fmla="*/ 353 w 409"/>
              <a:gd name="T69" fmla="*/ 238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9" h="291">
                <a:moveTo>
                  <a:pt x="93" y="238"/>
                </a:moveTo>
                <a:cubicBezTo>
                  <a:pt x="52" y="238"/>
                  <a:pt x="52" y="238"/>
                  <a:pt x="52" y="238"/>
                </a:cubicBezTo>
                <a:cubicBezTo>
                  <a:pt x="49" y="238"/>
                  <a:pt x="47" y="241"/>
                  <a:pt x="47" y="243"/>
                </a:cubicBezTo>
                <a:cubicBezTo>
                  <a:pt x="47" y="246"/>
                  <a:pt x="49" y="248"/>
                  <a:pt x="52" y="248"/>
                </a:cubicBezTo>
                <a:cubicBezTo>
                  <a:pt x="93" y="248"/>
                  <a:pt x="93" y="248"/>
                  <a:pt x="93" y="248"/>
                </a:cubicBezTo>
                <a:cubicBezTo>
                  <a:pt x="96" y="248"/>
                  <a:pt x="98" y="246"/>
                  <a:pt x="98" y="243"/>
                </a:cubicBezTo>
                <a:cubicBezTo>
                  <a:pt x="98" y="241"/>
                  <a:pt x="96" y="238"/>
                  <a:pt x="93" y="238"/>
                </a:cubicBezTo>
                <a:close/>
                <a:moveTo>
                  <a:pt x="52" y="87"/>
                </a:moveTo>
                <a:cubicBezTo>
                  <a:pt x="93" y="87"/>
                  <a:pt x="93" y="87"/>
                  <a:pt x="93" y="87"/>
                </a:cubicBezTo>
                <a:cubicBezTo>
                  <a:pt x="96" y="87"/>
                  <a:pt x="98" y="84"/>
                  <a:pt x="98" y="82"/>
                </a:cubicBezTo>
                <a:cubicBezTo>
                  <a:pt x="98" y="79"/>
                  <a:pt x="96" y="77"/>
                  <a:pt x="93" y="77"/>
                </a:cubicBezTo>
                <a:cubicBezTo>
                  <a:pt x="52" y="77"/>
                  <a:pt x="52" y="77"/>
                  <a:pt x="52" y="77"/>
                </a:cubicBezTo>
                <a:cubicBezTo>
                  <a:pt x="49" y="77"/>
                  <a:pt x="47" y="79"/>
                  <a:pt x="47" y="82"/>
                </a:cubicBezTo>
                <a:cubicBezTo>
                  <a:pt x="47" y="84"/>
                  <a:pt x="49" y="87"/>
                  <a:pt x="52" y="87"/>
                </a:cubicBezTo>
                <a:close/>
                <a:moveTo>
                  <a:pt x="52" y="53"/>
                </a:moveTo>
                <a:cubicBezTo>
                  <a:pt x="93" y="53"/>
                  <a:pt x="93" y="53"/>
                  <a:pt x="93" y="53"/>
                </a:cubicBezTo>
                <a:cubicBezTo>
                  <a:pt x="96" y="53"/>
                  <a:pt x="98" y="50"/>
                  <a:pt x="98" y="48"/>
                </a:cubicBezTo>
                <a:cubicBezTo>
                  <a:pt x="98" y="45"/>
                  <a:pt x="96" y="43"/>
                  <a:pt x="93" y="43"/>
                </a:cubicBezTo>
                <a:cubicBezTo>
                  <a:pt x="52" y="43"/>
                  <a:pt x="52" y="43"/>
                  <a:pt x="52" y="43"/>
                </a:cubicBezTo>
                <a:cubicBezTo>
                  <a:pt x="49" y="43"/>
                  <a:pt x="47" y="45"/>
                  <a:pt x="47" y="48"/>
                </a:cubicBezTo>
                <a:cubicBezTo>
                  <a:pt x="47" y="50"/>
                  <a:pt x="49" y="53"/>
                  <a:pt x="52" y="53"/>
                </a:cubicBezTo>
                <a:close/>
                <a:moveTo>
                  <a:pt x="93" y="204"/>
                </a:moveTo>
                <a:cubicBezTo>
                  <a:pt x="52" y="204"/>
                  <a:pt x="52" y="204"/>
                  <a:pt x="52" y="204"/>
                </a:cubicBezTo>
                <a:cubicBezTo>
                  <a:pt x="49" y="204"/>
                  <a:pt x="47" y="207"/>
                  <a:pt x="47" y="209"/>
                </a:cubicBezTo>
                <a:cubicBezTo>
                  <a:pt x="47" y="212"/>
                  <a:pt x="49" y="214"/>
                  <a:pt x="52" y="214"/>
                </a:cubicBezTo>
                <a:cubicBezTo>
                  <a:pt x="93" y="214"/>
                  <a:pt x="93" y="214"/>
                  <a:pt x="93" y="214"/>
                </a:cubicBezTo>
                <a:cubicBezTo>
                  <a:pt x="96" y="214"/>
                  <a:pt x="98" y="212"/>
                  <a:pt x="98" y="209"/>
                </a:cubicBezTo>
                <a:cubicBezTo>
                  <a:pt x="98" y="207"/>
                  <a:pt x="96" y="204"/>
                  <a:pt x="93" y="204"/>
                </a:cubicBezTo>
                <a:close/>
                <a:moveTo>
                  <a:pt x="375" y="0"/>
                </a:moveTo>
                <a:cubicBezTo>
                  <a:pt x="34" y="0"/>
                  <a:pt x="34" y="0"/>
                  <a:pt x="34" y="0"/>
                </a:cubicBezTo>
                <a:cubicBezTo>
                  <a:pt x="15" y="0"/>
                  <a:pt x="0" y="16"/>
                  <a:pt x="0" y="34"/>
                </a:cubicBezTo>
                <a:cubicBezTo>
                  <a:pt x="0" y="257"/>
                  <a:pt x="0" y="257"/>
                  <a:pt x="0" y="257"/>
                </a:cubicBezTo>
                <a:cubicBezTo>
                  <a:pt x="0" y="275"/>
                  <a:pt x="15" y="291"/>
                  <a:pt x="34" y="291"/>
                </a:cubicBezTo>
                <a:cubicBezTo>
                  <a:pt x="375" y="291"/>
                  <a:pt x="375" y="291"/>
                  <a:pt x="375" y="291"/>
                </a:cubicBezTo>
                <a:cubicBezTo>
                  <a:pt x="393" y="291"/>
                  <a:pt x="409" y="275"/>
                  <a:pt x="409" y="257"/>
                </a:cubicBezTo>
                <a:cubicBezTo>
                  <a:pt x="409" y="34"/>
                  <a:pt x="409" y="34"/>
                  <a:pt x="409" y="34"/>
                </a:cubicBezTo>
                <a:cubicBezTo>
                  <a:pt x="409" y="16"/>
                  <a:pt x="393" y="0"/>
                  <a:pt x="375" y="0"/>
                </a:cubicBezTo>
                <a:close/>
                <a:moveTo>
                  <a:pt x="399" y="257"/>
                </a:moveTo>
                <a:cubicBezTo>
                  <a:pt x="399" y="270"/>
                  <a:pt x="388" y="281"/>
                  <a:pt x="375" y="281"/>
                </a:cubicBezTo>
                <a:cubicBezTo>
                  <a:pt x="34" y="281"/>
                  <a:pt x="34" y="281"/>
                  <a:pt x="34" y="281"/>
                </a:cubicBezTo>
                <a:cubicBezTo>
                  <a:pt x="20" y="281"/>
                  <a:pt x="9" y="270"/>
                  <a:pt x="9" y="257"/>
                </a:cubicBezTo>
                <a:cubicBezTo>
                  <a:pt x="9" y="34"/>
                  <a:pt x="9" y="34"/>
                  <a:pt x="9" y="34"/>
                </a:cubicBezTo>
                <a:cubicBezTo>
                  <a:pt x="9" y="21"/>
                  <a:pt x="20" y="10"/>
                  <a:pt x="34" y="10"/>
                </a:cubicBezTo>
                <a:cubicBezTo>
                  <a:pt x="375" y="10"/>
                  <a:pt x="375" y="10"/>
                  <a:pt x="375" y="10"/>
                </a:cubicBezTo>
                <a:cubicBezTo>
                  <a:pt x="388" y="10"/>
                  <a:pt x="399" y="21"/>
                  <a:pt x="399" y="34"/>
                </a:cubicBezTo>
                <a:lnTo>
                  <a:pt x="399" y="257"/>
                </a:lnTo>
                <a:close/>
                <a:moveTo>
                  <a:pt x="73" y="113"/>
                </a:moveTo>
                <a:cubicBezTo>
                  <a:pt x="55" y="113"/>
                  <a:pt x="41" y="128"/>
                  <a:pt x="41" y="145"/>
                </a:cubicBezTo>
                <a:cubicBezTo>
                  <a:pt x="41" y="163"/>
                  <a:pt x="55" y="178"/>
                  <a:pt x="73" y="178"/>
                </a:cubicBezTo>
                <a:cubicBezTo>
                  <a:pt x="90" y="178"/>
                  <a:pt x="105" y="163"/>
                  <a:pt x="105" y="145"/>
                </a:cubicBezTo>
                <a:cubicBezTo>
                  <a:pt x="105" y="128"/>
                  <a:pt x="90" y="113"/>
                  <a:pt x="73" y="113"/>
                </a:cubicBezTo>
                <a:close/>
                <a:moveTo>
                  <a:pt x="73" y="168"/>
                </a:moveTo>
                <a:cubicBezTo>
                  <a:pt x="60" y="168"/>
                  <a:pt x="50" y="158"/>
                  <a:pt x="50" y="145"/>
                </a:cubicBezTo>
                <a:cubicBezTo>
                  <a:pt x="50" y="133"/>
                  <a:pt x="60" y="123"/>
                  <a:pt x="73" y="123"/>
                </a:cubicBezTo>
                <a:cubicBezTo>
                  <a:pt x="85" y="123"/>
                  <a:pt x="96" y="133"/>
                  <a:pt x="96" y="145"/>
                </a:cubicBezTo>
                <a:cubicBezTo>
                  <a:pt x="96" y="158"/>
                  <a:pt x="85" y="168"/>
                  <a:pt x="73" y="168"/>
                </a:cubicBezTo>
                <a:close/>
                <a:moveTo>
                  <a:pt x="358" y="43"/>
                </a:moveTo>
                <a:cubicBezTo>
                  <a:pt x="135" y="43"/>
                  <a:pt x="135" y="43"/>
                  <a:pt x="135" y="43"/>
                </a:cubicBezTo>
                <a:cubicBezTo>
                  <a:pt x="132" y="43"/>
                  <a:pt x="130" y="45"/>
                  <a:pt x="130" y="48"/>
                </a:cubicBezTo>
                <a:cubicBezTo>
                  <a:pt x="130" y="243"/>
                  <a:pt x="130" y="243"/>
                  <a:pt x="130" y="243"/>
                </a:cubicBezTo>
                <a:cubicBezTo>
                  <a:pt x="130" y="246"/>
                  <a:pt x="132" y="248"/>
                  <a:pt x="135" y="248"/>
                </a:cubicBezTo>
                <a:cubicBezTo>
                  <a:pt x="358" y="248"/>
                  <a:pt x="358" y="248"/>
                  <a:pt x="358" y="248"/>
                </a:cubicBezTo>
                <a:cubicBezTo>
                  <a:pt x="360" y="248"/>
                  <a:pt x="362" y="246"/>
                  <a:pt x="362" y="243"/>
                </a:cubicBezTo>
                <a:cubicBezTo>
                  <a:pt x="362" y="48"/>
                  <a:pt x="362" y="48"/>
                  <a:pt x="362" y="48"/>
                </a:cubicBezTo>
                <a:cubicBezTo>
                  <a:pt x="362" y="45"/>
                  <a:pt x="360" y="43"/>
                  <a:pt x="358" y="43"/>
                </a:cubicBezTo>
                <a:close/>
                <a:moveTo>
                  <a:pt x="353" y="238"/>
                </a:moveTo>
                <a:cubicBezTo>
                  <a:pt x="139" y="238"/>
                  <a:pt x="139" y="238"/>
                  <a:pt x="139" y="238"/>
                </a:cubicBezTo>
                <a:cubicBezTo>
                  <a:pt x="139" y="53"/>
                  <a:pt x="139" y="53"/>
                  <a:pt x="139" y="53"/>
                </a:cubicBezTo>
                <a:cubicBezTo>
                  <a:pt x="353" y="53"/>
                  <a:pt x="353" y="53"/>
                  <a:pt x="353" y="53"/>
                </a:cubicBezTo>
                <a:lnTo>
                  <a:pt x="353" y="238"/>
                </a:ln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15" name="Oval 14"/>
          <p:cNvSpPr>
            <a:spLocks noChangeArrowheads="1"/>
          </p:cNvSpPr>
          <p:nvPr/>
        </p:nvSpPr>
        <p:spPr bwMode="auto">
          <a:xfrm>
            <a:off x="6589622" y="3120088"/>
            <a:ext cx="1119124" cy="1119124"/>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1166" name="Freeform 33"/>
          <p:cNvSpPr>
            <a:spLocks noEditPoints="1"/>
          </p:cNvSpPr>
          <p:nvPr/>
        </p:nvSpPr>
        <p:spPr bwMode="auto">
          <a:xfrm>
            <a:off x="6800288" y="3427117"/>
            <a:ext cx="644626" cy="574847"/>
          </a:xfrm>
          <a:custGeom>
            <a:avLst/>
            <a:gdLst>
              <a:gd name="T0" fmla="*/ 99 w 411"/>
              <a:gd name="T1" fmla="*/ 47 h 366"/>
              <a:gd name="T2" fmla="*/ 48 w 411"/>
              <a:gd name="T3" fmla="*/ 47 h 366"/>
              <a:gd name="T4" fmla="*/ 409 w 411"/>
              <a:gd name="T5" fmla="*/ 34 h 366"/>
              <a:gd name="T6" fmla="*/ 0 w 411"/>
              <a:gd name="T7" fmla="*/ 34 h 366"/>
              <a:gd name="T8" fmla="*/ 295 w 411"/>
              <a:gd name="T9" fmla="*/ 290 h 366"/>
              <a:gd name="T10" fmla="*/ 372 w 411"/>
              <a:gd name="T11" fmla="*/ 354 h 366"/>
              <a:gd name="T12" fmla="*/ 393 w 411"/>
              <a:gd name="T13" fmla="*/ 366 h 366"/>
              <a:gd name="T14" fmla="*/ 396 w 411"/>
              <a:gd name="T15" fmla="*/ 330 h 366"/>
              <a:gd name="T16" fmla="*/ 367 w 411"/>
              <a:gd name="T17" fmla="*/ 290 h 366"/>
              <a:gd name="T18" fmla="*/ 398 w 411"/>
              <a:gd name="T19" fmla="*/ 345 h 366"/>
              <a:gd name="T20" fmla="*/ 379 w 411"/>
              <a:gd name="T21" fmla="*/ 346 h 366"/>
              <a:gd name="T22" fmla="*/ 387 w 411"/>
              <a:gd name="T23" fmla="*/ 326 h 366"/>
              <a:gd name="T24" fmla="*/ 208 w 411"/>
              <a:gd name="T25" fmla="*/ 205 h 366"/>
              <a:gd name="T26" fmla="*/ 387 w 411"/>
              <a:gd name="T27" fmla="*/ 326 h 366"/>
              <a:gd name="T28" fmla="*/ 189 w 411"/>
              <a:gd name="T29" fmla="*/ 139 h 366"/>
              <a:gd name="T30" fmla="*/ 171 w 411"/>
              <a:gd name="T31" fmla="*/ 134 h 366"/>
              <a:gd name="T32" fmla="*/ 178 w 411"/>
              <a:gd name="T33" fmla="*/ 154 h 366"/>
              <a:gd name="T34" fmla="*/ 197 w 411"/>
              <a:gd name="T35" fmla="*/ 208 h 366"/>
              <a:gd name="T36" fmla="*/ 198 w 411"/>
              <a:gd name="T37" fmla="*/ 210 h 366"/>
              <a:gd name="T38" fmla="*/ 237 w 411"/>
              <a:gd name="T39" fmla="*/ 238 h 366"/>
              <a:gd name="T40" fmla="*/ 354 w 411"/>
              <a:gd name="T41" fmla="*/ 52 h 366"/>
              <a:gd name="T42" fmla="*/ 280 w 411"/>
              <a:gd name="T43" fmla="*/ 193 h 366"/>
              <a:gd name="T44" fmla="*/ 252 w 411"/>
              <a:gd name="T45" fmla="*/ 154 h 366"/>
              <a:gd name="T46" fmla="*/ 250 w 411"/>
              <a:gd name="T47" fmla="*/ 153 h 366"/>
              <a:gd name="T48" fmla="*/ 240 w 411"/>
              <a:gd name="T49" fmla="*/ 160 h 366"/>
              <a:gd name="T50" fmla="*/ 197 w 411"/>
              <a:gd name="T51" fmla="*/ 144 h 366"/>
              <a:gd name="T52" fmla="*/ 329 w 411"/>
              <a:gd name="T53" fmla="*/ 247 h 366"/>
              <a:gd name="T54" fmla="*/ 363 w 411"/>
              <a:gd name="T55" fmla="*/ 47 h 366"/>
              <a:gd name="T56" fmla="*/ 131 w 411"/>
              <a:gd name="T57" fmla="*/ 47 h 366"/>
              <a:gd name="T58" fmla="*/ 247 w 411"/>
              <a:gd name="T59" fmla="*/ 247 h 366"/>
              <a:gd name="T60" fmla="*/ 10 w 411"/>
              <a:gd name="T61" fmla="*/ 256 h 366"/>
              <a:gd name="T62" fmla="*/ 375 w 411"/>
              <a:gd name="T63" fmla="*/ 9 h 366"/>
              <a:gd name="T64" fmla="*/ 375 w 411"/>
              <a:gd name="T65" fmla="*/ 281 h 366"/>
              <a:gd name="T66" fmla="*/ 53 w 411"/>
              <a:gd name="T67" fmla="*/ 204 h 366"/>
              <a:gd name="T68" fmla="*/ 94 w 411"/>
              <a:gd name="T69" fmla="*/ 213 h 366"/>
              <a:gd name="T70" fmla="*/ 73 w 411"/>
              <a:gd name="T71" fmla="*/ 113 h 366"/>
              <a:gd name="T72" fmla="*/ 106 w 411"/>
              <a:gd name="T73" fmla="*/ 145 h 366"/>
              <a:gd name="T74" fmla="*/ 51 w 411"/>
              <a:gd name="T75" fmla="*/ 145 h 366"/>
              <a:gd name="T76" fmla="*/ 73 w 411"/>
              <a:gd name="T77" fmla="*/ 168 h 366"/>
              <a:gd name="T78" fmla="*/ 48 w 411"/>
              <a:gd name="T79" fmla="*/ 243 h 366"/>
              <a:gd name="T80" fmla="*/ 99 w 411"/>
              <a:gd name="T81" fmla="*/ 243 h 366"/>
              <a:gd name="T82" fmla="*/ 94 w 411"/>
              <a:gd name="T83" fmla="*/ 86 h 366"/>
              <a:gd name="T84" fmla="*/ 53 w 411"/>
              <a:gd name="T85" fmla="*/ 77 h 3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11" h="366">
                <a:moveTo>
                  <a:pt x="53" y="52"/>
                </a:moveTo>
                <a:cubicBezTo>
                  <a:pt x="94" y="52"/>
                  <a:pt x="94" y="52"/>
                  <a:pt x="94" y="52"/>
                </a:cubicBezTo>
                <a:cubicBezTo>
                  <a:pt x="97" y="52"/>
                  <a:pt x="99" y="50"/>
                  <a:pt x="99" y="47"/>
                </a:cubicBezTo>
                <a:cubicBezTo>
                  <a:pt x="99" y="45"/>
                  <a:pt x="97" y="43"/>
                  <a:pt x="94" y="43"/>
                </a:cubicBezTo>
                <a:cubicBezTo>
                  <a:pt x="53" y="43"/>
                  <a:pt x="53" y="43"/>
                  <a:pt x="53" y="43"/>
                </a:cubicBezTo>
                <a:cubicBezTo>
                  <a:pt x="50" y="43"/>
                  <a:pt x="48" y="45"/>
                  <a:pt x="48" y="47"/>
                </a:cubicBezTo>
                <a:cubicBezTo>
                  <a:pt x="48" y="50"/>
                  <a:pt x="50" y="52"/>
                  <a:pt x="53" y="52"/>
                </a:cubicBezTo>
                <a:close/>
                <a:moveTo>
                  <a:pt x="409" y="256"/>
                </a:moveTo>
                <a:cubicBezTo>
                  <a:pt x="409" y="34"/>
                  <a:pt x="409" y="34"/>
                  <a:pt x="409" y="34"/>
                </a:cubicBezTo>
                <a:cubicBezTo>
                  <a:pt x="409" y="15"/>
                  <a:pt x="394" y="0"/>
                  <a:pt x="375" y="0"/>
                </a:cubicBezTo>
                <a:cubicBezTo>
                  <a:pt x="34" y="0"/>
                  <a:pt x="34" y="0"/>
                  <a:pt x="34" y="0"/>
                </a:cubicBezTo>
                <a:cubicBezTo>
                  <a:pt x="16" y="0"/>
                  <a:pt x="0" y="15"/>
                  <a:pt x="0" y="34"/>
                </a:cubicBezTo>
                <a:cubicBezTo>
                  <a:pt x="0" y="256"/>
                  <a:pt x="0" y="256"/>
                  <a:pt x="0" y="256"/>
                </a:cubicBezTo>
                <a:cubicBezTo>
                  <a:pt x="0" y="275"/>
                  <a:pt x="16" y="290"/>
                  <a:pt x="34" y="290"/>
                </a:cubicBezTo>
                <a:cubicBezTo>
                  <a:pt x="295" y="290"/>
                  <a:pt x="295" y="290"/>
                  <a:pt x="295" y="290"/>
                </a:cubicBezTo>
                <a:cubicBezTo>
                  <a:pt x="366" y="354"/>
                  <a:pt x="366" y="354"/>
                  <a:pt x="366" y="354"/>
                </a:cubicBezTo>
                <a:cubicBezTo>
                  <a:pt x="366" y="355"/>
                  <a:pt x="368" y="355"/>
                  <a:pt x="369" y="355"/>
                </a:cubicBezTo>
                <a:cubicBezTo>
                  <a:pt x="370" y="355"/>
                  <a:pt x="371" y="355"/>
                  <a:pt x="372" y="354"/>
                </a:cubicBezTo>
                <a:cubicBezTo>
                  <a:pt x="373" y="353"/>
                  <a:pt x="373" y="353"/>
                  <a:pt x="373" y="353"/>
                </a:cubicBezTo>
                <a:cubicBezTo>
                  <a:pt x="381" y="362"/>
                  <a:pt x="381" y="362"/>
                  <a:pt x="381" y="362"/>
                </a:cubicBezTo>
                <a:cubicBezTo>
                  <a:pt x="385" y="365"/>
                  <a:pt x="389" y="366"/>
                  <a:pt x="393" y="366"/>
                </a:cubicBezTo>
                <a:cubicBezTo>
                  <a:pt x="397" y="366"/>
                  <a:pt x="401" y="365"/>
                  <a:pt x="404" y="362"/>
                </a:cubicBezTo>
                <a:cubicBezTo>
                  <a:pt x="411" y="355"/>
                  <a:pt x="411" y="345"/>
                  <a:pt x="404" y="339"/>
                </a:cubicBezTo>
                <a:cubicBezTo>
                  <a:pt x="396" y="330"/>
                  <a:pt x="396" y="330"/>
                  <a:pt x="396" y="330"/>
                </a:cubicBezTo>
                <a:cubicBezTo>
                  <a:pt x="397" y="329"/>
                  <a:pt x="397" y="329"/>
                  <a:pt x="397" y="329"/>
                </a:cubicBezTo>
                <a:cubicBezTo>
                  <a:pt x="398" y="327"/>
                  <a:pt x="398" y="325"/>
                  <a:pt x="397" y="323"/>
                </a:cubicBezTo>
                <a:cubicBezTo>
                  <a:pt x="367" y="290"/>
                  <a:pt x="367" y="290"/>
                  <a:pt x="367" y="290"/>
                </a:cubicBezTo>
                <a:cubicBezTo>
                  <a:pt x="375" y="290"/>
                  <a:pt x="375" y="290"/>
                  <a:pt x="375" y="290"/>
                </a:cubicBezTo>
                <a:cubicBezTo>
                  <a:pt x="394" y="290"/>
                  <a:pt x="409" y="275"/>
                  <a:pt x="409" y="256"/>
                </a:cubicBezTo>
                <a:close/>
                <a:moveTo>
                  <a:pt x="398" y="345"/>
                </a:moveTo>
                <a:cubicBezTo>
                  <a:pt x="401" y="348"/>
                  <a:pt x="401" y="352"/>
                  <a:pt x="398" y="355"/>
                </a:cubicBezTo>
                <a:cubicBezTo>
                  <a:pt x="395" y="358"/>
                  <a:pt x="391" y="358"/>
                  <a:pt x="388" y="355"/>
                </a:cubicBezTo>
                <a:cubicBezTo>
                  <a:pt x="379" y="346"/>
                  <a:pt x="379" y="346"/>
                  <a:pt x="379" y="346"/>
                </a:cubicBezTo>
                <a:cubicBezTo>
                  <a:pt x="389" y="337"/>
                  <a:pt x="389" y="337"/>
                  <a:pt x="389" y="337"/>
                </a:cubicBezTo>
                <a:lnTo>
                  <a:pt x="398" y="345"/>
                </a:lnTo>
                <a:close/>
                <a:moveTo>
                  <a:pt x="387" y="326"/>
                </a:moveTo>
                <a:cubicBezTo>
                  <a:pt x="369" y="344"/>
                  <a:pt x="369" y="344"/>
                  <a:pt x="369" y="344"/>
                </a:cubicBezTo>
                <a:cubicBezTo>
                  <a:pt x="242" y="230"/>
                  <a:pt x="242" y="230"/>
                  <a:pt x="242" y="230"/>
                </a:cubicBezTo>
                <a:cubicBezTo>
                  <a:pt x="231" y="219"/>
                  <a:pt x="216" y="209"/>
                  <a:pt x="208" y="205"/>
                </a:cubicBezTo>
                <a:cubicBezTo>
                  <a:pt x="247" y="165"/>
                  <a:pt x="247" y="165"/>
                  <a:pt x="247" y="165"/>
                </a:cubicBezTo>
                <a:cubicBezTo>
                  <a:pt x="252" y="173"/>
                  <a:pt x="262" y="188"/>
                  <a:pt x="273" y="199"/>
                </a:cubicBezTo>
                <a:lnTo>
                  <a:pt x="387" y="326"/>
                </a:lnTo>
                <a:close/>
                <a:moveTo>
                  <a:pt x="198" y="134"/>
                </a:moveTo>
                <a:cubicBezTo>
                  <a:pt x="196" y="134"/>
                  <a:pt x="194" y="134"/>
                  <a:pt x="193" y="135"/>
                </a:cubicBezTo>
                <a:cubicBezTo>
                  <a:pt x="189" y="139"/>
                  <a:pt x="189" y="139"/>
                  <a:pt x="189" y="139"/>
                </a:cubicBezTo>
                <a:cubicBezTo>
                  <a:pt x="177" y="128"/>
                  <a:pt x="177" y="128"/>
                  <a:pt x="177" y="128"/>
                </a:cubicBezTo>
                <a:cubicBezTo>
                  <a:pt x="175" y="126"/>
                  <a:pt x="172" y="126"/>
                  <a:pt x="171" y="128"/>
                </a:cubicBezTo>
                <a:cubicBezTo>
                  <a:pt x="169" y="130"/>
                  <a:pt x="169" y="133"/>
                  <a:pt x="171" y="134"/>
                </a:cubicBezTo>
                <a:cubicBezTo>
                  <a:pt x="182" y="146"/>
                  <a:pt x="182" y="146"/>
                  <a:pt x="182" y="146"/>
                </a:cubicBezTo>
                <a:cubicBezTo>
                  <a:pt x="179" y="149"/>
                  <a:pt x="179" y="149"/>
                  <a:pt x="179" y="149"/>
                </a:cubicBezTo>
                <a:cubicBezTo>
                  <a:pt x="178" y="151"/>
                  <a:pt x="177" y="152"/>
                  <a:pt x="178" y="154"/>
                </a:cubicBezTo>
                <a:cubicBezTo>
                  <a:pt x="196" y="207"/>
                  <a:pt x="196" y="207"/>
                  <a:pt x="196" y="207"/>
                </a:cubicBezTo>
                <a:cubicBezTo>
                  <a:pt x="196" y="207"/>
                  <a:pt x="196" y="207"/>
                  <a:pt x="196" y="207"/>
                </a:cubicBezTo>
                <a:cubicBezTo>
                  <a:pt x="196" y="208"/>
                  <a:pt x="196" y="208"/>
                  <a:pt x="197" y="208"/>
                </a:cubicBezTo>
                <a:cubicBezTo>
                  <a:pt x="197" y="208"/>
                  <a:pt x="197" y="209"/>
                  <a:pt x="197" y="209"/>
                </a:cubicBezTo>
                <a:cubicBezTo>
                  <a:pt x="197" y="209"/>
                  <a:pt x="197" y="209"/>
                  <a:pt x="197" y="209"/>
                </a:cubicBezTo>
                <a:cubicBezTo>
                  <a:pt x="197" y="209"/>
                  <a:pt x="198" y="209"/>
                  <a:pt x="198" y="210"/>
                </a:cubicBezTo>
                <a:cubicBezTo>
                  <a:pt x="198" y="210"/>
                  <a:pt x="198" y="210"/>
                  <a:pt x="198" y="210"/>
                </a:cubicBezTo>
                <a:cubicBezTo>
                  <a:pt x="198" y="210"/>
                  <a:pt x="221" y="222"/>
                  <a:pt x="236" y="237"/>
                </a:cubicBezTo>
                <a:cubicBezTo>
                  <a:pt x="237" y="238"/>
                  <a:pt x="237" y="238"/>
                  <a:pt x="237" y="238"/>
                </a:cubicBezTo>
                <a:cubicBezTo>
                  <a:pt x="140" y="238"/>
                  <a:pt x="140" y="238"/>
                  <a:pt x="140" y="238"/>
                </a:cubicBezTo>
                <a:cubicBezTo>
                  <a:pt x="140" y="52"/>
                  <a:pt x="140" y="52"/>
                  <a:pt x="140" y="52"/>
                </a:cubicBezTo>
                <a:cubicBezTo>
                  <a:pt x="354" y="52"/>
                  <a:pt x="354" y="52"/>
                  <a:pt x="354" y="52"/>
                </a:cubicBezTo>
                <a:cubicBezTo>
                  <a:pt x="354" y="238"/>
                  <a:pt x="354" y="238"/>
                  <a:pt x="354" y="238"/>
                </a:cubicBezTo>
                <a:cubicBezTo>
                  <a:pt x="320" y="238"/>
                  <a:pt x="320" y="238"/>
                  <a:pt x="320" y="238"/>
                </a:cubicBezTo>
                <a:cubicBezTo>
                  <a:pt x="280" y="193"/>
                  <a:pt x="280" y="193"/>
                  <a:pt x="280" y="193"/>
                </a:cubicBezTo>
                <a:cubicBezTo>
                  <a:pt x="265" y="178"/>
                  <a:pt x="253" y="156"/>
                  <a:pt x="252" y="155"/>
                </a:cubicBezTo>
                <a:cubicBezTo>
                  <a:pt x="252" y="155"/>
                  <a:pt x="252" y="155"/>
                  <a:pt x="252" y="155"/>
                </a:cubicBezTo>
                <a:cubicBezTo>
                  <a:pt x="252" y="155"/>
                  <a:pt x="252" y="155"/>
                  <a:pt x="252" y="154"/>
                </a:cubicBezTo>
                <a:cubicBezTo>
                  <a:pt x="252" y="154"/>
                  <a:pt x="252" y="154"/>
                  <a:pt x="251" y="154"/>
                </a:cubicBezTo>
                <a:cubicBezTo>
                  <a:pt x="251" y="154"/>
                  <a:pt x="251" y="154"/>
                  <a:pt x="251" y="154"/>
                </a:cubicBezTo>
                <a:cubicBezTo>
                  <a:pt x="251" y="154"/>
                  <a:pt x="250" y="153"/>
                  <a:pt x="250" y="153"/>
                </a:cubicBezTo>
                <a:cubicBezTo>
                  <a:pt x="250" y="153"/>
                  <a:pt x="250" y="153"/>
                  <a:pt x="250" y="153"/>
                </a:cubicBezTo>
                <a:lnTo>
                  <a:pt x="198" y="134"/>
                </a:lnTo>
                <a:close/>
                <a:moveTo>
                  <a:pt x="240" y="160"/>
                </a:moveTo>
                <a:cubicBezTo>
                  <a:pt x="202" y="197"/>
                  <a:pt x="202" y="197"/>
                  <a:pt x="202" y="197"/>
                </a:cubicBezTo>
                <a:cubicBezTo>
                  <a:pt x="188" y="154"/>
                  <a:pt x="188" y="154"/>
                  <a:pt x="188" y="154"/>
                </a:cubicBezTo>
                <a:cubicBezTo>
                  <a:pt x="197" y="144"/>
                  <a:pt x="197" y="144"/>
                  <a:pt x="197" y="144"/>
                </a:cubicBezTo>
                <a:lnTo>
                  <a:pt x="240" y="160"/>
                </a:lnTo>
                <a:close/>
                <a:moveTo>
                  <a:pt x="359" y="281"/>
                </a:moveTo>
                <a:cubicBezTo>
                  <a:pt x="329" y="247"/>
                  <a:pt x="329" y="247"/>
                  <a:pt x="329" y="247"/>
                </a:cubicBezTo>
                <a:cubicBezTo>
                  <a:pt x="358" y="247"/>
                  <a:pt x="358" y="247"/>
                  <a:pt x="358" y="247"/>
                </a:cubicBezTo>
                <a:cubicBezTo>
                  <a:pt x="361" y="247"/>
                  <a:pt x="363" y="245"/>
                  <a:pt x="363" y="243"/>
                </a:cubicBezTo>
                <a:cubicBezTo>
                  <a:pt x="363" y="47"/>
                  <a:pt x="363" y="47"/>
                  <a:pt x="363" y="47"/>
                </a:cubicBezTo>
                <a:cubicBezTo>
                  <a:pt x="363" y="45"/>
                  <a:pt x="361" y="43"/>
                  <a:pt x="358" y="43"/>
                </a:cubicBezTo>
                <a:cubicBezTo>
                  <a:pt x="135" y="43"/>
                  <a:pt x="135" y="43"/>
                  <a:pt x="135" y="43"/>
                </a:cubicBezTo>
                <a:cubicBezTo>
                  <a:pt x="133" y="43"/>
                  <a:pt x="131" y="45"/>
                  <a:pt x="131" y="47"/>
                </a:cubicBezTo>
                <a:cubicBezTo>
                  <a:pt x="131" y="243"/>
                  <a:pt x="131" y="243"/>
                  <a:pt x="131" y="243"/>
                </a:cubicBezTo>
                <a:cubicBezTo>
                  <a:pt x="131" y="245"/>
                  <a:pt x="133" y="247"/>
                  <a:pt x="135" y="247"/>
                </a:cubicBezTo>
                <a:cubicBezTo>
                  <a:pt x="247" y="247"/>
                  <a:pt x="247" y="247"/>
                  <a:pt x="247" y="247"/>
                </a:cubicBezTo>
                <a:cubicBezTo>
                  <a:pt x="284" y="281"/>
                  <a:pt x="284" y="281"/>
                  <a:pt x="284" y="281"/>
                </a:cubicBezTo>
                <a:cubicBezTo>
                  <a:pt x="34" y="281"/>
                  <a:pt x="34" y="281"/>
                  <a:pt x="34" y="281"/>
                </a:cubicBezTo>
                <a:cubicBezTo>
                  <a:pt x="21" y="281"/>
                  <a:pt x="10" y="270"/>
                  <a:pt x="10" y="256"/>
                </a:cubicBezTo>
                <a:cubicBezTo>
                  <a:pt x="10" y="34"/>
                  <a:pt x="10" y="34"/>
                  <a:pt x="10" y="34"/>
                </a:cubicBezTo>
                <a:cubicBezTo>
                  <a:pt x="10" y="20"/>
                  <a:pt x="21" y="9"/>
                  <a:pt x="34" y="9"/>
                </a:cubicBezTo>
                <a:cubicBezTo>
                  <a:pt x="375" y="9"/>
                  <a:pt x="375" y="9"/>
                  <a:pt x="375" y="9"/>
                </a:cubicBezTo>
                <a:cubicBezTo>
                  <a:pt x="389" y="9"/>
                  <a:pt x="400" y="20"/>
                  <a:pt x="400" y="34"/>
                </a:cubicBezTo>
                <a:cubicBezTo>
                  <a:pt x="400" y="256"/>
                  <a:pt x="400" y="256"/>
                  <a:pt x="400" y="256"/>
                </a:cubicBezTo>
                <a:cubicBezTo>
                  <a:pt x="400" y="270"/>
                  <a:pt x="389" y="281"/>
                  <a:pt x="375" y="281"/>
                </a:cubicBezTo>
                <a:lnTo>
                  <a:pt x="359" y="281"/>
                </a:lnTo>
                <a:close/>
                <a:moveTo>
                  <a:pt x="94" y="204"/>
                </a:moveTo>
                <a:cubicBezTo>
                  <a:pt x="53" y="204"/>
                  <a:pt x="53" y="204"/>
                  <a:pt x="53" y="204"/>
                </a:cubicBezTo>
                <a:cubicBezTo>
                  <a:pt x="50" y="204"/>
                  <a:pt x="48" y="206"/>
                  <a:pt x="48" y="209"/>
                </a:cubicBezTo>
                <a:cubicBezTo>
                  <a:pt x="48" y="211"/>
                  <a:pt x="50" y="213"/>
                  <a:pt x="53" y="213"/>
                </a:cubicBezTo>
                <a:cubicBezTo>
                  <a:pt x="94" y="213"/>
                  <a:pt x="94" y="213"/>
                  <a:pt x="94" y="213"/>
                </a:cubicBezTo>
                <a:cubicBezTo>
                  <a:pt x="97" y="213"/>
                  <a:pt x="99" y="211"/>
                  <a:pt x="99" y="209"/>
                </a:cubicBezTo>
                <a:cubicBezTo>
                  <a:pt x="99" y="206"/>
                  <a:pt x="97" y="204"/>
                  <a:pt x="94" y="204"/>
                </a:cubicBezTo>
                <a:close/>
                <a:moveTo>
                  <a:pt x="73" y="113"/>
                </a:moveTo>
                <a:cubicBezTo>
                  <a:pt x="56" y="113"/>
                  <a:pt x="41" y="127"/>
                  <a:pt x="41" y="145"/>
                </a:cubicBezTo>
                <a:cubicBezTo>
                  <a:pt x="41" y="163"/>
                  <a:pt x="56" y="177"/>
                  <a:pt x="73" y="177"/>
                </a:cubicBezTo>
                <a:cubicBezTo>
                  <a:pt x="91" y="177"/>
                  <a:pt x="106" y="163"/>
                  <a:pt x="106" y="145"/>
                </a:cubicBezTo>
                <a:cubicBezTo>
                  <a:pt x="106" y="127"/>
                  <a:pt x="91" y="113"/>
                  <a:pt x="73" y="113"/>
                </a:cubicBezTo>
                <a:close/>
                <a:moveTo>
                  <a:pt x="73" y="168"/>
                </a:moveTo>
                <a:cubicBezTo>
                  <a:pt x="61" y="168"/>
                  <a:pt x="51" y="157"/>
                  <a:pt x="51" y="145"/>
                </a:cubicBezTo>
                <a:cubicBezTo>
                  <a:pt x="51" y="132"/>
                  <a:pt x="61" y="122"/>
                  <a:pt x="73" y="122"/>
                </a:cubicBezTo>
                <a:cubicBezTo>
                  <a:pt x="86" y="122"/>
                  <a:pt x="96" y="132"/>
                  <a:pt x="96" y="145"/>
                </a:cubicBezTo>
                <a:cubicBezTo>
                  <a:pt x="96" y="157"/>
                  <a:pt x="86" y="168"/>
                  <a:pt x="73" y="168"/>
                </a:cubicBezTo>
                <a:close/>
                <a:moveTo>
                  <a:pt x="94" y="238"/>
                </a:moveTo>
                <a:cubicBezTo>
                  <a:pt x="53" y="238"/>
                  <a:pt x="53" y="238"/>
                  <a:pt x="53" y="238"/>
                </a:cubicBezTo>
                <a:cubicBezTo>
                  <a:pt x="50" y="238"/>
                  <a:pt x="48" y="240"/>
                  <a:pt x="48" y="243"/>
                </a:cubicBezTo>
                <a:cubicBezTo>
                  <a:pt x="48" y="245"/>
                  <a:pt x="50" y="247"/>
                  <a:pt x="53" y="247"/>
                </a:cubicBezTo>
                <a:cubicBezTo>
                  <a:pt x="94" y="247"/>
                  <a:pt x="94" y="247"/>
                  <a:pt x="94" y="247"/>
                </a:cubicBezTo>
                <a:cubicBezTo>
                  <a:pt x="97" y="247"/>
                  <a:pt x="99" y="245"/>
                  <a:pt x="99" y="243"/>
                </a:cubicBezTo>
                <a:cubicBezTo>
                  <a:pt x="99" y="240"/>
                  <a:pt x="97" y="238"/>
                  <a:pt x="94" y="238"/>
                </a:cubicBezTo>
                <a:close/>
                <a:moveTo>
                  <a:pt x="53" y="86"/>
                </a:moveTo>
                <a:cubicBezTo>
                  <a:pt x="94" y="86"/>
                  <a:pt x="94" y="86"/>
                  <a:pt x="94" y="86"/>
                </a:cubicBezTo>
                <a:cubicBezTo>
                  <a:pt x="97" y="86"/>
                  <a:pt x="99" y="84"/>
                  <a:pt x="99" y="81"/>
                </a:cubicBezTo>
                <a:cubicBezTo>
                  <a:pt x="99" y="79"/>
                  <a:pt x="97" y="77"/>
                  <a:pt x="94" y="77"/>
                </a:cubicBezTo>
                <a:cubicBezTo>
                  <a:pt x="53" y="77"/>
                  <a:pt x="53" y="77"/>
                  <a:pt x="53" y="77"/>
                </a:cubicBezTo>
                <a:cubicBezTo>
                  <a:pt x="50" y="77"/>
                  <a:pt x="48" y="79"/>
                  <a:pt x="48" y="81"/>
                </a:cubicBezTo>
                <a:cubicBezTo>
                  <a:pt x="48" y="84"/>
                  <a:pt x="50" y="86"/>
                  <a:pt x="53" y="86"/>
                </a:cubicBez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10" name="Oval 10"/>
          <p:cNvSpPr>
            <a:spLocks noChangeArrowheads="1"/>
          </p:cNvSpPr>
          <p:nvPr/>
        </p:nvSpPr>
        <p:spPr bwMode="auto">
          <a:xfrm>
            <a:off x="3073678" y="4711628"/>
            <a:ext cx="1119124" cy="1119124"/>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1167" name="Freeform 34"/>
          <p:cNvSpPr>
            <a:spLocks noEditPoints="1"/>
          </p:cNvSpPr>
          <p:nvPr/>
        </p:nvSpPr>
        <p:spPr bwMode="auto">
          <a:xfrm>
            <a:off x="3255660" y="5039532"/>
            <a:ext cx="755160" cy="463978"/>
          </a:xfrm>
          <a:custGeom>
            <a:avLst/>
            <a:gdLst>
              <a:gd name="T0" fmla="*/ 97 w 481"/>
              <a:gd name="T1" fmla="*/ 231 h 296"/>
              <a:gd name="T2" fmla="*/ 385 w 481"/>
              <a:gd name="T3" fmla="*/ 231 h 296"/>
              <a:gd name="T4" fmla="*/ 389 w 481"/>
              <a:gd name="T5" fmla="*/ 227 h 296"/>
              <a:gd name="T6" fmla="*/ 389 w 481"/>
              <a:gd name="T7" fmla="*/ 35 h 296"/>
              <a:gd name="T8" fmla="*/ 385 w 481"/>
              <a:gd name="T9" fmla="*/ 31 h 296"/>
              <a:gd name="T10" fmla="*/ 97 w 481"/>
              <a:gd name="T11" fmla="*/ 31 h 296"/>
              <a:gd name="T12" fmla="*/ 92 w 481"/>
              <a:gd name="T13" fmla="*/ 35 h 296"/>
              <a:gd name="T14" fmla="*/ 92 w 481"/>
              <a:gd name="T15" fmla="*/ 227 h 296"/>
              <a:gd name="T16" fmla="*/ 97 w 481"/>
              <a:gd name="T17" fmla="*/ 231 h 296"/>
              <a:gd name="T18" fmla="*/ 102 w 481"/>
              <a:gd name="T19" fmla="*/ 40 h 296"/>
              <a:gd name="T20" fmla="*/ 380 w 481"/>
              <a:gd name="T21" fmla="*/ 40 h 296"/>
              <a:gd name="T22" fmla="*/ 380 w 481"/>
              <a:gd name="T23" fmla="*/ 222 h 296"/>
              <a:gd name="T24" fmla="*/ 102 w 481"/>
              <a:gd name="T25" fmla="*/ 222 h 296"/>
              <a:gd name="T26" fmla="*/ 102 w 481"/>
              <a:gd name="T27" fmla="*/ 40 h 296"/>
              <a:gd name="T28" fmla="*/ 459 w 481"/>
              <a:gd name="T29" fmla="*/ 252 h 296"/>
              <a:gd name="T30" fmla="*/ 414 w 481"/>
              <a:gd name="T31" fmla="*/ 252 h 296"/>
              <a:gd name="T32" fmla="*/ 422 w 481"/>
              <a:gd name="T33" fmla="*/ 231 h 296"/>
              <a:gd name="T34" fmla="*/ 422 w 481"/>
              <a:gd name="T35" fmla="*/ 31 h 296"/>
              <a:gd name="T36" fmla="*/ 392 w 481"/>
              <a:gd name="T37" fmla="*/ 0 h 296"/>
              <a:gd name="T38" fmla="*/ 90 w 481"/>
              <a:gd name="T39" fmla="*/ 0 h 296"/>
              <a:gd name="T40" fmla="*/ 59 w 481"/>
              <a:gd name="T41" fmla="*/ 31 h 296"/>
              <a:gd name="T42" fmla="*/ 59 w 481"/>
              <a:gd name="T43" fmla="*/ 231 h 296"/>
              <a:gd name="T44" fmla="*/ 68 w 481"/>
              <a:gd name="T45" fmla="*/ 252 h 296"/>
              <a:gd name="T46" fmla="*/ 22 w 481"/>
              <a:gd name="T47" fmla="*/ 252 h 296"/>
              <a:gd name="T48" fmla="*/ 0 w 481"/>
              <a:gd name="T49" fmla="*/ 274 h 296"/>
              <a:gd name="T50" fmla="*/ 22 w 481"/>
              <a:gd name="T51" fmla="*/ 296 h 296"/>
              <a:gd name="T52" fmla="*/ 459 w 481"/>
              <a:gd name="T53" fmla="*/ 296 h 296"/>
              <a:gd name="T54" fmla="*/ 481 w 481"/>
              <a:gd name="T55" fmla="*/ 274 h 296"/>
              <a:gd name="T56" fmla="*/ 459 w 481"/>
              <a:gd name="T57" fmla="*/ 252 h 296"/>
              <a:gd name="T58" fmla="*/ 68 w 481"/>
              <a:gd name="T59" fmla="*/ 31 h 296"/>
              <a:gd name="T60" fmla="*/ 90 w 481"/>
              <a:gd name="T61" fmla="*/ 10 h 296"/>
              <a:gd name="T62" fmla="*/ 392 w 481"/>
              <a:gd name="T63" fmla="*/ 10 h 296"/>
              <a:gd name="T64" fmla="*/ 413 w 481"/>
              <a:gd name="T65" fmla="*/ 31 h 296"/>
              <a:gd name="T66" fmla="*/ 413 w 481"/>
              <a:gd name="T67" fmla="*/ 231 h 296"/>
              <a:gd name="T68" fmla="*/ 392 w 481"/>
              <a:gd name="T69" fmla="*/ 252 h 296"/>
              <a:gd name="T70" fmla="*/ 90 w 481"/>
              <a:gd name="T71" fmla="*/ 252 h 296"/>
              <a:gd name="T72" fmla="*/ 68 w 481"/>
              <a:gd name="T73" fmla="*/ 231 h 296"/>
              <a:gd name="T74" fmla="*/ 68 w 481"/>
              <a:gd name="T75" fmla="*/ 31 h 296"/>
              <a:gd name="T76" fmla="*/ 459 w 481"/>
              <a:gd name="T77" fmla="*/ 286 h 296"/>
              <a:gd name="T78" fmla="*/ 22 w 481"/>
              <a:gd name="T79" fmla="*/ 286 h 296"/>
              <a:gd name="T80" fmla="*/ 10 w 481"/>
              <a:gd name="T81" fmla="*/ 274 h 296"/>
              <a:gd name="T82" fmla="*/ 22 w 481"/>
              <a:gd name="T83" fmla="*/ 262 h 296"/>
              <a:gd name="T84" fmla="*/ 459 w 481"/>
              <a:gd name="T85" fmla="*/ 262 h 296"/>
              <a:gd name="T86" fmla="*/ 472 w 481"/>
              <a:gd name="T87" fmla="*/ 274 h 296"/>
              <a:gd name="T88" fmla="*/ 459 w 481"/>
              <a:gd name="T89" fmla="*/ 286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81" h="296">
                <a:moveTo>
                  <a:pt x="97" y="231"/>
                </a:moveTo>
                <a:cubicBezTo>
                  <a:pt x="385" y="231"/>
                  <a:pt x="385" y="231"/>
                  <a:pt x="385" y="231"/>
                </a:cubicBezTo>
                <a:cubicBezTo>
                  <a:pt x="387" y="231"/>
                  <a:pt x="389" y="229"/>
                  <a:pt x="389" y="227"/>
                </a:cubicBezTo>
                <a:cubicBezTo>
                  <a:pt x="389" y="35"/>
                  <a:pt x="389" y="35"/>
                  <a:pt x="389" y="35"/>
                </a:cubicBezTo>
                <a:cubicBezTo>
                  <a:pt x="389" y="33"/>
                  <a:pt x="387" y="31"/>
                  <a:pt x="385" y="31"/>
                </a:cubicBezTo>
                <a:cubicBezTo>
                  <a:pt x="97" y="31"/>
                  <a:pt x="97" y="31"/>
                  <a:pt x="97" y="31"/>
                </a:cubicBezTo>
                <a:cubicBezTo>
                  <a:pt x="94" y="31"/>
                  <a:pt x="92" y="33"/>
                  <a:pt x="92" y="35"/>
                </a:cubicBezTo>
                <a:cubicBezTo>
                  <a:pt x="92" y="227"/>
                  <a:pt x="92" y="227"/>
                  <a:pt x="92" y="227"/>
                </a:cubicBezTo>
                <a:cubicBezTo>
                  <a:pt x="92" y="229"/>
                  <a:pt x="94" y="231"/>
                  <a:pt x="97" y="231"/>
                </a:cubicBezTo>
                <a:close/>
                <a:moveTo>
                  <a:pt x="102" y="40"/>
                </a:moveTo>
                <a:cubicBezTo>
                  <a:pt x="380" y="40"/>
                  <a:pt x="380" y="40"/>
                  <a:pt x="380" y="40"/>
                </a:cubicBezTo>
                <a:cubicBezTo>
                  <a:pt x="380" y="222"/>
                  <a:pt x="380" y="222"/>
                  <a:pt x="380" y="222"/>
                </a:cubicBezTo>
                <a:cubicBezTo>
                  <a:pt x="102" y="222"/>
                  <a:pt x="102" y="222"/>
                  <a:pt x="102" y="222"/>
                </a:cubicBezTo>
                <a:lnTo>
                  <a:pt x="102" y="40"/>
                </a:lnTo>
                <a:close/>
                <a:moveTo>
                  <a:pt x="459" y="252"/>
                </a:moveTo>
                <a:cubicBezTo>
                  <a:pt x="414" y="252"/>
                  <a:pt x="414" y="252"/>
                  <a:pt x="414" y="252"/>
                </a:cubicBezTo>
                <a:cubicBezTo>
                  <a:pt x="419" y="247"/>
                  <a:pt x="422" y="239"/>
                  <a:pt x="422" y="231"/>
                </a:cubicBezTo>
                <a:cubicBezTo>
                  <a:pt x="422" y="31"/>
                  <a:pt x="422" y="31"/>
                  <a:pt x="422" y="31"/>
                </a:cubicBezTo>
                <a:cubicBezTo>
                  <a:pt x="422" y="14"/>
                  <a:pt x="409" y="0"/>
                  <a:pt x="392" y="0"/>
                </a:cubicBezTo>
                <a:cubicBezTo>
                  <a:pt x="90" y="0"/>
                  <a:pt x="90" y="0"/>
                  <a:pt x="90" y="0"/>
                </a:cubicBezTo>
                <a:cubicBezTo>
                  <a:pt x="73" y="0"/>
                  <a:pt x="59" y="14"/>
                  <a:pt x="59" y="31"/>
                </a:cubicBezTo>
                <a:cubicBezTo>
                  <a:pt x="59" y="231"/>
                  <a:pt x="59" y="231"/>
                  <a:pt x="59" y="231"/>
                </a:cubicBezTo>
                <a:cubicBezTo>
                  <a:pt x="59" y="239"/>
                  <a:pt x="62" y="247"/>
                  <a:pt x="68" y="252"/>
                </a:cubicBezTo>
                <a:cubicBezTo>
                  <a:pt x="22" y="252"/>
                  <a:pt x="22" y="252"/>
                  <a:pt x="22" y="252"/>
                </a:cubicBezTo>
                <a:cubicBezTo>
                  <a:pt x="10" y="252"/>
                  <a:pt x="0" y="262"/>
                  <a:pt x="0" y="274"/>
                </a:cubicBezTo>
                <a:cubicBezTo>
                  <a:pt x="0" y="286"/>
                  <a:pt x="10" y="296"/>
                  <a:pt x="22" y="296"/>
                </a:cubicBezTo>
                <a:cubicBezTo>
                  <a:pt x="459" y="296"/>
                  <a:pt x="459" y="296"/>
                  <a:pt x="459" y="296"/>
                </a:cubicBezTo>
                <a:cubicBezTo>
                  <a:pt x="471" y="296"/>
                  <a:pt x="481" y="286"/>
                  <a:pt x="481" y="274"/>
                </a:cubicBezTo>
                <a:cubicBezTo>
                  <a:pt x="481" y="262"/>
                  <a:pt x="471" y="252"/>
                  <a:pt x="459" y="252"/>
                </a:cubicBezTo>
                <a:close/>
                <a:moveTo>
                  <a:pt x="68" y="31"/>
                </a:moveTo>
                <a:cubicBezTo>
                  <a:pt x="68" y="19"/>
                  <a:pt x="78" y="10"/>
                  <a:pt x="90" y="10"/>
                </a:cubicBezTo>
                <a:cubicBezTo>
                  <a:pt x="392" y="10"/>
                  <a:pt x="392" y="10"/>
                  <a:pt x="392" y="10"/>
                </a:cubicBezTo>
                <a:cubicBezTo>
                  <a:pt x="404" y="10"/>
                  <a:pt x="413" y="19"/>
                  <a:pt x="413" y="31"/>
                </a:cubicBezTo>
                <a:cubicBezTo>
                  <a:pt x="413" y="231"/>
                  <a:pt x="413" y="231"/>
                  <a:pt x="413" y="231"/>
                </a:cubicBezTo>
                <a:cubicBezTo>
                  <a:pt x="413" y="243"/>
                  <a:pt x="404" y="252"/>
                  <a:pt x="392" y="252"/>
                </a:cubicBezTo>
                <a:cubicBezTo>
                  <a:pt x="90" y="252"/>
                  <a:pt x="90" y="252"/>
                  <a:pt x="90" y="252"/>
                </a:cubicBezTo>
                <a:cubicBezTo>
                  <a:pt x="78" y="252"/>
                  <a:pt x="68" y="243"/>
                  <a:pt x="68" y="231"/>
                </a:cubicBezTo>
                <a:lnTo>
                  <a:pt x="68" y="31"/>
                </a:lnTo>
                <a:close/>
                <a:moveTo>
                  <a:pt x="459" y="286"/>
                </a:moveTo>
                <a:cubicBezTo>
                  <a:pt x="22" y="286"/>
                  <a:pt x="22" y="286"/>
                  <a:pt x="22" y="286"/>
                </a:cubicBezTo>
                <a:cubicBezTo>
                  <a:pt x="15" y="286"/>
                  <a:pt x="10" y="281"/>
                  <a:pt x="10" y="274"/>
                </a:cubicBezTo>
                <a:cubicBezTo>
                  <a:pt x="10" y="267"/>
                  <a:pt x="15" y="262"/>
                  <a:pt x="22" y="262"/>
                </a:cubicBezTo>
                <a:cubicBezTo>
                  <a:pt x="459" y="262"/>
                  <a:pt x="459" y="262"/>
                  <a:pt x="459" y="262"/>
                </a:cubicBezTo>
                <a:cubicBezTo>
                  <a:pt x="466" y="262"/>
                  <a:pt x="472" y="267"/>
                  <a:pt x="472" y="274"/>
                </a:cubicBezTo>
                <a:cubicBezTo>
                  <a:pt x="472" y="281"/>
                  <a:pt x="466" y="286"/>
                  <a:pt x="459" y="286"/>
                </a:cubicBez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8" name="Oval 8"/>
          <p:cNvSpPr>
            <a:spLocks noChangeArrowheads="1"/>
          </p:cNvSpPr>
          <p:nvPr/>
        </p:nvSpPr>
        <p:spPr bwMode="auto">
          <a:xfrm>
            <a:off x="6589622" y="4711628"/>
            <a:ext cx="1119124" cy="1119124"/>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1168" name="Freeform 35"/>
          <p:cNvSpPr>
            <a:spLocks noEditPoints="1"/>
          </p:cNvSpPr>
          <p:nvPr/>
        </p:nvSpPr>
        <p:spPr bwMode="auto">
          <a:xfrm>
            <a:off x="6861429" y="5062765"/>
            <a:ext cx="652601" cy="416850"/>
          </a:xfrm>
          <a:custGeom>
            <a:avLst/>
            <a:gdLst>
              <a:gd name="T0" fmla="*/ 353 w 416"/>
              <a:gd name="T1" fmla="*/ 108 h 266"/>
              <a:gd name="T2" fmla="*/ 248 w 416"/>
              <a:gd name="T3" fmla="*/ 0 h 266"/>
              <a:gd name="T4" fmla="*/ 160 w 416"/>
              <a:gd name="T5" fmla="*/ 49 h 266"/>
              <a:gd name="T6" fmla="*/ 137 w 416"/>
              <a:gd name="T7" fmla="*/ 45 h 266"/>
              <a:gd name="T8" fmla="*/ 71 w 416"/>
              <a:gd name="T9" fmla="*/ 106 h 266"/>
              <a:gd name="T10" fmla="*/ 0 w 416"/>
              <a:gd name="T11" fmla="*/ 186 h 266"/>
              <a:gd name="T12" fmla="*/ 77 w 416"/>
              <a:gd name="T13" fmla="*/ 266 h 266"/>
              <a:gd name="T14" fmla="*/ 344 w 416"/>
              <a:gd name="T15" fmla="*/ 266 h 266"/>
              <a:gd name="T16" fmla="*/ 344 w 416"/>
              <a:gd name="T17" fmla="*/ 266 h 266"/>
              <a:gd name="T18" fmla="*/ 416 w 416"/>
              <a:gd name="T19" fmla="*/ 186 h 266"/>
              <a:gd name="T20" fmla="*/ 353 w 416"/>
              <a:gd name="T21" fmla="*/ 108 h 266"/>
              <a:gd name="T22" fmla="*/ 344 w 416"/>
              <a:gd name="T23" fmla="*/ 257 h 266"/>
              <a:gd name="T24" fmla="*/ 77 w 416"/>
              <a:gd name="T25" fmla="*/ 257 h 266"/>
              <a:gd name="T26" fmla="*/ 9 w 416"/>
              <a:gd name="T27" fmla="*/ 186 h 266"/>
              <a:gd name="T28" fmla="*/ 75 w 416"/>
              <a:gd name="T29" fmla="*/ 115 h 266"/>
              <a:gd name="T30" fmla="*/ 80 w 416"/>
              <a:gd name="T31" fmla="*/ 110 h 266"/>
              <a:gd name="T32" fmla="*/ 137 w 416"/>
              <a:gd name="T33" fmla="*/ 55 h 266"/>
              <a:gd name="T34" fmla="*/ 161 w 416"/>
              <a:gd name="T35" fmla="*/ 59 h 266"/>
              <a:gd name="T36" fmla="*/ 166 w 416"/>
              <a:gd name="T37" fmla="*/ 57 h 266"/>
              <a:gd name="T38" fmla="*/ 248 w 416"/>
              <a:gd name="T39" fmla="*/ 9 h 266"/>
              <a:gd name="T40" fmla="*/ 344 w 416"/>
              <a:gd name="T41" fmla="*/ 112 h 266"/>
              <a:gd name="T42" fmla="*/ 348 w 416"/>
              <a:gd name="T43" fmla="*/ 117 h 266"/>
              <a:gd name="T44" fmla="*/ 406 w 416"/>
              <a:gd name="T45" fmla="*/ 186 h 266"/>
              <a:gd name="T46" fmla="*/ 344 w 416"/>
              <a:gd name="T47" fmla="*/ 257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16" h="266">
                <a:moveTo>
                  <a:pt x="353" y="108"/>
                </a:moveTo>
                <a:cubicBezTo>
                  <a:pt x="350" y="48"/>
                  <a:pt x="303" y="0"/>
                  <a:pt x="248" y="0"/>
                </a:cubicBezTo>
                <a:cubicBezTo>
                  <a:pt x="213" y="0"/>
                  <a:pt x="181" y="18"/>
                  <a:pt x="160" y="49"/>
                </a:cubicBezTo>
                <a:cubicBezTo>
                  <a:pt x="153" y="47"/>
                  <a:pt x="145" y="45"/>
                  <a:pt x="137" y="45"/>
                </a:cubicBezTo>
                <a:cubicBezTo>
                  <a:pt x="101" y="45"/>
                  <a:pt x="73" y="72"/>
                  <a:pt x="71" y="106"/>
                </a:cubicBezTo>
                <a:cubicBezTo>
                  <a:pt x="31" y="110"/>
                  <a:pt x="0" y="145"/>
                  <a:pt x="0" y="186"/>
                </a:cubicBezTo>
                <a:cubicBezTo>
                  <a:pt x="0" y="231"/>
                  <a:pt x="34" y="266"/>
                  <a:pt x="77" y="266"/>
                </a:cubicBezTo>
                <a:cubicBezTo>
                  <a:pt x="344" y="266"/>
                  <a:pt x="344" y="266"/>
                  <a:pt x="344" y="266"/>
                </a:cubicBezTo>
                <a:cubicBezTo>
                  <a:pt x="344" y="266"/>
                  <a:pt x="344" y="266"/>
                  <a:pt x="344" y="266"/>
                </a:cubicBezTo>
                <a:cubicBezTo>
                  <a:pt x="384" y="264"/>
                  <a:pt x="416" y="228"/>
                  <a:pt x="416" y="186"/>
                </a:cubicBezTo>
                <a:cubicBezTo>
                  <a:pt x="416" y="147"/>
                  <a:pt x="390" y="115"/>
                  <a:pt x="353" y="108"/>
                </a:cubicBezTo>
                <a:close/>
                <a:moveTo>
                  <a:pt x="344" y="257"/>
                </a:moveTo>
                <a:cubicBezTo>
                  <a:pt x="77" y="257"/>
                  <a:pt x="77" y="257"/>
                  <a:pt x="77" y="257"/>
                </a:cubicBezTo>
                <a:cubicBezTo>
                  <a:pt x="39" y="257"/>
                  <a:pt x="9" y="226"/>
                  <a:pt x="9" y="186"/>
                </a:cubicBezTo>
                <a:cubicBezTo>
                  <a:pt x="9" y="148"/>
                  <a:pt x="39" y="117"/>
                  <a:pt x="75" y="115"/>
                </a:cubicBezTo>
                <a:cubicBezTo>
                  <a:pt x="78" y="115"/>
                  <a:pt x="80" y="113"/>
                  <a:pt x="80" y="110"/>
                </a:cubicBezTo>
                <a:cubicBezTo>
                  <a:pt x="80" y="79"/>
                  <a:pt x="105" y="55"/>
                  <a:pt x="137" y="55"/>
                </a:cubicBezTo>
                <a:cubicBezTo>
                  <a:pt x="145" y="55"/>
                  <a:pt x="153" y="56"/>
                  <a:pt x="161" y="59"/>
                </a:cubicBezTo>
                <a:cubicBezTo>
                  <a:pt x="163" y="60"/>
                  <a:pt x="165" y="59"/>
                  <a:pt x="166" y="57"/>
                </a:cubicBezTo>
                <a:cubicBezTo>
                  <a:pt x="185" y="27"/>
                  <a:pt x="215" y="9"/>
                  <a:pt x="248" y="9"/>
                </a:cubicBezTo>
                <a:cubicBezTo>
                  <a:pt x="299" y="9"/>
                  <a:pt x="343" y="55"/>
                  <a:pt x="344" y="112"/>
                </a:cubicBezTo>
                <a:cubicBezTo>
                  <a:pt x="344" y="114"/>
                  <a:pt x="346" y="116"/>
                  <a:pt x="348" y="117"/>
                </a:cubicBezTo>
                <a:cubicBezTo>
                  <a:pt x="382" y="122"/>
                  <a:pt x="406" y="151"/>
                  <a:pt x="406" y="186"/>
                </a:cubicBezTo>
                <a:cubicBezTo>
                  <a:pt x="406" y="223"/>
                  <a:pt x="378" y="255"/>
                  <a:pt x="344" y="257"/>
                </a:cubicBez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9" name="Oval 9"/>
          <p:cNvSpPr>
            <a:spLocks noChangeArrowheads="1"/>
          </p:cNvSpPr>
          <p:nvPr/>
        </p:nvSpPr>
        <p:spPr bwMode="auto">
          <a:xfrm>
            <a:off x="4831649" y="4711628"/>
            <a:ext cx="1119124" cy="1119124"/>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1169" name="Freeform 36"/>
          <p:cNvSpPr>
            <a:spLocks noEditPoints="1"/>
          </p:cNvSpPr>
          <p:nvPr/>
        </p:nvSpPr>
        <p:spPr bwMode="auto">
          <a:xfrm>
            <a:off x="5065575" y="4921381"/>
            <a:ext cx="651272" cy="679042"/>
          </a:xfrm>
          <a:custGeom>
            <a:avLst/>
            <a:gdLst>
              <a:gd name="T0" fmla="*/ 352 w 415"/>
              <a:gd name="T1" fmla="*/ 109 h 433"/>
              <a:gd name="T2" fmla="*/ 248 w 415"/>
              <a:gd name="T3" fmla="*/ 0 h 433"/>
              <a:gd name="T4" fmla="*/ 160 w 415"/>
              <a:gd name="T5" fmla="*/ 50 h 433"/>
              <a:gd name="T6" fmla="*/ 137 w 415"/>
              <a:gd name="T7" fmla="*/ 46 h 433"/>
              <a:gd name="T8" fmla="*/ 71 w 415"/>
              <a:gd name="T9" fmla="*/ 107 h 433"/>
              <a:gd name="T10" fmla="*/ 0 w 415"/>
              <a:gd name="T11" fmla="*/ 186 h 433"/>
              <a:gd name="T12" fmla="*/ 76 w 415"/>
              <a:gd name="T13" fmla="*/ 265 h 433"/>
              <a:gd name="T14" fmla="*/ 162 w 415"/>
              <a:gd name="T15" fmla="*/ 265 h 433"/>
              <a:gd name="T16" fmla="*/ 162 w 415"/>
              <a:gd name="T17" fmla="*/ 296 h 433"/>
              <a:gd name="T18" fmla="*/ 127 w 415"/>
              <a:gd name="T19" fmla="*/ 296 h 433"/>
              <a:gd name="T20" fmla="*/ 108 w 415"/>
              <a:gd name="T21" fmla="*/ 306 h 433"/>
              <a:gd name="T22" fmla="*/ 111 w 415"/>
              <a:gd name="T23" fmla="*/ 327 h 433"/>
              <a:gd name="T24" fmla="*/ 186 w 415"/>
              <a:gd name="T25" fmla="*/ 424 h 433"/>
              <a:gd name="T26" fmla="*/ 207 w 415"/>
              <a:gd name="T27" fmla="*/ 433 h 433"/>
              <a:gd name="T28" fmla="*/ 228 w 415"/>
              <a:gd name="T29" fmla="*/ 424 h 433"/>
              <a:gd name="T30" fmla="*/ 304 w 415"/>
              <a:gd name="T31" fmla="*/ 327 h 433"/>
              <a:gd name="T32" fmla="*/ 307 w 415"/>
              <a:gd name="T33" fmla="*/ 306 h 433"/>
              <a:gd name="T34" fmla="*/ 288 w 415"/>
              <a:gd name="T35" fmla="*/ 296 h 433"/>
              <a:gd name="T36" fmla="*/ 253 w 415"/>
              <a:gd name="T37" fmla="*/ 296 h 433"/>
              <a:gd name="T38" fmla="*/ 253 w 415"/>
              <a:gd name="T39" fmla="*/ 265 h 433"/>
              <a:gd name="T40" fmla="*/ 344 w 415"/>
              <a:gd name="T41" fmla="*/ 265 h 433"/>
              <a:gd name="T42" fmla="*/ 415 w 415"/>
              <a:gd name="T43" fmla="*/ 186 h 433"/>
              <a:gd name="T44" fmla="*/ 352 w 415"/>
              <a:gd name="T45" fmla="*/ 109 h 433"/>
              <a:gd name="T46" fmla="*/ 343 w 415"/>
              <a:gd name="T47" fmla="*/ 257 h 433"/>
              <a:gd name="T48" fmla="*/ 249 w 415"/>
              <a:gd name="T49" fmla="*/ 257 h 433"/>
              <a:gd name="T50" fmla="*/ 245 w 415"/>
              <a:gd name="T51" fmla="*/ 261 h 433"/>
              <a:gd name="T52" fmla="*/ 245 w 415"/>
              <a:gd name="T53" fmla="*/ 300 h 433"/>
              <a:gd name="T54" fmla="*/ 249 w 415"/>
              <a:gd name="T55" fmla="*/ 304 h 433"/>
              <a:gd name="T56" fmla="*/ 288 w 415"/>
              <a:gd name="T57" fmla="*/ 304 h 433"/>
              <a:gd name="T58" fmla="*/ 300 w 415"/>
              <a:gd name="T59" fmla="*/ 310 h 433"/>
              <a:gd name="T60" fmla="*/ 298 w 415"/>
              <a:gd name="T61" fmla="*/ 322 h 433"/>
              <a:gd name="T62" fmla="*/ 221 w 415"/>
              <a:gd name="T63" fmla="*/ 419 h 433"/>
              <a:gd name="T64" fmla="*/ 207 w 415"/>
              <a:gd name="T65" fmla="*/ 425 h 433"/>
              <a:gd name="T66" fmla="*/ 193 w 415"/>
              <a:gd name="T67" fmla="*/ 419 h 433"/>
              <a:gd name="T68" fmla="*/ 118 w 415"/>
              <a:gd name="T69" fmla="*/ 323 h 433"/>
              <a:gd name="T70" fmla="*/ 115 w 415"/>
              <a:gd name="T71" fmla="*/ 309 h 433"/>
              <a:gd name="T72" fmla="*/ 127 w 415"/>
              <a:gd name="T73" fmla="*/ 304 h 433"/>
              <a:gd name="T74" fmla="*/ 166 w 415"/>
              <a:gd name="T75" fmla="*/ 304 h 433"/>
              <a:gd name="T76" fmla="*/ 170 w 415"/>
              <a:gd name="T77" fmla="*/ 300 h 433"/>
              <a:gd name="T78" fmla="*/ 170 w 415"/>
              <a:gd name="T79" fmla="*/ 261 h 433"/>
              <a:gd name="T80" fmla="*/ 166 w 415"/>
              <a:gd name="T81" fmla="*/ 257 h 433"/>
              <a:gd name="T82" fmla="*/ 76 w 415"/>
              <a:gd name="T83" fmla="*/ 257 h 433"/>
              <a:gd name="T84" fmla="*/ 8 w 415"/>
              <a:gd name="T85" fmla="*/ 186 h 433"/>
              <a:gd name="T86" fmla="*/ 75 w 415"/>
              <a:gd name="T87" fmla="*/ 114 h 433"/>
              <a:gd name="T88" fmla="*/ 79 w 415"/>
              <a:gd name="T89" fmla="*/ 110 h 433"/>
              <a:gd name="T90" fmla="*/ 137 w 415"/>
              <a:gd name="T91" fmla="*/ 54 h 433"/>
              <a:gd name="T92" fmla="*/ 161 w 415"/>
              <a:gd name="T93" fmla="*/ 59 h 433"/>
              <a:gd name="T94" fmla="*/ 166 w 415"/>
              <a:gd name="T95" fmla="*/ 57 h 433"/>
              <a:gd name="T96" fmla="*/ 248 w 415"/>
              <a:gd name="T97" fmla="*/ 9 h 433"/>
              <a:gd name="T98" fmla="*/ 344 w 415"/>
              <a:gd name="T99" fmla="*/ 112 h 433"/>
              <a:gd name="T100" fmla="*/ 348 w 415"/>
              <a:gd name="T101" fmla="*/ 116 h 433"/>
              <a:gd name="T102" fmla="*/ 407 w 415"/>
              <a:gd name="T103" fmla="*/ 186 h 433"/>
              <a:gd name="T104" fmla="*/ 343 w 415"/>
              <a:gd name="T105" fmla="*/ 257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15" h="433">
                <a:moveTo>
                  <a:pt x="352" y="109"/>
                </a:moveTo>
                <a:cubicBezTo>
                  <a:pt x="349" y="49"/>
                  <a:pt x="303" y="0"/>
                  <a:pt x="248" y="0"/>
                </a:cubicBezTo>
                <a:cubicBezTo>
                  <a:pt x="212" y="0"/>
                  <a:pt x="181" y="18"/>
                  <a:pt x="160" y="50"/>
                </a:cubicBezTo>
                <a:cubicBezTo>
                  <a:pt x="153" y="47"/>
                  <a:pt x="145" y="46"/>
                  <a:pt x="137" y="46"/>
                </a:cubicBezTo>
                <a:cubicBezTo>
                  <a:pt x="101" y="46"/>
                  <a:pt x="73" y="72"/>
                  <a:pt x="71" y="107"/>
                </a:cubicBezTo>
                <a:cubicBezTo>
                  <a:pt x="32" y="110"/>
                  <a:pt x="0" y="145"/>
                  <a:pt x="0" y="186"/>
                </a:cubicBezTo>
                <a:cubicBezTo>
                  <a:pt x="0" y="231"/>
                  <a:pt x="34" y="265"/>
                  <a:pt x="76" y="265"/>
                </a:cubicBezTo>
                <a:cubicBezTo>
                  <a:pt x="162" y="265"/>
                  <a:pt x="162" y="265"/>
                  <a:pt x="162" y="265"/>
                </a:cubicBezTo>
                <a:cubicBezTo>
                  <a:pt x="162" y="296"/>
                  <a:pt x="162" y="296"/>
                  <a:pt x="162" y="296"/>
                </a:cubicBezTo>
                <a:cubicBezTo>
                  <a:pt x="127" y="296"/>
                  <a:pt x="127" y="296"/>
                  <a:pt x="127" y="296"/>
                </a:cubicBezTo>
                <a:cubicBezTo>
                  <a:pt x="115" y="296"/>
                  <a:pt x="110" y="302"/>
                  <a:pt x="108" y="306"/>
                </a:cubicBezTo>
                <a:cubicBezTo>
                  <a:pt x="105" y="312"/>
                  <a:pt x="106" y="321"/>
                  <a:pt x="111" y="327"/>
                </a:cubicBezTo>
                <a:cubicBezTo>
                  <a:pt x="186" y="424"/>
                  <a:pt x="186" y="424"/>
                  <a:pt x="186" y="424"/>
                </a:cubicBezTo>
                <a:cubicBezTo>
                  <a:pt x="191" y="430"/>
                  <a:pt x="199" y="433"/>
                  <a:pt x="207" y="433"/>
                </a:cubicBezTo>
                <a:cubicBezTo>
                  <a:pt x="216" y="433"/>
                  <a:pt x="223" y="430"/>
                  <a:pt x="228" y="424"/>
                </a:cubicBezTo>
                <a:cubicBezTo>
                  <a:pt x="304" y="327"/>
                  <a:pt x="304" y="327"/>
                  <a:pt x="304" y="327"/>
                </a:cubicBezTo>
                <a:cubicBezTo>
                  <a:pt x="309" y="321"/>
                  <a:pt x="310" y="313"/>
                  <a:pt x="307" y="306"/>
                </a:cubicBezTo>
                <a:cubicBezTo>
                  <a:pt x="305" y="302"/>
                  <a:pt x="300" y="296"/>
                  <a:pt x="288" y="296"/>
                </a:cubicBezTo>
                <a:cubicBezTo>
                  <a:pt x="253" y="296"/>
                  <a:pt x="253" y="296"/>
                  <a:pt x="253" y="296"/>
                </a:cubicBezTo>
                <a:cubicBezTo>
                  <a:pt x="253" y="265"/>
                  <a:pt x="253" y="265"/>
                  <a:pt x="253" y="265"/>
                </a:cubicBezTo>
                <a:cubicBezTo>
                  <a:pt x="344" y="265"/>
                  <a:pt x="344" y="265"/>
                  <a:pt x="344" y="265"/>
                </a:cubicBezTo>
                <a:cubicBezTo>
                  <a:pt x="383" y="264"/>
                  <a:pt x="415" y="228"/>
                  <a:pt x="415" y="186"/>
                </a:cubicBezTo>
                <a:cubicBezTo>
                  <a:pt x="415" y="147"/>
                  <a:pt x="389" y="115"/>
                  <a:pt x="352" y="109"/>
                </a:cubicBezTo>
                <a:close/>
                <a:moveTo>
                  <a:pt x="343" y="257"/>
                </a:moveTo>
                <a:cubicBezTo>
                  <a:pt x="249" y="257"/>
                  <a:pt x="249" y="257"/>
                  <a:pt x="249" y="257"/>
                </a:cubicBezTo>
                <a:cubicBezTo>
                  <a:pt x="246" y="257"/>
                  <a:pt x="245" y="259"/>
                  <a:pt x="245" y="261"/>
                </a:cubicBezTo>
                <a:cubicBezTo>
                  <a:pt x="245" y="300"/>
                  <a:pt x="245" y="300"/>
                  <a:pt x="245" y="300"/>
                </a:cubicBezTo>
                <a:cubicBezTo>
                  <a:pt x="245" y="302"/>
                  <a:pt x="246" y="304"/>
                  <a:pt x="249" y="304"/>
                </a:cubicBezTo>
                <a:cubicBezTo>
                  <a:pt x="288" y="304"/>
                  <a:pt x="288" y="304"/>
                  <a:pt x="288" y="304"/>
                </a:cubicBezTo>
                <a:cubicBezTo>
                  <a:pt x="294" y="304"/>
                  <a:pt x="298" y="306"/>
                  <a:pt x="300" y="310"/>
                </a:cubicBezTo>
                <a:cubicBezTo>
                  <a:pt x="301" y="313"/>
                  <a:pt x="301" y="319"/>
                  <a:pt x="298" y="322"/>
                </a:cubicBezTo>
                <a:cubicBezTo>
                  <a:pt x="221" y="419"/>
                  <a:pt x="221" y="419"/>
                  <a:pt x="221" y="419"/>
                </a:cubicBezTo>
                <a:cubicBezTo>
                  <a:pt x="218" y="423"/>
                  <a:pt x="213" y="425"/>
                  <a:pt x="207" y="425"/>
                </a:cubicBezTo>
                <a:cubicBezTo>
                  <a:pt x="201" y="425"/>
                  <a:pt x="196" y="423"/>
                  <a:pt x="193" y="419"/>
                </a:cubicBezTo>
                <a:cubicBezTo>
                  <a:pt x="118" y="323"/>
                  <a:pt x="118" y="323"/>
                  <a:pt x="118" y="323"/>
                </a:cubicBezTo>
                <a:cubicBezTo>
                  <a:pt x="114" y="318"/>
                  <a:pt x="113" y="313"/>
                  <a:pt x="115" y="309"/>
                </a:cubicBezTo>
                <a:cubicBezTo>
                  <a:pt x="117" y="305"/>
                  <a:pt x="123" y="304"/>
                  <a:pt x="127" y="304"/>
                </a:cubicBezTo>
                <a:cubicBezTo>
                  <a:pt x="166" y="304"/>
                  <a:pt x="166" y="304"/>
                  <a:pt x="166" y="304"/>
                </a:cubicBezTo>
                <a:cubicBezTo>
                  <a:pt x="168" y="304"/>
                  <a:pt x="170" y="302"/>
                  <a:pt x="170" y="300"/>
                </a:cubicBezTo>
                <a:cubicBezTo>
                  <a:pt x="170" y="261"/>
                  <a:pt x="170" y="261"/>
                  <a:pt x="170" y="261"/>
                </a:cubicBezTo>
                <a:cubicBezTo>
                  <a:pt x="170" y="259"/>
                  <a:pt x="168" y="257"/>
                  <a:pt x="166" y="257"/>
                </a:cubicBezTo>
                <a:cubicBezTo>
                  <a:pt x="76" y="257"/>
                  <a:pt x="76" y="257"/>
                  <a:pt x="76" y="257"/>
                </a:cubicBezTo>
                <a:cubicBezTo>
                  <a:pt x="38" y="257"/>
                  <a:pt x="8" y="226"/>
                  <a:pt x="8" y="186"/>
                </a:cubicBezTo>
                <a:cubicBezTo>
                  <a:pt x="8" y="148"/>
                  <a:pt x="38" y="116"/>
                  <a:pt x="75" y="114"/>
                </a:cubicBezTo>
                <a:cubicBezTo>
                  <a:pt x="77" y="114"/>
                  <a:pt x="79" y="112"/>
                  <a:pt x="79" y="110"/>
                </a:cubicBezTo>
                <a:cubicBezTo>
                  <a:pt x="79" y="79"/>
                  <a:pt x="104" y="54"/>
                  <a:pt x="137" y="54"/>
                </a:cubicBezTo>
                <a:cubicBezTo>
                  <a:pt x="145" y="54"/>
                  <a:pt x="153" y="55"/>
                  <a:pt x="161" y="59"/>
                </a:cubicBezTo>
                <a:cubicBezTo>
                  <a:pt x="162" y="59"/>
                  <a:pt x="164" y="59"/>
                  <a:pt x="166" y="57"/>
                </a:cubicBezTo>
                <a:cubicBezTo>
                  <a:pt x="184" y="26"/>
                  <a:pt x="214" y="9"/>
                  <a:pt x="248" y="9"/>
                </a:cubicBezTo>
                <a:cubicBezTo>
                  <a:pt x="299" y="9"/>
                  <a:pt x="343" y="55"/>
                  <a:pt x="344" y="112"/>
                </a:cubicBezTo>
                <a:cubicBezTo>
                  <a:pt x="345" y="114"/>
                  <a:pt x="346" y="116"/>
                  <a:pt x="348" y="116"/>
                </a:cubicBezTo>
                <a:cubicBezTo>
                  <a:pt x="382" y="121"/>
                  <a:pt x="407" y="150"/>
                  <a:pt x="407" y="186"/>
                </a:cubicBezTo>
                <a:cubicBezTo>
                  <a:pt x="407" y="224"/>
                  <a:pt x="378" y="256"/>
                  <a:pt x="343" y="257"/>
                </a:cubicBez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6" name="Oval 6"/>
          <p:cNvSpPr>
            <a:spLocks noChangeArrowheads="1"/>
          </p:cNvSpPr>
          <p:nvPr/>
        </p:nvSpPr>
        <p:spPr bwMode="auto">
          <a:xfrm>
            <a:off x="10105564" y="4711628"/>
            <a:ext cx="1119124" cy="1119124"/>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1182" name="Freeform 37"/>
          <p:cNvSpPr>
            <a:spLocks noEditPoints="1"/>
          </p:cNvSpPr>
          <p:nvPr/>
        </p:nvSpPr>
        <p:spPr bwMode="auto">
          <a:xfrm>
            <a:off x="10339075" y="4957887"/>
            <a:ext cx="652103" cy="627268"/>
          </a:xfrm>
          <a:custGeom>
            <a:avLst/>
            <a:gdLst>
              <a:gd name="T0" fmla="*/ 354 w 416"/>
              <a:gd name="T1" fmla="*/ 108 h 400"/>
              <a:gd name="T2" fmla="*/ 248 w 416"/>
              <a:gd name="T3" fmla="*/ 0 h 400"/>
              <a:gd name="T4" fmla="*/ 161 w 416"/>
              <a:gd name="T5" fmla="*/ 49 h 400"/>
              <a:gd name="T6" fmla="*/ 137 w 416"/>
              <a:gd name="T7" fmla="*/ 45 h 400"/>
              <a:gd name="T8" fmla="*/ 71 w 416"/>
              <a:gd name="T9" fmla="*/ 106 h 400"/>
              <a:gd name="T10" fmla="*/ 0 w 416"/>
              <a:gd name="T11" fmla="*/ 186 h 400"/>
              <a:gd name="T12" fmla="*/ 77 w 416"/>
              <a:gd name="T13" fmla="*/ 266 h 400"/>
              <a:gd name="T14" fmla="*/ 209 w 416"/>
              <a:gd name="T15" fmla="*/ 266 h 400"/>
              <a:gd name="T16" fmla="*/ 209 w 416"/>
              <a:gd name="T17" fmla="*/ 384 h 400"/>
              <a:gd name="T18" fmla="*/ 160 w 416"/>
              <a:gd name="T19" fmla="*/ 335 h 400"/>
              <a:gd name="T20" fmla="*/ 153 w 416"/>
              <a:gd name="T21" fmla="*/ 335 h 400"/>
              <a:gd name="T22" fmla="*/ 153 w 416"/>
              <a:gd name="T23" fmla="*/ 342 h 400"/>
              <a:gd name="T24" fmla="*/ 210 w 416"/>
              <a:gd name="T25" fmla="*/ 399 h 400"/>
              <a:gd name="T26" fmla="*/ 210 w 416"/>
              <a:gd name="T27" fmla="*/ 399 h 400"/>
              <a:gd name="T28" fmla="*/ 211 w 416"/>
              <a:gd name="T29" fmla="*/ 399 h 400"/>
              <a:gd name="T30" fmla="*/ 211 w 416"/>
              <a:gd name="T31" fmla="*/ 399 h 400"/>
              <a:gd name="T32" fmla="*/ 211 w 416"/>
              <a:gd name="T33" fmla="*/ 400 h 400"/>
              <a:gd name="T34" fmla="*/ 212 w 416"/>
              <a:gd name="T35" fmla="*/ 400 h 400"/>
              <a:gd name="T36" fmla="*/ 212 w 416"/>
              <a:gd name="T37" fmla="*/ 400 h 400"/>
              <a:gd name="T38" fmla="*/ 213 w 416"/>
              <a:gd name="T39" fmla="*/ 400 h 400"/>
              <a:gd name="T40" fmla="*/ 213 w 416"/>
              <a:gd name="T41" fmla="*/ 400 h 400"/>
              <a:gd name="T42" fmla="*/ 213 w 416"/>
              <a:gd name="T43" fmla="*/ 400 h 400"/>
              <a:gd name="T44" fmla="*/ 214 w 416"/>
              <a:gd name="T45" fmla="*/ 400 h 400"/>
              <a:gd name="T46" fmla="*/ 215 w 416"/>
              <a:gd name="T47" fmla="*/ 400 h 400"/>
              <a:gd name="T48" fmla="*/ 215 w 416"/>
              <a:gd name="T49" fmla="*/ 400 h 400"/>
              <a:gd name="T50" fmla="*/ 216 w 416"/>
              <a:gd name="T51" fmla="*/ 399 h 400"/>
              <a:gd name="T52" fmla="*/ 216 w 416"/>
              <a:gd name="T53" fmla="*/ 399 h 400"/>
              <a:gd name="T54" fmla="*/ 217 w 416"/>
              <a:gd name="T55" fmla="*/ 399 h 400"/>
              <a:gd name="T56" fmla="*/ 273 w 416"/>
              <a:gd name="T57" fmla="*/ 342 h 400"/>
              <a:gd name="T58" fmla="*/ 273 w 416"/>
              <a:gd name="T59" fmla="*/ 335 h 400"/>
              <a:gd name="T60" fmla="*/ 267 w 416"/>
              <a:gd name="T61" fmla="*/ 335 h 400"/>
              <a:gd name="T62" fmla="*/ 218 w 416"/>
              <a:gd name="T63" fmla="*/ 384 h 400"/>
              <a:gd name="T64" fmla="*/ 218 w 416"/>
              <a:gd name="T65" fmla="*/ 266 h 400"/>
              <a:gd name="T66" fmla="*/ 344 w 416"/>
              <a:gd name="T67" fmla="*/ 266 h 400"/>
              <a:gd name="T68" fmla="*/ 344 w 416"/>
              <a:gd name="T69" fmla="*/ 266 h 400"/>
              <a:gd name="T70" fmla="*/ 416 w 416"/>
              <a:gd name="T71" fmla="*/ 186 h 400"/>
              <a:gd name="T72" fmla="*/ 354 w 416"/>
              <a:gd name="T73" fmla="*/ 108 h 400"/>
              <a:gd name="T74" fmla="*/ 344 w 416"/>
              <a:gd name="T75" fmla="*/ 257 h 400"/>
              <a:gd name="T76" fmla="*/ 77 w 416"/>
              <a:gd name="T77" fmla="*/ 257 h 400"/>
              <a:gd name="T78" fmla="*/ 9 w 416"/>
              <a:gd name="T79" fmla="*/ 186 h 400"/>
              <a:gd name="T80" fmla="*/ 75 w 416"/>
              <a:gd name="T81" fmla="*/ 115 h 400"/>
              <a:gd name="T82" fmla="*/ 80 w 416"/>
              <a:gd name="T83" fmla="*/ 110 h 400"/>
              <a:gd name="T84" fmla="*/ 137 w 416"/>
              <a:gd name="T85" fmla="*/ 55 h 400"/>
              <a:gd name="T86" fmla="*/ 161 w 416"/>
              <a:gd name="T87" fmla="*/ 59 h 400"/>
              <a:gd name="T88" fmla="*/ 167 w 416"/>
              <a:gd name="T89" fmla="*/ 57 h 400"/>
              <a:gd name="T90" fmla="*/ 248 w 416"/>
              <a:gd name="T91" fmla="*/ 9 h 400"/>
              <a:gd name="T92" fmla="*/ 344 w 416"/>
              <a:gd name="T93" fmla="*/ 112 h 400"/>
              <a:gd name="T94" fmla="*/ 348 w 416"/>
              <a:gd name="T95" fmla="*/ 117 h 400"/>
              <a:gd name="T96" fmla="*/ 407 w 416"/>
              <a:gd name="T97" fmla="*/ 186 h 400"/>
              <a:gd name="T98" fmla="*/ 344 w 416"/>
              <a:gd name="T99" fmla="*/ 257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16" h="400">
                <a:moveTo>
                  <a:pt x="354" y="108"/>
                </a:moveTo>
                <a:cubicBezTo>
                  <a:pt x="350" y="48"/>
                  <a:pt x="304" y="0"/>
                  <a:pt x="248" y="0"/>
                </a:cubicBezTo>
                <a:cubicBezTo>
                  <a:pt x="213" y="0"/>
                  <a:pt x="181" y="18"/>
                  <a:pt x="161" y="49"/>
                </a:cubicBezTo>
                <a:cubicBezTo>
                  <a:pt x="153" y="47"/>
                  <a:pt x="145" y="45"/>
                  <a:pt x="137" y="45"/>
                </a:cubicBezTo>
                <a:cubicBezTo>
                  <a:pt x="101" y="45"/>
                  <a:pt x="73" y="72"/>
                  <a:pt x="71" y="106"/>
                </a:cubicBezTo>
                <a:cubicBezTo>
                  <a:pt x="31" y="110"/>
                  <a:pt x="0" y="145"/>
                  <a:pt x="0" y="186"/>
                </a:cubicBezTo>
                <a:cubicBezTo>
                  <a:pt x="0" y="231"/>
                  <a:pt x="34" y="266"/>
                  <a:pt x="77" y="266"/>
                </a:cubicBezTo>
                <a:cubicBezTo>
                  <a:pt x="209" y="266"/>
                  <a:pt x="209" y="266"/>
                  <a:pt x="209" y="266"/>
                </a:cubicBezTo>
                <a:cubicBezTo>
                  <a:pt x="209" y="384"/>
                  <a:pt x="209" y="384"/>
                  <a:pt x="209" y="384"/>
                </a:cubicBezTo>
                <a:cubicBezTo>
                  <a:pt x="160" y="335"/>
                  <a:pt x="160" y="335"/>
                  <a:pt x="160" y="335"/>
                </a:cubicBezTo>
                <a:cubicBezTo>
                  <a:pt x="158" y="334"/>
                  <a:pt x="155" y="334"/>
                  <a:pt x="153" y="335"/>
                </a:cubicBezTo>
                <a:cubicBezTo>
                  <a:pt x="151" y="337"/>
                  <a:pt x="151" y="340"/>
                  <a:pt x="153" y="342"/>
                </a:cubicBezTo>
                <a:cubicBezTo>
                  <a:pt x="210" y="399"/>
                  <a:pt x="210" y="399"/>
                  <a:pt x="210" y="399"/>
                </a:cubicBezTo>
                <a:cubicBezTo>
                  <a:pt x="210" y="399"/>
                  <a:pt x="210" y="399"/>
                  <a:pt x="210" y="399"/>
                </a:cubicBezTo>
                <a:cubicBezTo>
                  <a:pt x="210" y="399"/>
                  <a:pt x="210" y="399"/>
                  <a:pt x="211" y="399"/>
                </a:cubicBezTo>
                <a:cubicBezTo>
                  <a:pt x="211" y="399"/>
                  <a:pt x="211" y="399"/>
                  <a:pt x="211" y="399"/>
                </a:cubicBezTo>
                <a:cubicBezTo>
                  <a:pt x="211" y="400"/>
                  <a:pt x="211" y="400"/>
                  <a:pt x="211" y="400"/>
                </a:cubicBezTo>
                <a:cubicBezTo>
                  <a:pt x="212" y="400"/>
                  <a:pt x="212" y="400"/>
                  <a:pt x="212" y="400"/>
                </a:cubicBezTo>
                <a:cubicBezTo>
                  <a:pt x="212" y="400"/>
                  <a:pt x="212" y="400"/>
                  <a:pt x="212" y="400"/>
                </a:cubicBezTo>
                <a:cubicBezTo>
                  <a:pt x="213" y="400"/>
                  <a:pt x="213" y="400"/>
                  <a:pt x="213" y="400"/>
                </a:cubicBezTo>
                <a:cubicBezTo>
                  <a:pt x="213" y="400"/>
                  <a:pt x="213" y="400"/>
                  <a:pt x="213" y="400"/>
                </a:cubicBezTo>
                <a:cubicBezTo>
                  <a:pt x="213" y="400"/>
                  <a:pt x="213" y="400"/>
                  <a:pt x="213" y="400"/>
                </a:cubicBezTo>
                <a:cubicBezTo>
                  <a:pt x="214" y="400"/>
                  <a:pt x="214" y="400"/>
                  <a:pt x="214" y="400"/>
                </a:cubicBezTo>
                <a:cubicBezTo>
                  <a:pt x="214" y="400"/>
                  <a:pt x="215" y="400"/>
                  <a:pt x="215" y="400"/>
                </a:cubicBezTo>
                <a:cubicBezTo>
                  <a:pt x="215" y="400"/>
                  <a:pt x="215" y="400"/>
                  <a:pt x="215" y="400"/>
                </a:cubicBezTo>
                <a:cubicBezTo>
                  <a:pt x="215" y="400"/>
                  <a:pt x="216" y="400"/>
                  <a:pt x="216" y="399"/>
                </a:cubicBezTo>
                <a:cubicBezTo>
                  <a:pt x="216" y="399"/>
                  <a:pt x="216" y="399"/>
                  <a:pt x="216" y="399"/>
                </a:cubicBezTo>
                <a:cubicBezTo>
                  <a:pt x="216" y="399"/>
                  <a:pt x="216" y="399"/>
                  <a:pt x="217" y="399"/>
                </a:cubicBezTo>
                <a:cubicBezTo>
                  <a:pt x="273" y="342"/>
                  <a:pt x="273" y="342"/>
                  <a:pt x="273" y="342"/>
                </a:cubicBezTo>
                <a:cubicBezTo>
                  <a:pt x="275" y="340"/>
                  <a:pt x="275" y="337"/>
                  <a:pt x="273" y="335"/>
                </a:cubicBezTo>
                <a:cubicBezTo>
                  <a:pt x="271" y="334"/>
                  <a:pt x="269" y="334"/>
                  <a:pt x="267" y="335"/>
                </a:cubicBezTo>
                <a:cubicBezTo>
                  <a:pt x="218" y="384"/>
                  <a:pt x="218" y="384"/>
                  <a:pt x="218" y="384"/>
                </a:cubicBezTo>
                <a:cubicBezTo>
                  <a:pt x="218" y="266"/>
                  <a:pt x="218" y="266"/>
                  <a:pt x="218" y="266"/>
                </a:cubicBezTo>
                <a:cubicBezTo>
                  <a:pt x="344" y="266"/>
                  <a:pt x="344" y="266"/>
                  <a:pt x="344" y="266"/>
                </a:cubicBezTo>
                <a:cubicBezTo>
                  <a:pt x="344" y="266"/>
                  <a:pt x="344" y="266"/>
                  <a:pt x="344" y="266"/>
                </a:cubicBezTo>
                <a:cubicBezTo>
                  <a:pt x="384" y="265"/>
                  <a:pt x="416" y="229"/>
                  <a:pt x="416" y="186"/>
                </a:cubicBezTo>
                <a:cubicBezTo>
                  <a:pt x="416" y="147"/>
                  <a:pt x="390" y="115"/>
                  <a:pt x="354" y="108"/>
                </a:cubicBezTo>
                <a:close/>
                <a:moveTo>
                  <a:pt x="344" y="257"/>
                </a:moveTo>
                <a:cubicBezTo>
                  <a:pt x="77" y="257"/>
                  <a:pt x="77" y="257"/>
                  <a:pt x="77" y="257"/>
                </a:cubicBezTo>
                <a:cubicBezTo>
                  <a:pt x="39" y="257"/>
                  <a:pt x="9" y="226"/>
                  <a:pt x="9" y="186"/>
                </a:cubicBezTo>
                <a:cubicBezTo>
                  <a:pt x="9" y="149"/>
                  <a:pt x="39" y="117"/>
                  <a:pt x="75" y="115"/>
                </a:cubicBezTo>
                <a:cubicBezTo>
                  <a:pt x="78" y="115"/>
                  <a:pt x="80" y="113"/>
                  <a:pt x="80" y="110"/>
                </a:cubicBezTo>
                <a:cubicBezTo>
                  <a:pt x="80" y="79"/>
                  <a:pt x="105" y="55"/>
                  <a:pt x="137" y="55"/>
                </a:cubicBezTo>
                <a:cubicBezTo>
                  <a:pt x="145" y="55"/>
                  <a:pt x="153" y="56"/>
                  <a:pt x="161" y="59"/>
                </a:cubicBezTo>
                <a:cubicBezTo>
                  <a:pt x="163" y="60"/>
                  <a:pt x="165" y="59"/>
                  <a:pt x="167" y="57"/>
                </a:cubicBezTo>
                <a:cubicBezTo>
                  <a:pt x="185" y="27"/>
                  <a:pt x="215" y="9"/>
                  <a:pt x="248" y="9"/>
                </a:cubicBezTo>
                <a:cubicBezTo>
                  <a:pt x="300" y="9"/>
                  <a:pt x="343" y="56"/>
                  <a:pt x="344" y="112"/>
                </a:cubicBezTo>
                <a:cubicBezTo>
                  <a:pt x="344" y="115"/>
                  <a:pt x="346" y="116"/>
                  <a:pt x="348" y="117"/>
                </a:cubicBezTo>
                <a:cubicBezTo>
                  <a:pt x="382" y="122"/>
                  <a:pt x="407" y="151"/>
                  <a:pt x="407" y="186"/>
                </a:cubicBezTo>
                <a:cubicBezTo>
                  <a:pt x="407" y="224"/>
                  <a:pt x="378" y="255"/>
                  <a:pt x="344" y="257"/>
                </a:cubicBez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7" name="Oval 7"/>
          <p:cNvSpPr>
            <a:spLocks noChangeArrowheads="1"/>
          </p:cNvSpPr>
          <p:nvPr/>
        </p:nvSpPr>
        <p:spPr bwMode="auto">
          <a:xfrm>
            <a:off x="8347594" y="4711628"/>
            <a:ext cx="1119124" cy="1119124"/>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1183" name="Freeform 38"/>
          <p:cNvSpPr>
            <a:spLocks noEditPoints="1"/>
          </p:cNvSpPr>
          <p:nvPr/>
        </p:nvSpPr>
        <p:spPr bwMode="auto">
          <a:xfrm>
            <a:off x="8580053" y="4957888"/>
            <a:ext cx="652877" cy="575493"/>
          </a:xfrm>
          <a:custGeom>
            <a:avLst/>
            <a:gdLst>
              <a:gd name="T0" fmla="*/ 354 w 416"/>
              <a:gd name="T1" fmla="*/ 108 h 367"/>
              <a:gd name="T2" fmla="*/ 248 w 416"/>
              <a:gd name="T3" fmla="*/ 0 h 367"/>
              <a:gd name="T4" fmla="*/ 161 w 416"/>
              <a:gd name="T5" fmla="*/ 49 h 367"/>
              <a:gd name="T6" fmla="*/ 138 w 416"/>
              <a:gd name="T7" fmla="*/ 45 h 367"/>
              <a:gd name="T8" fmla="*/ 71 w 416"/>
              <a:gd name="T9" fmla="*/ 106 h 367"/>
              <a:gd name="T10" fmla="*/ 0 w 416"/>
              <a:gd name="T11" fmla="*/ 186 h 367"/>
              <a:gd name="T12" fmla="*/ 77 w 416"/>
              <a:gd name="T13" fmla="*/ 266 h 367"/>
              <a:gd name="T14" fmla="*/ 209 w 416"/>
              <a:gd name="T15" fmla="*/ 266 h 367"/>
              <a:gd name="T16" fmla="*/ 209 w 416"/>
              <a:gd name="T17" fmla="*/ 362 h 367"/>
              <a:gd name="T18" fmla="*/ 213 w 416"/>
              <a:gd name="T19" fmla="*/ 367 h 367"/>
              <a:gd name="T20" fmla="*/ 218 w 416"/>
              <a:gd name="T21" fmla="*/ 362 h 367"/>
              <a:gd name="T22" fmla="*/ 218 w 416"/>
              <a:gd name="T23" fmla="*/ 266 h 367"/>
              <a:gd name="T24" fmla="*/ 344 w 416"/>
              <a:gd name="T25" fmla="*/ 266 h 367"/>
              <a:gd name="T26" fmla="*/ 344 w 416"/>
              <a:gd name="T27" fmla="*/ 266 h 367"/>
              <a:gd name="T28" fmla="*/ 416 w 416"/>
              <a:gd name="T29" fmla="*/ 186 h 367"/>
              <a:gd name="T30" fmla="*/ 354 w 416"/>
              <a:gd name="T31" fmla="*/ 108 h 367"/>
              <a:gd name="T32" fmla="*/ 344 w 416"/>
              <a:gd name="T33" fmla="*/ 257 h 367"/>
              <a:gd name="T34" fmla="*/ 218 w 416"/>
              <a:gd name="T35" fmla="*/ 257 h 367"/>
              <a:gd name="T36" fmla="*/ 218 w 416"/>
              <a:gd name="T37" fmla="*/ 177 h 367"/>
              <a:gd name="T38" fmla="*/ 267 w 416"/>
              <a:gd name="T39" fmla="*/ 226 h 367"/>
              <a:gd name="T40" fmla="*/ 270 w 416"/>
              <a:gd name="T41" fmla="*/ 227 h 367"/>
              <a:gd name="T42" fmla="*/ 273 w 416"/>
              <a:gd name="T43" fmla="*/ 226 h 367"/>
              <a:gd name="T44" fmla="*/ 273 w 416"/>
              <a:gd name="T45" fmla="*/ 219 h 367"/>
              <a:gd name="T46" fmla="*/ 217 w 416"/>
              <a:gd name="T47" fmla="*/ 162 h 367"/>
              <a:gd name="T48" fmla="*/ 217 w 416"/>
              <a:gd name="T49" fmla="*/ 162 h 367"/>
              <a:gd name="T50" fmla="*/ 213 w 416"/>
              <a:gd name="T51" fmla="*/ 161 h 367"/>
              <a:gd name="T52" fmla="*/ 210 w 416"/>
              <a:gd name="T53" fmla="*/ 162 h 367"/>
              <a:gd name="T54" fmla="*/ 153 w 416"/>
              <a:gd name="T55" fmla="*/ 219 h 367"/>
              <a:gd name="T56" fmla="*/ 153 w 416"/>
              <a:gd name="T57" fmla="*/ 226 h 367"/>
              <a:gd name="T58" fmla="*/ 160 w 416"/>
              <a:gd name="T59" fmla="*/ 226 h 367"/>
              <a:gd name="T60" fmla="*/ 209 w 416"/>
              <a:gd name="T61" fmla="*/ 177 h 367"/>
              <a:gd name="T62" fmla="*/ 209 w 416"/>
              <a:gd name="T63" fmla="*/ 257 h 367"/>
              <a:gd name="T64" fmla="*/ 77 w 416"/>
              <a:gd name="T65" fmla="*/ 257 h 367"/>
              <a:gd name="T66" fmla="*/ 10 w 416"/>
              <a:gd name="T67" fmla="*/ 186 h 367"/>
              <a:gd name="T68" fmla="*/ 76 w 416"/>
              <a:gd name="T69" fmla="*/ 115 h 367"/>
              <a:gd name="T70" fmla="*/ 80 w 416"/>
              <a:gd name="T71" fmla="*/ 110 h 367"/>
              <a:gd name="T72" fmla="*/ 138 w 416"/>
              <a:gd name="T73" fmla="*/ 55 h 367"/>
              <a:gd name="T74" fmla="*/ 161 w 416"/>
              <a:gd name="T75" fmla="*/ 59 h 367"/>
              <a:gd name="T76" fmla="*/ 167 w 416"/>
              <a:gd name="T77" fmla="*/ 57 h 367"/>
              <a:gd name="T78" fmla="*/ 248 w 416"/>
              <a:gd name="T79" fmla="*/ 9 h 367"/>
              <a:gd name="T80" fmla="*/ 345 w 416"/>
              <a:gd name="T81" fmla="*/ 112 h 367"/>
              <a:gd name="T82" fmla="*/ 349 w 416"/>
              <a:gd name="T83" fmla="*/ 117 h 367"/>
              <a:gd name="T84" fmla="*/ 407 w 416"/>
              <a:gd name="T85" fmla="*/ 186 h 367"/>
              <a:gd name="T86" fmla="*/ 344 w 416"/>
              <a:gd name="T87" fmla="*/ 257 h 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16" h="367">
                <a:moveTo>
                  <a:pt x="354" y="108"/>
                </a:moveTo>
                <a:cubicBezTo>
                  <a:pt x="350" y="48"/>
                  <a:pt x="304" y="0"/>
                  <a:pt x="248" y="0"/>
                </a:cubicBezTo>
                <a:cubicBezTo>
                  <a:pt x="213" y="0"/>
                  <a:pt x="181" y="18"/>
                  <a:pt x="161" y="49"/>
                </a:cubicBezTo>
                <a:cubicBezTo>
                  <a:pt x="153" y="47"/>
                  <a:pt x="145" y="45"/>
                  <a:pt x="138" y="45"/>
                </a:cubicBezTo>
                <a:cubicBezTo>
                  <a:pt x="102" y="45"/>
                  <a:pt x="73" y="72"/>
                  <a:pt x="71" y="106"/>
                </a:cubicBezTo>
                <a:cubicBezTo>
                  <a:pt x="31" y="110"/>
                  <a:pt x="0" y="145"/>
                  <a:pt x="0" y="186"/>
                </a:cubicBezTo>
                <a:cubicBezTo>
                  <a:pt x="0" y="231"/>
                  <a:pt x="34" y="266"/>
                  <a:pt x="77" y="266"/>
                </a:cubicBezTo>
                <a:cubicBezTo>
                  <a:pt x="209" y="266"/>
                  <a:pt x="209" y="266"/>
                  <a:pt x="209" y="266"/>
                </a:cubicBezTo>
                <a:cubicBezTo>
                  <a:pt x="209" y="362"/>
                  <a:pt x="209" y="362"/>
                  <a:pt x="209" y="362"/>
                </a:cubicBezTo>
                <a:cubicBezTo>
                  <a:pt x="209" y="364"/>
                  <a:pt x="211" y="367"/>
                  <a:pt x="213" y="367"/>
                </a:cubicBezTo>
                <a:cubicBezTo>
                  <a:pt x="216" y="367"/>
                  <a:pt x="218" y="364"/>
                  <a:pt x="218" y="362"/>
                </a:cubicBezTo>
                <a:cubicBezTo>
                  <a:pt x="218" y="266"/>
                  <a:pt x="218" y="266"/>
                  <a:pt x="218" y="266"/>
                </a:cubicBezTo>
                <a:cubicBezTo>
                  <a:pt x="344" y="266"/>
                  <a:pt x="344" y="266"/>
                  <a:pt x="344" y="266"/>
                </a:cubicBezTo>
                <a:cubicBezTo>
                  <a:pt x="344" y="266"/>
                  <a:pt x="344" y="266"/>
                  <a:pt x="344" y="266"/>
                </a:cubicBezTo>
                <a:cubicBezTo>
                  <a:pt x="384" y="265"/>
                  <a:pt x="416" y="229"/>
                  <a:pt x="416" y="186"/>
                </a:cubicBezTo>
                <a:cubicBezTo>
                  <a:pt x="416" y="147"/>
                  <a:pt x="390" y="115"/>
                  <a:pt x="354" y="108"/>
                </a:cubicBezTo>
                <a:close/>
                <a:moveTo>
                  <a:pt x="344" y="257"/>
                </a:moveTo>
                <a:cubicBezTo>
                  <a:pt x="218" y="257"/>
                  <a:pt x="218" y="257"/>
                  <a:pt x="218" y="257"/>
                </a:cubicBezTo>
                <a:cubicBezTo>
                  <a:pt x="218" y="177"/>
                  <a:pt x="218" y="177"/>
                  <a:pt x="218" y="177"/>
                </a:cubicBezTo>
                <a:cubicBezTo>
                  <a:pt x="267" y="226"/>
                  <a:pt x="267" y="226"/>
                  <a:pt x="267" y="226"/>
                </a:cubicBezTo>
                <a:cubicBezTo>
                  <a:pt x="268" y="227"/>
                  <a:pt x="269" y="227"/>
                  <a:pt x="270" y="227"/>
                </a:cubicBezTo>
                <a:cubicBezTo>
                  <a:pt x="271" y="227"/>
                  <a:pt x="273" y="227"/>
                  <a:pt x="273" y="226"/>
                </a:cubicBezTo>
                <a:cubicBezTo>
                  <a:pt x="275" y="224"/>
                  <a:pt x="275" y="221"/>
                  <a:pt x="273" y="219"/>
                </a:cubicBezTo>
                <a:cubicBezTo>
                  <a:pt x="217" y="162"/>
                  <a:pt x="217" y="162"/>
                  <a:pt x="217" y="162"/>
                </a:cubicBezTo>
                <a:cubicBezTo>
                  <a:pt x="217" y="162"/>
                  <a:pt x="217" y="162"/>
                  <a:pt x="217" y="162"/>
                </a:cubicBezTo>
                <a:cubicBezTo>
                  <a:pt x="216" y="161"/>
                  <a:pt x="215" y="161"/>
                  <a:pt x="213" y="161"/>
                </a:cubicBezTo>
                <a:cubicBezTo>
                  <a:pt x="212" y="161"/>
                  <a:pt x="211" y="161"/>
                  <a:pt x="210" y="162"/>
                </a:cubicBezTo>
                <a:cubicBezTo>
                  <a:pt x="153" y="219"/>
                  <a:pt x="153" y="219"/>
                  <a:pt x="153" y="219"/>
                </a:cubicBezTo>
                <a:cubicBezTo>
                  <a:pt x="151" y="221"/>
                  <a:pt x="151" y="224"/>
                  <a:pt x="153" y="226"/>
                </a:cubicBezTo>
                <a:cubicBezTo>
                  <a:pt x="155" y="228"/>
                  <a:pt x="158" y="228"/>
                  <a:pt x="160" y="226"/>
                </a:cubicBezTo>
                <a:cubicBezTo>
                  <a:pt x="209" y="177"/>
                  <a:pt x="209" y="177"/>
                  <a:pt x="209" y="177"/>
                </a:cubicBezTo>
                <a:cubicBezTo>
                  <a:pt x="209" y="257"/>
                  <a:pt x="209" y="257"/>
                  <a:pt x="209" y="257"/>
                </a:cubicBezTo>
                <a:cubicBezTo>
                  <a:pt x="77" y="257"/>
                  <a:pt x="77" y="257"/>
                  <a:pt x="77" y="257"/>
                </a:cubicBezTo>
                <a:cubicBezTo>
                  <a:pt x="39" y="257"/>
                  <a:pt x="10" y="226"/>
                  <a:pt x="10" y="186"/>
                </a:cubicBezTo>
                <a:cubicBezTo>
                  <a:pt x="10" y="149"/>
                  <a:pt x="39" y="117"/>
                  <a:pt x="76" y="115"/>
                </a:cubicBezTo>
                <a:cubicBezTo>
                  <a:pt x="78" y="115"/>
                  <a:pt x="80" y="113"/>
                  <a:pt x="80" y="110"/>
                </a:cubicBezTo>
                <a:cubicBezTo>
                  <a:pt x="80" y="79"/>
                  <a:pt x="105" y="55"/>
                  <a:pt x="138" y="55"/>
                </a:cubicBezTo>
                <a:cubicBezTo>
                  <a:pt x="145" y="55"/>
                  <a:pt x="153" y="56"/>
                  <a:pt x="161" y="59"/>
                </a:cubicBezTo>
                <a:cubicBezTo>
                  <a:pt x="163" y="60"/>
                  <a:pt x="166" y="59"/>
                  <a:pt x="167" y="57"/>
                </a:cubicBezTo>
                <a:cubicBezTo>
                  <a:pt x="185" y="27"/>
                  <a:pt x="215" y="9"/>
                  <a:pt x="248" y="9"/>
                </a:cubicBezTo>
                <a:cubicBezTo>
                  <a:pt x="300" y="9"/>
                  <a:pt x="343" y="56"/>
                  <a:pt x="345" y="112"/>
                </a:cubicBezTo>
                <a:cubicBezTo>
                  <a:pt x="345" y="115"/>
                  <a:pt x="346" y="116"/>
                  <a:pt x="349" y="117"/>
                </a:cubicBezTo>
                <a:cubicBezTo>
                  <a:pt x="382" y="122"/>
                  <a:pt x="407" y="151"/>
                  <a:pt x="407" y="186"/>
                </a:cubicBezTo>
                <a:cubicBezTo>
                  <a:pt x="407" y="224"/>
                  <a:pt x="379" y="255"/>
                  <a:pt x="344" y="257"/>
                </a:cubicBez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19" name="Oval 16"/>
          <p:cNvSpPr>
            <a:spLocks noChangeArrowheads="1"/>
          </p:cNvSpPr>
          <p:nvPr/>
        </p:nvSpPr>
        <p:spPr bwMode="auto">
          <a:xfrm>
            <a:off x="3073678" y="3120088"/>
            <a:ext cx="1119124" cy="1119124"/>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1026" name="Freeform 39"/>
          <p:cNvSpPr>
            <a:spLocks noEditPoints="1"/>
          </p:cNvSpPr>
          <p:nvPr/>
        </p:nvSpPr>
        <p:spPr bwMode="auto">
          <a:xfrm>
            <a:off x="3422366" y="3367970"/>
            <a:ext cx="421747" cy="622695"/>
          </a:xfrm>
          <a:custGeom>
            <a:avLst/>
            <a:gdLst>
              <a:gd name="T0" fmla="*/ 267 w 269"/>
              <a:gd name="T1" fmla="*/ 192 h 397"/>
              <a:gd name="T2" fmla="*/ 8 w 269"/>
              <a:gd name="T3" fmla="*/ 1 h 397"/>
              <a:gd name="T4" fmla="*/ 3 w 269"/>
              <a:gd name="T5" fmla="*/ 1 h 397"/>
              <a:gd name="T6" fmla="*/ 0 w 269"/>
              <a:gd name="T7" fmla="*/ 5 h 397"/>
              <a:gd name="T8" fmla="*/ 34 w 269"/>
              <a:gd name="T9" fmla="*/ 325 h 397"/>
              <a:gd name="T10" fmla="*/ 36 w 269"/>
              <a:gd name="T11" fmla="*/ 329 h 397"/>
              <a:gd name="T12" fmla="*/ 41 w 269"/>
              <a:gd name="T13" fmla="*/ 329 h 397"/>
              <a:gd name="T14" fmla="*/ 109 w 269"/>
              <a:gd name="T15" fmla="*/ 290 h 397"/>
              <a:gd name="T16" fmla="*/ 169 w 269"/>
              <a:gd name="T17" fmla="*/ 395 h 397"/>
              <a:gd name="T18" fmla="*/ 172 w 269"/>
              <a:gd name="T19" fmla="*/ 397 h 397"/>
              <a:gd name="T20" fmla="*/ 173 w 269"/>
              <a:gd name="T21" fmla="*/ 397 h 397"/>
              <a:gd name="T22" fmla="*/ 175 w 269"/>
              <a:gd name="T23" fmla="*/ 396 h 397"/>
              <a:gd name="T24" fmla="*/ 256 w 269"/>
              <a:gd name="T25" fmla="*/ 350 h 397"/>
              <a:gd name="T26" fmla="*/ 259 w 269"/>
              <a:gd name="T27" fmla="*/ 347 h 397"/>
              <a:gd name="T28" fmla="*/ 258 w 269"/>
              <a:gd name="T29" fmla="*/ 344 h 397"/>
              <a:gd name="T30" fmla="*/ 198 w 269"/>
              <a:gd name="T31" fmla="*/ 239 h 397"/>
              <a:gd name="T32" fmla="*/ 267 w 269"/>
              <a:gd name="T33" fmla="*/ 200 h 397"/>
              <a:gd name="T34" fmla="*/ 269 w 269"/>
              <a:gd name="T35" fmla="*/ 196 h 397"/>
              <a:gd name="T36" fmla="*/ 267 w 269"/>
              <a:gd name="T37" fmla="*/ 192 h 397"/>
              <a:gd name="T38" fmla="*/ 189 w 269"/>
              <a:gd name="T39" fmla="*/ 233 h 397"/>
              <a:gd name="T40" fmla="*/ 188 w 269"/>
              <a:gd name="T41" fmla="*/ 239 h 397"/>
              <a:gd name="T42" fmla="*/ 248 w 269"/>
              <a:gd name="T43" fmla="*/ 344 h 397"/>
              <a:gd name="T44" fmla="*/ 175 w 269"/>
              <a:gd name="T45" fmla="*/ 386 h 397"/>
              <a:gd name="T46" fmla="*/ 115 w 269"/>
              <a:gd name="T47" fmla="*/ 281 h 397"/>
              <a:gd name="T48" fmla="*/ 112 w 269"/>
              <a:gd name="T49" fmla="*/ 279 h 397"/>
              <a:gd name="T50" fmla="*/ 111 w 269"/>
              <a:gd name="T51" fmla="*/ 279 h 397"/>
              <a:gd name="T52" fmla="*/ 109 w 269"/>
              <a:gd name="T53" fmla="*/ 279 h 397"/>
              <a:gd name="T54" fmla="*/ 42 w 269"/>
              <a:gd name="T55" fmla="*/ 317 h 397"/>
              <a:gd name="T56" fmla="*/ 11 w 269"/>
              <a:gd name="T57" fmla="*/ 15 h 397"/>
              <a:gd name="T58" fmla="*/ 256 w 269"/>
              <a:gd name="T59" fmla="*/ 195 h 397"/>
              <a:gd name="T60" fmla="*/ 189 w 269"/>
              <a:gd name="T61" fmla="*/ 233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69" h="397">
                <a:moveTo>
                  <a:pt x="267" y="192"/>
                </a:moveTo>
                <a:cubicBezTo>
                  <a:pt x="8" y="1"/>
                  <a:pt x="8" y="1"/>
                  <a:pt x="8" y="1"/>
                </a:cubicBezTo>
                <a:cubicBezTo>
                  <a:pt x="6" y="0"/>
                  <a:pt x="4" y="0"/>
                  <a:pt x="3" y="1"/>
                </a:cubicBezTo>
                <a:cubicBezTo>
                  <a:pt x="1" y="2"/>
                  <a:pt x="0" y="3"/>
                  <a:pt x="0" y="5"/>
                </a:cubicBezTo>
                <a:cubicBezTo>
                  <a:pt x="34" y="325"/>
                  <a:pt x="34" y="325"/>
                  <a:pt x="34" y="325"/>
                </a:cubicBezTo>
                <a:cubicBezTo>
                  <a:pt x="34" y="327"/>
                  <a:pt x="35" y="328"/>
                  <a:pt x="36" y="329"/>
                </a:cubicBezTo>
                <a:cubicBezTo>
                  <a:pt x="38" y="330"/>
                  <a:pt x="39" y="330"/>
                  <a:pt x="41" y="329"/>
                </a:cubicBezTo>
                <a:cubicBezTo>
                  <a:pt x="109" y="290"/>
                  <a:pt x="109" y="290"/>
                  <a:pt x="109" y="290"/>
                </a:cubicBezTo>
                <a:cubicBezTo>
                  <a:pt x="169" y="395"/>
                  <a:pt x="169" y="395"/>
                  <a:pt x="169" y="395"/>
                </a:cubicBezTo>
                <a:cubicBezTo>
                  <a:pt x="170" y="396"/>
                  <a:pt x="171" y="396"/>
                  <a:pt x="172" y="397"/>
                </a:cubicBezTo>
                <a:cubicBezTo>
                  <a:pt x="172" y="397"/>
                  <a:pt x="173" y="397"/>
                  <a:pt x="173" y="397"/>
                </a:cubicBezTo>
                <a:cubicBezTo>
                  <a:pt x="174" y="397"/>
                  <a:pt x="175" y="397"/>
                  <a:pt x="175" y="396"/>
                </a:cubicBezTo>
                <a:cubicBezTo>
                  <a:pt x="256" y="350"/>
                  <a:pt x="256" y="350"/>
                  <a:pt x="256" y="350"/>
                </a:cubicBezTo>
                <a:cubicBezTo>
                  <a:pt x="258" y="349"/>
                  <a:pt x="258" y="348"/>
                  <a:pt x="259" y="347"/>
                </a:cubicBezTo>
                <a:cubicBezTo>
                  <a:pt x="259" y="346"/>
                  <a:pt x="259" y="345"/>
                  <a:pt x="258" y="344"/>
                </a:cubicBezTo>
                <a:cubicBezTo>
                  <a:pt x="198" y="239"/>
                  <a:pt x="198" y="239"/>
                  <a:pt x="198" y="239"/>
                </a:cubicBezTo>
                <a:cubicBezTo>
                  <a:pt x="267" y="200"/>
                  <a:pt x="267" y="200"/>
                  <a:pt x="267" y="200"/>
                </a:cubicBezTo>
                <a:cubicBezTo>
                  <a:pt x="268" y="199"/>
                  <a:pt x="269" y="197"/>
                  <a:pt x="269" y="196"/>
                </a:cubicBezTo>
                <a:cubicBezTo>
                  <a:pt x="269" y="194"/>
                  <a:pt x="268" y="193"/>
                  <a:pt x="267" y="192"/>
                </a:cubicBezTo>
                <a:close/>
                <a:moveTo>
                  <a:pt x="189" y="233"/>
                </a:moveTo>
                <a:cubicBezTo>
                  <a:pt x="187" y="234"/>
                  <a:pt x="186" y="237"/>
                  <a:pt x="188" y="239"/>
                </a:cubicBezTo>
                <a:cubicBezTo>
                  <a:pt x="248" y="344"/>
                  <a:pt x="248" y="344"/>
                  <a:pt x="248" y="344"/>
                </a:cubicBezTo>
                <a:cubicBezTo>
                  <a:pt x="175" y="386"/>
                  <a:pt x="175" y="386"/>
                  <a:pt x="175" y="386"/>
                </a:cubicBezTo>
                <a:cubicBezTo>
                  <a:pt x="115" y="281"/>
                  <a:pt x="115" y="281"/>
                  <a:pt x="115" y="281"/>
                </a:cubicBezTo>
                <a:cubicBezTo>
                  <a:pt x="114" y="280"/>
                  <a:pt x="113" y="279"/>
                  <a:pt x="112" y="279"/>
                </a:cubicBezTo>
                <a:cubicBezTo>
                  <a:pt x="112" y="279"/>
                  <a:pt x="111" y="279"/>
                  <a:pt x="111" y="279"/>
                </a:cubicBezTo>
                <a:cubicBezTo>
                  <a:pt x="110" y="279"/>
                  <a:pt x="109" y="279"/>
                  <a:pt x="109" y="279"/>
                </a:cubicBezTo>
                <a:cubicBezTo>
                  <a:pt x="42" y="317"/>
                  <a:pt x="42" y="317"/>
                  <a:pt x="42" y="317"/>
                </a:cubicBezTo>
                <a:cubicBezTo>
                  <a:pt x="11" y="15"/>
                  <a:pt x="11" y="15"/>
                  <a:pt x="11" y="15"/>
                </a:cubicBezTo>
                <a:cubicBezTo>
                  <a:pt x="256" y="195"/>
                  <a:pt x="256" y="195"/>
                  <a:pt x="256" y="195"/>
                </a:cubicBezTo>
                <a:lnTo>
                  <a:pt x="189" y="233"/>
                </a:ln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20" name="Oval 17"/>
          <p:cNvSpPr>
            <a:spLocks noChangeArrowheads="1"/>
          </p:cNvSpPr>
          <p:nvPr/>
        </p:nvSpPr>
        <p:spPr bwMode="auto">
          <a:xfrm>
            <a:off x="1315706" y="3120088"/>
            <a:ext cx="1119124" cy="1119124"/>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3072" name="Freeform 40"/>
          <p:cNvSpPr>
            <a:spLocks noEditPoints="1"/>
          </p:cNvSpPr>
          <p:nvPr/>
        </p:nvSpPr>
        <p:spPr bwMode="auto">
          <a:xfrm>
            <a:off x="1653104" y="3389901"/>
            <a:ext cx="444329" cy="578834"/>
          </a:xfrm>
          <a:custGeom>
            <a:avLst/>
            <a:gdLst>
              <a:gd name="T0" fmla="*/ 283 w 283"/>
              <a:gd name="T1" fmla="*/ 46 h 369"/>
              <a:gd name="T2" fmla="*/ 0 w 283"/>
              <a:gd name="T3" fmla="*/ 46 h 369"/>
              <a:gd name="T4" fmla="*/ 10 w 283"/>
              <a:gd name="T5" fmla="*/ 133 h 369"/>
              <a:gd name="T6" fmla="*/ 0 w 283"/>
              <a:gd name="T7" fmla="*/ 219 h 369"/>
              <a:gd name="T8" fmla="*/ 0 w 283"/>
              <a:gd name="T9" fmla="*/ 253 h 369"/>
              <a:gd name="T10" fmla="*/ 142 w 283"/>
              <a:gd name="T11" fmla="*/ 369 h 369"/>
              <a:gd name="T12" fmla="*/ 283 w 283"/>
              <a:gd name="T13" fmla="*/ 253 h 369"/>
              <a:gd name="T14" fmla="*/ 283 w 283"/>
              <a:gd name="T15" fmla="*/ 219 h 369"/>
              <a:gd name="T16" fmla="*/ 274 w 283"/>
              <a:gd name="T17" fmla="*/ 133 h 369"/>
              <a:gd name="T18" fmla="*/ 274 w 283"/>
              <a:gd name="T19" fmla="*/ 323 h 369"/>
              <a:gd name="T20" fmla="*/ 10 w 283"/>
              <a:gd name="T21" fmla="*/ 323 h 369"/>
              <a:gd name="T22" fmla="*/ 142 w 283"/>
              <a:gd name="T23" fmla="*/ 299 h 369"/>
              <a:gd name="T24" fmla="*/ 274 w 283"/>
              <a:gd name="T25" fmla="*/ 323 h 369"/>
              <a:gd name="T26" fmla="*/ 10 w 283"/>
              <a:gd name="T27" fmla="*/ 253 h 369"/>
              <a:gd name="T28" fmla="*/ 142 w 283"/>
              <a:gd name="T29" fmla="*/ 265 h 369"/>
              <a:gd name="T30" fmla="*/ 274 w 283"/>
              <a:gd name="T31" fmla="*/ 253 h 369"/>
              <a:gd name="T32" fmla="*/ 274 w 283"/>
              <a:gd name="T33" fmla="*/ 219 h 369"/>
              <a:gd name="T34" fmla="*/ 263 w 283"/>
              <a:gd name="T35" fmla="*/ 233 h 369"/>
              <a:gd name="T36" fmla="*/ 20 w 283"/>
              <a:gd name="T37" fmla="*/ 233 h 369"/>
              <a:gd name="T38" fmla="*/ 10 w 283"/>
              <a:gd name="T39" fmla="*/ 219 h 369"/>
              <a:gd name="T40" fmla="*/ 142 w 283"/>
              <a:gd name="T41" fmla="*/ 195 h 369"/>
              <a:gd name="T42" fmla="*/ 274 w 283"/>
              <a:gd name="T43" fmla="*/ 219 h 369"/>
              <a:gd name="T44" fmla="*/ 10 w 283"/>
              <a:gd name="T45" fmla="*/ 150 h 369"/>
              <a:gd name="T46" fmla="*/ 142 w 283"/>
              <a:gd name="T47" fmla="*/ 161 h 369"/>
              <a:gd name="T48" fmla="*/ 274 w 283"/>
              <a:gd name="T49" fmla="*/ 150 h 369"/>
              <a:gd name="T50" fmla="*/ 274 w 283"/>
              <a:gd name="T51" fmla="*/ 115 h 369"/>
              <a:gd name="T52" fmla="*/ 263 w 283"/>
              <a:gd name="T53" fmla="*/ 129 h 369"/>
              <a:gd name="T54" fmla="*/ 21 w 283"/>
              <a:gd name="T55" fmla="*/ 129 h 369"/>
              <a:gd name="T56" fmla="*/ 10 w 283"/>
              <a:gd name="T57" fmla="*/ 115 h 369"/>
              <a:gd name="T58" fmla="*/ 142 w 283"/>
              <a:gd name="T59" fmla="*/ 92 h 369"/>
              <a:gd name="T60" fmla="*/ 274 w 283"/>
              <a:gd name="T61" fmla="*/ 115 h 369"/>
              <a:gd name="T62" fmla="*/ 10 w 283"/>
              <a:gd name="T63" fmla="*/ 46 h 369"/>
              <a:gd name="T64" fmla="*/ 274 w 283"/>
              <a:gd name="T65" fmla="*/ 46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83" h="369">
                <a:moveTo>
                  <a:pt x="283" y="115"/>
                </a:moveTo>
                <a:cubicBezTo>
                  <a:pt x="283" y="46"/>
                  <a:pt x="283" y="46"/>
                  <a:pt x="283" y="46"/>
                </a:cubicBezTo>
                <a:cubicBezTo>
                  <a:pt x="283" y="16"/>
                  <a:pt x="210" y="0"/>
                  <a:pt x="142" y="0"/>
                </a:cubicBezTo>
                <a:cubicBezTo>
                  <a:pt x="73" y="0"/>
                  <a:pt x="0" y="16"/>
                  <a:pt x="0" y="46"/>
                </a:cubicBezTo>
                <a:cubicBezTo>
                  <a:pt x="0" y="115"/>
                  <a:pt x="0" y="115"/>
                  <a:pt x="0" y="115"/>
                </a:cubicBezTo>
                <a:cubicBezTo>
                  <a:pt x="0" y="122"/>
                  <a:pt x="4" y="128"/>
                  <a:pt x="10" y="133"/>
                </a:cubicBezTo>
                <a:cubicBezTo>
                  <a:pt x="3" y="138"/>
                  <a:pt x="0" y="144"/>
                  <a:pt x="0" y="150"/>
                </a:cubicBezTo>
                <a:cubicBezTo>
                  <a:pt x="0" y="219"/>
                  <a:pt x="0" y="219"/>
                  <a:pt x="0" y="219"/>
                </a:cubicBezTo>
                <a:cubicBezTo>
                  <a:pt x="0" y="226"/>
                  <a:pt x="4" y="231"/>
                  <a:pt x="10" y="236"/>
                </a:cubicBezTo>
                <a:cubicBezTo>
                  <a:pt x="3" y="242"/>
                  <a:pt x="0" y="247"/>
                  <a:pt x="0" y="253"/>
                </a:cubicBezTo>
                <a:cubicBezTo>
                  <a:pt x="0" y="323"/>
                  <a:pt x="0" y="323"/>
                  <a:pt x="0" y="323"/>
                </a:cubicBezTo>
                <a:cubicBezTo>
                  <a:pt x="0" y="353"/>
                  <a:pt x="73" y="369"/>
                  <a:pt x="142" y="369"/>
                </a:cubicBezTo>
                <a:cubicBezTo>
                  <a:pt x="210" y="369"/>
                  <a:pt x="283" y="353"/>
                  <a:pt x="283" y="323"/>
                </a:cubicBezTo>
                <a:cubicBezTo>
                  <a:pt x="283" y="253"/>
                  <a:pt x="283" y="253"/>
                  <a:pt x="283" y="253"/>
                </a:cubicBezTo>
                <a:cubicBezTo>
                  <a:pt x="283" y="247"/>
                  <a:pt x="280" y="242"/>
                  <a:pt x="274" y="236"/>
                </a:cubicBezTo>
                <a:cubicBezTo>
                  <a:pt x="280" y="231"/>
                  <a:pt x="283" y="226"/>
                  <a:pt x="283" y="219"/>
                </a:cubicBezTo>
                <a:cubicBezTo>
                  <a:pt x="283" y="150"/>
                  <a:pt x="283" y="150"/>
                  <a:pt x="283" y="150"/>
                </a:cubicBezTo>
                <a:cubicBezTo>
                  <a:pt x="283" y="144"/>
                  <a:pt x="280" y="138"/>
                  <a:pt x="274" y="133"/>
                </a:cubicBezTo>
                <a:cubicBezTo>
                  <a:pt x="280" y="128"/>
                  <a:pt x="283" y="122"/>
                  <a:pt x="283" y="115"/>
                </a:cubicBezTo>
                <a:close/>
                <a:moveTo>
                  <a:pt x="274" y="323"/>
                </a:moveTo>
                <a:cubicBezTo>
                  <a:pt x="274" y="340"/>
                  <a:pt x="220" y="359"/>
                  <a:pt x="142" y="359"/>
                </a:cubicBezTo>
                <a:cubicBezTo>
                  <a:pt x="64" y="359"/>
                  <a:pt x="10" y="340"/>
                  <a:pt x="10" y="323"/>
                </a:cubicBezTo>
                <a:cubicBezTo>
                  <a:pt x="10" y="271"/>
                  <a:pt x="10" y="271"/>
                  <a:pt x="10" y="271"/>
                </a:cubicBezTo>
                <a:cubicBezTo>
                  <a:pt x="31" y="289"/>
                  <a:pt x="88" y="299"/>
                  <a:pt x="142" y="299"/>
                </a:cubicBezTo>
                <a:cubicBezTo>
                  <a:pt x="196" y="299"/>
                  <a:pt x="252" y="289"/>
                  <a:pt x="274" y="271"/>
                </a:cubicBezTo>
                <a:lnTo>
                  <a:pt x="274" y="323"/>
                </a:lnTo>
                <a:close/>
                <a:moveTo>
                  <a:pt x="142" y="290"/>
                </a:moveTo>
                <a:cubicBezTo>
                  <a:pt x="64" y="290"/>
                  <a:pt x="10" y="271"/>
                  <a:pt x="10" y="253"/>
                </a:cubicBezTo>
                <a:cubicBezTo>
                  <a:pt x="10" y="249"/>
                  <a:pt x="14" y="245"/>
                  <a:pt x="18" y="242"/>
                </a:cubicBezTo>
                <a:cubicBezTo>
                  <a:pt x="43" y="257"/>
                  <a:pt x="94" y="265"/>
                  <a:pt x="142" y="265"/>
                </a:cubicBezTo>
                <a:cubicBezTo>
                  <a:pt x="190" y="265"/>
                  <a:pt x="240" y="257"/>
                  <a:pt x="266" y="242"/>
                </a:cubicBezTo>
                <a:cubicBezTo>
                  <a:pt x="270" y="245"/>
                  <a:pt x="274" y="249"/>
                  <a:pt x="274" y="253"/>
                </a:cubicBezTo>
                <a:cubicBezTo>
                  <a:pt x="274" y="271"/>
                  <a:pt x="220" y="290"/>
                  <a:pt x="142" y="290"/>
                </a:cubicBezTo>
                <a:close/>
                <a:moveTo>
                  <a:pt x="274" y="219"/>
                </a:moveTo>
                <a:cubicBezTo>
                  <a:pt x="274" y="223"/>
                  <a:pt x="271" y="228"/>
                  <a:pt x="264" y="232"/>
                </a:cubicBezTo>
                <a:cubicBezTo>
                  <a:pt x="264" y="232"/>
                  <a:pt x="264" y="232"/>
                  <a:pt x="263" y="233"/>
                </a:cubicBezTo>
                <a:cubicBezTo>
                  <a:pt x="244" y="245"/>
                  <a:pt x="199" y="255"/>
                  <a:pt x="142" y="255"/>
                </a:cubicBezTo>
                <a:cubicBezTo>
                  <a:pt x="84" y="255"/>
                  <a:pt x="40" y="245"/>
                  <a:pt x="20" y="233"/>
                </a:cubicBezTo>
                <a:cubicBezTo>
                  <a:pt x="20" y="232"/>
                  <a:pt x="20" y="232"/>
                  <a:pt x="19" y="232"/>
                </a:cubicBezTo>
                <a:cubicBezTo>
                  <a:pt x="13" y="228"/>
                  <a:pt x="10" y="223"/>
                  <a:pt x="10" y="219"/>
                </a:cubicBezTo>
                <a:cubicBezTo>
                  <a:pt x="10" y="167"/>
                  <a:pt x="10" y="167"/>
                  <a:pt x="10" y="167"/>
                </a:cubicBezTo>
                <a:cubicBezTo>
                  <a:pt x="31" y="186"/>
                  <a:pt x="88" y="195"/>
                  <a:pt x="142" y="195"/>
                </a:cubicBezTo>
                <a:cubicBezTo>
                  <a:pt x="196" y="195"/>
                  <a:pt x="252" y="186"/>
                  <a:pt x="274" y="167"/>
                </a:cubicBezTo>
                <a:lnTo>
                  <a:pt x="274" y="219"/>
                </a:lnTo>
                <a:close/>
                <a:moveTo>
                  <a:pt x="142" y="186"/>
                </a:moveTo>
                <a:cubicBezTo>
                  <a:pt x="64" y="186"/>
                  <a:pt x="10" y="167"/>
                  <a:pt x="10" y="150"/>
                </a:cubicBezTo>
                <a:cubicBezTo>
                  <a:pt x="10" y="145"/>
                  <a:pt x="14" y="141"/>
                  <a:pt x="18" y="138"/>
                </a:cubicBezTo>
                <a:cubicBezTo>
                  <a:pt x="43" y="153"/>
                  <a:pt x="94" y="161"/>
                  <a:pt x="142" y="161"/>
                </a:cubicBezTo>
                <a:cubicBezTo>
                  <a:pt x="190" y="161"/>
                  <a:pt x="240" y="153"/>
                  <a:pt x="266" y="138"/>
                </a:cubicBezTo>
                <a:cubicBezTo>
                  <a:pt x="270" y="141"/>
                  <a:pt x="274" y="145"/>
                  <a:pt x="274" y="150"/>
                </a:cubicBezTo>
                <a:cubicBezTo>
                  <a:pt x="274" y="167"/>
                  <a:pt x="220" y="186"/>
                  <a:pt x="142" y="186"/>
                </a:cubicBezTo>
                <a:close/>
                <a:moveTo>
                  <a:pt x="274" y="115"/>
                </a:moveTo>
                <a:cubicBezTo>
                  <a:pt x="274" y="120"/>
                  <a:pt x="271" y="124"/>
                  <a:pt x="264" y="128"/>
                </a:cubicBezTo>
                <a:cubicBezTo>
                  <a:pt x="264" y="128"/>
                  <a:pt x="263" y="129"/>
                  <a:pt x="263" y="129"/>
                </a:cubicBezTo>
                <a:cubicBezTo>
                  <a:pt x="243" y="142"/>
                  <a:pt x="199" y="152"/>
                  <a:pt x="142" y="152"/>
                </a:cubicBezTo>
                <a:cubicBezTo>
                  <a:pt x="85" y="152"/>
                  <a:pt x="40" y="142"/>
                  <a:pt x="21" y="129"/>
                </a:cubicBezTo>
                <a:cubicBezTo>
                  <a:pt x="20" y="129"/>
                  <a:pt x="20" y="128"/>
                  <a:pt x="19" y="128"/>
                </a:cubicBezTo>
                <a:cubicBezTo>
                  <a:pt x="13" y="124"/>
                  <a:pt x="10" y="120"/>
                  <a:pt x="10" y="115"/>
                </a:cubicBezTo>
                <a:cubicBezTo>
                  <a:pt x="10" y="63"/>
                  <a:pt x="10" y="63"/>
                  <a:pt x="10" y="63"/>
                </a:cubicBezTo>
                <a:cubicBezTo>
                  <a:pt x="31" y="82"/>
                  <a:pt x="88" y="92"/>
                  <a:pt x="142" y="92"/>
                </a:cubicBezTo>
                <a:cubicBezTo>
                  <a:pt x="196" y="92"/>
                  <a:pt x="252" y="82"/>
                  <a:pt x="274" y="63"/>
                </a:cubicBezTo>
                <a:lnTo>
                  <a:pt x="274" y="115"/>
                </a:lnTo>
                <a:close/>
                <a:moveTo>
                  <a:pt x="142" y="82"/>
                </a:moveTo>
                <a:cubicBezTo>
                  <a:pt x="64" y="82"/>
                  <a:pt x="10" y="63"/>
                  <a:pt x="10" y="46"/>
                </a:cubicBezTo>
                <a:cubicBezTo>
                  <a:pt x="10" y="29"/>
                  <a:pt x="64" y="10"/>
                  <a:pt x="142" y="10"/>
                </a:cubicBezTo>
                <a:cubicBezTo>
                  <a:pt x="220" y="10"/>
                  <a:pt x="274" y="29"/>
                  <a:pt x="274" y="46"/>
                </a:cubicBezTo>
                <a:cubicBezTo>
                  <a:pt x="274" y="63"/>
                  <a:pt x="220" y="82"/>
                  <a:pt x="142" y="82"/>
                </a:cubicBez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26" name="Oval 23"/>
          <p:cNvSpPr>
            <a:spLocks noChangeArrowheads="1"/>
          </p:cNvSpPr>
          <p:nvPr/>
        </p:nvSpPr>
        <p:spPr bwMode="auto">
          <a:xfrm>
            <a:off x="1315706" y="1528549"/>
            <a:ext cx="1119124" cy="1119124"/>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3073" name="Freeform 41"/>
          <p:cNvSpPr>
            <a:spLocks noEditPoints="1"/>
          </p:cNvSpPr>
          <p:nvPr/>
        </p:nvSpPr>
        <p:spPr bwMode="auto">
          <a:xfrm>
            <a:off x="1618567" y="1775103"/>
            <a:ext cx="513402" cy="624689"/>
          </a:xfrm>
          <a:custGeom>
            <a:avLst/>
            <a:gdLst>
              <a:gd name="T0" fmla="*/ 248 w 327"/>
              <a:gd name="T1" fmla="*/ 2 h 398"/>
              <a:gd name="T2" fmla="*/ 248 w 327"/>
              <a:gd name="T3" fmla="*/ 2 h 398"/>
              <a:gd name="T4" fmla="*/ 247 w 327"/>
              <a:gd name="T5" fmla="*/ 1 h 398"/>
              <a:gd name="T6" fmla="*/ 246 w 327"/>
              <a:gd name="T7" fmla="*/ 0 h 398"/>
              <a:gd name="T8" fmla="*/ 5 w 327"/>
              <a:gd name="T9" fmla="*/ 7 h 398"/>
              <a:gd name="T10" fmla="*/ 0 w 327"/>
              <a:gd name="T11" fmla="*/ 387 h 398"/>
              <a:gd name="T12" fmla="*/ 244 w 327"/>
              <a:gd name="T13" fmla="*/ 398 h 398"/>
              <a:gd name="T14" fmla="*/ 245 w 327"/>
              <a:gd name="T15" fmla="*/ 398 h 398"/>
              <a:gd name="T16" fmla="*/ 246 w 327"/>
              <a:gd name="T17" fmla="*/ 398 h 398"/>
              <a:gd name="T18" fmla="*/ 247 w 327"/>
              <a:gd name="T19" fmla="*/ 398 h 398"/>
              <a:gd name="T20" fmla="*/ 247 w 327"/>
              <a:gd name="T21" fmla="*/ 397 h 398"/>
              <a:gd name="T22" fmla="*/ 248 w 327"/>
              <a:gd name="T23" fmla="*/ 397 h 398"/>
              <a:gd name="T24" fmla="*/ 326 w 327"/>
              <a:gd name="T25" fmla="*/ 319 h 398"/>
              <a:gd name="T26" fmla="*/ 327 w 327"/>
              <a:gd name="T27" fmla="*/ 83 h 398"/>
              <a:gd name="T28" fmla="*/ 240 w 327"/>
              <a:gd name="T29" fmla="*/ 389 h 398"/>
              <a:gd name="T30" fmla="*/ 10 w 327"/>
              <a:gd name="T31" fmla="*/ 16 h 398"/>
              <a:gd name="T32" fmla="*/ 240 w 327"/>
              <a:gd name="T33" fmla="*/ 389 h 398"/>
              <a:gd name="T34" fmla="*/ 249 w 327"/>
              <a:gd name="T35" fmla="*/ 382 h 398"/>
              <a:gd name="T36" fmla="*/ 318 w 327"/>
              <a:gd name="T37" fmla="*/ 85 h 398"/>
              <a:gd name="T38" fmla="*/ 50 w 327"/>
              <a:gd name="T39" fmla="*/ 175 h 398"/>
              <a:gd name="T40" fmla="*/ 197 w 327"/>
              <a:gd name="T41" fmla="*/ 175 h 398"/>
              <a:gd name="T42" fmla="*/ 202 w 327"/>
              <a:gd name="T43" fmla="*/ 111 h 398"/>
              <a:gd name="T44" fmla="*/ 200 w 327"/>
              <a:gd name="T45" fmla="*/ 49 h 398"/>
              <a:gd name="T46" fmla="*/ 50 w 327"/>
              <a:gd name="T47" fmla="*/ 51 h 398"/>
              <a:gd name="T48" fmla="*/ 45 w 327"/>
              <a:gd name="T49" fmla="*/ 113 h 398"/>
              <a:gd name="T50" fmla="*/ 46 w 327"/>
              <a:gd name="T51" fmla="*/ 174 h 398"/>
              <a:gd name="T52" fmla="*/ 54 w 327"/>
              <a:gd name="T53" fmla="*/ 60 h 398"/>
              <a:gd name="T54" fmla="*/ 192 w 327"/>
              <a:gd name="T55" fmla="*/ 107 h 398"/>
              <a:gd name="T56" fmla="*/ 54 w 327"/>
              <a:gd name="T57" fmla="*/ 60 h 398"/>
              <a:gd name="T58" fmla="*/ 192 w 327"/>
              <a:gd name="T59" fmla="*/ 116 h 398"/>
              <a:gd name="T60" fmla="*/ 54 w 327"/>
              <a:gd name="T61" fmla="*/ 166 h 398"/>
              <a:gd name="T62" fmla="*/ 123 w 327"/>
              <a:gd name="T63" fmla="*/ 224 h 398"/>
              <a:gd name="T64" fmla="*/ 123 w 327"/>
              <a:gd name="T65" fmla="*/ 278 h 398"/>
              <a:gd name="T66" fmla="*/ 150 w 327"/>
              <a:gd name="T67" fmla="*/ 251 h 398"/>
              <a:gd name="T68" fmla="*/ 123 w 327"/>
              <a:gd name="T69" fmla="*/ 269 h 398"/>
              <a:gd name="T70" fmla="*/ 123 w 327"/>
              <a:gd name="T71" fmla="*/ 269 h 398"/>
              <a:gd name="T72" fmla="*/ 123 w 327"/>
              <a:gd name="T73" fmla="*/ 233 h 398"/>
              <a:gd name="T74" fmla="*/ 123 w 327"/>
              <a:gd name="T75" fmla="*/ 269 h 398"/>
              <a:gd name="T76" fmla="*/ 122 w 327"/>
              <a:gd name="T77" fmla="*/ 288 h 398"/>
              <a:gd name="T78" fmla="*/ 123 w 327"/>
              <a:gd name="T79" fmla="*/ 342 h 398"/>
              <a:gd name="T80" fmla="*/ 150 w 327"/>
              <a:gd name="T81" fmla="*/ 315 h 398"/>
              <a:gd name="T82" fmla="*/ 123 w 327"/>
              <a:gd name="T83" fmla="*/ 332 h 398"/>
              <a:gd name="T84" fmla="*/ 105 w 327"/>
              <a:gd name="T85" fmla="*/ 314 h 398"/>
              <a:gd name="T86" fmla="*/ 123 w 327"/>
              <a:gd name="T87" fmla="*/ 297 h 398"/>
              <a:gd name="T88" fmla="*/ 123 w 327"/>
              <a:gd name="T89" fmla="*/ 332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27" h="398">
                <a:moveTo>
                  <a:pt x="326" y="80"/>
                </a:moveTo>
                <a:cubicBezTo>
                  <a:pt x="248" y="2"/>
                  <a:pt x="248" y="2"/>
                  <a:pt x="248" y="2"/>
                </a:cubicBezTo>
                <a:cubicBezTo>
                  <a:pt x="248" y="2"/>
                  <a:pt x="248" y="2"/>
                  <a:pt x="248" y="2"/>
                </a:cubicBezTo>
                <a:cubicBezTo>
                  <a:pt x="248" y="2"/>
                  <a:pt x="248" y="2"/>
                  <a:pt x="248" y="2"/>
                </a:cubicBezTo>
                <a:cubicBezTo>
                  <a:pt x="248" y="1"/>
                  <a:pt x="247" y="1"/>
                  <a:pt x="247" y="1"/>
                </a:cubicBezTo>
                <a:cubicBezTo>
                  <a:pt x="247" y="1"/>
                  <a:pt x="247" y="1"/>
                  <a:pt x="247" y="1"/>
                </a:cubicBezTo>
                <a:cubicBezTo>
                  <a:pt x="246" y="1"/>
                  <a:pt x="246" y="0"/>
                  <a:pt x="246" y="0"/>
                </a:cubicBezTo>
                <a:cubicBezTo>
                  <a:pt x="246" y="0"/>
                  <a:pt x="246" y="0"/>
                  <a:pt x="246" y="0"/>
                </a:cubicBezTo>
                <a:cubicBezTo>
                  <a:pt x="245" y="0"/>
                  <a:pt x="245" y="0"/>
                  <a:pt x="244" y="0"/>
                </a:cubicBezTo>
                <a:cubicBezTo>
                  <a:pt x="5" y="7"/>
                  <a:pt x="5" y="7"/>
                  <a:pt x="5" y="7"/>
                </a:cubicBezTo>
                <a:cubicBezTo>
                  <a:pt x="2" y="7"/>
                  <a:pt x="0" y="9"/>
                  <a:pt x="0" y="12"/>
                </a:cubicBezTo>
                <a:cubicBezTo>
                  <a:pt x="0" y="387"/>
                  <a:pt x="0" y="387"/>
                  <a:pt x="0" y="387"/>
                </a:cubicBezTo>
                <a:cubicBezTo>
                  <a:pt x="0" y="389"/>
                  <a:pt x="2" y="392"/>
                  <a:pt x="5" y="392"/>
                </a:cubicBezTo>
                <a:cubicBezTo>
                  <a:pt x="244" y="398"/>
                  <a:pt x="244" y="398"/>
                  <a:pt x="244" y="398"/>
                </a:cubicBezTo>
                <a:cubicBezTo>
                  <a:pt x="245" y="398"/>
                  <a:pt x="245" y="398"/>
                  <a:pt x="245" y="398"/>
                </a:cubicBezTo>
                <a:cubicBezTo>
                  <a:pt x="245" y="398"/>
                  <a:pt x="245" y="398"/>
                  <a:pt x="245" y="398"/>
                </a:cubicBezTo>
                <a:cubicBezTo>
                  <a:pt x="245" y="398"/>
                  <a:pt x="245" y="398"/>
                  <a:pt x="246" y="398"/>
                </a:cubicBezTo>
                <a:cubicBezTo>
                  <a:pt x="246" y="398"/>
                  <a:pt x="246" y="398"/>
                  <a:pt x="246" y="398"/>
                </a:cubicBezTo>
                <a:cubicBezTo>
                  <a:pt x="246" y="398"/>
                  <a:pt x="246" y="398"/>
                  <a:pt x="246" y="398"/>
                </a:cubicBezTo>
                <a:cubicBezTo>
                  <a:pt x="246" y="398"/>
                  <a:pt x="247" y="398"/>
                  <a:pt x="247" y="398"/>
                </a:cubicBezTo>
                <a:cubicBezTo>
                  <a:pt x="247" y="398"/>
                  <a:pt x="247" y="398"/>
                  <a:pt x="247" y="398"/>
                </a:cubicBezTo>
                <a:cubicBezTo>
                  <a:pt x="247" y="398"/>
                  <a:pt x="247" y="398"/>
                  <a:pt x="247" y="397"/>
                </a:cubicBezTo>
                <a:cubicBezTo>
                  <a:pt x="248" y="397"/>
                  <a:pt x="248" y="397"/>
                  <a:pt x="248" y="397"/>
                </a:cubicBezTo>
                <a:cubicBezTo>
                  <a:pt x="248" y="397"/>
                  <a:pt x="248" y="397"/>
                  <a:pt x="248" y="397"/>
                </a:cubicBezTo>
                <a:cubicBezTo>
                  <a:pt x="248" y="397"/>
                  <a:pt x="248" y="397"/>
                  <a:pt x="248" y="397"/>
                </a:cubicBezTo>
                <a:cubicBezTo>
                  <a:pt x="326" y="319"/>
                  <a:pt x="326" y="319"/>
                  <a:pt x="326" y="319"/>
                </a:cubicBezTo>
                <a:cubicBezTo>
                  <a:pt x="327" y="318"/>
                  <a:pt x="327" y="317"/>
                  <a:pt x="327" y="315"/>
                </a:cubicBezTo>
                <a:cubicBezTo>
                  <a:pt x="327" y="83"/>
                  <a:pt x="327" y="83"/>
                  <a:pt x="327" y="83"/>
                </a:cubicBezTo>
                <a:cubicBezTo>
                  <a:pt x="327" y="82"/>
                  <a:pt x="327" y="81"/>
                  <a:pt x="326" y="80"/>
                </a:cubicBezTo>
                <a:close/>
                <a:moveTo>
                  <a:pt x="240" y="389"/>
                </a:moveTo>
                <a:cubicBezTo>
                  <a:pt x="10" y="382"/>
                  <a:pt x="10" y="382"/>
                  <a:pt x="10" y="382"/>
                </a:cubicBezTo>
                <a:cubicBezTo>
                  <a:pt x="10" y="16"/>
                  <a:pt x="10" y="16"/>
                  <a:pt x="10" y="16"/>
                </a:cubicBezTo>
                <a:cubicBezTo>
                  <a:pt x="240" y="10"/>
                  <a:pt x="240" y="10"/>
                  <a:pt x="240" y="10"/>
                </a:cubicBezTo>
                <a:lnTo>
                  <a:pt x="240" y="389"/>
                </a:lnTo>
                <a:close/>
                <a:moveTo>
                  <a:pt x="318" y="313"/>
                </a:moveTo>
                <a:cubicBezTo>
                  <a:pt x="249" y="382"/>
                  <a:pt x="249" y="382"/>
                  <a:pt x="249" y="382"/>
                </a:cubicBezTo>
                <a:cubicBezTo>
                  <a:pt x="249" y="16"/>
                  <a:pt x="249" y="16"/>
                  <a:pt x="249" y="16"/>
                </a:cubicBezTo>
                <a:cubicBezTo>
                  <a:pt x="318" y="85"/>
                  <a:pt x="318" y="85"/>
                  <a:pt x="318" y="85"/>
                </a:cubicBezTo>
                <a:lnTo>
                  <a:pt x="318" y="313"/>
                </a:lnTo>
                <a:close/>
                <a:moveTo>
                  <a:pt x="50" y="175"/>
                </a:moveTo>
                <a:cubicBezTo>
                  <a:pt x="50" y="175"/>
                  <a:pt x="50" y="175"/>
                  <a:pt x="50" y="175"/>
                </a:cubicBezTo>
                <a:cubicBezTo>
                  <a:pt x="197" y="175"/>
                  <a:pt x="197" y="175"/>
                  <a:pt x="197" y="175"/>
                </a:cubicBezTo>
                <a:cubicBezTo>
                  <a:pt x="200" y="175"/>
                  <a:pt x="202" y="173"/>
                  <a:pt x="202" y="170"/>
                </a:cubicBezTo>
                <a:cubicBezTo>
                  <a:pt x="202" y="111"/>
                  <a:pt x="202" y="111"/>
                  <a:pt x="202" y="111"/>
                </a:cubicBezTo>
                <a:cubicBezTo>
                  <a:pt x="202" y="52"/>
                  <a:pt x="202" y="52"/>
                  <a:pt x="202" y="52"/>
                </a:cubicBezTo>
                <a:cubicBezTo>
                  <a:pt x="202" y="51"/>
                  <a:pt x="201" y="50"/>
                  <a:pt x="200" y="49"/>
                </a:cubicBezTo>
                <a:cubicBezTo>
                  <a:pt x="199" y="48"/>
                  <a:pt x="198" y="48"/>
                  <a:pt x="197" y="48"/>
                </a:cubicBezTo>
                <a:cubicBezTo>
                  <a:pt x="50" y="51"/>
                  <a:pt x="50" y="51"/>
                  <a:pt x="50" y="51"/>
                </a:cubicBezTo>
                <a:cubicBezTo>
                  <a:pt x="47" y="51"/>
                  <a:pt x="45" y="53"/>
                  <a:pt x="45" y="55"/>
                </a:cubicBezTo>
                <a:cubicBezTo>
                  <a:pt x="45" y="113"/>
                  <a:pt x="45" y="113"/>
                  <a:pt x="45" y="113"/>
                </a:cubicBezTo>
                <a:cubicBezTo>
                  <a:pt x="45" y="171"/>
                  <a:pt x="45" y="171"/>
                  <a:pt x="45" y="171"/>
                </a:cubicBezTo>
                <a:cubicBezTo>
                  <a:pt x="45" y="172"/>
                  <a:pt x="46" y="173"/>
                  <a:pt x="46" y="174"/>
                </a:cubicBezTo>
                <a:cubicBezTo>
                  <a:pt x="47" y="175"/>
                  <a:pt x="49" y="175"/>
                  <a:pt x="50" y="175"/>
                </a:cubicBezTo>
                <a:close/>
                <a:moveTo>
                  <a:pt x="54" y="60"/>
                </a:moveTo>
                <a:cubicBezTo>
                  <a:pt x="192" y="57"/>
                  <a:pt x="192" y="57"/>
                  <a:pt x="192" y="57"/>
                </a:cubicBezTo>
                <a:cubicBezTo>
                  <a:pt x="192" y="107"/>
                  <a:pt x="192" y="107"/>
                  <a:pt x="192" y="107"/>
                </a:cubicBezTo>
                <a:cubicBezTo>
                  <a:pt x="54" y="108"/>
                  <a:pt x="54" y="108"/>
                  <a:pt x="54" y="108"/>
                </a:cubicBezTo>
                <a:lnTo>
                  <a:pt x="54" y="60"/>
                </a:lnTo>
                <a:close/>
                <a:moveTo>
                  <a:pt x="54" y="118"/>
                </a:moveTo>
                <a:cubicBezTo>
                  <a:pt x="192" y="116"/>
                  <a:pt x="192" y="116"/>
                  <a:pt x="192" y="116"/>
                </a:cubicBezTo>
                <a:cubicBezTo>
                  <a:pt x="192" y="165"/>
                  <a:pt x="192" y="165"/>
                  <a:pt x="192" y="165"/>
                </a:cubicBezTo>
                <a:cubicBezTo>
                  <a:pt x="54" y="166"/>
                  <a:pt x="54" y="166"/>
                  <a:pt x="54" y="166"/>
                </a:cubicBezTo>
                <a:lnTo>
                  <a:pt x="54" y="118"/>
                </a:lnTo>
                <a:close/>
                <a:moveTo>
                  <a:pt x="123" y="224"/>
                </a:moveTo>
                <a:cubicBezTo>
                  <a:pt x="107" y="224"/>
                  <a:pt x="95" y="236"/>
                  <a:pt x="95" y="251"/>
                </a:cubicBezTo>
                <a:cubicBezTo>
                  <a:pt x="95" y="266"/>
                  <a:pt x="107" y="278"/>
                  <a:pt x="123" y="278"/>
                </a:cubicBezTo>
                <a:cubicBezTo>
                  <a:pt x="123" y="278"/>
                  <a:pt x="123" y="278"/>
                  <a:pt x="123" y="278"/>
                </a:cubicBezTo>
                <a:cubicBezTo>
                  <a:pt x="138" y="278"/>
                  <a:pt x="150" y="266"/>
                  <a:pt x="150" y="251"/>
                </a:cubicBezTo>
                <a:cubicBezTo>
                  <a:pt x="150" y="236"/>
                  <a:pt x="138" y="224"/>
                  <a:pt x="123" y="224"/>
                </a:cubicBezTo>
                <a:close/>
                <a:moveTo>
                  <a:pt x="123" y="269"/>
                </a:moveTo>
                <a:cubicBezTo>
                  <a:pt x="123" y="274"/>
                  <a:pt x="123" y="274"/>
                  <a:pt x="123" y="274"/>
                </a:cubicBezTo>
                <a:cubicBezTo>
                  <a:pt x="123" y="269"/>
                  <a:pt x="123" y="269"/>
                  <a:pt x="123" y="269"/>
                </a:cubicBezTo>
                <a:cubicBezTo>
                  <a:pt x="113" y="269"/>
                  <a:pt x="105" y="261"/>
                  <a:pt x="105" y="251"/>
                </a:cubicBezTo>
                <a:cubicBezTo>
                  <a:pt x="105" y="241"/>
                  <a:pt x="113" y="233"/>
                  <a:pt x="123" y="233"/>
                </a:cubicBezTo>
                <a:cubicBezTo>
                  <a:pt x="133" y="234"/>
                  <a:pt x="141" y="242"/>
                  <a:pt x="141" y="251"/>
                </a:cubicBezTo>
                <a:cubicBezTo>
                  <a:pt x="141" y="261"/>
                  <a:pt x="133" y="269"/>
                  <a:pt x="123" y="269"/>
                </a:cubicBezTo>
                <a:close/>
                <a:moveTo>
                  <a:pt x="123" y="288"/>
                </a:moveTo>
                <a:cubicBezTo>
                  <a:pt x="122" y="288"/>
                  <a:pt x="122" y="288"/>
                  <a:pt x="122" y="288"/>
                </a:cubicBezTo>
                <a:cubicBezTo>
                  <a:pt x="107" y="288"/>
                  <a:pt x="95" y="300"/>
                  <a:pt x="95" y="314"/>
                </a:cubicBezTo>
                <a:cubicBezTo>
                  <a:pt x="95" y="329"/>
                  <a:pt x="107" y="341"/>
                  <a:pt x="123" y="342"/>
                </a:cubicBezTo>
                <a:cubicBezTo>
                  <a:pt x="123" y="342"/>
                  <a:pt x="123" y="342"/>
                  <a:pt x="123" y="342"/>
                </a:cubicBezTo>
                <a:cubicBezTo>
                  <a:pt x="138" y="342"/>
                  <a:pt x="150" y="330"/>
                  <a:pt x="150" y="315"/>
                </a:cubicBezTo>
                <a:cubicBezTo>
                  <a:pt x="150" y="300"/>
                  <a:pt x="138" y="288"/>
                  <a:pt x="123" y="288"/>
                </a:cubicBezTo>
                <a:close/>
                <a:moveTo>
                  <a:pt x="123" y="332"/>
                </a:moveTo>
                <a:cubicBezTo>
                  <a:pt x="123" y="332"/>
                  <a:pt x="123" y="332"/>
                  <a:pt x="123" y="332"/>
                </a:cubicBezTo>
                <a:cubicBezTo>
                  <a:pt x="113" y="332"/>
                  <a:pt x="105" y="324"/>
                  <a:pt x="105" y="314"/>
                </a:cubicBezTo>
                <a:cubicBezTo>
                  <a:pt x="105" y="305"/>
                  <a:pt x="113" y="297"/>
                  <a:pt x="123" y="297"/>
                </a:cubicBezTo>
                <a:cubicBezTo>
                  <a:pt x="123" y="297"/>
                  <a:pt x="123" y="297"/>
                  <a:pt x="123" y="297"/>
                </a:cubicBezTo>
                <a:cubicBezTo>
                  <a:pt x="133" y="297"/>
                  <a:pt x="141" y="305"/>
                  <a:pt x="141" y="315"/>
                </a:cubicBezTo>
                <a:cubicBezTo>
                  <a:pt x="141" y="325"/>
                  <a:pt x="133" y="332"/>
                  <a:pt x="123" y="332"/>
                </a:cubicBez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endParaRPr lang="en-US" sz="1836"/>
          </a:p>
        </p:txBody>
      </p:sp>
    </p:spTree>
    <p:extLst>
      <p:ext uri="{BB962C8B-B14F-4D97-AF65-F5344CB8AC3E}">
        <p14:creationId xmlns:p14="http://schemas.microsoft.com/office/powerpoint/2010/main" val="1257714801"/>
      </p:ext>
    </p:extLst>
  </p:cSld>
  <p:clrMapOvr>
    <a:masterClrMapping/>
  </p:clrMapOvr>
  <p:transition>
    <p:fade/>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echnology</a:t>
            </a:r>
          </a:p>
        </p:txBody>
      </p:sp>
      <p:sp>
        <p:nvSpPr>
          <p:cNvPr id="10" name="Oval 8"/>
          <p:cNvSpPr>
            <a:spLocks noChangeArrowheads="1"/>
          </p:cNvSpPr>
          <p:nvPr/>
        </p:nvSpPr>
        <p:spPr bwMode="auto">
          <a:xfrm>
            <a:off x="6589621" y="3120088"/>
            <a:ext cx="1119124" cy="1119124"/>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22" name="Freeform 17"/>
          <p:cNvSpPr>
            <a:spLocks noEditPoints="1"/>
          </p:cNvSpPr>
          <p:nvPr/>
        </p:nvSpPr>
        <p:spPr bwMode="auto">
          <a:xfrm>
            <a:off x="6824876" y="3302179"/>
            <a:ext cx="648613" cy="753615"/>
          </a:xfrm>
          <a:custGeom>
            <a:avLst/>
            <a:gdLst>
              <a:gd name="T0" fmla="*/ 407 w 413"/>
              <a:gd name="T1" fmla="*/ 364 h 480"/>
              <a:gd name="T2" fmla="*/ 394 w 413"/>
              <a:gd name="T3" fmla="*/ 296 h 480"/>
              <a:gd name="T4" fmla="*/ 353 w 413"/>
              <a:gd name="T5" fmla="*/ 233 h 480"/>
              <a:gd name="T6" fmla="*/ 344 w 413"/>
              <a:gd name="T7" fmla="*/ 29 h 480"/>
              <a:gd name="T8" fmla="*/ 28 w 413"/>
              <a:gd name="T9" fmla="*/ 0 h 480"/>
              <a:gd name="T10" fmla="*/ 0 w 413"/>
              <a:gd name="T11" fmla="*/ 441 h 480"/>
              <a:gd name="T12" fmla="*/ 294 w 413"/>
              <a:gd name="T13" fmla="*/ 469 h 480"/>
              <a:gd name="T14" fmla="*/ 303 w 413"/>
              <a:gd name="T15" fmla="*/ 480 h 480"/>
              <a:gd name="T16" fmla="*/ 307 w 413"/>
              <a:gd name="T17" fmla="*/ 474 h 480"/>
              <a:gd name="T18" fmla="*/ 196 w 413"/>
              <a:gd name="T19" fmla="*/ 367 h 480"/>
              <a:gd name="T20" fmla="*/ 174 w 413"/>
              <a:gd name="T21" fmla="*/ 331 h 480"/>
              <a:gd name="T22" fmla="*/ 195 w 413"/>
              <a:gd name="T23" fmla="*/ 334 h 480"/>
              <a:gd name="T24" fmla="*/ 239 w 413"/>
              <a:gd name="T25" fmla="*/ 363 h 480"/>
              <a:gd name="T26" fmla="*/ 247 w 413"/>
              <a:gd name="T27" fmla="*/ 339 h 480"/>
              <a:gd name="T28" fmla="*/ 195 w 413"/>
              <a:gd name="T29" fmla="*/ 189 h 480"/>
              <a:gd name="T30" fmla="*/ 217 w 413"/>
              <a:gd name="T31" fmla="*/ 201 h 480"/>
              <a:gd name="T32" fmla="*/ 251 w 413"/>
              <a:gd name="T33" fmla="*/ 274 h 480"/>
              <a:gd name="T34" fmla="*/ 260 w 413"/>
              <a:gd name="T35" fmla="*/ 271 h 480"/>
              <a:gd name="T36" fmla="*/ 292 w 413"/>
              <a:gd name="T37" fmla="*/ 259 h 480"/>
              <a:gd name="T38" fmla="*/ 315 w 413"/>
              <a:gd name="T39" fmla="*/ 246 h 480"/>
              <a:gd name="T40" fmla="*/ 335 w 413"/>
              <a:gd name="T41" fmla="*/ 252 h 480"/>
              <a:gd name="T42" fmla="*/ 353 w 413"/>
              <a:gd name="T43" fmla="*/ 243 h 480"/>
              <a:gd name="T44" fmla="*/ 385 w 413"/>
              <a:gd name="T45" fmla="*/ 298 h 480"/>
              <a:gd name="T46" fmla="*/ 398 w 413"/>
              <a:gd name="T47" fmla="*/ 363 h 480"/>
              <a:gd name="T48" fmla="*/ 410 w 413"/>
              <a:gd name="T49" fmla="*/ 419 h 480"/>
              <a:gd name="T50" fmla="*/ 302 w 413"/>
              <a:gd name="T51" fmla="*/ 240 h 480"/>
              <a:gd name="T52" fmla="*/ 260 w 413"/>
              <a:gd name="T53" fmla="*/ 254 h 480"/>
              <a:gd name="T54" fmla="*/ 226 w 413"/>
              <a:gd name="T55" fmla="*/ 198 h 480"/>
              <a:gd name="T56" fmla="*/ 191 w 413"/>
              <a:gd name="T57" fmla="*/ 180 h 480"/>
              <a:gd name="T58" fmla="*/ 238 w 413"/>
              <a:gd name="T59" fmla="*/ 342 h 480"/>
              <a:gd name="T60" fmla="*/ 201 w 413"/>
              <a:gd name="T61" fmla="*/ 326 h 480"/>
              <a:gd name="T62" fmla="*/ 166 w 413"/>
              <a:gd name="T63" fmla="*/ 325 h 480"/>
              <a:gd name="T64" fmla="*/ 190 w 413"/>
              <a:gd name="T65" fmla="*/ 374 h 480"/>
              <a:gd name="T66" fmla="*/ 42 w 413"/>
              <a:gd name="T67" fmla="*/ 378 h 480"/>
              <a:gd name="T68" fmla="*/ 302 w 413"/>
              <a:gd name="T69" fmla="*/ 45 h 480"/>
              <a:gd name="T70" fmla="*/ 335 w 413"/>
              <a:gd name="T71" fmla="*/ 240 h 480"/>
              <a:gd name="T72" fmla="*/ 314 w 413"/>
              <a:gd name="T73" fmla="*/ 237 h 480"/>
              <a:gd name="T74" fmla="*/ 312 w 413"/>
              <a:gd name="T75" fmla="*/ 41 h 480"/>
              <a:gd name="T76" fmla="*/ 37 w 413"/>
              <a:gd name="T77" fmla="*/ 36 h 480"/>
              <a:gd name="T78" fmla="*/ 32 w 413"/>
              <a:gd name="T79" fmla="*/ 383 h 480"/>
              <a:gd name="T80" fmla="*/ 206 w 413"/>
              <a:gd name="T81" fmla="*/ 388 h 480"/>
              <a:gd name="T82" fmla="*/ 288 w 413"/>
              <a:gd name="T83" fmla="*/ 459 h 480"/>
              <a:gd name="T84" fmla="*/ 9 w 413"/>
              <a:gd name="T85" fmla="*/ 441 h 480"/>
              <a:gd name="T86" fmla="*/ 28 w 413"/>
              <a:gd name="T87" fmla="*/ 10 h 480"/>
              <a:gd name="T88" fmla="*/ 335 w 413"/>
              <a:gd name="T89" fmla="*/ 29 h 480"/>
              <a:gd name="T90" fmla="*/ 172 w 413"/>
              <a:gd name="T91" fmla="*/ 449 h 480"/>
              <a:gd name="T92" fmla="*/ 172 w 413"/>
              <a:gd name="T93" fmla="*/ 399 h 480"/>
              <a:gd name="T94" fmla="*/ 172 w 413"/>
              <a:gd name="T95" fmla="*/ 449 h 480"/>
              <a:gd name="T96" fmla="*/ 189 w 413"/>
              <a:gd name="T97" fmla="*/ 423 h 480"/>
              <a:gd name="T98" fmla="*/ 157 w 413"/>
              <a:gd name="T99" fmla="*/ 423 h 4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13" h="480">
                <a:moveTo>
                  <a:pt x="412" y="412"/>
                </a:moveTo>
                <a:cubicBezTo>
                  <a:pt x="405" y="398"/>
                  <a:pt x="406" y="380"/>
                  <a:pt x="407" y="364"/>
                </a:cubicBezTo>
                <a:cubicBezTo>
                  <a:pt x="408" y="351"/>
                  <a:pt x="409" y="341"/>
                  <a:pt x="405" y="333"/>
                </a:cubicBezTo>
                <a:cubicBezTo>
                  <a:pt x="402" y="327"/>
                  <a:pt x="398" y="311"/>
                  <a:pt x="394" y="296"/>
                </a:cubicBezTo>
                <a:cubicBezTo>
                  <a:pt x="390" y="279"/>
                  <a:pt x="386" y="263"/>
                  <a:pt x="382" y="255"/>
                </a:cubicBezTo>
                <a:cubicBezTo>
                  <a:pt x="375" y="241"/>
                  <a:pt x="365" y="233"/>
                  <a:pt x="353" y="233"/>
                </a:cubicBezTo>
                <a:cubicBezTo>
                  <a:pt x="350" y="233"/>
                  <a:pt x="347" y="234"/>
                  <a:pt x="344" y="234"/>
                </a:cubicBezTo>
                <a:cubicBezTo>
                  <a:pt x="344" y="29"/>
                  <a:pt x="344" y="29"/>
                  <a:pt x="344" y="29"/>
                </a:cubicBezTo>
                <a:cubicBezTo>
                  <a:pt x="344" y="12"/>
                  <a:pt x="330" y="0"/>
                  <a:pt x="316" y="0"/>
                </a:cubicBezTo>
                <a:cubicBezTo>
                  <a:pt x="28" y="0"/>
                  <a:pt x="28" y="0"/>
                  <a:pt x="28" y="0"/>
                </a:cubicBezTo>
                <a:cubicBezTo>
                  <a:pt x="14" y="0"/>
                  <a:pt x="0" y="12"/>
                  <a:pt x="0" y="29"/>
                </a:cubicBezTo>
                <a:cubicBezTo>
                  <a:pt x="0" y="441"/>
                  <a:pt x="0" y="441"/>
                  <a:pt x="0" y="441"/>
                </a:cubicBezTo>
                <a:cubicBezTo>
                  <a:pt x="0" y="457"/>
                  <a:pt x="14" y="469"/>
                  <a:pt x="28" y="469"/>
                </a:cubicBezTo>
                <a:cubicBezTo>
                  <a:pt x="294" y="469"/>
                  <a:pt x="294" y="469"/>
                  <a:pt x="294" y="469"/>
                </a:cubicBezTo>
                <a:cubicBezTo>
                  <a:pt x="295" y="472"/>
                  <a:pt x="297" y="475"/>
                  <a:pt x="298" y="478"/>
                </a:cubicBezTo>
                <a:cubicBezTo>
                  <a:pt x="299" y="479"/>
                  <a:pt x="301" y="480"/>
                  <a:pt x="303" y="480"/>
                </a:cubicBezTo>
                <a:cubicBezTo>
                  <a:pt x="303" y="480"/>
                  <a:pt x="304" y="480"/>
                  <a:pt x="305" y="480"/>
                </a:cubicBezTo>
                <a:cubicBezTo>
                  <a:pt x="307" y="479"/>
                  <a:pt x="308" y="476"/>
                  <a:pt x="307" y="474"/>
                </a:cubicBezTo>
                <a:cubicBezTo>
                  <a:pt x="294" y="446"/>
                  <a:pt x="273" y="422"/>
                  <a:pt x="259" y="416"/>
                </a:cubicBezTo>
                <a:cubicBezTo>
                  <a:pt x="251" y="414"/>
                  <a:pt x="217" y="385"/>
                  <a:pt x="196" y="367"/>
                </a:cubicBezTo>
                <a:cubicBezTo>
                  <a:pt x="187" y="359"/>
                  <a:pt x="179" y="352"/>
                  <a:pt x="175" y="349"/>
                </a:cubicBezTo>
                <a:cubicBezTo>
                  <a:pt x="168" y="344"/>
                  <a:pt x="170" y="335"/>
                  <a:pt x="174" y="331"/>
                </a:cubicBezTo>
                <a:cubicBezTo>
                  <a:pt x="175" y="329"/>
                  <a:pt x="181" y="323"/>
                  <a:pt x="188" y="328"/>
                </a:cubicBezTo>
                <a:cubicBezTo>
                  <a:pt x="190" y="329"/>
                  <a:pt x="192" y="331"/>
                  <a:pt x="195" y="334"/>
                </a:cubicBezTo>
                <a:cubicBezTo>
                  <a:pt x="206" y="342"/>
                  <a:pt x="222" y="354"/>
                  <a:pt x="231" y="361"/>
                </a:cubicBezTo>
                <a:cubicBezTo>
                  <a:pt x="234" y="364"/>
                  <a:pt x="238" y="364"/>
                  <a:pt x="239" y="363"/>
                </a:cubicBezTo>
                <a:cubicBezTo>
                  <a:pt x="245" y="361"/>
                  <a:pt x="247" y="350"/>
                  <a:pt x="247" y="341"/>
                </a:cubicBezTo>
                <a:cubicBezTo>
                  <a:pt x="247" y="340"/>
                  <a:pt x="247" y="339"/>
                  <a:pt x="247" y="339"/>
                </a:cubicBezTo>
                <a:cubicBezTo>
                  <a:pt x="188" y="215"/>
                  <a:pt x="188" y="215"/>
                  <a:pt x="188" y="215"/>
                </a:cubicBezTo>
                <a:cubicBezTo>
                  <a:pt x="183" y="205"/>
                  <a:pt x="186" y="193"/>
                  <a:pt x="195" y="189"/>
                </a:cubicBezTo>
                <a:cubicBezTo>
                  <a:pt x="199" y="187"/>
                  <a:pt x="203" y="187"/>
                  <a:pt x="208" y="189"/>
                </a:cubicBezTo>
                <a:cubicBezTo>
                  <a:pt x="212" y="191"/>
                  <a:pt x="215" y="195"/>
                  <a:pt x="217" y="201"/>
                </a:cubicBezTo>
                <a:cubicBezTo>
                  <a:pt x="217" y="201"/>
                  <a:pt x="217" y="201"/>
                  <a:pt x="217" y="202"/>
                </a:cubicBezTo>
                <a:cubicBezTo>
                  <a:pt x="251" y="274"/>
                  <a:pt x="251" y="274"/>
                  <a:pt x="251" y="274"/>
                </a:cubicBezTo>
                <a:cubicBezTo>
                  <a:pt x="252" y="276"/>
                  <a:pt x="255" y="277"/>
                  <a:pt x="257" y="276"/>
                </a:cubicBezTo>
                <a:cubicBezTo>
                  <a:pt x="259" y="276"/>
                  <a:pt x="260" y="274"/>
                  <a:pt x="260" y="271"/>
                </a:cubicBezTo>
                <a:cubicBezTo>
                  <a:pt x="260" y="267"/>
                  <a:pt x="261" y="264"/>
                  <a:pt x="265" y="261"/>
                </a:cubicBezTo>
                <a:cubicBezTo>
                  <a:pt x="272" y="257"/>
                  <a:pt x="284" y="256"/>
                  <a:pt x="292" y="259"/>
                </a:cubicBezTo>
                <a:cubicBezTo>
                  <a:pt x="294" y="260"/>
                  <a:pt x="297" y="259"/>
                  <a:pt x="298" y="257"/>
                </a:cubicBezTo>
                <a:cubicBezTo>
                  <a:pt x="301" y="250"/>
                  <a:pt x="309" y="247"/>
                  <a:pt x="315" y="246"/>
                </a:cubicBezTo>
                <a:cubicBezTo>
                  <a:pt x="322" y="245"/>
                  <a:pt x="328" y="247"/>
                  <a:pt x="331" y="251"/>
                </a:cubicBezTo>
                <a:cubicBezTo>
                  <a:pt x="332" y="252"/>
                  <a:pt x="334" y="253"/>
                  <a:pt x="335" y="252"/>
                </a:cubicBezTo>
                <a:cubicBezTo>
                  <a:pt x="337" y="252"/>
                  <a:pt x="338" y="251"/>
                  <a:pt x="339" y="250"/>
                </a:cubicBezTo>
                <a:cubicBezTo>
                  <a:pt x="341" y="245"/>
                  <a:pt x="347" y="242"/>
                  <a:pt x="353" y="243"/>
                </a:cubicBezTo>
                <a:cubicBezTo>
                  <a:pt x="358" y="243"/>
                  <a:pt x="367" y="245"/>
                  <a:pt x="373" y="259"/>
                </a:cubicBezTo>
                <a:cubicBezTo>
                  <a:pt x="377" y="266"/>
                  <a:pt x="381" y="283"/>
                  <a:pt x="385" y="298"/>
                </a:cubicBezTo>
                <a:cubicBezTo>
                  <a:pt x="389" y="315"/>
                  <a:pt x="393" y="330"/>
                  <a:pt x="397" y="337"/>
                </a:cubicBezTo>
                <a:cubicBezTo>
                  <a:pt x="399" y="342"/>
                  <a:pt x="398" y="353"/>
                  <a:pt x="398" y="363"/>
                </a:cubicBezTo>
                <a:cubicBezTo>
                  <a:pt x="397" y="379"/>
                  <a:pt x="396" y="399"/>
                  <a:pt x="404" y="416"/>
                </a:cubicBezTo>
                <a:cubicBezTo>
                  <a:pt x="405" y="419"/>
                  <a:pt x="408" y="420"/>
                  <a:pt x="410" y="419"/>
                </a:cubicBezTo>
                <a:cubicBezTo>
                  <a:pt x="412" y="417"/>
                  <a:pt x="413" y="415"/>
                  <a:pt x="412" y="412"/>
                </a:cubicBezTo>
                <a:close/>
                <a:moveTo>
                  <a:pt x="302" y="240"/>
                </a:moveTo>
                <a:cubicBezTo>
                  <a:pt x="298" y="243"/>
                  <a:pt x="294" y="246"/>
                  <a:pt x="292" y="249"/>
                </a:cubicBezTo>
                <a:cubicBezTo>
                  <a:pt x="281" y="246"/>
                  <a:pt x="268" y="248"/>
                  <a:pt x="260" y="254"/>
                </a:cubicBezTo>
                <a:cubicBezTo>
                  <a:pt x="258" y="255"/>
                  <a:pt x="256" y="257"/>
                  <a:pt x="254" y="259"/>
                </a:cubicBezTo>
                <a:cubicBezTo>
                  <a:pt x="226" y="198"/>
                  <a:pt x="226" y="198"/>
                  <a:pt x="226" y="198"/>
                </a:cubicBezTo>
                <a:cubicBezTo>
                  <a:pt x="224" y="190"/>
                  <a:pt x="218" y="184"/>
                  <a:pt x="212" y="181"/>
                </a:cubicBezTo>
                <a:cubicBezTo>
                  <a:pt x="205" y="177"/>
                  <a:pt x="197" y="177"/>
                  <a:pt x="191" y="180"/>
                </a:cubicBezTo>
                <a:cubicBezTo>
                  <a:pt x="178" y="187"/>
                  <a:pt x="173" y="204"/>
                  <a:pt x="180" y="219"/>
                </a:cubicBezTo>
                <a:cubicBezTo>
                  <a:pt x="238" y="342"/>
                  <a:pt x="238" y="342"/>
                  <a:pt x="238" y="342"/>
                </a:cubicBezTo>
                <a:cubicBezTo>
                  <a:pt x="237" y="346"/>
                  <a:pt x="237" y="351"/>
                  <a:pt x="236" y="353"/>
                </a:cubicBezTo>
                <a:cubicBezTo>
                  <a:pt x="227" y="345"/>
                  <a:pt x="212" y="334"/>
                  <a:pt x="201" y="326"/>
                </a:cubicBezTo>
                <a:cubicBezTo>
                  <a:pt x="198" y="324"/>
                  <a:pt x="195" y="322"/>
                  <a:pt x="193" y="320"/>
                </a:cubicBezTo>
                <a:cubicBezTo>
                  <a:pt x="184" y="314"/>
                  <a:pt x="173" y="316"/>
                  <a:pt x="166" y="325"/>
                </a:cubicBezTo>
                <a:cubicBezTo>
                  <a:pt x="160" y="334"/>
                  <a:pt x="158" y="348"/>
                  <a:pt x="169" y="357"/>
                </a:cubicBezTo>
                <a:cubicBezTo>
                  <a:pt x="173" y="360"/>
                  <a:pt x="181" y="366"/>
                  <a:pt x="190" y="374"/>
                </a:cubicBezTo>
                <a:cubicBezTo>
                  <a:pt x="192" y="376"/>
                  <a:pt x="193" y="377"/>
                  <a:pt x="195" y="378"/>
                </a:cubicBezTo>
                <a:cubicBezTo>
                  <a:pt x="42" y="378"/>
                  <a:pt x="42" y="378"/>
                  <a:pt x="42" y="378"/>
                </a:cubicBezTo>
                <a:cubicBezTo>
                  <a:pt x="42" y="45"/>
                  <a:pt x="42" y="45"/>
                  <a:pt x="42" y="45"/>
                </a:cubicBezTo>
                <a:cubicBezTo>
                  <a:pt x="302" y="45"/>
                  <a:pt x="302" y="45"/>
                  <a:pt x="302" y="45"/>
                </a:cubicBezTo>
                <a:lnTo>
                  <a:pt x="302" y="240"/>
                </a:lnTo>
                <a:close/>
                <a:moveTo>
                  <a:pt x="335" y="240"/>
                </a:moveTo>
                <a:cubicBezTo>
                  <a:pt x="335" y="240"/>
                  <a:pt x="334" y="241"/>
                  <a:pt x="334" y="241"/>
                </a:cubicBezTo>
                <a:cubicBezTo>
                  <a:pt x="329" y="237"/>
                  <a:pt x="322" y="236"/>
                  <a:pt x="314" y="237"/>
                </a:cubicBezTo>
                <a:cubicBezTo>
                  <a:pt x="313" y="237"/>
                  <a:pt x="313" y="237"/>
                  <a:pt x="312" y="237"/>
                </a:cubicBezTo>
                <a:cubicBezTo>
                  <a:pt x="312" y="41"/>
                  <a:pt x="312" y="41"/>
                  <a:pt x="312" y="41"/>
                </a:cubicBezTo>
                <a:cubicBezTo>
                  <a:pt x="312" y="38"/>
                  <a:pt x="309" y="36"/>
                  <a:pt x="307" y="36"/>
                </a:cubicBezTo>
                <a:cubicBezTo>
                  <a:pt x="37" y="36"/>
                  <a:pt x="37" y="36"/>
                  <a:pt x="37" y="36"/>
                </a:cubicBezTo>
                <a:cubicBezTo>
                  <a:pt x="34" y="36"/>
                  <a:pt x="32" y="38"/>
                  <a:pt x="32" y="41"/>
                </a:cubicBezTo>
                <a:cubicBezTo>
                  <a:pt x="32" y="383"/>
                  <a:pt x="32" y="383"/>
                  <a:pt x="32" y="383"/>
                </a:cubicBezTo>
                <a:cubicBezTo>
                  <a:pt x="32" y="386"/>
                  <a:pt x="34" y="388"/>
                  <a:pt x="37" y="388"/>
                </a:cubicBezTo>
                <a:cubicBezTo>
                  <a:pt x="206" y="388"/>
                  <a:pt x="206" y="388"/>
                  <a:pt x="206" y="388"/>
                </a:cubicBezTo>
                <a:cubicBezTo>
                  <a:pt x="229" y="408"/>
                  <a:pt x="248" y="423"/>
                  <a:pt x="255" y="425"/>
                </a:cubicBezTo>
                <a:cubicBezTo>
                  <a:pt x="263" y="428"/>
                  <a:pt x="277" y="441"/>
                  <a:pt x="288" y="459"/>
                </a:cubicBezTo>
                <a:cubicBezTo>
                  <a:pt x="28" y="459"/>
                  <a:pt x="28" y="459"/>
                  <a:pt x="28" y="459"/>
                </a:cubicBezTo>
                <a:cubicBezTo>
                  <a:pt x="19" y="459"/>
                  <a:pt x="9" y="452"/>
                  <a:pt x="9" y="441"/>
                </a:cubicBezTo>
                <a:cubicBezTo>
                  <a:pt x="9" y="29"/>
                  <a:pt x="9" y="29"/>
                  <a:pt x="9" y="29"/>
                </a:cubicBezTo>
                <a:cubicBezTo>
                  <a:pt x="9" y="17"/>
                  <a:pt x="19" y="10"/>
                  <a:pt x="28" y="10"/>
                </a:cubicBezTo>
                <a:cubicBezTo>
                  <a:pt x="316" y="10"/>
                  <a:pt x="316" y="10"/>
                  <a:pt x="316" y="10"/>
                </a:cubicBezTo>
                <a:cubicBezTo>
                  <a:pt x="325" y="10"/>
                  <a:pt x="335" y="17"/>
                  <a:pt x="335" y="29"/>
                </a:cubicBezTo>
                <a:lnTo>
                  <a:pt x="335" y="240"/>
                </a:lnTo>
                <a:close/>
                <a:moveTo>
                  <a:pt x="172" y="449"/>
                </a:moveTo>
                <a:cubicBezTo>
                  <a:pt x="186" y="449"/>
                  <a:pt x="198" y="438"/>
                  <a:pt x="198" y="423"/>
                </a:cubicBezTo>
                <a:cubicBezTo>
                  <a:pt x="198" y="410"/>
                  <a:pt x="186" y="399"/>
                  <a:pt x="172" y="399"/>
                </a:cubicBezTo>
                <a:cubicBezTo>
                  <a:pt x="157" y="399"/>
                  <a:pt x="148" y="411"/>
                  <a:pt x="148" y="423"/>
                </a:cubicBezTo>
                <a:cubicBezTo>
                  <a:pt x="148" y="438"/>
                  <a:pt x="158" y="449"/>
                  <a:pt x="172" y="449"/>
                </a:cubicBezTo>
                <a:close/>
                <a:moveTo>
                  <a:pt x="172" y="408"/>
                </a:moveTo>
                <a:cubicBezTo>
                  <a:pt x="181" y="408"/>
                  <a:pt x="189" y="416"/>
                  <a:pt x="189" y="423"/>
                </a:cubicBezTo>
                <a:cubicBezTo>
                  <a:pt x="189" y="432"/>
                  <a:pt x="181" y="440"/>
                  <a:pt x="172" y="440"/>
                </a:cubicBezTo>
                <a:cubicBezTo>
                  <a:pt x="162" y="440"/>
                  <a:pt x="157" y="431"/>
                  <a:pt x="157" y="423"/>
                </a:cubicBezTo>
                <a:cubicBezTo>
                  <a:pt x="157" y="416"/>
                  <a:pt x="163" y="408"/>
                  <a:pt x="172" y="408"/>
                </a:cubicBez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11" name="Oval 9"/>
          <p:cNvSpPr>
            <a:spLocks noChangeArrowheads="1"/>
          </p:cNvSpPr>
          <p:nvPr/>
        </p:nvSpPr>
        <p:spPr bwMode="auto">
          <a:xfrm>
            <a:off x="4831649" y="3120088"/>
            <a:ext cx="1119124" cy="1119124"/>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23" name="Freeform 18"/>
          <p:cNvSpPr>
            <a:spLocks noEditPoints="1"/>
          </p:cNvSpPr>
          <p:nvPr/>
        </p:nvSpPr>
        <p:spPr bwMode="auto">
          <a:xfrm>
            <a:off x="5136019" y="3316134"/>
            <a:ext cx="508391" cy="727032"/>
          </a:xfrm>
          <a:custGeom>
            <a:avLst/>
            <a:gdLst>
              <a:gd name="T0" fmla="*/ 162 w 324"/>
              <a:gd name="T1" fmla="*/ 41 h 463"/>
              <a:gd name="T2" fmla="*/ 171 w 324"/>
              <a:gd name="T3" fmla="*/ 33 h 463"/>
              <a:gd name="T4" fmla="*/ 162 w 324"/>
              <a:gd name="T5" fmla="*/ 24 h 463"/>
              <a:gd name="T6" fmla="*/ 154 w 324"/>
              <a:gd name="T7" fmla="*/ 33 h 463"/>
              <a:gd name="T8" fmla="*/ 162 w 324"/>
              <a:gd name="T9" fmla="*/ 41 h 463"/>
              <a:gd name="T10" fmla="*/ 162 w 324"/>
              <a:gd name="T11" fmla="*/ 32 h 463"/>
              <a:gd name="T12" fmla="*/ 163 w 324"/>
              <a:gd name="T13" fmla="*/ 33 h 463"/>
              <a:gd name="T14" fmla="*/ 162 w 324"/>
              <a:gd name="T15" fmla="*/ 33 h 463"/>
              <a:gd name="T16" fmla="*/ 161 w 324"/>
              <a:gd name="T17" fmla="*/ 33 h 463"/>
              <a:gd name="T18" fmla="*/ 162 w 324"/>
              <a:gd name="T19" fmla="*/ 32 h 463"/>
              <a:gd name="T20" fmla="*/ 280 w 324"/>
              <a:gd name="T21" fmla="*/ 50 h 463"/>
              <a:gd name="T22" fmla="*/ 44 w 324"/>
              <a:gd name="T23" fmla="*/ 50 h 463"/>
              <a:gd name="T24" fmla="*/ 29 w 324"/>
              <a:gd name="T25" fmla="*/ 65 h 463"/>
              <a:gd name="T26" fmla="*/ 29 w 324"/>
              <a:gd name="T27" fmla="*/ 371 h 463"/>
              <a:gd name="T28" fmla="*/ 44 w 324"/>
              <a:gd name="T29" fmla="*/ 386 h 463"/>
              <a:gd name="T30" fmla="*/ 280 w 324"/>
              <a:gd name="T31" fmla="*/ 386 h 463"/>
              <a:gd name="T32" fmla="*/ 296 w 324"/>
              <a:gd name="T33" fmla="*/ 371 h 463"/>
              <a:gd name="T34" fmla="*/ 296 w 324"/>
              <a:gd name="T35" fmla="*/ 65 h 463"/>
              <a:gd name="T36" fmla="*/ 280 w 324"/>
              <a:gd name="T37" fmla="*/ 50 h 463"/>
              <a:gd name="T38" fmla="*/ 286 w 324"/>
              <a:gd name="T39" fmla="*/ 371 h 463"/>
              <a:gd name="T40" fmla="*/ 280 w 324"/>
              <a:gd name="T41" fmla="*/ 377 h 463"/>
              <a:gd name="T42" fmla="*/ 44 w 324"/>
              <a:gd name="T43" fmla="*/ 377 h 463"/>
              <a:gd name="T44" fmla="*/ 38 w 324"/>
              <a:gd name="T45" fmla="*/ 371 h 463"/>
              <a:gd name="T46" fmla="*/ 38 w 324"/>
              <a:gd name="T47" fmla="*/ 65 h 463"/>
              <a:gd name="T48" fmla="*/ 44 w 324"/>
              <a:gd name="T49" fmla="*/ 60 h 463"/>
              <a:gd name="T50" fmla="*/ 280 w 324"/>
              <a:gd name="T51" fmla="*/ 60 h 463"/>
              <a:gd name="T52" fmla="*/ 286 w 324"/>
              <a:gd name="T53" fmla="*/ 65 h 463"/>
              <a:gd name="T54" fmla="*/ 286 w 324"/>
              <a:gd name="T55" fmla="*/ 371 h 463"/>
              <a:gd name="T56" fmla="*/ 289 w 324"/>
              <a:gd name="T57" fmla="*/ 0 h 463"/>
              <a:gd name="T58" fmla="*/ 36 w 324"/>
              <a:gd name="T59" fmla="*/ 0 h 463"/>
              <a:gd name="T60" fmla="*/ 0 w 324"/>
              <a:gd name="T61" fmla="*/ 35 h 463"/>
              <a:gd name="T62" fmla="*/ 0 w 324"/>
              <a:gd name="T63" fmla="*/ 427 h 463"/>
              <a:gd name="T64" fmla="*/ 36 w 324"/>
              <a:gd name="T65" fmla="*/ 463 h 463"/>
              <a:gd name="T66" fmla="*/ 289 w 324"/>
              <a:gd name="T67" fmla="*/ 463 h 463"/>
              <a:gd name="T68" fmla="*/ 324 w 324"/>
              <a:gd name="T69" fmla="*/ 427 h 463"/>
              <a:gd name="T70" fmla="*/ 324 w 324"/>
              <a:gd name="T71" fmla="*/ 35 h 463"/>
              <a:gd name="T72" fmla="*/ 289 w 324"/>
              <a:gd name="T73" fmla="*/ 0 h 463"/>
              <a:gd name="T74" fmla="*/ 315 w 324"/>
              <a:gd name="T75" fmla="*/ 427 h 463"/>
              <a:gd name="T76" fmla="*/ 289 w 324"/>
              <a:gd name="T77" fmla="*/ 454 h 463"/>
              <a:gd name="T78" fmla="*/ 36 w 324"/>
              <a:gd name="T79" fmla="*/ 454 h 463"/>
              <a:gd name="T80" fmla="*/ 10 w 324"/>
              <a:gd name="T81" fmla="*/ 427 h 463"/>
              <a:gd name="T82" fmla="*/ 10 w 324"/>
              <a:gd name="T83" fmla="*/ 35 h 463"/>
              <a:gd name="T84" fmla="*/ 36 w 324"/>
              <a:gd name="T85" fmla="*/ 9 h 463"/>
              <a:gd name="T86" fmla="*/ 289 w 324"/>
              <a:gd name="T87" fmla="*/ 9 h 463"/>
              <a:gd name="T88" fmla="*/ 315 w 324"/>
              <a:gd name="T89" fmla="*/ 35 h 463"/>
              <a:gd name="T90" fmla="*/ 315 w 324"/>
              <a:gd name="T91" fmla="*/ 427 h 463"/>
              <a:gd name="T92" fmla="*/ 162 w 324"/>
              <a:gd name="T93" fmla="*/ 400 h 463"/>
              <a:gd name="T94" fmla="*/ 142 w 324"/>
              <a:gd name="T95" fmla="*/ 421 h 463"/>
              <a:gd name="T96" fmla="*/ 162 w 324"/>
              <a:gd name="T97" fmla="*/ 442 h 463"/>
              <a:gd name="T98" fmla="*/ 183 w 324"/>
              <a:gd name="T99" fmla="*/ 421 h 463"/>
              <a:gd name="T100" fmla="*/ 162 w 324"/>
              <a:gd name="T101" fmla="*/ 400 h 463"/>
              <a:gd name="T102" fmla="*/ 162 w 324"/>
              <a:gd name="T103" fmla="*/ 432 h 463"/>
              <a:gd name="T104" fmla="*/ 151 w 324"/>
              <a:gd name="T105" fmla="*/ 421 h 463"/>
              <a:gd name="T106" fmla="*/ 162 w 324"/>
              <a:gd name="T107" fmla="*/ 410 h 463"/>
              <a:gd name="T108" fmla="*/ 174 w 324"/>
              <a:gd name="T109" fmla="*/ 421 h 463"/>
              <a:gd name="T110" fmla="*/ 162 w 324"/>
              <a:gd name="T111" fmla="*/ 432 h 4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24" h="463">
                <a:moveTo>
                  <a:pt x="162" y="41"/>
                </a:moveTo>
                <a:cubicBezTo>
                  <a:pt x="167" y="41"/>
                  <a:pt x="171" y="37"/>
                  <a:pt x="171" y="33"/>
                </a:cubicBezTo>
                <a:cubicBezTo>
                  <a:pt x="171" y="28"/>
                  <a:pt x="167" y="24"/>
                  <a:pt x="162" y="24"/>
                </a:cubicBezTo>
                <a:cubicBezTo>
                  <a:pt x="158" y="24"/>
                  <a:pt x="154" y="28"/>
                  <a:pt x="154" y="33"/>
                </a:cubicBezTo>
                <a:cubicBezTo>
                  <a:pt x="154" y="37"/>
                  <a:pt x="158" y="41"/>
                  <a:pt x="162" y="41"/>
                </a:cubicBezTo>
                <a:close/>
                <a:moveTo>
                  <a:pt x="162" y="32"/>
                </a:moveTo>
                <a:cubicBezTo>
                  <a:pt x="163" y="32"/>
                  <a:pt x="163" y="32"/>
                  <a:pt x="163" y="33"/>
                </a:cubicBezTo>
                <a:cubicBezTo>
                  <a:pt x="163" y="33"/>
                  <a:pt x="163" y="33"/>
                  <a:pt x="162" y="33"/>
                </a:cubicBezTo>
                <a:cubicBezTo>
                  <a:pt x="162" y="33"/>
                  <a:pt x="161" y="33"/>
                  <a:pt x="161" y="33"/>
                </a:cubicBezTo>
                <a:cubicBezTo>
                  <a:pt x="161" y="32"/>
                  <a:pt x="162" y="32"/>
                  <a:pt x="162" y="32"/>
                </a:cubicBezTo>
                <a:close/>
                <a:moveTo>
                  <a:pt x="280" y="50"/>
                </a:moveTo>
                <a:cubicBezTo>
                  <a:pt x="44" y="50"/>
                  <a:pt x="44" y="50"/>
                  <a:pt x="44" y="50"/>
                </a:cubicBezTo>
                <a:cubicBezTo>
                  <a:pt x="36" y="50"/>
                  <a:pt x="29" y="57"/>
                  <a:pt x="29" y="65"/>
                </a:cubicBezTo>
                <a:cubicBezTo>
                  <a:pt x="29" y="371"/>
                  <a:pt x="29" y="371"/>
                  <a:pt x="29" y="371"/>
                </a:cubicBezTo>
                <a:cubicBezTo>
                  <a:pt x="29" y="379"/>
                  <a:pt x="36" y="386"/>
                  <a:pt x="44" y="386"/>
                </a:cubicBezTo>
                <a:cubicBezTo>
                  <a:pt x="280" y="386"/>
                  <a:pt x="280" y="386"/>
                  <a:pt x="280" y="386"/>
                </a:cubicBezTo>
                <a:cubicBezTo>
                  <a:pt x="289" y="386"/>
                  <a:pt x="296" y="379"/>
                  <a:pt x="296" y="371"/>
                </a:cubicBezTo>
                <a:cubicBezTo>
                  <a:pt x="296" y="65"/>
                  <a:pt x="296" y="65"/>
                  <a:pt x="296" y="65"/>
                </a:cubicBezTo>
                <a:cubicBezTo>
                  <a:pt x="296" y="57"/>
                  <a:pt x="289" y="50"/>
                  <a:pt x="280" y="50"/>
                </a:cubicBezTo>
                <a:close/>
                <a:moveTo>
                  <a:pt x="286" y="371"/>
                </a:moveTo>
                <a:cubicBezTo>
                  <a:pt x="286" y="374"/>
                  <a:pt x="284" y="377"/>
                  <a:pt x="280" y="377"/>
                </a:cubicBezTo>
                <a:cubicBezTo>
                  <a:pt x="44" y="377"/>
                  <a:pt x="44" y="377"/>
                  <a:pt x="44" y="377"/>
                </a:cubicBezTo>
                <a:cubicBezTo>
                  <a:pt x="41" y="377"/>
                  <a:pt x="38" y="374"/>
                  <a:pt x="38" y="371"/>
                </a:cubicBezTo>
                <a:cubicBezTo>
                  <a:pt x="38" y="65"/>
                  <a:pt x="38" y="65"/>
                  <a:pt x="38" y="65"/>
                </a:cubicBezTo>
                <a:cubicBezTo>
                  <a:pt x="38" y="62"/>
                  <a:pt x="41" y="60"/>
                  <a:pt x="44" y="60"/>
                </a:cubicBezTo>
                <a:cubicBezTo>
                  <a:pt x="280" y="60"/>
                  <a:pt x="280" y="60"/>
                  <a:pt x="280" y="60"/>
                </a:cubicBezTo>
                <a:cubicBezTo>
                  <a:pt x="284" y="60"/>
                  <a:pt x="286" y="62"/>
                  <a:pt x="286" y="65"/>
                </a:cubicBezTo>
                <a:lnTo>
                  <a:pt x="286" y="371"/>
                </a:lnTo>
                <a:close/>
                <a:moveTo>
                  <a:pt x="289" y="0"/>
                </a:moveTo>
                <a:cubicBezTo>
                  <a:pt x="36" y="0"/>
                  <a:pt x="36" y="0"/>
                  <a:pt x="36" y="0"/>
                </a:cubicBezTo>
                <a:cubicBezTo>
                  <a:pt x="16" y="0"/>
                  <a:pt x="0" y="16"/>
                  <a:pt x="0" y="35"/>
                </a:cubicBezTo>
                <a:cubicBezTo>
                  <a:pt x="0" y="427"/>
                  <a:pt x="0" y="427"/>
                  <a:pt x="0" y="427"/>
                </a:cubicBezTo>
                <a:cubicBezTo>
                  <a:pt x="0" y="447"/>
                  <a:pt x="16" y="463"/>
                  <a:pt x="36" y="463"/>
                </a:cubicBezTo>
                <a:cubicBezTo>
                  <a:pt x="289" y="463"/>
                  <a:pt x="289" y="463"/>
                  <a:pt x="289" y="463"/>
                </a:cubicBezTo>
                <a:cubicBezTo>
                  <a:pt x="308" y="463"/>
                  <a:pt x="324" y="447"/>
                  <a:pt x="324" y="427"/>
                </a:cubicBezTo>
                <a:cubicBezTo>
                  <a:pt x="324" y="35"/>
                  <a:pt x="324" y="35"/>
                  <a:pt x="324" y="35"/>
                </a:cubicBezTo>
                <a:cubicBezTo>
                  <a:pt x="324" y="16"/>
                  <a:pt x="308" y="0"/>
                  <a:pt x="289" y="0"/>
                </a:cubicBezTo>
                <a:close/>
                <a:moveTo>
                  <a:pt x="315" y="427"/>
                </a:moveTo>
                <a:cubicBezTo>
                  <a:pt x="315" y="442"/>
                  <a:pt x="303" y="454"/>
                  <a:pt x="289" y="454"/>
                </a:cubicBezTo>
                <a:cubicBezTo>
                  <a:pt x="36" y="454"/>
                  <a:pt x="36" y="454"/>
                  <a:pt x="36" y="454"/>
                </a:cubicBezTo>
                <a:cubicBezTo>
                  <a:pt x="21" y="454"/>
                  <a:pt x="10" y="442"/>
                  <a:pt x="10" y="427"/>
                </a:cubicBezTo>
                <a:cubicBezTo>
                  <a:pt x="10" y="35"/>
                  <a:pt x="10" y="35"/>
                  <a:pt x="10" y="35"/>
                </a:cubicBezTo>
                <a:cubicBezTo>
                  <a:pt x="10" y="21"/>
                  <a:pt x="21" y="9"/>
                  <a:pt x="36" y="9"/>
                </a:cubicBezTo>
                <a:cubicBezTo>
                  <a:pt x="289" y="9"/>
                  <a:pt x="289" y="9"/>
                  <a:pt x="289" y="9"/>
                </a:cubicBezTo>
                <a:cubicBezTo>
                  <a:pt x="303" y="9"/>
                  <a:pt x="315" y="21"/>
                  <a:pt x="315" y="35"/>
                </a:cubicBezTo>
                <a:lnTo>
                  <a:pt x="315" y="427"/>
                </a:lnTo>
                <a:close/>
                <a:moveTo>
                  <a:pt x="162" y="400"/>
                </a:moveTo>
                <a:cubicBezTo>
                  <a:pt x="151" y="400"/>
                  <a:pt x="142" y="410"/>
                  <a:pt x="142" y="421"/>
                </a:cubicBezTo>
                <a:cubicBezTo>
                  <a:pt x="142" y="432"/>
                  <a:pt x="151" y="442"/>
                  <a:pt x="162" y="442"/>
                </a:cubicBezTo>
                <a:cubicBezTo>
                  <a:pt x="174" y="442"/>
                  <a:pt x="183" y="432"/>
                  <a:pt x="183" y="421"/>
                </a:cubicBezTo>
                <a:cubicBezTo>
                  <a:pt x="183" y="410"/>
                  <a:pt x="174" y="400"/>
                  <a:pt x="162" y="400"/>
                </a:cubicBezTo>
                <a:close/>
                <a:moveTo>
                  <a:pt x="162" y="432"/>
                </a:moveTo>
                <a:cubicBezTo>
                  <a:pt x="156" y="432"/>
                  <a:pt x="151" y="427"/>
                  <a:pt x="151" y="421"/>
                </a:cubicBezTo>
                <a:cubicBezTo>
                  <a:pt x="151" y="415"/>
                  <a:pt x="156" y="410"/>
                  <a:pt x="162" y="410"/>
                </a:cubicBezTo>
                <a:cubicBezTo>
                  <a:pt x="169" y="410"/>
                  <a:pt x="174" y="415"/>
                  <a:pt x="174" y="421"/>
                </a:cubicBezTo>
                <a:cubicBezTo>
                  <a:pt x="174" y="427"/>
                  <a:pt x="169" y="432"/>
                  <a:pt x="162" y="432"/>
                </a:cubicBez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13" name="Oval 11"/>
          <p:cNvSpPr>
            <a:spLocks noChangeArrowheads="1"/>
          </p:cNvSpPr>
          <p:nvPr/>
        </p:nvSpPr>
        <p:spPr bwMode="auto">
          <a:xfrm>
            <a:off x="1315706" y="3120088"/>
            <a:ext cx="1119124" cy="1119124"/>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24" name="Freeform 19"/>
          <p:cNvSpPr>
            <a:spLocks noEditPoints="1"/>
          </p:cNvSpPr>
          <p:nvPr/>
        </p:nvSpPr>
        <p:spPr bwMode="auto">
          <a:xfrm>
            <a:off x="1651975" y="3302179"/>
            <a:ext cx="447251" cy="736335"/>
          </a:xfrm>
          <a:custGeom>
            <a:avLst/>
            <a:gdLst>
              <a:gd name="T0" fmla="*/ 143 w 285"/>
              <a:gd name="T1" fmla="*/ 396 h 469"/>
              <a:gd name="T2" fmla="*/ 118 w 285"/>
              <a:gd name="T3" fmla="*/ 420 h 469"/>
              <a:gd name="T4" fmla="*/ 143 w 285"/>
              <a:gd name="T5" fmla="*/ 446 h 469"/>
              <a:gd name="T6" fmla="*/ 169 w 285"/>
              <a:gd name="T7" fmla="*/ 420 h 469"/>
              <a:gd name="T8" fmla="*/ 143 w 285"/>
              <a:gd name="T9" fmla="*/ 396 h 469"/>
              <a:gd name="T10" fmla="*/ 143 w 285"/>
              <a:gd name="T11" fmla="*/ 437 h 469"/>
              <a:gd name="T12" fmla="*/ 128 w 285"/>
              <a:gd name="T13" fmla="*/ 420 h 469"/>
              <a:gd name="T14" fmla="*/ 143 w 285"/>
              <a:gd name="T15" fmla="*/ 405 h 469"/>
              <a:gd name="T16" fmla="*/ 159 w 285"/>
              <a:gd name="T17" fmla="*/ 420 h 469"/>
              <a:gd name="T18" fmla="*/ 143 w 285"/>
              <a:gd name="T19" fmla="*/ 437 h 469"/>
              <a:gd name="T20" fmla="*/ 247 w 285"/>
              <a:gd name="T21" fmla="*/ 36 h 469"/>
              <a:gd name="T22" fmla="*/ 38 w 285"/>
              <a:gd name="T23" fmla="*/ 36 h 469"/>
              <a:gd name="T24" fmla="*/ 33 w 285"/>
              <a:gd name="T25" fmla="*/ 41 h 469"/>
              <a:gd name="T26" fmla="*/ 33 w 285"/>
              <a:gd name="T27" fmla="*/ 379 h 469"/>
              <a:gd name="T28" fmla="*/ 38 w 285"/>
              <a:gd name="T29" fmla="*/ 383 h 469"/>
              <a:gd name="T30" fmla="*/ 247 w 285"/>
              <a:gd name="T31" fmla="*/ 383 h 469"/>
              <a:gd name="T32" fmla="*/ 252 w 285"/>
              <a:gd name="T33" fmla="*/ 379 h 469"/>
              <a:gd name="T34" fmla="*/ 252 w 285"/>
              <a:gd name="T35" fmla="*/ 41 h 469"/>
              <a:gd name="T36" fmla="*/ 247 w 285"/>
              <a:gd name="T37" fmla="*/ 36 h 469"/>
              <a:gd name="T38" fmla="*/ 243 w 285"/>
              <a:gd name="T39" fmla="*/ 374 h 469"/>
              <a:gd name="T40" fmla="*/ 43 w 285"/>
              <a:gd name="T41" fmla="*/ 374 h 469"/>
              <a:gd name="T42" fmla="*/ 43 w 285"/>
              <a:gd name="T43" fmla="*/ 45 h 469"/>
              <a:gd name="T44" fmla="*/ 243 w 285"/>
              <a:gd name="T45" fmla="*/ 45 h 469"/>
              <a:gd name="T46" fmla="*/ 243 w 285"/>
              <a:gd name="T47" fmla="*/ 374 h 469"/>
              <a:gd name="T48" fmla="*/ 257 w 285"/>
              <a:gd name="T49" fmla="*/ 0 h 469"/>
              <a:gd name="T50" fmla="*/ 29 w 285"/>
              <a:gd name="T51" fmla="*/ 0 h 469"/>
              <a:gd name="T52" fmla="*/ 0 w 285"/>
              <a:gd name="T53" fmla="*/ 29 h 469"/>
              <a:gd name="T54" fmla="*/ 0 w 285"/>
              <a:gd name="T55" fmla="*/ 441 h 469"/>
              <a:gd name="T56" fmla="*/ 29 w 285"/>
              <a:gd name="T57" fmla="*/ 469 h 469"/>
              <a:gd name="T58" fmla="*/ 257 w 285"/>
              <a:gd name="T59" fmla="*/ 469 h 469"/>
              <a:gd name="T60" fmla="*/ 285 w 285"/>
              <a:gd name="T61" fmla="*/ 441 h 469"/>
              <a:gd name="T62" fmla="*/ 285 w 285"/>
              <a:gd name="T63" fmla="*/ 29 h 469"/>
              <a:gd name="T64" fmla="*/ 257 w 285"/>
              <a:gd name="T65" fmla="*/ 0 h 469"/>
              <a:gd name="T66" fmla="*/ 275 w 285"/>
              <a:gd name="T67" fmla="*/ 441 h 469"/>
              <a:gd name="T68" fmla="*/ 257 w 285"/>
              <a:gd name="T69" fmla="*/ 459 h 469"/>
              <a:gd name="T70" fmla="*/ 29 w 285"/>
              <a:gd name="T71" fmla="*/ 459 h 469"/>
              <a:gd name="T72" fmla="*/ 10 w 285"/>
              <a:gd name="T73" fmla="*/ 441 h 469"/>
              <a:gd name="T74" fmla="*/ 10 w 285"/>
              <a:gd name="T75" fmla="*/ 29 h 469"/>
              <a:gd name="T76" fmla="*/ 29 w 285"/>
              <a:gd name="T77" fmla="*/ 10 h 469"/>
              <a:gd name="T78" fmla="*/ 257 w 285"/>
              <a:gd name="T79" fmla="*/ 10 h 469"/>
              <a:gd name="T80" fmla="*/ 275 w 285"/>
              <a:gd name="T81" fmla="*/ 29 h 469"/>
              <a:gd name="T82" fmla="*/ 275 w 285"/>
              <a:gd name="T83" fmla="*/ 441 h 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85" h="469">
                <a:moveTo>
                  <a:pt x="143" y="396"/>
                </a:moveTo>
                <a:cubicBezTo>
                  <a:pt x="128" y="396"/>
                  <a:pt x="118" y="408"/>
                  <a:pt x="118" y="420"/>
                </a:cubicBezTo>
                <a:cubicBezTo>
                  <a:pt x="118" y="435"/>
                  <a:pt x="129" y="446"/>
                  <a:pt x="143" y="446"/>
                </a:cubicBezTo>
                <a:cubicBezTo>
                  <a:pt x="157" y="446"/>
                  <a:pt x="169" y="435"/>
                  <a:pt x="169" y="420"/>
                </a:cubicBezTo>
                <a:cubicBezTo>
                  <a:pt x="169" y="407"/>
                  <a:pt x="157" y="396"/>
                  <a:pt x="143" y="396"/>
                </a:cubicBezTo>
                <a:close/>
                <a:moveTo>
                  <a:pt x="143" y="437"/>
                </a:moveTo>
                <a:cubicBezTo>
                  <a:pt x="133" y="437"/>
                  <a:pt x="128" y="428"/>
                  <a:pt x="128" y="420"/>
                </a:cubicBezTo>
                <a:cubicBezTo>
                  <a:pt x="128" y="413"/>
                  <a:pt x="133" y="405"/>
                  <a:pt x="143" y="405"/>
                </a:cubicBezTo>
                <a:cubicBezTo>
                  <a:pt x="152" y="405"/>
                  <a:pt x="159" y="413"/>
                  <a:pt x="159" y="420"/>
                </a:cubicBezTo>
                <a:cubicBezTo>
                  <a:pt x="159" y="429"/>
                  <a:pt x="152" y="437"/>
                  <a:pt x="143" y="437"/>
                </a:cubicBezTo>
                <a:close/>
                <a:moveTo>
                  <a:pt x="247" y="36"/>
                </a:moveTo>
                <a:cubicBezTo>
                  <a:pt x="38" y="36"/>
                  <a:pt x="38" y="36"/>
                  <a:pt x="38" y="36"/>
                </a:cubicBezTo>
                <a:cubicBezTo>
                  <a:pt x="35" y="36"/>
                  <a:pt x="33" y="38"/>
                  <a:pt x="33" y="41"/>
                </a:cubicBezTo>
                <a:cubicBezTo>
                  <a:pt x="33" y="379"/>
                  <a:pt x="33" y="379"/>
                  <a:pt x="33" y="379"/>
                </a:cubicBezTo>
                <a:cubicBezTo>
                  <a:pt x="33" y="381"/>
                  <a:pt x="35" y="383"/>
                  <a:pt x="38" y="383"/>
                </a:cubicBezTo>
                <a:cubicBezTo>
                  <a:pt x="247" y="383"/>
                  <a:pt x="247" y="383"/>
                  <a:pt x="247" y="383"/>
                </a:cubicBezTo>
                <a:cubicBezTo>
                  <a:pt x="250" y="383"/>
                  <a:pt x="252" y="381"/>
                  <a:pt x="252" y="379"/>
                </a:cubicBezTo>
                <a:cubicBezTo>
                  <a:pt x="252" y="41"/>
                  <a:pt x="252" y="41"/>
                  <a:pt x="252" y="41"/>
                </a:cubicBezTo>
                <a:cubicBezTo>
                  <a:pt x="252" y="38"/>
                  <a:pt x="250" y="36"/>
                  <a:pt x="247" y="36"/>
                </a:cubicBezTo>
                <a:close/>
                <a:moveTo>
                  <a:pt x="243" y="374"/>
                </a:moveTo>
                <a:cubicBezTo>
                  <a:pt x="43" y="374"/>
                  <a:pt x="43" y="374"/>
                  <a:pt x="43" y="374"/>
                </a:cubicBezTo>
                <a:cubicBezTo>
                  <a:pt x="43" y="45"/>
                  <a:pt x="43" y="45"/>
                  <a:pt x="43" y="45"/>
                </a:cubicBezTo>
                <a:cubicBezTo>
                  <a:pt x="243" y="45"/>
                  <a:pt x="243" y="45"/>
                  <a:pt x="243" y="45"/>
                </a:cubicBezTo>
                <a:lnTo>
                  <a:pt x="243" y="374"/>
                </a:lnTo>
                <a:close/>
                <a:moveTo>
                  <a:pt x="257" y="0"/>
                </a:moveTo>
                <a:cubicBezTo>
                  <a:pt x="29" y="0"/>
                  <a:pt x="29" y="0"/>
                  <a:pt x="29" y="0"/>
                </a:cubicBezTo>
                <a:cubicBezTo>
                  <a:pt x="15" y="0"/>
                  <a:pt x="0" y="12"/>
                  <a:pt x="0" y="29"/>
                </a:cubicBezTo>
                <a:cubicBezTo>
                  <a:pt x="0" y="441"/>
                  <a:pt x="0" y="441"/>
                  <a:pt x="0" y="441"/>
                </a:cubicBezTo>
                <a:cubicBezTo>
                  <a:pt x="0" y="457"/>
                  <a:pt x="15" y="469"/>
                  <a:pt x="29" y="469"/>
                </a:cubicBezTo>
                <a:cubicBezTo>
                  <a:pt x="257" y="469"/>
                  <a:pt x="257" y="469"/>
                  <a:pt x="257" y="469"/>
                </a:cubicBezTo>
                <a:cubicBezTo>
                  <a:pt x="270" y="469"/>
                  <a:pt x="285" y="457"/>
                  <a:pt x="285" y="441"/>
                </a:cubicBezTo>
                <a:cubicBezTo>
                  <a:pt x="285" y="29"/>
                  <a:pt x="285" y="29"/>
                  <a:pt x="285" y="29"/>
                </a:cubicBezTo>
                <a:cubicBezTo>
                  <a:pt x="285" y="12"/>
                  <a:pt x="270" y="0"/>
                  <a:pt x="257" y="0"/>
                </a:cubicBezTo>
                <a:close/>
                <a:moveTo>
                  <a:pt x="275" y="441"/>
                </a:moveTo>
                <a:cubicBezTo>
                  <a:pt x="275" y="452"/>
                  <a:pt x="266" y="459"/>
                  <a:pt x="257" y="459"/>
                </a:cubicBezTo>
                <a:cubicBezTo>
                  <a:pt x="29" y="459"/>
                  <a:pt x="29" y="459"/>
                  <a:pt x="29" y="459"/>
                </a:cubicBezTo>
                <a:cubicBezTo>
                  <a:pt x="20" y="459"/>
                  <a:pt x="10" y="452"/>
                  <a:pt x="10" y="441"/>
                </a:cubicBezTo>
                <a:cubicBezTo>
                  <a:pt x="10" y="29"/>
                  <a:pt x="10" y="29"/>
                  <a:pt x="10" y="29"/>
                </a:cubicBezTo>
                <a:cubicBezTo>
                  <a:pt x="10" y="17"/>
                  <a:pt x="20" y="10"/>
                  <a:pt x="29" y="10"/>
                </a:cubicBezTo>
                <a:cubicBezTo>
                  <a:pt x="257" y="10"/>
                  <a:pt x="257" y="10"/>
                  <a:pt x="257" y="10"/>
                </a:cubicBezTo>
                <a:cubicBezTo>
                  <a:pt x="266" y="10"/>
                  <a:pt x="275" y="17"/>
                  <a:pt x="275" y="29"/>
                </a:cubicBezTo>
                <a:lnTo>
                  <a:pt x="275" y="441"/>
                </a:ln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12" name="Oval 10"/>
          <p:cNvSpPr>
            <a:spLocks noChangeArrowheads="1"/>
          </p:cNvSpPr>
          <p:nvPr/>
        </p:nvSpPr>
        <p:spPr bwMode="auto">
          <a:xfrm>
            <a:off x="3073678" y="3120088"/>
            <a:ext cx="1119124" cy="1119124"/>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25" name="Freeform 20"/>
          <p:cNvSpPr>
            <a:spLocks noEditPoints="1"/>
          </p:cNvSpPr>
          <p:nvPr/>
        </p:nvSpPr>
        <p:spPr bwMode="auto">
          <a:xfrm>
            <a:off x="3340673" y="3311483"/>
            <a:ext cx="539970" cy="736335"/>
          </a:xfrm>
          <a:custGeom>
            <a:avLst/>
            <a:gdLst>
              <a:gd name="T0" fmla="*/ 172 w 344"/>
              <a:gd name="T1" fmla="*/ 399 h 469"/>
              <a:gd name="T2" fmla="*/ 148 w 344"/>
              <a:gd name="T3" fmla="*/ 423 h 469"/>
              <a:gd name="T4" fmla="*/ 172 w 344"/>
              <a:gd name="T5" fmla="*/ 449 h 469"/>
              <a:gd name="T6" fmla="*/ 198 w 344"/>
              <a:gd name="T7" fmla="*/ 423 h 469"/>
              <a:gd name="T8" fmla="*/ 172 w 344"/>
              <a:gd name="T9" fmla="*/ 399 h 469"/>
              <a:gd name="T10" fmla="*/ 172 w 344"/>
              <a:gd name="T11" fmla="*/ 440 h 469"/>
              <a:gd name="T12" fmla="*/ 157 w 344"/>
              <a:gd name="T13" fmla="*/ 423 h 469"/>
              <a:gd name="T14" fmla="*/ 172 w 344"/>
              <a:gd name="T15" fmla="*/ 408 h 469"/>
              <a:gd name="T16" fmla="*/ 189 w 344"/>
              <a:gd name="T17" fmla="*/ 423 h 469"/>
              <a:gd name="T18" fmla="*/ 172 w 344"/>
              <a:gd name="T19" fmla="*/ 440 h 469"/>
              <a:gd name="T20" fmla="*/ 316 w 344"/>
              <a:gd name="T21" fmla="*/ 0 h 469"/>
              <a:gd name="T22" fmla="*/ 28 w 344"/>
              <a:gd name="T23" fmla="*/ 0 h 469"/>
              <a:gd name="T24" fmla="*/ 0 w 344"/>
              <a:gd name="T25" fmla="*/ 28 h 469"/>
              <a:gd name="T26" fmla="*/ 0 w 344"/>
              <a:gd name="T27" fmla="*/ 440 h 469"/>
              <a:gd name="T28" fmla="*/ 28 w 344"/>
              <a:gd name="T29" fmla="*/ 469 h 469"/>
              <a:gd name="T30" fmla="*/ 316 w 344"/>
              <a:gd name="T31" fmla="*/ 469 h 469"/>
              <a:gd name="T32" fmla="*/ 344 w 344"/>
              <a:gd name="T33" fmla="*/ 440 h 469"/>
              <a:gd name="T34" fmla="*/ 344 w 344"/>
              <a:gd name="T35" fmla="*/ 28 h 469"/>
              <a:gd name="T36" fmla="*/ 316 w 344"/>
              <a:gd name="T37" fmla="*/ 0 h 469"/>
              <a:gd name="T38" fmla="*/ 335 w 344"/>
              <a:gd name="T39" fmla="*/ 440 h 469"/>
              <a:gd name="T40" fmla="*/ 316 w 344"/>
              <a:gd name="T41" fmla="*/ 459 h 469"/>
              <a:gd name="T42" fmla="*/ 28 w 344"/>
              <a:gd name="T43" fmla="*/ 459 h 469"/>
              <a:gd name="T44" fmla="*/ 9 w 344"/>
              <a:gd name="T45" fmla="*/ 440 h 469"/>
              <a:gd name="T46" fmla="*/ 9 w 344"/>
              <a:gd name="T47" fmla="*/ 28 h 469"/>
              <a:gd name="T48" fmla="*/ 28 w 344"/>
              <a:gd name="T49" fmla="*/ 10 h 469"/>
              <a:gd name="T50" fmla="*/ 316 w 344"/>
              <a:gd name="T51" fmla="*/ 10 h 469"/>
              <a:gd name="T52" fmla="*/ 335 w 344"/>
              <a:gd name="T53" fmla="*/ 28 h 469"/>
              <a:gd name="T54" fmla="*/ 335 w 344"/>
              <a:gd name="T55" fmla="*/ 440 h 469"/>
              <a:gd name="T56" fmla="*/ 307 w 344"/>
              <a:gd name="T57" fmla="*/ 36 h 469"/>
              <a:gd name="T58" fmla="*/ 37 w 344"/>
              <a:gd name="T59" fmla="*/ 36 h 469"/>
              <a:gd name="T60" fmla="*/ 32 w 344"/>
              <a:gd name="T61" fmla="*/ 41 h 469"/>
              <a:gd name="T62" fmla="*/ 32 w 344"/>
              <a:gd name="T63" fmla="*/ 383 h 469"/>
              <a:gd name="T64" fmla="*/ 37 w 344"/>
              <a:gd name="T65" fmla="*/ 388 h 469"/>
              <a:gd name="T66" fmla="*/ 307 w 344"/>
              <a:gd name="T67" fmla="*/ 388 h 469"/>
              <a:gd name="T68" fmla="*/ 311 w 344"/>
              <a:gd name="T69" fmla="*/ 383 h 469"/>
              <a:gd name="T70" fmla="*/ 311 w 344"/>
              <a:gd name="T71" fmla="*/ 41 h 469"/>
              <a:gd name="T72" fmla="*/ 307 w 344"/>
              <a:gd name="T73" fmla="*/ 36 h 469"/>
              <a:gd name="T74" fmla="*/ 302 w 344"/>
              <a:gd name="T75" fmla="*/ 378 h 469"/>
              <a:gd name="T76" fmla="*/ 42 w 344"/>
              <a:gd name="T77" fmla="*/ 378 h 469"/>
              <a:gd name="T78" fmla="*/ 42 w 344"/>
              <a:gd name="T79" fmla="*/ 45 h 469"/>
              <a:gd name="T80" fmla="*/ 302 w 344"/>
              <a:gd name="T81" fmla="*/ 45 h 469"/>
              <a:gd name="T82" fmla="*/ 302 w 344"/>
              <a:gd name="T83" fmla="*/ 378 h 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44" h="469">
                <a:moveTo>
                  <a:pt x="172" y="399"/>
                </a:moveTo>
                <a:cubicBezTo>
                  <a:pt x="157" y="399"/>
                  <a:pt x="148" y="411"/>
                  <a:pt x="148" y="423"/>
                </a:cubicBezTo>
                <a:cubicBezTo>
                  <a:pt x="148" y="438"/>
                  <a:pt x="158" y="449"/>
                  <a:pt x="172" y="449"/>
                </a:cubicBezTo>
                <a:cubicBezTo>
                  <a:pt x="186" y="449"/>
                  <a:pt x="198" y="437"/>
                  <a:pt x="198" y="423"/>
                </a:cubicBezTo>
                <a:cubicBezTo>
                  <a:pt x="198" y="410"/>
                  <a:pt x="186" y="399"/>
                  <a:pt x="172" y="399"/>
                </a:cubicBezTo>
                <a:close/>
                <a:moveTo>
                  <a:pt x="172" y="440"/>
                </a:moveTo>
                <a:cubicBezTo>
                  <a:pt x="162" y="440"/>
                  <a:pt x="157" y="431"/>
                  <a:pt x="157" y="423"/>
                </a:cubicBezTo>
                <a:cubicBezTo>
                  <a:pt x="157" y="416"/>
                  <a:pt x="163" y="408"/>
                  <a:pt x="172" y="408"/>
                </a:cubicBezTo>
                <a:cubicBezTo>
                  <a:pt x="181" y="408"/>
                  <a:pt x="189" y="416"/>
                  <a:pt x="189" y="423"/>
                </a:cubicBezTo>
                <a:cubicBezTo>
                  <a:pt x="189" y="432"/>
                  <a:pt x="181" y="440"/>
                  <a:pt x="172" y="440"/>
                </a:cubicBezTo>
                <a:close/>
                <a:moveTo>
                  <a:pt x="316" y="0"/>
                </a:moveTo>
                <a:cubicBezTo>
                  <a:pt x="28" y="0"/>
                  <a:pt x="28" y="0"/>
                  <a:pt x="28" y="0"/>
                </a:cubicBezTo>
                <a:cubicBezTo>
                  <a:pt x="14" y="0"/>
                  <a:pt x="0" y="12"/>
                  <a:pt x="0" y="28"/>
                </a:cubicBezTo>
                <a:cubicBezTo>
                  <a:pt x="0" y="440"/>
                  <a:pt x="0" y="440"/>
                  <a:pt x="0" y="440"/>
                </a:cubicBezTo>
                <a:cubicBezTo>
                  <a:pt x="0" y="457"/>
                  <a:pt x="14" y="469"/>
                  <a:pt x="28" y="469"/>
                </a:cubicBezTo>
                <a:cubicBezTo>
                  <a:pt x="316" y="469"/>
                  <a:pt x="316" y="469"/>
                  <a:pt x="316" y="469"/>
                </a:cubicBezTo>
                <a:cubicBezTo>
                  <a:pt x="330" y="469"/>
                  <a:pt x="344" y="457"/>
                  <a:pt x="344" y="440"/>
                </a:cubicBezTo>
                <a:cubicBezTo>
                  <a:pt x="344" y="28"/>
                  <a:pt x="344" y="28"/>
                  <a:pt x="344" y="28"/>
                </a:cubicBezTo>
                <a:cubicBezTo>
                  <a:pt x="344" y="12"/>
                  <a:pt x="330" y="0"/>
                  <a:pt x="316" y="0"/>
                </a:cubicBezTo>
                <a:close/>
                <a:moveTo>
                  <a:pt x="335" y="440"/>
                </a:moveTo>
                <a:cubicBezTo>
                  <a:pt x="335" y="452"/>
                  <a:pt x="325" y="459"/>
                  <a:pt x="316" y="459"/>
                </a:cubicBezTo>
                <a:cubicBezTo>
                  <a:pt x="28" y="459"/>
                  <a:pt x="28" y="459"/>
                  <a:pt x="28" y="459"/>
                </a:cubicBezTo>
                <a:cubicBezTo>
                  <a:pt x="19" y="459"/>
                  <a:pt x="9" y="452"/>
                  <a:pt x="9" y="440"/>
                </a:cubicBezTo>
                <a:cubicBezTo>
                  <a:pt x="9" y="28"/>
                  <a:pt x="9" y="28"/>
                  <a:pt x="9" y="28"/>
                </a:cubicBezTo>
                <a:cubicBezTo>
                  <a:pt x="9" y="17"/>
                  <a:pt x="19" y="10"/>
                  <a:pt x="28" y="10"/>
                </a:cubicBezTo>
                <a:cubicBezTo>
                  <a:pt x="316" y="10"/>
                  <a:pt x="316" y="10"/>
                  <a:pt x="316" y="10"/>
                </a:cubicBezTo>
                <a:cubicBezTo>
                  <a:pt x="325" y="10"/>
                  <a:pt x="335" y="17"/>
                  <a:pt x="335" y="28"/>
                </a:cubicBezTo>
                <a:lnTo>
                  <a:pt x="335" y="440"/>
                </a:lnTo>
                <a:close/>
                <a:moveTo>
                  <a:pt x="307" y="36"/>
                </a:moveTo>
                <a:cubicBezTo>
                  <a:pt x="37" y="36"/>
                  <a:pt x="37" y="36"/>
                  <a:pt x="37" y="36"/>
                </a:cubicBezTo>
                <a:cubicBezTo>
                  <a:pt x="34" y="36"/>
                  <a:pt x="32" y="38"/>
                  <a:pt x="32" y="41"/>
                </a:cubicBezTo>
                <a:cubicBezTo>
                  <a:pt x="32" y="383"/>
                  <a:pt x="32" y="383"/>
                  <a:pt x="32" y="383"/>
                </a:cubicBezTo>
                <a:cubicBezTo>
                  <a:pt x="32" y="386"/>
                  <a:pt x="34" y="388"/>
                  <a:pt x="37" y="388"/>
                </a:cubicBezTo>
                <a:cubicBezTo>
                  <a:pt x="307" y="388"/>
                  <a:pt x="307" y="388"/>
                  <a:pt x="307" y="388"/>
                </a:cubicBezTo>
                <a:cubicBezTo>
                  <a:pt x="309" y="388"/>
                  <a:pt x="311" y="386"/>
                  <a:pt x="311" y="383"/>
                </a:cubicBezTo>
                <a:cubicBezTo>
                  <a:pt x="311" y="41"/>
                  <a:pt x="311" y="41"/>
                  <a:pt x="311" y="41"/>
                </a:cubicBezTo>
                <a:cubicBezTo>
                  <a:pt x="311" y="38"/>
                  <a:pt x="309" y="36"/>
                  <a:pt x="307" y="36"/>
                </a:cubicBezTo>
                <a:close/>
                <a:moveTo>
                  <a:pt x="302" y="378"/>
                </a:moveTo>
                <a:cubicBezTo>
                  <a:pt x="42" y="378"/>
                  <a:pt x="42" y="378"/>
                  <a:pt x="42" y="378"/>
                </a:cubicBezTo>
                <a:cubicBezTo>
                  <a:pt x="42" y="45"/>
                  <a:pt x="42" y="45"/>
                  <a:pt x="42" y="45"/>
                </a:cubicBezTo>
                <a:cubicBezTo>
                  <a:pt x="302" y="45"/>
                  <a:pt x="302" y="45"/>
                  <a:pt x="302" y="45"/>
                </a:cubicBezTo>
                <a:lnTo>
                  <a:pt x="302" y="378"/>
                </a:ln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20" name="Oval 15"/>
          <p:cNvSpPr>
            <a:spLocks noChangeArrowheads="1"/>
          </p:cNvSpPr>
          <p:nvPr/>
        </p:nvSpPr>
        <p:spPr bwMode="auto">
          <a:xfrm>
            <a:off x="1315706" y="1528549"/>
            <a:ext cx="1119124" cy="1119124"/>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26" name="Freeform 21"/>
          <p:cNvSpPr>
            <a:spLocks noEditPoints="1"/>
          </p:cNvSpPr>
          <p:nvPr/>
        </p:nvSpPr>
        <p:spPr bwMode="auto">
          <a:xfrm>
            <a:off x="1571411" y="1782927"/>
            <a:ext cx="607714" cy="609043"/>
          </a:xfrm>
          <a:custGeom>
            <a:avLst/>
            <a:gdLst>
              <a:gd name="T0" fmla="*/ 68 w 387"/>
              <a:gd name="T1" fmla="*/ 320 h 388"/>
              <a:gd name="T2" fmla="*/ 41 w 387"/>
              <a:gd name="T3" fmla="*/ 262 h 388"/>
              <a:gd name="T4" fmla="*/ 62 w 387"/>
              <a:gd name="T5" fmla="*/ 326 h 388"/>
              <a:gd name="T6" fmla="*/ 121 w 387"/>
              <a:gd name="T7" fmla="*/ 352 h 388"/>
              <a:gd name="T8" fmla="*/ 121 w 387"/>
              <a:gd name="T9" fmla="*/ 343 h 388"/>
              <a:gd name="T10" fmla="*/ 50 w 387"/>
              <a:gd name="T11" fmla="*/ 338 h 388"/>
              <a:gd name="T12" fmla="*/ 16 w 387"/>
              <a:gd name="T13" fmla="*/ 263 h 388"/>
              <a:gd name="T14" fmla="*/ 11 w 387"/>
              <a:gd name="T15" fmla="*/ 267 h 388"/>
              <a:gd name="T16" fmla="*/ 121 w 387"/>
              <a:gd name="T17" fmla="*/ 377 h 388"/>
              <a:gd name="T18" fmla="*/ 125 w 387"/>
              <a:gd name="T19" fmla="*/ 372 h 388"/>
              <a:gd name="T20" fmla="*/ 386 w 387"/>
              <a:gd name="T21" fmla="*/ 329 h 388"/>
              <a:gd name="T22" fmla="*/ 290 w 387"/>
              <a:gd name="T23" fmla="*/ 240 h 388"/>
              <a:gd name="T24" fmla="*/ 248 w 387"/>
              <a:gd name="T25" fmla="*/ 242 h 388"/>
              <a:gd name="T26" fmla="*/ 292 w 387"/>
              <a:gd name="T27" fmla="*/ 96 h 388"/>
              <a:gd name="T28" fmla="*/ 190 w 387"/>
              <a:gd name="T29" fmla="*/ 96 h 388"/>
              <a:gd name="T30" fmla="*/ 126 w 387"/>
              <a:gd name="T31" fmla="*/ 120 h 388"/>
              <a:gd name="T32" fmla="*/ 148 w 387"/>
              <a:gd name="T33" fmla="*/ 92 h 388"/>
              <a:gd name="T34" fmla="*/ 52 w 387"/>
              <a:gd name="T35" fmla="*/ 2 h 388"/>
              <a:gd name="T36" fmla="*/ 2 w 387"/>
              <a:gd name="T37" fmla="*/ 59 h 388"/>
              <a:gd name="T38" fmla="*/ 94 w 387"/>
              <a:gd name="T39" fmla="*/ 150 h 388"/>
              <a:gd name="T40" fmla="*/ 120 w 387"/>
              <a:gd name="T41" fmla="*/ 127 h 388"/>
              <a:gd name="T42" fmla="*/ 104 w 387"/>
              <a:gd name="T43" fmla="*/ 182 h 388"/>
              <a:gd name="T44" fmla="*/ 127 w 387"/>
              <a:gd name="T45" fmla="*/ 211 h 388"/>
              <a:gd name="T46" fmla="*/ 57 w 387"/>
              <a:gd name="T47" fmla="*/ 229 h 388"/>
              <a:gd name="T48" fmla="*/ 152 w 387"/>
              <a:gd name="T49" fmla="*/ 331 h 388"/>
              <a:gd name="T50" fmla="*/ 159 w 387"/>
              <a:gd name="T51" fmla="*/ 331 h 388"/>
              <a:gd name="T52" fmla="*/ 177 w 387"/>
              <a:gd name="T53" fmla="*/ 261 h 388"/>
              <a:gd name="T54" fmla="*/ 203 w 387"/>
              <a:gd name="T55" fmla="*/ 285 h 388"/>
              <a:gd name="T56" fmla="*/ 241 w 387"/>
              <a:gd name="T57" fmla="*/ 248 h 388"/>
              <a:gd name="T58" fmla="*/ 239 w 387"/>
              <a:gd name="T59" fmla="*/ 290 h 388"/>
              <a:gd name="T60" fmla="*/ 239 w 387"/>
              <a:gd name="T61" fmla="*/ 297 h 388"/>
              <a:gd name="T62" fmla="*/ 332 w 387"/>
              <a:gd name="T63" fmla="*/ 388 h 388"/>
              <a:gd name="T64" fmla="*/ 386 w 387"/>
              <a:gd name="T65" fmla="*/ 336 h 388"/>
              <a:gd name="T66" fmla="*/ 386 w 387"/>
              <a:gd name="T67" fmla="*/ 329 h 388"/>
              <a:gd name="T68" fmla="*/ 116 w 387"/>
              <a:gd name="T69" fmla="*/ 117 h 388"/>
              <a:gd name="T70" fmla="*/ 94 w 387"/>
              <a:gd name="T71" fmla="*/ 139 h 388"/>
              <a:gd name="T72" fmla="*/ 55 w 387"/>
              <a:gd name="T73" fmla="*/ 12 h 388"/>
              <a:gd name="T74" fmla="*/ 116 w 387"/>
              <a:gd name="T75" fmla="*/ 117 h 388"/>
              <a:gd name="T76" fmla="*/ 67 w 387"/>
              <a:gd name="T77" fmla="*/ 233 h 388"/>
              <a:gd name="T78" fmla="*/ 152 w 387"/>
              <a:gd name="T79" fmla="*/ 236 h 388"/>
              <a:gd name="T80" fmla="*/ 155 w 387"/>
              <a:gd name="T81" fmla="*/ 321 h 388"/>
              <a:gd name="T82" fmla="*/ 238 w 387"/>
              <a:gd name="T83" fmla="*/ 238 h 388"/>
              <a:gd name="T84" fmla="*/ 203 w 387"/>
              <a:gd name="T85" fmla="*/ 274 h 388"/>
              <a:gd name="T86" fmla="*/ 197 w 387"/>
              <a:gd name="T87" fmla="*/ 102 h 388"/>
              <a:gd name="T88" fmla="*/ 286 w 387"/>
              <a:gd name="T89" fmla="*/ 102 h 388"/>
              <a:gd name="T90" fmla="*/ 238 w 387"/>
              <a:gd name="T91" fmla="*/ 238 h 388"/>
              <a:gd name="T92" fmla="*/ 249 w 387"/>
              <a:gd name="T93" fmla="*/ 294 h 388"/>
              <a:gd name="T94" fmla="*/ 376 w 387"/>
              <a:gd name="T95" fmla="*/ 333 h 388"/>
              <a:gd name="T96" fmla="*/ 122 w 387"/>
              <a:gd name="T97" fmla="*/ 318 h 388"/>
              <a:gd name="T98" fmla="*/ 70 w 387"/>
              <a:gd name="T99" fmla="*/ 266 h 388"/>
              <a:gd name="T100" fmla="*/ 66 w 387"/>
              <a:gd name="T101" fmla="*/ 261 h 388"/>
              <a:gd name="T102" fmla="*/ 79 w 387"/>
              <a:gd name="T103" fmla="*/ 309 h 388"/>
              <a:gd name="T104" fmla="*/ 122 w 387"/>
              <a:gd name="T105" fmla="*/ 327 h 388"/>
              <a:gd name="T106" fmla="*/ 122 w 387"/>
              <a:gd name="T107" fmla="*/ 318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87" h="388">
                <a:moveTo>
                  <a:pt x="121" y="343"/>
                </a:moveTo>
                <a:cubicBezTo>
                  <a:pt x="101" y="342"/>
                  <a:pt x="82" y="334"/>
                  <a:pt x="68" y="320"/>
                </a:cubicBezTo>
                <a:cubicBezTo>
                  <a:pt x="54" y="306"/>
                  <a:pt x="46" y="287"/>
                  <a:pt x="45" y="267"/>
                </a:cubicBezTo>
                <a:cubicBezTo>
                  <a:pt x="45" y="264"/>
                  <a:pt x="43" y="262"/>
                  <a:pt x="41" y="262"/>
                </a:cubicBezTo>
                <a:cubicBezTo>
                  <a:pt x="38" y="262"/>
                  <a:pt x="36" y="264"/>
                  <a:pt x="36" y="267"/>
                </a:cubicBezTo>
                <a:cubicBezTo>
                  <a:pt x="37" y="289"/>
                  <a:pt x="46" y="311"/>
                  <a:pt x="62" y="326"/>
                </a:cubicBezTo>
                <a:cubicBezTo>
                  <a:pt x="77" y="342"/>
                  <a:pt x="99" y="351"/>
                  <a:pt x="121" y="352"/>
                </a:cubicBezTo>
                <a:cubicBezTo>
                  <a:pt x="121" y="352"/>
                  <a:pt x="121" y="352"/>
                  <a:pt x="121" y="352"/>
                </a:cubicBezTo>
                <a:cubicBezTo>
                  <a:pt x="124" y="352"/>
                  <a:pt x="126" y="350"/>
                  <a:pt x="126" y="347"/>
                </a:cubicBezTo>
                <a:cubicBezTo>
                  <a:pt x="126" y="345"/>
                  <a:pt x="124" y="343"/>
                  <a:pt x="121" y="343"/>
                </a:cubicBezTo>
                <a:close/>
                <a:moveTo>
                  <a:pt x="121" y="368"/>
                </a:moveTo>
                <a:cubicBezTo>
                  <a:pt x="94" y="367"/>
                  <a:pt x="69" y="356"/>
                  <a:pt x="50" y="338"/>
                </a:cubicBezTo>
                <a:cubicBezTo>
                  <a:pt x="32" y="319"/>
                  <a:pt x="21" y="294"/>
                  <a:pt x="20" y="267"/>
                </a:cubicBezTo>
                <a:cubicBezTo>
                  <a:pt x="20" y="265"/>
                  <a:pt x="18" y="263"/>
                  <a:pt x="16" y="263"/>
                </a:cubicBezTo>
                <a:cubicBezTo>
                  <a:pt x="16" y="263"/>
                  <a:pt x="16" y="263"/>
                  <a:pt x="16" y="263"/>
                </a:cubicBezTo>
                <a:cubicBezTo>
                  <a:pt x="13" y="263"/>
                  <a:pt x="11" y="265"/>
                  <a:pt x="11" y="267"/>
                </a:cubicBezTo>
                <a:cubicBezTo>
                  <a:pt x="12" y="296"/>
                  <a:pt x="23" y="324"/>
                  <a:pt x="44" y="344"/>
                </a:cubicBezTo>
                <a:cubicBezTo>
                  <a:pt x="64" y="365"/>
                  <a:pt x="92" y="376"/>
                  <a:pt x="121" y="377"/>
                </a:cubicBezTo>
                <a:cubicBezTo>
                  <a:pt x="121" y="377"/>
                  <a:pt x="121" y="377"/>
                  <a:pt x="121" y="377"/>
                </a:cubicBezTo>
                <a:cubicBezTo>
                  <a:pt x="123" y="377"/>
                  <a:pt x="125" y="375"/>
                  <a:pt x="125" y="372"/>
                </a:cubicBezTo>
                <a:cubicBezTo>
                  <a:pt x="125" y="370"/>
                  <a:pt x="123" y="368"/>
                  <a:pt x="121" y="368"/>
                </a:cubicBezTo>
                <a:close/>
                <a:moveTo>
                  <a:pt x="386" y="329"/>
                </a:moveTo>
                <a:cubicBezTo>
                  <a:pt x="296" y="240"/>
                  <a:pt x="296" y="240"/>
                  <a:pt x="296" y="240"/>
                </a:cubicBezTo>
                <a:cubicBezTo>
                  <a:pt x="295" y="238"/>
                  <a:pt x="292" y="238"/>
                  <a:pt x="290" y="240"/>
                </a:cubicBezTo>
                <a:cubicBezTo>
                  <a:pt x="268" y="262"/>
                  <a:pt x="268" y="262"/>
                  <a:pt x="268" y="262"/>
                </a:cubicBezTo>
                <a:cubicBezTo>
                  <a:pt x="248" y="242"/>
                  <a:pt x="248" y="242"/>
                  <a:pt x="248" y="242"/>
                </a:cubicBezTo>
                <a:cubicBezTo>
                  <a:pt x="292" y="198"/>
                  <a:pt x="292" y="198"/>
                  <a:pt x="292" y="198"/>
                </a:cubicBezTo>
                <a:cubicBezTo>
                  <a:pt x="320" y="169"/>
                  <a:pt x="320" y="124"/>
                  <a:pt x="292" y="96"/>
                </a:cubicBezTo>
                <a:cubicBezTo>
                  <a:pt x="279" y="82"/>
                  <a:pt x="261" y="75"/>
                  <a:pt x="241" y="75"/>
                </a:cubicBezTo>
                <a:cubicBezTo>
                  <a:pt x="222" y="75"/>
                  <a:pt x="204" y="82"/>
                  <a:pt x="190" y="96"/>
                </a:cubicBezTo>
                <a:cubicBezTo>
                  <a:pt x="146" y="140"/>
                  <a:pt x="146" y="140"/>
                  <a:pt x="146" y="140"/>
                </a:cubicBezTo>
                <a:cubicBezTo>
                  <a:pt x="126" y="120"/>
                  <a:pt x="126" y="120"/>
                  <a:pt x="126" y="120"/>
                </a:cubicBezTo>
                <a:cubicBezTo>
                  <a:pt x="148" y="98"/>
                  <a:pt x="148" y="98"/>
                  <a:pt x="148" y="98"/>
                </a:cubicBezTo>
                <a:cubicBezTo>
                  <a:pt x="150" y="96"/>
                  <a:pt x="150" y="93"/>
                  <a:pt x="148" y="92"/>
                </a:cubicBezTo>
                <a:cubicBezTo>
                  <a:pt x="59" y="2"/>
                  <a:pt x="59" y="2"/>
                  <a:pt x="59" y="2"/>
                </a:cubicBezTo>
                <a:cubicBezTo>
                  <a:pt x="57" y="0"/>
                  <a:pt x="54" y="0"/>
                  <a:pt x="52" y="2"/>
                </a:cubicBezTo>
                <a:cubicBezTo>
                  <a:pt x="2" y="52"/>
                  <a:pt x="2" y="52"/>
                  <a:pt x="2" y="52"/>
                </a:cubicBezTo>
                <a:cubicBezTo>
                  <a:pt x="0" y="54"/>
                  <a:pt x="0" y="57"/>
                  <a:pt x="2" y="59"/>
                </a:cubicBezTo>
                <a:cubicBezTo>
                  <a:pt x="91" y="149"/>
                  <a:pt x="91" y="149"/>
                  <a:pt x="91" y="149"/>
                </a:cubicBezTo>
                <a:cubicBezTo>
                  <a:pt x="92" y="149"/>
                  <a:pt x="93" y="150"/>
                  <a:pt x="94" y="150"/>
                </a:cubicBezTo>
                <a:cubicBezTo>
                  <a:pt x="96" y="150"/>
                  <a:pt x="97" y="149"/>
                  <a:pt x="98" y="149"/>
                </a:cubicBezTo>
                <a:cubicBezTo>
                  <a:pt x="120" y="127"/>
                  <a:pt x="120" y="127"/>
                  <a:pt x="120" y="127"/>
                </a:cubicBezTo>
                <a:cubicBezTo>
                  <a:pt x="140" y="147"/>
                  <a:pt x="140" y="147"/>
                  <a:pt x="140" y="147"/>
                </a:cubicBezTo>
                <a:cubicBezTo>
                  <a:pt x="104" y="182"/>
                  <a:pt x="104" y="182"/>
                  <a:pt x="104" y="182"/>
                </a:cubicBezTo>
                <a:cubicBezTo>
                  <a:pt x="103" y="184"/>
                  <a:pt x="103" y="187"/>
                  <a:pt x="104" y="188"/>
                </a:cubicBezTo>
                <a:cubicBezTo>
                  <a:pt x="127" y="211"/>
                  <a:pt x="127" y="211"/>
                  <a:pt x="127" y="211"/>
                </a:cubicBezTo>
                <a:cubicBezTo>
                  <a:pt x="121" y="209"/>
                  <a:pt x="114" y="208"/>
                  <a:pt x="108" y="208"/>
                </a:cubicBezTo>
                <a:cubicBezTo>
                  <a:pt x="89" y="208"/>
                  <a:pt x="70" y="216"/>
                  <a:pt x="57" y="229"/>
                </a:cubicBezTo>
                <a:cubicBezTo>
                  <a:pt x="55" y="231"/>
                  <a:pt x="55" y="234"/>
                  <a:pt x="57" y="236"/>
                </a:cubicBezTo>
                <a:cubicBezTo>
                  <a:pt x="152" y="331"/>
                  <a:pt x="152" y="331"/>
                  <a:pt x="152" y="331"/>
                </a:cubicBezTo>
                <a:cubicBezTo>
                  <a:pt x="153" y="332"/>
                  <a:pt x="154" y="332"/>
                  <a:pt x="155" y="332"/>
                </a:cubicBezTo>
                <a:cubicBezTo>
                  <a:pt x="157" y="332"/>
                  <a:pt x="158" y="332"/>
                  <a:pt x="159" y="331"/>
                </a:cubicBezTo>
                <a:cubicBezTo>
                  <a:pt x="172" y="318"/>
                  <a:pt x="180" y="299"/>
                  <a:pt x="180" y="280"/>
                </a:cubicBezTo>
                <a:cubicBezTo>
                  <a:pt x="180" y="274"/>
                  <a:pt x="179" y="267"/>
                  <a:pt x="177" y="261"/>
                </a:cubicBezTo>
                <a:cubicBezTo>
                  <a:pt x="200" y="284"/>
                  <a:pt x="200" y="284"/>
                  <a:pt x="200" y="284"/>
                </a:cubicBezTo>
                <a:cubicBezTo>
                  <a:pt x="200" y="284"/>
                  <a:pt x="202" y="285"/>
                  <a:pt x="203" y="285"/>
                </a:cubicBezTo>
                <a:cubicBezTo>
                  <a:pt x="204" y="285"/>
                  <a:pt x="205" y="284"/>
                  <a:pt x="206" y="284"/>
                </a:cubicBezTo>
                <a:cubicBezTo>
                  <a:pt x="241" y="248"/>
                  <a:pt x="241" y="248"/>
                  <a:pt x="241" y="248"/>
                </a:cubicBezTo>
                <a:cubicBezTo>
                  <a:pt x="261" y="268"/>
                  <a:pt x="261" y="268"/>
                  <a:pt x="261" y="268"/>
                </a:cubicBezTo>
                <a:cubicBezTo>
                  <a:pt x="239" y="290"/>
                  <a:pt x="239" y="290"/>
                  <a:pt x="239" y="290"/>
                </a:cubicBezTo>
                <a:cubicBezTo>
                  <a:pt x="239" y="291"/>
                  <a:pt x="238" y="292"/>
                  <a:pt x="238" y="294"/>
                </a:cubicBezTo>
                <a:cubicBezTo>
                  <a:pt x="238" y="295"/>
                  <a:pt x="239" y="296"/>
                  <a:pt x="239" y="297"/>
                </a:cubicBezTo>
                <a:cubicBezTo>
                  <a:pt x="329" y="386"/>
                  <a:pt x="329" y="386"/>
                  <a:pt x="329" y="386"/>
                </a:cubicBezTo>
                <a:cubicBezTo>
                  <a:pt x="330" y="387"/>
                  <a:pt x="331" y="388"/>
                  <a:pt x="332" y="388"/>
                </a:cubicBezTo>
                <a:cubicBezTo>
                  <a:pt x="334" y="388"/>
                  <a:pt x="335" y="387"/>
                  <a:pt x="336" y="386"/>
                </a:cubicBezTo>
                <a:cubicBezTo>
                  <a:pt x="386" y="336"/>
                  <a:pt x="386" y="336"/>
                  <a:pt x="386" y="336"/>
                </a:cubicBezTo>
                <a:cubicBezTo>
                  <a:pt x="387" y="335"/>
                  <a:pt x="387" y="334"/>
                  <a:pt x="387" y="333"/>
                </a:cubicBezTo>
                <a:cubicBezTo>
                  <a:pt x="387" y="331"/>
                  <a:pt x="387" y="330"/>
                  <a:pt x="386" y="329"/>
                </a:cubicBezTo>
                <a:close/>
                <a:moveTo>
                  <a:pt x="116" y="117"/>
                </a:moveTo>
                <a:cubicBezTo>
                  <a:pt x="116" y="117"/>
                  <a:pt x="116" y="117"/>
                  <a:pt x="116" y="117"/>
                </a:cubicBezTo>
                <a:cubicBezTo>
                  <a:pt x="116" y="117"/>
                  <a:pt x="116" y="117"/>
                  <a:pt x="116" y="117"/>
                </a:cubicBezTo>
                <a:cubicBezTo>
                  <a:pt x="94" y="139"/>
                  <a:pt x="94" y="139"/>
                  <a:pt x="94" y="139"/>
                </a:cubicBezTo>
                <a:cubicBezTo>
                  <a:pt x="12" y="56"/>
                  <a:pt x="12" y="56"/>
                  <a:pt x="12" y="56"/>
                </a:cubicBezTo>
                <a:cubicBezTo>
                  <a:pt x="55" y="12"/>
                  <a:pt x="55" y="12"/>
                  <a:pt x="55" y="12"/>
                </a:cubicBezTo>
                <a:cubicBezTo>
                  <a:pt x="138" y="95"/>
                  <a:pt x="138" y="95"/>
                  <a:pt x="138" y="95"/>
                </a:cubicBezTo>
                <a:lnTo>
                  <a:pt x="116" y="117"/>
                </a:lnTo>
                <a:close/>
                <a:moveTo>
                  <a:pt x="155" y="321"/>
                </a:moveTo>
                <a:cubicBezTo>
                  <a:pt x="67" y="233"/>
                  <a:pt x="67" y="233"/>
                  <a:pt x="67" y="233"/>
                </a:cubicBezTo>
                <a:cubicBezTo>
                  <a:pt x="78" y="223"/>
                  <a:pt x="93" y="218"/>
                  <a:pt x="108" y="218"/>
                </a:cubicBezTo>
                <a:cubicBezTo>
                  <a:pt x="124" y="218"/>
                  <a:pt x="140" y="224"/>
                  <a:pt x="152" y="236"/>
                </a:cubicBezTo>
                <a:cubicBezTo>
                  <a:pt x="164" y="248"/>
                  <a:pt x="170" y="264"/>
                  <a:pt x="170" y="280"/>
                </a:cubicBezTo>
                <a:cubicBezTo>
                  <a:pt x="170" y="295"/>
                  <a:pt x="165" y="310"/>
                  <a:pt x="155" y="321"/>
                </a:cubicBezTo>
                <a:close/>
                <a:moveTo>
                  <a:pt x="238" y="238"/>
                </a:moveTo>
                <a:cubicBezTo>
                  <a:pt x="238" y="238"/>
                  <a:pt x="238" y="238"/>
                  <a:pt x="238" y="238"/>
                </a:cubicBezTo>
                <a:cubicBezTo>
                  <a:pt x="238" y="238"/>
                  <a:pt x="238" y="238"/>
                  <a:pt x="238" y="238"/>
                </a:cubicBezTo>
                <a:cubicBezTo>
                  <a:pt x="203" y="274"/>
                  <a:pt x="203" y="274"/>
                  <a:pt x="203" y="274"/>
                </a:cubicBezTo>
                <a:cubicBezTo>
                  <a:pt x="114" y="185"/>
                  <a:pt x="114" y="185"/>
                  <a:pt x="114" y="185"/>
                </a:cubicBezTo>
                <a:cubicBezTo>
                  <a:pt x="197" y="102"/>
                  <a:pt x="197" y="102"/>
                  <a:pt x="197" y="102"/>
                </a:cubicBezTo>
                <a:cubicBezTo>
                  <a:pt x="209" y="91"/>
                  <a:pt x="225" y="84"/>
                  <a:pt x="241" y="84"/>
                </a:cubicBezTo>
                <a:cubicBezTo>
                  <a:pt x="258" y="84"/>
                  <a:pt x="274" y="91"/>
                  <a:pt x="286" y="102"/>
                </a:cubicBezTo>
                <a:cubicBezTo>
                  <a:pt x="310" y="127"/>
                  <a:pt x="310" y="166"/>
                  <a:pt x="286" y="191"/>
                </a:cubicBezTo>
                <a:lnTo>
                  <a:pt x="238" y="238"/>
                </a:lnTo>
                <a:close/>
                <a:moveTo>
                  <a:pt x="332" y="376"/>
                </a:moveTo>
                <a:cubicBezTo>
                  <a:pt x="249" y="294"/>
                  <a:pt x="249" y="294"/>
                  <a:pt x="249" y="294"/>
                </a:cubicBezTo>
                <a:cubicBezTo>
                  <a:pt x="293" y="250"/>
                  <a:pt x="293" y="250"/>
                  <a:pt x="293" y="250"/>
                </a:cubicBezTo>
                <a:cubicBezTo>
                  <a:pt x="376" y="333"/>
                  <a:pt x="376" y="333"/>
                  <a:pt x="376" y="333"/>
                </a:cubicBezTo>
                <a:lnTo>
                  <a:pt x="332" y="376"/>
                </a:lnTo>
                <a:close/>
                <a:moveTo>
                  <a:pt x="122" y="318"/>
                </a:moveTo>
                <a:cubicBezTo>
                  <a:pt x="108" y="317"/>
                  <a:pt x="95" y="312"/>
                  <a:pt x="86" y="302"/>
                </a:cubicBezTo>
                <a:cubicBezTo>
                  <a:pt x="76" y="293"/>
                  <a:pt x="71" y="280"/>
                  <a:pt x="70" y="266"/>
                </a:cubicBezTo>
                <a:cubicBezTo>
                  <a:pt x="70" y="263"/>
                  <a:pt x="68" y="261"/>
                  <a:pt x="66" y="261"/>
                </a:cubicBezTo>
                <a:cubicBezTo>
                  <a:pt x="66" y="261"/>
                  <a:pt x="66" y="261"/>
                  <a:pt x="66" y="261"/>
                </a:cubicBezTo>
                <a:cubicBezTo>
                  <a:pt x="63" y="262"/>
                  <a:pt x="61" y="264"/>
                  <a:pt x="61" y="266"/>
                </a:cubicBezTo>
                <a:cubicBezTo>
                  <a:pt x="61" y="282"/>
                  <a:pt x="68" y="297"/>
                  <a:pt x="79" y="309"/>
                </a:cubicBezTo>
                <a:cubicBezTo>
                  <a:pt x="91" y="320"/>
                  <a:pt x="106" y="327"/>
                  <a:pt x="122" y="327"/>
                </a:cubicBezTo>
                <a:cubicBezTo>
                  <a:pt x="122" y="327"/>
                  <a:pt x="122" y="327"/>
                  <a:pt x="122" y="327"/>
                </a:cubicBezTo>
                <a:cubicBezTo>
                  <a:pt x="124" y="327"/>
                  <a:pt x="126" y="325"/>
                  <a:pt x="127" y="322"/>
                </a:cubicBezTo>
                <a:cubicBezTo>
                  <a:pt x="127" y="320"/>
                  <a:pt x="125" y="318"/>
                  <a:pt x="122" y="318"/>
                </a:cubicBez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19" name="Oval 14"/>
          <p:cNvSpPr>
            <a:spLocks noChangeArrowheads="1"/>
          </p:cNvSpPr>
          <p:nvPr/>
        </p:nvSpPr>
        <p:spPr bwMode="auto">
          <a:xfrm>
            <a:off x="3073678" y="1528549"/>
            <a:ext cx="1119124" cy="1119124"/>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1132" name="Freeform 22"/>
          <p:cNvSpPr>
            <a:spLocks noEditPoints="1"/>
          </p:cNvSpPr>
          <p:nvPr/>
        </p:nvSpPr>
        <p:spPr bwMode="auto">
          <a:xfrm>
            <a:off x="3295510" y="1832919"/>
            <a:ext cx="676123" cy="510384"/>
          </a:xfrm>
          <a:custGeom>
            <a:avLst/>
            <a:gdLst>
              <a:gd name="T0" fmla="*/ 267 w 431"/>
              <a:gd name="T1" fmla="*/ 136 h 325"/>
              <a:gd name="T2" fmla="*/ 370 w 431"/>
              <a:gd name="T3" fmla="*/ 185 h 325"/>
              <a:gd name="T4" fmla="*/ 267 w 431"/>
              <a:gd name="T5" fmla="*/ 239 h 325"/>
              <a:gd name="T6" fmla="*/ 265 w 431"/>
              <a:gd name="T7" fmla="*/ 245 h 325"/>
              <a:gd name="T8" fmla="*/ 269 w 431"/>
              <a:gd name="T9" fmla="*/ 248 h 325"/>
              <a:gd name="T10" fmla="*/ 271 w 431"/>
              <a:gd name="T11" fmla="*/ 247 h 325"/>
              <a:gd name="T12" fmla="*/ 383 w 431"/>
              <a:gd name="T13" fmla="*/ 188 h 325"/>
              <a:gd name="T14" fmla="*/ 386 w 431"/>
              <a:gd name="T15" fmla="*/ 184 h 325"/>
              <a:gd name="T16" fmla="*/ 383 w 431"/>
              <a:gd name="T17" fmla="*/ 180 h 325"/>
              <a:gd name="T18" fmla="*/ 271 w 431"/>
              <a:gd name="T19" fmla="*/ 128 h 325"/>
              <a:gd name="T20" fmla="*/ 265 w 431"/>
              <a:gd name="T21" fmla="*/ 130 h 325"/>
              <a:gd name="T22" fmla="*/ 267 w 431"/>
              <a:gd name="T23" fmla="*/ 136 h 325"/>
              <a:gd name="T24" fmla="*/ 202 w 431"/>
              <a:gd name="T25" fmla="*/ 268 h 325"/>
              <a:gd name="T26" fmla="*/ 203 w 431"/>
              <a:gd name="T27" fmla="*/ 268 h 325"/>
              <a:gd name="T28" fmla="*/ 207 w 431"/>
              <a:gd name="T29" fmla="*/ 265 h 325"/>
              <a:gd name="T30" fmla="*/ 252 w 431"/>
              <a:gd name="T31" fmla="*/ 113 h 325"/>
              <a:gd name="T32" fmla="*/ 248 w 431"/>
              <a:gd name="T33" fmla="*/ 107 h 325"/>
              <a:gd name="T34" fmla="*/ 243 w 431"/>
              <a:gd name="T35" fmla="*/ 110 h 325"/>
              <a:gd name="T36" fmla="*/ 198 w 431"/>
              <a:gd name="T37" fmla="*/ 262 h 325"/>
              <a:gd name="T38" fmla="*/ 202 w 431"/>
              <a:gd name="T39" fmla="*/ 268 h 325"/>
              <a:gd name="T40" fmla="*/ 386 w 431"/>
              <a:gd name="T41" fmla="*/ 0 h 325"/>
              <a:gd name="T42" fmla="*/ 46 w 431"/>
              <a:gd name="T43" fmla="*/ 0 h 325"/>
              <a:gd name="T44" fmla="*/ 0 w 431"/>
              <a:gd name="T45" fmla="*/ 47 h 325"/>
              <a:gd name="T46" fmla="*/ 0 w 431"/>
              <a:gd name="T47" fmla="*/ 320 h 325"/>
              <a:gd name="T48" fmla="*/ 5 w 431"/>
              <a:gd name="T49" fmla="*/ 325 h 325"/>
              <a:gd name="T50" fmla="*/ 427 w 431"/>
              <a:gd name="T51" fmla="*/ 325 h 325"/>
              <a:gd name="T52" fmla="*/ 431 w 431"/>
              <a:gd name="T53" fmla="*/ 320 h 325"/>
              <a:gd name="T54" fmla="*/ 431 w 431"/>
              <a:gd name="T55" fmla="*/ 47 h 325"/>
              <a:gd name="T56" fmla="*/ 386 w 431"/>
              <a:gd name="T57" fmla="*/ 0 h 325"/>
              <a:gd name="T58" fmla="*/ 422 w 431"/>
              <a:gd name="T59" fmla="*/ 315 h 325"/>
              <a:gd name="T60" fmla="*/ 9 w 431"/>
              <a:gd name="T61" fmla="*/ 315 h 325"/>
              <a:gd name="T62" fmla="*/ 9 w 431"/>
              <a:gd name="T63" fmla="*/ 64 h 325"/>
              <a:gd name="T64" fmla="*/ 422 w 431"/>
              <a:gd name="T65" fmla="*/ 64 h 325"/>
              <a:gd name="T66" fmla="*/ 422 w 431"/>
              <a:gd name="T67" fmla="*/ 315 h 325"/>
              <a:gd name="T68" fmla="*/ 422 w 431"/>
              <a:gd name="T69" fmla="*/ 55 h 325"/>
              <a:gd name="T70" fmla="*/ 9 w 431"/>
              <a:gd name="T71" fmla="*/ 55 h 325"/>
              <a:gd name="T72" fmla="*/ 9 w 431"/>
              <a:gd name="T73" fmla="*/ 47 h 325"/>
              <a:gd name="T74" fmla="*/ 46 w 431"/>
              <a:gd name="T75" fmla="*/ 9 h 325"/>
              <a:gd name="T76" fmla="*/ 386 w 431"/>
              <a:gd name="T77" fmla="*/ 9 h 325"/>
              <a:gd name="T78" fmla="*/ 422 w 431"/>
              <a:gd name="T79" fmla="*/ 47 h 325"/>
              <a:gd name="T80" fmla="*/ 422 w 431"/>
              <a:gd name="T81" fmla="*/ 55 h 325"/>
              <a:gd name="T82" fmla="*/ 67 w 431"/>
              <a:gd name="T83" fmla="*/ 195 h 325"/>
              <a:gd name="T84" fmla="*/ 179 w 431"/>
              <a:gd name="T85" fmla="*/ 247 h 325"/>
              <a:gd name="T86" fmla="*/ 181 w 431"/>
              <a:gd name="T87" fmla="*/ 248 h 325"/>
              <a:gd name="T88" fmla="*/ 185 w 431"/>
              <a:gd name="T89" fmla="*/ 245 h 325"/>
              <a:gd name="T90" fmla="*/ 183 w 431"/>
              <a:gd name="T91" fmla="*/ 239 h 325"/>
              <a:gd name="T92" fmla="*/ 80 w 431"/>
              <a:gd name="T93" fmla="*/ 191 h 325"/>
              <a:gd name="T94" fmla="*/ 183 w 431"/>
              <a:gd name="T95" fmla="*/ 136 h 325"/>
              <a:gd name="T96" fmla="*/ 185 w 431"/>
              <a:gd name="T97" fmla="*/ 130 h 325"/>
              <a:gd name="T98" fmla="*/ 179 w 431"/>
              <a:gd name="T99" fmla="*/ 128 h 325"/>
              <a:gd name="T100" fmla="*/ 67 w 431"/>
              <a:gd name="T101" fmla="*/ 187 h 325"/>
              <a:gd name="T102" fmla="*/ 64 w 431"/>
              <a:gd name="T103" fmla="*/ 191 h 325"/>
              <a:gd name="T104" fmla="*/ 67 w 431"/>
              <a:gd name="T105" fmla="*/ 195 h 3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31" h="325">
                <a:moveTo>
                  <a:pt x="267" y="136"/>
                </a:moveTo>
                <a:cubicBezTo>
                  <a:pt x="370" y="185"/>
                  <a:pt x="370" y="185"/>
                  <a:pt x="370" y="185"/>
                </a:cubicBezTo>
                <a:cubicBezTo>
                  <a:pt x="267" y="239"/>
                  <a:pt x="267" y="239"/>
                  <a:pt x="267" y="239"/>
                </a:cubicBezTo>
                <a:cubicBezTo>
                  <a:pt x="265" y="240"/>
                  <a:pt x="264" y="243"/>
                  <a:pt x="265" y="245"/>
                </a:cubicBezTo>
                <a:cubicBezTo>
                  <a:pt x="266" y="247"/>
                  <a:pt x="268" y="248"/>
                  <a:pt x="269" y="248"/>
                </a:cubicBezTo>
                <a:cubicBezTo>
                  <a:pt x="270" y="248"/>
                  <a:pt x="271" y="248"/>
                  <a:pt x="271" y="247"/>
                </a:cubicBezTo>
                <a:cubicBezTo>
                  <a:pt x="383" y="188"/>
                  <a:pt x="383" y="188"/>
                  <a:pt x="383" y="188"/>
                </a:cubicBezTo>
                <a:cubicBezTo>
                  <a:pt x="385" y="188"/>
                  <a:pt x="386" y="186"/>
                  <a:pt x="386" y="184"/>
                </a:cubicBezTo>
                <a:cubicBezTo>
                  <a:pt x="386" y="182"/>
                  <a:pt x="385" y="181"/>
                  <a:pt x="383" y="180"/>
                </a:cubicBezTo>
                <a:cubicBezTo>
                  <a:pt x="271" y="128"/>
                  <a:pt x="271" y="128"/>
                  <a:pt x="271" y="128"/>
                </a:cubicBezTo>
                <a:cubicBezTo>
                  <a:pt x="269" y="127"/>
                  <a:pt x="266" y="128"/>
                  <a:pt x="265" y="130"/>
                </a:cubicBezTo>
                <a:cubicBezTo>
                  <a:pt x="264" y="132"/>
                  <a:pt x="265" y="135"/>
                  <a:pt x="267" y="136"/>
                </a:cubicBezTo>
                <a:close/>
                <a:moveTo>
                  <a:pt x="202" y="268"/>
                </a:moveTo>
                <a:cubicBezTo>
                  <a:pt x="202" y="268"/>
                  <a:pt x="202" y="268"/>
                  <a:pt x="203" y="268"/>
                </a:cubicBezTo>
                <a:cubicBezTo>
                  <a:pt x="205" y="268"/>
                  <a:pt x="207" y="267"/>
                  <a:pt x="207" y="265"/>
                </a:cubicBezTo>
                <a:cubicBezTo>
                  <a:pt x="252" y="113"/>
                  <a:pt x="252" y="113"/>
                  <a:pt x="252" y="113"/>
                </a:cubicBezTo>
                <a:cubicBezTo>
                  <a:pt x="252" y="111"/>
                  <a:pt x="251" y="108"/>
                  <a:pt x="248" y="107"/>
                </a:cubicBezTo>
                <a:cubicBezTo>
                  <a:pt x="246" y="106"/>
                  <a:pt x="243" y="108"/>
                  <a:pt x="243" y="110"/>
                </a:cubicBezTo>
                <a:cubicBezTo>
                  <a:pt x="198" y="262"/>
                  <a:pt x="198" y="262"/>
                  <a:pt x="198" y="262"/>
                </a:cubicBezTo>
                <a:cubicBezTo>
                  <a:pt x="198" y="265"/>
                  <a:pt x="199" y="267"/>
                  <a:pt x="202" y="268"/>
                </a:cubicBezTo>
                <a:close/>
                <a:moveTo>
                  <a:pt x="386" y="0"/>
                </a:moveTo>
                <a:cubicBezTo>
                  <a:pt x="46" y="0"/>
                  <a:pt x="46" y="0"/>
                  <a:pt x="46" y="0"/>
                </a:cubicBezTo>
                <a:cubicBezTo>
                  <a:pt x="21" y="0"/>
                  <a:pt x="0" y="21"/>
                  <a:pt x="0" y="47"/>
                </a:cubicBezTo>
                <a:cubicBezTo>
                  <a:pt x="0" y="320"/>
                  <a:pt x="0" y="320"/>
                  <a:pt x="0" y="320"/>
                </a:cubicBezTo>
                <a:cubicBezTo>
                  <a:pt x="0" y="323"/>
                  <a:pt x="2" y="325"/>
                  <a:pt x="5" y="325"/>
                </a:cubicBezTo>
                <a:cubicBezTo>
                  <a:pt x="427" y="325"/>
                  <a:pt x="427" y="325"/>
                  <a:pt x="427" y="325"/>
                </a:cubicBezTo>
                <a:cubicBezTo>
                  <a:pt x="429" y="325"/>
                  <a:pt x="431" y="323"/>
                  <a:pt x="431" y="320"/>
                </a:cubicBezTo>
                <a:cubicBezTo>
                  <a:pt x="431" y="47"/>
                  <a:pt x="431" y="47"/>
                  <a:pt x="431" y="47"/>
                </a:cubicBezTo>
                <a:cubicBezTo>
                  <a:pt x="431" y="21"/>
                  <a:pt x="411" y="0"/>
                  <a:pt x="386" y="0"/>
                </a:cubicBezTo>
                <a:close/>
                <a:moveTo>
                  <a:pt x="422" y="315"/>
                </a:moveTo>
                <a:cubicBezTo>
                  <a:pt x="9" y="315"/>
                  <a:pt x="9" y="315"/>
                  <a:pt x="9" y="315"/>
                </a:cubicBezTo>
                <a:cubicBezTo>
                  <a:pt x="9" y="64"/>
                  <a:pt x="9" y="64"/>
                  <a:pt x="9" y="64"/>
                </a:cubicBezTo>
                <a:cubicBezTo>
                  <a:pt x="422" y="64"/>
                  <a:pt x="422" y="64"/>
                  <a:pt x="422" y="64"/>
                </a:cubicBezTo>
                <a:lnTo>
                  <a:pt x="422" y="315"/>
                </a:lnTo>
                <a:close/>
                <a:moveTo>
                  <a:pt x="422" y="55"/>
                </a:moveTo>
                <a:cubicBezTo>
                  <a:pt x="9" y="55"/>
                  <a:pt x="9" y="55"/>
                  <a:pt x="9" y="55"/>
                </a:cubicBezTo>
                <a:cubicBezTo>
                  <a:pt x="9" y="47"/>
                  <a:pt x="9" y="47"/>
                  <a:pt x="9" y="47"/>
                </a:cubicBezTo>
                <a:cubicBezTo>
                  <a:pt x="9" y="26"/>
                  <a:pt x="26" y="9"/>
                  <a:pt x="46" y="9"/>
                </a:cubicBezTo>
                <a:cubicBezTo>
                  <a:pt x="386" y="9"/>
                  <a:pt x="386" y="9"/>
                  <a:pt x="386" y="9"/>
                </a:cubicBezTo>
                <a:cubicBezTo>
                  <a:pt x="406" y="9"/>
                  <a:pt x="422" y="26"/>
                  <a:pt x="422" y="47"/>
                </a:cubicBezTo>
                <a:lnTo>
                  <a:pt x="422" y="55"/>
                </a:lnTo>
                <a:close/>
                <a:moveTo>
                  <a:pt x="67" y="195"/>
                </a:moveTo>
                <a:cubicBezTo>
                  <a:pt x="179" y="247"/>
                  <a:pt x="179" y="247"/>
                  <a:pt x="179" y="247"/>
                </a:cubicBezTo>
                <a:cubicBezTo>
                  <a:pt x="179" y="248"/>
                  <a:pt x="180" y="248"/>
                  <a:pt x="181" y="248"/>
                </a:cubicBezTo>
                <a:cubicBezTo>
                  <a:pt x="182" y="248"/>
                  <a:pt x="184" y="247"/>
                  <a:pt x="185" y="245"/>
                </a:cubicBezTo>
                <a:cubicBezTo>
                  <a:pt x="186" y="243"/>
                  <a:pt x="185" y="240"/>
                  <a:pt x="183" y="239"/>
                </a:cubicBezTo>
                <a:cubicBezTo>
                  <a:pt x="80" y="191"/>
                  <a:pt x="80" y="191"/>
                  <a:pt x="80" y="191"/>
                </a:cubicBezTo>
                <a:cubicBezTo>
                  <a:pt x="183" y="136"/>
                  <a:pt x="183" y="136"/>
                  <a:pt x="183" y="136"/>
                </a:cubicBezTo>
                <a:cubicBezTo>
                  <a:pt x="185" y="135"/>
                  <a:pt x="186" y="132"/>
                  <a:pt x="185" y="130"/>
                </a:cubicBezTo>
                <a:cubicBezTo>
                  <a:pt x="184" y="127"/>
                  <a:pt x="181" y="127"/>
                  <a:pt x="179" y="128"/>
                </a:cubicBezTo>
                <a:cubicBezTo>
                  <a:pt x="67" y="187"/>
                  <a:pt x="67" y="187"/>
                  <a:pt x="67" y="187"/>
                </a:cubicBezTo>
                <a:cubicBezTo>
                  <a:pt x="65" y="188"/>
                  <a:pt x="64" y="189"/>
                  <a:pt x="64" y="191"/>
                </a:cubicBezTo>
                <a:cubicBezTo>
                  <a:pt x="64" y="193"/>
                  <a:pt x="65" y="194"/>
                  <a:pt x="67" y="195"/>
                </a:cubicBez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15" name="Oval 12"/>
          <p:cNvSpPr>
            <a:spLocks noChangeArrowheads="1"/>
          </p:cNvSpPr>
          <p:nvPr/>
        </p:nvSpPr>
        <p:spPr bwMode="auto">
          <a:xfrm>
            <a:off x="6589621" y="1528549"/>
            <a:ext cx="1119124" cy="1119124"/>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1133" name="Freeform 23"/>
          <p:cNvSpPr>
            <a:spLocks noEditPoints="1"/>
          </p:cNvSpPr>
          <p:nvPr/>
        </p:nvSpPr>
        <p:spPr bwMode="auto">
          <a:xfrm>
            <a:off x="6769504" y="1892730"/>
            <a:ext cx="759358" cy="388769"/>
          </a:xfrm>
          <a:custGeom>
            <a:avLst/>
            <a:gdLst>
              <a:gd name="T0" fmla="*/ 46 w 484"/>
              <a:gd name="T1" fmla="*/ 52 h 248"/>
              <a:gd name="T2" fmla="*/ 51 w 484"/>
              <a:gd name="T3" fmla="*/ 202 h 248"/>
              <a:gd name="T4" fmla="*/ 56 w 484"/>
              <a:gd name="T5" fmla="*/ 52 h 248"/>
              <a:gd name="T6" fmla="*/ 177 w 484"/>
              <a:gd name="T7" fmla="*/ 47 h 248"/>
              <a:gd name="T8" fmla="*/ 172 w 484"/>
              <a:gd name="T9" fmla="*/ 197 h 248"/>
              <a:gd name="T10" fmla="*/ 182 w 484"/>
              <a:gd name="T11" fmla="*/ 197 h 248"/>
              <a:gd name="T12" fmla="*/ 177 w 484"/>
              <a:gd name="T13" fmla="*/ 47 h 248"/>
              <a:gd name="T14" fmla="*/ 130 w 484"/>
              <a:gd name="T15" fmla="*/ 52 h 248"/>
              <a:gd name="T16" fmla="*/ 135 w 484"/>
              <a:gd name="T17" fmla="*/ 202 h 248"/>
              <a:gd name="T18" fmla="*/ 140 w 484"/>
              <a:gd name="T19" fmla="*/ 52 h 248"/>
              <a:gd name="T20" fmla="*/ 219 w 484"/>
              <a:gd name="T21" fmla="*/ 47 h 248"/>
              <a:gd name="T22" fmla="*/ 214 w 484"/>
              <a:gd name="T23" fmla="*/ 197 h 248"/>
              <a:gd name="T24" fmla="*/ 224 w 484"/>
              <a:gd name="T25" fmla="*/ 197 h 248"/>
              <a:gd name="T26" fmla="*/ 219 w 484"/>
              <a:gd name="T27" fmla="*/ 47 h 248"/>
              <a:gd name="T28" fmla="*/ 88 w 484"/>
              <a:gd name="T29" fmla="*/ 52 h 248"/>
              <a:gd name="T30" fmla="*/ 93 w 484"/>
              <a:gd name="T31" fmla="*/ 202 h 248"/>
              <a:gd name="T32" fmla="*/ 98 w 484"/>
              <a:gd name="T33" fmla="*/ 52 h 248"/>
              <a:gd name="T34" fmla="*/ 303 w 484"/>
              <a:gd name="T35" fmla="*/ 47 h 248"/>
              <a:gd name="T36" fmla="*/ 298 w 484"/>
              <a:gd name="T37" fmla="*/ 197 h 248"/>
              <a:gd name="T38" fmla="*/ 307 w 484"/>
              <a:gd name="T39" fmla="*/ 197 h 248"/>
              <a:gd name="T40" fmla="*/ 303 w 484"/>
              <a:gd name="T41" fmla="*/ 47 h 248"/>
              <a:gd name="T42" fmla="*/ 449 w 484"/>
              <a:gd name="T43" fmla="*/ 88 h 248"/>
              <a:gd name="T44" fmla="*/ 423 w 484"/>
              <a:gd name="T45" fmla="*/ 0 h 248"/>
              <a:gd name="T46" fmla="*/ 0 w 484"/>
              <a:gd name="T47" fmla="*/ 27 h 248"/>
              <a:gd name="T48" fmla="*/ 26 w 484"/>
              <a:gd name="T49" fmla="*/ 248 h 248"/>
              <a:gd name="T50" fmla="*/ 449 w 484"/>
              <a:gd name="T51" fmla="*/ 222 h 248"/>
              <a:gd name="T52" fmla="*/ 479 w 484"/>
              <a:gd name="T53" fmla="*/ 161 h 248"/>
              <a:gd name="T54" fmla="*/ 484 w 484"/>
              <a:gd name="T55" fmla="*/ 92 h 248"/>
              <a:gd name="T56" fmla="*/ 475 w 484"/>
              <a:gd name="T57" fmla="*/ 152 h 248"/>
              <a:gd name="T58" fmla="*/ 440 w 484"/>
              <a:gd name="T59" fmla="*/ 157 h 248"/>
              <a:gd name="T60" fmla="*/ 423 w 484"/>
              <a:gd name="T61" fmla="*/ 239 h 248"/>
              <a:gd name="T62" fmla="*/ 9 w 484"/>
              <a:gd name="T63" fmla="*/ 222 h 248"/>
              <a:gd name="T64" fmla="*/ 26 w 484"/>
              <a:gd name="T65" fmla="*/ 10 h 248"/>
              <a:gd name="T66" fmla="*/ 440 w 484"/>
              <a:gd name="T67" fmla="*/ 27 h 248"/>
              <a:gd name="T68" fmla="*/ 444 w 484"/>
              <a:gd name="T69" fmla="*/ 97 h 248"/>
              <a:gd name="T70" fmla="*/ 475 w 484"/>
              <a:gd name="T71" fmla="*/ 152 h 248"/>
              <a:gd name="T72" fmla="*/ 382 w 484"/>
              <a:gd name="T73" fmla="*/ 52 h 248"/>
              <a:gd name="T74" fmla="*/ 387 w 484"/>
              <a:gd name="T75" fmla="*/ 202 h 248"/>
              <a:gd name="T76" fmla="*/ 391 w 484"/>
              <a:gd name="T77" fmla="*/ 52 h 248"/>
              <a:gd name="T78" fmla="*/ 261 w 484"/>
              <a:gd name="T79" fmla="*/ 47 h 248"/>
              <a:gd name="T80" fmla="*/ 256 w 484"/>
              <a:gd name="T81" fmla="*/ 197 h 248"/>
              <a:gd name="T82" fmla="*/ 265 w 484"/>
              <a:gd name="T83" fmla="*/ 197 h 248"/>
              <a:gd name="T84" fmla="*/ 261 w 484"/>
              <a:gd name="T85" fmla="*/ 47 h 248"/>
              <a:gd name="T86" fmla="*/ 340 w 484"/>
              <a:gd name="T87" fmla="*/ 52 h 248"/>
              <a:gd name="T88" fmla="*/ 345 w 484"/>
              <a:gd name="T89" fmla="*/ 202 h 248"/>
              <a:gd name="T90" fmla="*/ 349 w 484"/>
              <a:gd name="T91" fmla="*/ 52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84" h="248">
                <a:moveTo>
                  <a:pt x="51" y="47"/>
                </a:moveTo>
                <a:cubicBezTo>
                  <a:pt x="48" y="47"/>
                  <a:pt x="46" y="49"/>
                  <a:pt x="46" y="52"/>
                </a:cubicBezTo>
                <a:cubicBezTo>
                  <a:pt x="46" y="197"/>
                  <a:pt x="46" y="197"/>
                  <a:pt x="46" y="197"/>
                </a:cubicBezTo>
                <a:cubicBezTo>
                  <a:pt x="46" y="200"/>
                  <a:pt x="48" y="202"/>
                  <a:pt x="51" y="202"/>
                </a:cubicBezTo>
                <a:cubicBezTo>
                  <a:pt x="54" y="202"/>
                  <a:pt x="56" y="200"/>
                  <a:pt x="56" y="197"/>
                </a:cubicBezTo>
                <a:cubicBezTo>
                  <a:pt x="56" y="52"/>
                  <a:pt x="56" y="52"/>
                  <a:pt x="56" y="52"/>
                </a:cubicBezTo>
                <a:cubicBezTo>
                  <a:pt x="56" y="49"/>
                  <a:pt x="54" y="47"/>
                  <a:pt x="51" y="47"/>
                </a:cubicBezTo>
                <a:close/>
                <a:moveTo>
                  <a:pt x="177" y="47"/>
                </a:moveTo>
                <a:cubicBezTo>
                  <a:pt x="174" y="47"/>
                  <a:pt x="172" y="49"/>
                  <a:pt x="172" y="52"/>
                </a:cubicBezTo>
                <a:cubicBezTo>
                  <a:pt x="172" y="197"/>
                  <a:pt x="172" y="197"/>
                  <a:pt x="172" y="197"/>
                </a:cubicBezTo>
                <a:cubicBezTo>
                  <a:pt x="172" y="200"/>
                  <a:pt x="174" y="202"/>
                  <a:pt x="177" y="202"/>
                </a:cubicBezTo>
                <a:cubicBezTo>
                  <a:pt x="179" y="202"/>
                  <a:pt x="182" y="200"/>
                  <a:pt x="182" y="197"/>
                </a:cubicBezTo>
                <a:cubicBezTo>
                  <a:pt x="182" y="52"/>
                  <a:pt x="182" y="52"/>
                  <a:pt x="182" y="52"/>
                </a:cubicBezTo>
                <a:cubicBezTo>
                  <a:pt x="182" y="49"/>
                  <a:pt x="179" y="47"/>
                  <a:pt x="177" y="47"/>
                </a:cubicBezTo>
                <a:close/>
                <a:moveTo>
                  <a:pt x="135" y="47"/>
                </a:moveTo>
                <a:cubicBezTo>
                  <a:pt x="132" y="47"/>
                  <a:pt x="130" y="49"/>
                  <a:pt x="130" y="52"/>
                </a:cubicBezTo>
                <a:cubicBezTo>
                  <a:pt x="130" y="197"/>
                  <a:pt x="130" y="197"/>
                  <a:pt x="130" y="197"/>
                </a:cubicBezTo>
                <a:cubicBezTo>
                  <a:pt x="130" y="200"/>
                  <a:pt x="132" y="202"/>
                  <a:pt x="135" y="202"/>
                </a:cubicBezTo>
                <a:cubicBezTo>
                  <a:pt x="137" y="202"/>
                  <a:pt x="140" y="200"/>
                  <a:pt x="140" y="197"/>
                </a:cubicBezTo>
                <a:cubicBezTo>
                  <a:pt x="140" y="52"/>
                  <a:pt x="140" y="52"/>
                  <a:pt x="140" y="52"/>
                </a:cubicBezTo>
                <a:cubicBezTo>
                  <a:pt x="140" y="49"/>
                  <a:pt x="137" y="47"/>
                  <a:pt x="135" y="47"/>
                </a:cubicBezTo>
                <a:close/>
                <a:moveTo>
                  <a:pt x="219" y="47"/>
                </a:moveTo>
                <a:cubicBezTo>
                  <a:pt x="216" y="47"/>
                  <a:pt x="214" y="49"/>
                  <a:pt x="214" y="52"/>
                </a:cubicBezTo>
                <a:cubicBezTo>
                  <a:pt x="214" y="197"/>
                  <a:pt x="214" y="197"/>
                  <a:pt x="214" y="197"/>
                </a:cubicBezTo>
                <a:cubicBezTo>
                  <a:pt x="214" y="200"/>
                  <a:pt x="216" y="202"/>
                  <a:pt x="219" y="202"/>
                </a:cubicBezTo>
                <a:cubicBezTo>
                  <a:pt x="221" y="202"/>
                  <a:pt x="224" y="200"/>
                  <a:pt x="224" y="197"/>
                </a:cubicBezTo>
                <a:cubicBezTo>
                  <a:pt x="224" y="52"/>
                  <a:pt x="224" y="52"/>
                  <a:pt x="224" y="52"/>
                </a:cubicBezTo>
                <a:cubicBezTo>
                  <a:pt x="224" y="49"/>
                  <a:pt x="221" y="47"/>
                  <a:pt x="219" y="47"/>
                </a:cubicBezTo>
                <a:close/>
                <a:moveTo>
                  <a:pt x="93" y="47"/>
                </a:moveTo>
                <a:cubicBezTo>
                  <a:pt x="90" y="47"/>
                  <a:pt x="88" y="49"/>
                  <a:pt x="88" y="52"/>
                </a:cubicBezTo>
                <a:cubicBezTo>
                  <a:pt x="88" y="197"/>
                  <a:pt x="88" y="197"/>
                  <a:pt x="88" y="197"/>
                </a:cubicBezTo>
                <a:cubicBezTo>
                  <a:pt x="88" y="200"/>
                  <a:pt x="90" y="202"/>
                  <a:pt x="93" y="202"/>
                </a:cubicBezTo>
                <a:cubicBezTo>
                  <a:pt x="96" y="202"/>
                  <a:pt x="98" y="200"/>
                  <a:pt x="98" y="197"/>
                </a:cubicBezTo>
                <a:cubicBezTo>
                  <a:pt x="98" y="52"/>
                  <a:pt x="98" y="52"/>
                  <a:pt x="98" y="52"/>
                </a:cubicBezTo>
                <a:cubicBezTo>
                  <a:pt x="98" y="49"/>
                  <a:pt x="96" y="47"/>
                  <a:pt x="93" y="47"/>
                </a:cubicBezTo>
                <a:close/>
                <a:moveTo>
                  <a:pt x="303" y="47"/>
                </a:moveTo>
                <a:cubicBezTo>
                  <a:pt x="300" y="47"/>
                  <a:pt x="298" y="49"/>
                  <a:pt x="298" y="52"/>
                </a:cubicBezTo>
                <a:cubicBezTo>
                  <a:pt x="298" y="197"/>
                  <a:pt x="298" y="197"/>
                  <a:pt x="298" y="197"/>
                </a:cubicBezTo>
                <a:cubicBezTo>
                  <a:pt x="298" y="200"/>
                  <a:pt x="300" y="202"/>
                  <a:pt x="303" y="202"/>
                </a:cubicBezTo>
                <a:cubicBezTo>
                  <a:pt x="305" y="202"/>
                  <a:pt x="307" y="200"/>
                  <a:pt x="307" y="197"/>
                </a:cubicBezTo>
                <a:cubicBezTo>
                  <a:pt x="307" y="52"/>
                  <a:pt x="307" y="52"/>
                  <a:pt x="307" y="52"/>
                </a:cubicBezTo>
                <a:cubicBezTo>
                  <a:pt x="307" y="49"/>
                  <a:pt x="305" y="47"/>
                  <a:pt x="303" y="47"/>
                </a:cubicBezTo>
                <a:close/>
                <a:moveTo>
                  <a:pt x="479" y="88"/>
                </a:moveTo>
                <a:cubicBezTo>
                  <a:pt x="449" y="88"/>
                  <a:pt x="449" y="88"/>
                  <a:pt x="449" y="88"/>
                </a:cubicBezTo>
                <a:cubicBezTo>
                  <a:pt x="449" y="27"/>
                  <a:pt x="449" y="27"/>
                  <a:pt x="449" y="27"/>
                </a:cubicBezTo>
                <a:cubicBezTo>
                  <a:pt x="449" y="12"/>
                  <a:pt x="437" y="0"/>
                  <a:pt x="423" y="0"/>
                </a:cubicBezTo>
                <a:cubicBezTo>
                  <a:pt x="26" y="0"/>
                  <a:pt x="26" y="0"/>
                  <a:pt x="26" y="0"/>
                </a:cubicBezTo>
                <a:cubicBezTo>
                  <a:pt x="12" y="0"/>
                  <a:pt x="0" y="12"/>
                  <a:pt x="0" y="27"/>
                </a:cubicBezTo>
                <a:cubicBezTo>
                  <a:pt x="0" y="222"/>
                  <a:pt x="0" y="222"/>
                  <a:pt x="0" y="222"/>
                </a:cubicBezTo>
                <a:cubicBezTo>
                  <a:pt x="0" y="236"/>
                  <a:pt x="12" y="248"/>
                  <a:pt x="26" y="248"/>
                </a:cubicBezTo>
                <a:cubicBezTo>
                  <a:pt x="423" y="248"/>
                  <a:pt x="423" y="248"/>
                  <a:pt x="423" y="248"/>
                </a:cubicBezTo>
                <a:cubicBezTo>
                  <a:pt x="437" y="248"/>
                  <a:pt x="449" y="236"/>
                  <a:pt x="449" y="222"/>
                </a:cubicBezTo>
                <a:cubicBezTo>
                  <a:pt x="449" y="161"/>
                  <a:pt x="449" y="161"/>
                  <a:pt x="449" y="161"/>
                </a:cubicBezTo>
                <a:cubicBezTo>
                  <a:pt x="479" y="161"/>
                  <a:pt x="479" y="161"/>
                  <a:pt x="479" y="161"/>
                </a:cubicBezTo>
                <a:cubicBezTo>
                  <a:pt x="482" y="161"/>
                  <a:pt x="484" y="159"/>
                  <a:pt x="484" y="157"/>
                </a:cubicBezTo>
                <a:cubicBezTo>
                  <a:pt x="484" y="92"/>
                  <a:pt x="484" y="92"/>
                  <a:pt x="484" y="92"/>
                </a:cubicBezTo>
                <a:cubicBezTo>
                  <a:pt x="484" y="90"/>
                  <a:pt x="482" y="88"/>
                  <a:pt x="479" y="88"/>
                </a:cubicBezTo>
                <a:close/>
                <a:moveTo>
                  <a:pt x="475" y="152"/>
                </a:moveTo>
                <a:cubicBezTo>
                  <a:pt x="444" y="152"/>
                  <a:pt x="444" y="152"/>
                  <a:pt x="444" y="152"/>
                </a:cubicBezTo>
                <a:cubicBezTo>
                  <a:pt x="442" y="152"/>
                  <a:pt x="440" y="154"/>
                  <a:pt x="440" y="157"/>
                </a:cubicBezTo>
                <a:cubicBezTo>
                  <a:pt x="440" y="222"/>
                  <a:pt x="440" y="222"/>
                  <a:pt x="440" y="222"/>
                </a:cubicBezTo>
                <a:cubicBezTo>
                  <a:pt x="440" y="231"/>
                  <a:pt x="432" y="239"/>
                  <a:pt x="423" y="239"/>
                </a:cubicBezTo>
                <a:cubicBezTo>
                  <a:pt x="26" y="239"/>
                  <a:pt x="26" y="239"/>
                  <a:pt x="26" y="239"/>
                </a:cubicBezTo>
                <a:cubicBezTo>
                  <a:pt x="17" y="239"/>
                  <a:pt x="9" y="231"/>
                  <a:pt x="9" y="222"/>
                </a:cubicBezTo>
                <a:cubicBezTo>
                  <a:pt x="9" y="27"/>
                  <a:pt x="9" y="27"/>
                  <a:pt x="9" y="27"/>
                </a:cubicBezTo>
                <a:cubicBezTo>
                  <a:pt x="9" y="17"/>
                  <a:pt x="17" y="10"/>
                  <a:pt x="26" y="10"/>
                </a:cubicBezTo>
                <a:cubicBezTo>
                  <a:pt x="423" y="10"/>
                  <a:pt x="423" y="10"/>
                  <a:pt x="423" y="10"/>
                </a:cubicBezTo>
                <a:cubicBezTo>
                  <a:pt x="432" y="10"/>
                  <a:pt x="440" y="17"/>
                  <a:pt x="440" y="27"/>
                </a:cubicBezTo>
                <a:cubicBezTo>
                  <a:pt x="440" y="92"/>
                  <a:pt x="440" y="92"/>
                  <a:pt x="440" y="92"/>
                </a:cubicBezTo>
                <a:cubicBezTo>
                  <a:pt x="440" y="95"/>
                  <a:pt x="442" y="97"/>
                  <a:pt x="444" y="97"/>
                </a:cubicBezTo>
                <a:cubicBezTo>
                  <a:pt x="475" y="97"/>
                  <a:pt x="475" y="97"/>
                  <a:pt x="475" y="97"/>
                </a:cubicBezTo>
                <a:lnTo>
                  <a:pt x="475" y="152"/>
                </a:lnTo>
                <a:close/>
                <a:moveTo>
                  <a:pt x="387" y="47"/>
                </a:moveTo>
                <a:cubicBezTo>
                  <a:pt x="384" y="47"/>
                  <a:pt x="382" y="49"/>
                  <a:pt x="382" y="52"/>
                </a:cubicBezTo>
                <a:cubicBezTo>
                  <a:pt x="382" y="197"/>
                  <a:pt x="382" y="197"/>
                  <a:pt x="382" y="197"/>
                </a:cubicBezTo>
                <a:cubicBezTo>
                  <a:pt x="382" y="200"/>
                  <a:pt x="384" y="202"/>
                  <a:pt x="387" y="202"/>
                </a:cubicBezTo>
                <a:cubicBezTo>
                  <a:pt x="389" y="202"/>
                  <a:pt x="391" y="200"/>
                  <a:pt x="391" y="197"/>
                </a:cubicBezTo>
                <a:cubicBezTo>
                  <a:pt x="391" y="52"/>
                  <a:pt x="391" y="52"/>
                  <a:pt x="391" y="52"/>
                </a:cubicBezTo>
                <a:cubicBezTo>
                  <a:pt x="391" y="49"/>
                  <a:pt x="389" y="47"/>
                  <a:pt x="387" y="47"/>
                </a:cubicBezTo>
                <a:close/>
                <a:moveTo>
                  <a:pt x="261" y="47"/>
                </a:moveTo>
                <a:cubicBezTo>
                  <a:pt x="258" y="47"/>
                  <a:pt x="256" y="49"/>
                  <a:pt x="256" y="52"/>
                </a:cubicBezTo>
                <a:cubicBezTo>
                  <a:pt x="256" y="197"/>
                  <a:pt x="256" y="197"/>
                  <a:pt x="256" y="197"/>
                </a:cubicBezTo>
                <a:cubicBezTo>
                  <a:pt x="256" y="200"/>
                  <a:pt x="258" y="202"/>
                  <a:pt x="261" y="202"/>
                </a:cubicBezTo>
                <a:cubicBezTo>
                  <a:pt x="263" y="202"/>
                  <a:pt x="265" y="200"/>
                  <a:pt x="265" y="197"/>
                </a:cubicBezTo>
                <a:cubicBezTo>
                  <a:pt x="265" y="52"/>
                  <a:pt x="265" y="52"/>
                  <a:pt x="265" y="52"/>
                </a:cubicBezTo>
                <a:cubicBezTo>
                  <a:pt x="265" y="49"/>
                  <a:pt x="263" y="47"/>
                  <a:pt x="261" y="47"/>
                </a:cubicBezTo>
                <a:close/>
                <a:moveTo>
                  <a:pt x="345" y="47"/>
                </a:moveTo>
                <a:cubicBezTo>
                  <a:pt x="342" y="47"/>
                  <a:pt x="340" y="49"/>
                  <a:pt x="340" y="52"/>
                </a:cubicBezTo>
                <a:cubicBezTo>
                  <a:pt x="340" y="197"/>
                  <a:pt x="340" y="197"/>
                  <a:pt x="340" y="197"/>
                </a:cubicBezTo>
                <a:cubicBezTo>
                  <a:pt x="340" y="200"/>
                  <a:pt x="342" y="202"/>
                  <a:pt x="345" y="202"/>
                </a:cubicBezTo>
                <a:cubicBezTo>
                  <a:pt x="347" y="202"/>
                  <a:pt x="349" y="200"/>
                  <a:pt x="349" y="197"/>
                </a:cubicBezTo>
                <a:cubicBezTo>
                  <a:pt x="349" y="52"/>
                  <a:pt x="349" y="52"/>
                  <a:pt x="349" y="52"/>
                </a:cubicBezTo>
                <a:cubicBezTo>
                  <a:pt x="349" y="49"/>
                  <a:pt x="347" y="47"/>
                  <a:pt x="345" y="47"/>
                </a:cubicBez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8" name="Oval 6"/>
          <p:cNvSpPr>
            <a:spLocks noChangeArrowheads="1"/>
          </p:cNvSpPr>
          <p:nvPr/>
        </p:nvSpPr>
        <p:spPr bwMode="auto">
          <a:xfrm>
            <a:off x="10105564" y="1528549"/>
            <a:ext cx="1119124" cy="1119124"/>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1136" name="Freeform 24"/>
          <p:cNvSpPr>
            <a:spLocks noEditPoints="1"/>
          </p:cNvSpPr>
          <p:nvPr/>
        </p:nvSpPr>
        <p:spPr bwMode="auto">
          <a:xfrm>
            <a:off x="10286005" y="1927288"/>
            <a:ext cx="758245" cy="389434"/>
          </a:xfrm>
          <a:custGeom>
            <a:avLst/>
            <a:gdLst>
              <a:gd name="T0" fmla="*/ 479 w 484"/>
              <a:gd name="T1" fmla="*/ 87 h 248"/>
              <a:gd name="T2" fmla="*/ 449 w 484"/>
              <a:gd name="T3" fmla="*/ 87 h 248"/>
              <a:gd name="T4" fmla="*/ 449 w 484"/>
              <a:gd name="T5" fmla="*/ 27 h 248"/>
              <a:gd name="T6" fmla="*/ 423 w 484"/>
              <a:gd name="T7" fmla="*/ 0 h 248"/>
              <a:gd name="T8" fmla="*/ 26 w 484"/>
              <a:gd name="T9" fmla="*/ 0 h 248"/>
              <a:gd name="T10" fmla="*/ 0 w 484"/>
              <a:gd name="T11" fmla="*/ 27 h 248"/>
              <a:gd name="T12" fmla="*/ 0 w 484"/>
              <a:gd name="T13" fmla="*/ 221 h 248"/>
              <a:gd name="T14" fmla="*/ 26 w 484"/>
              <a:gd name="T15" fmla="*/ 248 h 248"/>
              <a:gd name="T16" fmla="*/ 423 w 484"/>
              <a:gd name="T17" fmla="*/ 248 h 248"/>
              <a:gd name="T18" fmla="*/ 449 w 484"/>
              <a:gd name="T19" fmla="*/ 221 h 248"/>
              <a:gd name="T20" fmla="*/ 449 w 484"/>
              <a:gd name="T21" fmla="*/ 161 h 248"/>
              <a:gd name="T22" fmla="*/ 479 w 484"/>
              <a:gd name="T23" fmla="*/ 161 h 248"/>
              <a:gd name="T24" fmla="*/ 484 w 484"/>
              <a:gd name="T25" fmla="*/ 156 h 248"/>
              <a:gd name="T26" fmla="*/ 484 w 484"/>
              <a:gd name="T27" fmla="*/ 92 h 248"/>
              <a:gd name="T28" fmla="*/ 479 w 484"/>
              <a:gd name="T29" fmla="*/ 87 h 248"/>
              <a:gd name="T30" fmla="*/ 475 w 484"/>
              <a:gd name="T31" fmla="*/ 151 h 248"/>
              <a:gd name="T32" fmla="*/ 444 w 484"/>
              <a:gd name="T33" fmla="*/ 151 h 248"/>
              <a:gd name="T34" fmla="*/ 440 w 484"/>
              <a:gd name="T35" fmla="*/ 156 h 248"/>
              <a:gd name="T36" fmla="*/ 440 w 484"/>
              <a:gd name="T37" fmla="*/ 221 h 248"/>
              <a:gd name="T38" fmla="*/ 423 w 484"/>
              <a:gd name="T39" fmla="*/ 239 h 248"/>
              <a:gd name="T40" fmla="*/ 26 w 484"/>
              <a:gd name="T41" fmla="*/ 239 h 248"/>
              <a:gd name="T42" fmla="*/ 9 w 484"/>
              <a:gd name="T43" fmla="*/ 221 h 248"/>
              <a:gd name="T44" fmla="*/ 9 w 484"/>
              <a:gd name="T45" fmla="*/ 27 h 248"/>
              <a:gd name="T46" fmla="*/ 26 w 484"/>
              <a:gd name="T47" fmla="*/ 9 h 248"/>
              <a:gd name="T48" fmla="*/ 423 w 484"/>
              <a:gd name="T49" fmla="*/ 9 h 248"/>
              <a:gd name="T50" fmla="*/ 440 w 484"/>
              <a:gd name="T51" fmla="*/ 27 h 248"/>
              <a:gd name="T52" fmla="*/ 440 w 484"/>
              <a:gd name="T53" fmla="*/ 92 h 248"/>
              <a:gd name="T54" fmla="*/ 444 w 484"/>
              <a:gd name="T55" fmla="*/ 97 h 248"/>
              <a:gd name="T56" fmla="*/ 475 w 484"/>
              <a:gd name="T57" fmla="*/ 97 h 248"/>
              <a:gd name="T58" fmla="*/ 475 w 484"/>
              <a:gd name="T59" fmla="*/ 151 h 248"/>
              <a:gd name="T60" fmla="*/ 347 w 484"/>
              <a:gd name="T61" fmla="*/ 156 h 248"/>
              <a:gd name="T62" fmla="*/ 191 w 484"/>
              <a:gd name="T63" fmla="*/ 52 h 248"/>
              <a:gd name="T64" fmla="*/ 186 w 484"/>
              <a:gd name="T65" fmla="*/ 52 h 248"/>
              <a:gd name="T66" fmla="*/ 184 w 484"/>
              <a:gd name="T67" fmla="*/ 56 h 248"/>
              <a:gd name="T68" fmla="*/ 184 w 484"/>
              <a:gd name="T69" fmla="*/ 107 h 248"/>
              <a:gd name="T70" fmla="*/ 71 w 484"/>
              <a:gd name="T71" fmla="*/ 83 h 248"/>
              <a:gd name="T72" fmla="*/ 66 w 484"/>
              <a:gd name="T73" fmla="*/ 86 h 248"/>
              <a:gd name="T74" fmla="*/ 67 w 484"/>
              <a:gd name="T75" fmla="*/ 92 h 248"/>
              <a:gd name="T76" fmla="*/ 224 w 484"/>
              <a:gd name="T77" fmla="*/ 196 h 248"/>
              <a:gd name="T78" fmla="*/ 226 w 484"/>
              <a:gd name="T79" fmla="*/ 196 h 248"/>
              <a:gd name="T80" fmla="*/ 228 w 484"/>
              <a:gd name="T81" fmla="*/ 196 h 248"/>
              <a:gd name="T82" fmla="*/ 231 w 484"/>
              <a:gd name="T83" fmla="*/ 192 h 248"/>
              <a:gd name="T84" fmla="*/ 231 w 484"/>
              <a:gd name="T85" fmla="*/ 141 h 248"/>
              <a:gd name="T86" fmla="*/ 344 w 484"/>
              <a:gd name="T87" fmla="*/ 165 h 248"/>
              <a:gd name="T88" fmla="*/ 345 w 484"/>
              <a:gd name="T89" fmla="*/ 165 h 248"/>
              <a:gd name="T90" fmla="*/ 349 w 484"/>
              <a:gd name="T91" fmla="*/ 160 h 248"/>
              <a:gd name="T92" fmla="*/ 347 w 484"/>
              <a:gd name="T93" fmla="*/ 156 h 248"/>
              <a:gd name="T94" fmla="*/ 227 w 484"/>
              <a:gd name="T95" fmla="*/ 130 h 248"/>
              <a:gd name="T96" fmla="*/ 223 w 484"/>
              <a:gd name="T97" fmla="*/ 131 h 248"/>
              <a:gd name="T98" fmla="*/ 221 w 484"/>
              <a:gd name="T99" fmla="*/ 135 h 248"/>
              <a:gd name="T100" fmla="*/ 221 w 484"/>
              <a:gd name="T101" fmla="*/ 183 h 248"/>
              <a:gd name="T102" fmla="*/ 93 w 484"/>
              <a:gd name="T103" fmla="*/ 98 h 248"/>
              <a:gd name="T104" fmla="*/ 187 w 484"/>
              <a:gd name="T105" fmla="*/ 118 h 248"/>
              <a:gd name="T106" fmla="*/ 191 w 484"/>
              <a:gd name="T107" fmla="*/ 117 h 248"/>
              <a:gd name="T108" fmla="*/ 193 w 484"/>
              <a:gd name="T109" fmla="*/ 113 h 248"/>
              <a:gd name="T110" fmla="*/ 193 w 484"/>
              <a:gd name="T111" fmla="*/ 65 h 248"/>
              <a:gd name="T112" fmla="*/ 321 w 484"/>
              <a:gd name="T113" fmla="*/ 150 h 248"/>
              <a:gd name="T114" fmla="*/ 227 w 484"/>
              <a:gd name="T115" fmla="*/ 130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84" h="248">
                <a:moveTo>
                  <a:pt x="479" y="87"/>
                </a:moveTo>
                <a:cubicBezTo>
                  <a:pt x="449" y="87"/>
                  <a:pt x="449" y="87"/>
                  <a:pt x="449" y="87"/>
                </a:cubicBezTo>
                <a:cubicBezTo>
                  <a:pt x="449" y="27"/>
                  <a:pt x="449" y="27"/>
                  <a:pt x="449" y="27"/>
                </a:cubicBezTo>
                <a:cubicBezTo>
                  <a:pt x="449" y="12"/>
                  <a:pt x="437" y="0"/>
                  <a:pt x="423" y="0"/>
                </a:cubicBezTo>
                <a:cubicBezTo>
                  <a:pt x="26" y="0"/>
                  <a:pt x="26" y="0"/>
                  <a:pt x="26" y="0"/>
                </a:cubicBezTo>
                <a:cubicBezTo>
                  <a:pt x="12" y="0"/>
                  <a:pt x="0" y="12"/>
                  <a:pt x="0" y="27"/>
                </a:cubicBezTo>
                <a:cubicBezTo>
                  <a:pt x="0" y="221"/>
                  <a:pt x="0" y="221"/>
                  <a:pt x="0" y="221"/>
                </a:cubicBezTo>
                <a:cubicBezTo>
                  <a:pt x="0" y="236"/>
                  <a:pt x="12" y="248"/>
                  <a:pt x="26" y="248"/>
                </a:cubicBezTo>
                <a:cubicBezTo>
                  <a:pt x="423" y="248"/>
                  <a:pt x="423" y="248"/>
                  <a:pt x="423" y="248"/>
                </a:cubicBezTo>
                <a:cubicBezTo>
                  <a:pt x="437" y="248"/>
                  <a:pt x="449" y="236"/>
                  <a:pt x="449" y="221"/>
                </a:cubicBezTo>
                <a:cubicBezTo>
                  <a:pt x="449" y="161"/>
                  <a:pt x="449" y="161"/>
                  <a:pt x="449" y="161"/>
                </a:cubicBezTo>
                <a:cubicBezTo>
                  <a:pt x="479" y="161"/>
                  <a:pt x="479" y="161"/>
                  <a:pt x="479" y="161"/>
                </a:cubicBezTo>
                <a:cubicBezTo>
                  <a:pt x="482" y="161"/>
                  <a:pt x="484" y="159"/>
                  <a:pt x="484" y="156"/>
                </a:cubicBezTo>
                <a:cubicBezTo>
                  <a:pt x="484" y="92"/>
                  <a:pt x="484" y="92"/>
                  <a:pt x="484" y="92"/>
                </a:cubicBezTo>
                <a:cubicBezTo>
                  <a:pt x="484" y="89"/>
                  <a:pt x="482" y="87"/>
                  <a:pt x="479" y="87"/>
                </a:cubicBezTo>
                <a:close/>
                <a:moveTo>
                  <a:pt x="475" y="151"/>
                </a:moveTo>
                <a:cubicBezTo>
                  <a:pt x="444" y="151"/>
                  <a:pt x="444" y="151"/>
                  <a:pt x="444" y="151"/>
                </a:cubicBezTo>
                <a:cubicBezTo>
                  <a:pt x="442" y="151"/>
                  <a:pt x="440" y="154"/>
                  <a:pt x="440" y="156"/>
                </a:cubicBezTo>
                <a:cubicBezTo>
                  <a:pt x="440" y="221"/>
                  <a:pt x="440" y="221"/>
                  <a:pt x="440" y="221"/>
                </a:cubicBezTo>
                <a:cubicBezTo>
                  <a:pt x="440" y="231"/>
                  <a:pt x="432" y="239"/>
                  <a:pt x="423" y="239"/>
                </a:cubicBezTo>
                <a:cubicBezTo>
                  <a:pt x="26" y="239"/>
                  <a:pt x="26" y="239"/>
                  <a:pt x="26" y="239"/>
                </a:cubicBezTo>
                <a:cubicBezTo>
                  <a:pt x="17" y="239"/>
                  <a:pt x="9" y="231"/>
                  <a:pt x="9" y="221"/>
                </a:cubicBezTo>
                <a:cubicBezTo>
                  <a:pt x="9" y="27"/>
                  <a:pt x="9" y="27"/>
                  <a:pt x="9" y="27"/>
                </a:cubicBezTo>
                <a:cubicBezTo>
                  <a:pt x="9" y="17"/>
                  <a:pt x="17" y="9"/>
                  <a:pt x="26" y="9"/>
                </a:cubicBezTo>
                <a:cubicBezTo>
                  <a:pt x="423" y="9"/>
                  <a:pt x="423" y="9"/>
                  <a:pt x="423" y="9"/>
                </a:cubicBezTo>
                <a:cubicBezTo>
                  <a:pt x="432" y="9"/>
                  <a:pt x="440" y="17"/>
                  <a:pt x="440" y="27"/>
                </a:cubicBezTo>
                <a:cubicBezTo>
                  <a:pt x="440" y="92"/>
                  <a:pt x="440" y="92"/>
                  <a:pt x="440" y="92"/>
                </a:cubicBezTo>
                <a:cubicBezTo>
                  <a:pt x="440" y="94"/>
                  <a:pt x="442" y="97"/>
                  <a:pt x="444" y="97"/>
                </a:cubicBezTo>
                <a:cubicBezTo>
                  <a:pt x="475" y="97"/>
                  <a:pt x="475" y="97"/>
                  <a:pt x="475" y="97"/>
                </a:cubicBezTo>
                <a:lnTo>
                  <a:pt x="475" y="151"/>
                </a:lnTo>
                <a:close/>
                <a:moveTo>
                  <a:pt x="347" y="156"/>
                </a:moveTo>
                <a:cubicBezTo>
                  <a:pt x="191" y="52"/>
                  <a:pt x="191" y="52"/>
                  <a:pt x="191" y="52"/>
                </a:cubicBezTo>
                <a:cubicBezTo>
                  <a:pt x="189" y="51"/>
                  <a:pt x="188" y="51"/>
                  <a:pt x="186" y="52"/>
                </a:cubicBezTo>
                <a:cubicBezTo>
                  <a:pt x="184" y="53"/>
                  <a:pt x="184" y="55"/>
                  <a:pt x="184" y="56"/>
                </a:cubicBezTo>
                <a:cubicBezTo>
                  <a:pt x="184" y="107"/>
                  <a:pt x="184" y="107"/>
                  <a:pt x="184" y="107"/>
                </a:cubicBezTo>
                <a:cubicBezTo>
                  <a:pt x="71" y="83"/>
                  <a:pt x="71" y="83"/>
                  <a:pt x="71" y="83"/>
                </a:cubicBezTo>
                <a:cubicBezTo>
                  <a:pt x="69" y="83"/>
                  <a:pt x="66" y="84"/>
                  <a:pt x="66" y="86"/>
                </a:cubicBezTo>
                <a:cubicBezTo>
                  <a:pt x="65" y="88"/>
                  <a:pt x="65" y="90"/>
                  <a:pt x="67" y="92"/>
                </a:cubicBezTo>
                <a:cubicBezTo>
                  <a:pt x="224" y="196"/>
                  <a:pt x="224" y="196"/>
                  <a:pt x="224" y="196"/>
                </a:cubicBezTo>
                <a:cubicBezTo>
                  <a:pt x="224" y="196"/>
                  <a:pt x="225" y="196"/>
                  <a:pt x="226" y="196"/>
                </a:cubicBezTo>
                <a:cubicBezTo>
                  <a:pt x="227" y="196"/>
                  <a:pt x="228" y="196"/>
                  <a:pt x="228" y="196"/>
                </a:cubicBezTo>
                <a:cubicBezTo>
                  <a:pt x="230" y="195"/>
                  <a:pt x="231" y="193"/>
                  <a:pt x="231" y="192"/>
                </a:cubicBezTo>
                <a:cubicBezTo>
                  <a:pt x="231" y="141"/>
                  <a:pt x="231" y="141"/>
                  <a:pt x="231" y="141"/>
                </a:cubicBezTo>
                <a:cubicBezTo>
                  <a:pt x="344" y="165"/>
                  <a:pt x="344" y="165"/>
                  <a:pt x="344" y="165"/>
                </a:cubicBezTo>
                <a:cubicBezTo>
                  <a:pt x="344" y="165"/>
                  <a:pt x="344" y="165"/>
                  <a:pt x="345" y="165"/>
                </a:cubicBezTo>
                <a:cubicBezTo>
                  <a:pt x="347" y="165"/>
                  <a:pt x="349" y="163"/>
                  <a:pt x="349" y="160"/>
                </a:cubicBezTo>
                <a:cubicBezTo>
                  <a:pt x="349" y="158"/>
                  <a:pt x="348" y="157"/>
                  <a:pt x="347" y="156"/>
                </a:cubicBezTo>
                <a:close/>
                <a:moveTo>
                  <a:pt x="227" y="130"/>
                </a:moveTo>
                <a:cubicBezTo>
                  <a:pt x="226" y="130"/>
                  <a:pt x="224" y="130"/>
                  <a:pt x="223" y="131"/>
                </a:cubicBezTo>
                <a:cubicBezTo>
                  <a:pt x="222" y="132"/>
                  <a:pt x="221" y="133"/>
                  <a:pt x="221" y="135"/>
                </a:cubicBezTo>
                <a:cubicBezTo>
                  <a:pt x="221" y="183"/>
                  <a:pt x="221" y="183"/>
                  <a:pt x="221" y="183"/>
                </a:cubicBezTo>
                <a:cubicBezTo>
                  <a:pt x="93" y="98"/>
                  <a:pt x="93" y="98"/>
                  <a:pt x="93" y="98"/>
                </a:cubicBezTo>
                <a:cubicBezTo>
                  <a:pt x="187" y="118"/>
                  <a:pt x="187" y="118"/>
                  <a:pt x="187" y="118"/>
                </a:cubicBezTo>
                <a:cubicBezTo>
                  <a:pt x="189" y="118"/>
                  <a:pt x="190" y="118"/>
                  <a:pt x="191" y="117"/>
                </a:cubicBezTo>
                <a:cubicBezTo>
                  <a:pt x="192" y="116"/>
                  <a:pt x="193" y="115"/>
                  <a:pt x="193" y="113"/>
                </a:cubicBezTo>
                <a:cubicBezTo>
                  <a:pt x="193" y="65"/>
                  <a:pt x="193" y="65"/>
                  <a:pt x="193" y="65"/>
                </a:cubicBezTo>
                <a:cubicBezTo>
                  <a:pt x="321" y="150"/>
                  <a:pt x="321" y="150"/>
                  <a:pt x="321" y="150"/>
                </a:cubicBezTo>
                <a:lnTo>
                  <a:pt x="227" y="130"/>
                </a:ln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9" name="Oval 7"/>
          <p:cNvSpPr>
            <a:spLocks noChangeArrowheads="1"/>
          </p:cNvSpPr>
          <p:nvPr/>
        </p:nvSpPr>
        <p:spPr bwMode="auto">
          <a:xfrm>
            <a:off x="8347593" y="1528549"/>
            <a:ext cx="1119124" cy="1119124"/>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1137" name="Freeform 25"/>
          <p:cNvSpPr>
            <a:spLocks noEditPoints="1"/>
          </p:cNvSpPr>
          <p:nvPr/>
        </p:nvSpPr>
        <p:spPr bwMode="auto">
          <a:xfrm>
            <a:off x="8679013" y="1774438"/>
            <a:ext cx="454955" cy="628012"/>
          </a:xfrm>
          <a:custGeom>
            <a:avLst/>
            <a:gdLst>
              <a:gd name="T0" fmla="*/ 289 w 290"/>
              <a:gd name="T1" fmla="*/ 111 h 400"/>
              <a:gd name="T2" fmla="*/ 184 w 290"/>
              <a:gd name="T3" fmla="*/ 1 h 400"/>
              <a:gd name="T4" fmla="*/ 180 w 290"/>
              <a:gd name="T5" fmla="*/ 0 h 400"/>
              <a:gd name="T6" fmla="*/ 5 w 290"/>
              <a:gd name="T7" fmla="*/ 0 h 400"/>
              <a:gd name="T8" fmla="*/ 0 w 290"/>
              <a:gd name="T9" fmla="*/ 5 h 400"/>
              <a:gd name="T10" fmla="*/ 0 w 290"/>
              <a:gd name="T11" fmla="*/ 395 h 400"/>
              <a:gd name="T12" fmla="*/ 5 w 290"/>
              <a:gd name="T13" fmla="*/ 400 h 400"/>
              <a:gd name="T14" fmla="*/ 286 w 290"/>
              <a:gd name="T15" fmla="*/ 400 h 400"/>
              <a:gd name="T16" fmla="*/ 290 w 290"/>
              <a:gd name="T17" fmla="*/ 395 h 400"/>
              <a:gd name="T18" fmla="*/ 290 w 290"/>
              <a:gd name="T19" fmla="*/ 114 h 400"/>
              <a:gd name="T20" fmla="*/ 289 w 290"/>
              <a:gd name="T21" fmla="*/ 111 h 400"/>
              <a:gd name="T22" fmla="*/ 281 w 290"/>
              <a:gd name="T23" fmla="*/ 390 h 400"/>
              <a:gd name="T24" fmla="*/ 9 w 290"/>
              <a:gd name="T25" fmla="*/ 390 h 400"/>
              <a:gd name="T26" fmla="*/ 9 w 290"/>
              <a:gd name="T27" fmla="*/ 9 h 400"/>
              <a:gd name="T28" fmla="*/ 178 w 290"/>
              <a:gd name="T29" fmla="*/ 9 h 400"/>
              <a:gd name="T30" fmla="*/ 281 w 290"/>
              <a:gd name="T31" fmla="*/ 116 h 400"/>
              <a:gd name="T32" fmla="*/ 281 w 290"/>
              <a:gd name="T33" fmla="*/ 390 h 400"/>
              <a:gd name="T34" fmla="*/ 47 w 290"/>
              <a:gd name="T35" fmla="*/ 228 h 400"/>
              <a:gd name="T36" fmla="*/ 47 w 290"/>
              <a:gd name="T37" fmla="*/ 314 h 400"/>
              <a:gd name="T38" fmla="*/ 98 w 290"/>
              <a:gd name="T39" fmla="*/ 365 h 400"/>
              <a:gd name="T40" fmla="*/ 190 w 290"/>
              <a:gd name="T41" fmla="*/ 365 h 400"/>
              <a:gd name="T42" fmla="*/ 241 w 290"/>
              <a:gd name="T43" fmla="*/ 314 h 400"/>
              <a:gd name="T44" fmla="*/ 241 w 290"/>
              <a:gd name="T45" fmla="*/ 228 h 400"/>
              <a:gd name="T46" fmla="*/ 190 w 290"/>
              <a:gd name="T47" fmla="*/ 177 h 400"/>
              <a:gd name="T48" fmla="*/ 98 w 290"/>
              <a:gd name="T49" fmla="*/ 177 h 400"/>
              <a:gd name="T50" fmla="*/ 47 w 290"/>
              <a:gd name="T51" fmla="*/ 228 h 400"/>
              <a:gd name="T52" fmla="*/ 107 w 290"/>
              <a:gd name="T53" fmla="*/ 356 h 400"/>
              <a:gd name="T54" fmla="*/ 98 w 290"/>
              <a:gd name="T55" fmla="*/ 356 h 400"/>
              <a:gd name="T56" fmla="*/ 57 w 290"/>
              <a:gd name="T57" fmla="*/ 314 h 400"/>
              <a:gd name="T58" fmla="*/ 57 w 290"/>
              <a:gd name="T59" fmla="*/ 304 h 400"/>
              <a:gd name="T60" fmla="*/ 107 w 290"/>
              <a:gd name="T61" fmla="*/ 304 h 400"/>
              <a:gd name="T62" fmla="*/ 107 w 290"/>
              <a:gd name="T63" fmla="*/ 356 h 400"/>
              <a:gd name="T64" fmla="*/ 107 w 290"/>
              <a:gd name="T65" fmla="*/ 294 h 400"/>
              <a:gd name="T66" fmla="*/ 57 w 290"/>
              <a:gd name="T67" fmla="*/ 294 h 400"/>
              <a:gd name="T68" fmla="*/ 57 w 290"/>
              <a:gd name="T69" fmla="*/ 254 h 400"/>
              <a:gd name="T70" fmla="*/ 107 w 290"/>
              <a:gd name="T71" fmla="*/ 254 h 400"/>
              <a:gd name="T72" fmla="*/ 107 w 290"/>
              <a:gd name="T73" fmla="*/ 294 h 400"/>
              <a:gd name="T74" fmla="*/ 181 w 290"/>
              <a:gd name="T75" fmla="*/ 186 h 400"/>
              <a:gd name="T76" fmla="*/ 190 w 290"/>
              <a:gd name="T77" fmla="*/ 186 h 400"/>
              <a:gd name="T78" fmla="*/ 232 w 290"/>
              <a:gd name="T79" fmla="*/ 228 h 400"/>
              <a:gd name="T80" fmla="*/ 232 w 290"/>
              <a:gd name="T81" fmla="*/ 245 h 400"/>
              <a:gd name="T82" fmla="*/ 181 w 290"/>
              <a:gd name="T83" fmla="*/ 245 h 400"/>
              <a:gd name="T84" fmla="*/ 181 w 290"/>
              <a:gd name="T85" fmla="*/ 186 h 400"/>
              <a:gd name="T86" fmla="*/ 181 w 290"/>
              <a:gd name="T87" fmla="*/ 254 h 400"/>
              <a:gd name="T88" fmla="*/ 232 w 290"/>
              <a:gd name="T89" fmla="*/ 254 h 400"/>
              <a:gd name="T90" fmla="*/ 232 w 290"/>
              <a:gd name="T91" fmla="*/ 294 h 400"/>
              <a:gd name="T92" fmla="*/ 181 w 290"/>
              <a:gd name="T93" fmla="*/ 294 h 400"/>
              <a:gd name="T94" fmla="*/ 181 w 290"/>
              <a:gd name="T95" fmla="*/ 254 h 400"/>
              <a:gd name="T96" fmla="*/ 181 w 290"/>
              <a:gd name="T97" fmla="*/ 304 h 400"/>
              <a:gd name="T98" fmla="*/ 232 w 290"/>
              <a:gd name="T99" fmla="*/ 304 h 400"/>
              <a:gd name="T100" fmla="*/ 232 w 290"/>
              <a:gd name="T101" fmla="*/ 314 h 400"/>
              <a:gd name="T102" fmla="*/ 190 w 290"/>
              <a:gd name="T103" fmla="*/ 356 h 400"/>
              <a:gd name="T104" fmla="*/ 181 w 290"/>
              <a:gd name="T105" fmla="*/ 356 h 400"/>
              <a:gd name="T106" fmla="*/ 181 w 290"/>
              <a:gd name="T107" fmla="*/ 304 h 400"/>
              <a:gd name="T108" fmla="*/ 172 w 290"/>
              <a:gd name="T109" fmla="*/ 356 h 400"/>
              <a:gd name="T110" fmla="*/ 117 w 290"/>
              <a:gd name="T111" fmla="*/ 356 h 400"/>
              <a:gd name="T112" fmla="*/ 117 w 290"/>
              <a:gd name="T113" fmla="*/ 250 h 400"/>
              <a:gd name="T114" fmla="*/ 112 w 290"/>
              <a:gd name="T115" fmla="*/ 245 h 400"/>
              <a:gd name="T116" fmla="*/ 57 w 290"/>
              <a:gd name="T117" fmla="*/ 245 h 400"/>
              <a:gd name="T118" fmla="*/ 57 w 290"/>
              <a:gd name="T119" fmla="*/ 228 h 400"/>
              <a:gd name="T120" fmla="*/ 98 w 290"/>
              <a:gd name="T121" fmla="*/ 186 h 400"/>
              <a:gd name="T122" fmla="*/ 172 w 290"/>
              <a:gd name="T123" fmla="*/ 186 h 400"/>
              <a:gd name="T124" fmla="*/ 172 w 290"/>
              <a:gd name="T125" fmla="*/ 356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90" h="400">
                <a:moveTo>
                  <a:pt x="289" y="111"/>
                </a:moveTo>
                <a:cubicBezTo>
                  <a:pt x="184" y="1"/>
                  <a:pt x="184" y="1"/>
                  <a:pt x="184" y="1"/>
                </a:cubicBezTo>
                <a:cubicBezTo>
                  <a:pt x="183" y="0"/>
                  <a:pt x="182" y="0"/>
                  <a:pt x="180" y="0"/>
                </a:cubicBezTo>
                <a:cubicBezTo>
                  <a:pt x="5" y="0"/>
                  <a:pt x="5" y="0"/>
                  <a:pt x="5" y="0"/>
                </a:cubicBezTo>
                <a:cubicBezTo>
                  <a:pt x="2" y="0"/>
                  <a:pt x="0" y="2"/>
                  <a:pt x="0" y="5"/>
                </a:cubicBezTo>
                <a:cubicBezTo>
                  <a:pt x="0" y="395"/>
                  <a:pt x="0" y="395"/>
                  <a:pt x="0" y="395"/>
                </a:cubicBezTo>
                <a:cubicBezTo>
                  <a:pt x="0" y="398"/>
                  <a:pt x="2" y="400"/>
                  <a:pt x="5" y="400"/>
                </a:cubicBezTo>
                <a:cubicBezTo>
                  <a:pt x="286" y="400"/>
                  <a:pt x="286" y="400"/>
                  <a:pt x="286" y="400"/>
                </a:cubicBezTo>
                <a:cubicBezTo>
                  <a:pt x="288" y="400"/>
                  <a:pt x="290" y="398"/>
                  <a:pt x="290" y="395"/>
                </a:cubicBezTo>
                <a:cubicBezTo>
                  <a:pt x="290" y="114"/>
                  <a:pt x="290" y="114"/>
                  <a:pt x="290" y="114"/>
                </a:cubicBezTo>
                <a:cubicBezTo>
                  <a:pt x="290" y="113"/>
                  <a:pt x="290" y="112"/>
                  <a:pt x="289" y="111"/>
                </a:cubicBezTo>
                <a:close/>
                <a:moveTo>
                  <a:pt x="281" y="390"/>
                </a:moveTo>
                <a:cubicBezTo>
                  <a:pt x="9" y="390"/>
                  <a:pt x="9" y="390"/>
                  <a:pt x="9" y="390"/>
                </a:cubicBezTo>
                <a:cubicBezTo>
                  <a:pt x="9" y="9"/>
                  <a:pt x="9" y="9"/>
                  <a:pt x="9" y="9"/>
                </a:cubicBezTo>
                <a:cubicBezTo>
                  <a:pt x="178" y="9"/>
                  <a:pt x="178" y="9"/>
                  <a:pt x="178" y="9"/>
                </a:cubicBezTo>
                <a:cubicBezTo>
                  <a:pt x="281" y="116"/>
                  <a:pt x="281" y="116"/>
                  <a:pt x="281" y="116"/>
                </a:cubicBezTo>
                <a:lnTo>
                  <a:pt x="281" y="390"/>
                </a:lnTo>
                <a:close/>
                <a:moveTo>
                  <a:pt x="47" y="228"/>
                </a:moveTo>
                <a:cubicBezTo>
                  <a:pt x="47" y="314"/>
                  <a:pt x="47" y="314"/>
                  <a:pt x="47" y="314"/>
                </a:cubicBezTo>
                <a:cubicBezTo>
                  <a:pt x="47" y="342"/>
                  <a:pt x="70" y="365"/>
                  <a:pt x="98" y="365"/>
                </a:cubicBezTo>
                <a:cubicBezTo>
                  <a:pt x="190" y="365"/>
                  <a:pt x="190" y="365"/>
                  <a:pt x="190" y="365"/>
                </a:cubicBezTo>
                <a:cubicBezTo>
                  <a:pt x="219" y="365"/>
                  <a:pt x="241" y="342"/>
                  <a:pt x="241" y="314"/>
                </a:cubicBezTo>
                <a:cubicBezTo>
                  <a:pt x="241" y="228"/>
                  <a:pt x="241" y="228"/>
                  <a:pt x="241" y="228"/>
                </a:cubicBezTo>
                <a:cubicBezTo>
                  <a:pt x="241" y="200"/>
                  <a:pt x="219" y="177"/>
                  <a:pt x="190" y="177"/>
                </a:cubicBezTo>
                <a:cubicBezTo>
                  <a:pt x="98" y="177"/>
                  <a:pt x="98" y="177"/>
                  <a:pt x="98" y="177"/>
                </a:cubicBezTo>
                <a:cubicBezTo>
                  <a:pt x="70" y="177"/>
                  <a:pt x="47" y="200"/>
                  <a:pt x="47" y="228"/>
                </a:cubicBezTo>
                <a:close/>
                <a:moveTo>
                  <a:pt x="107" y="356"/>
                </a:moveTo>
                <a:cubicBezTo>
                  <a:pt x="98" y="356"/>
                  <a:pt x="98" y="356"/>
                  <a:pt x="98" y="356"/>
                </a:cubicBezTo>
                <a:cubicBezTo>
                  <a:pt x="75" y="356"/>
                  <a:pt x="57" y="337"/>
                  <a:pt x="57" y="314"/>
                </a:cubicBezTo>
                <a:cubicBezTo>
                  <a:pt x="57" y="304"/>
                  <a:pt x="57" y="304"/>
                  <a:pt x="57" y="304"/>
                </a:cubicBezTo>
                <a:cubicBezTo>
                  <a:pt x="107" y="304"/>
                  <a:pt x="107" y="304"/>
                  <a:pt x="107" y="304"/>
                </a:cubicBezTo>
                <a:lnTo>
                  <a:pt x="107" y="356"/>
                </a:lnTo>
                <a:close/>
                <a:moveTo>
                  <a:pt x="107" y="294"/>
                </a:moveTo>
                <a:cubicBezTo>
                  <a:pt x="57" y="294"/>
                  <a:pt x="57" y="294"/>
                  <a:pt x="57" y="294"/>
                </a:cubicBezTo>
                <a:cubicBezTo>
                  <a:pt x="57" y="254"/>
                  <a:pt x="57" y="254"/>
                  <a:pt x="57" y="254"/>
                </a:cubicBezTo>
                <a:cubicBezTo>
                  <a:pt x="107" y="254"/>
                  <a:pt x="107" y="254"/>
                  <a:pt x="107" y="254"/>
                </a:cubicBezTo>
                <a:lnTo>
                  <a:pt x="107" y="294"/>
                </a:lnTo>
                <a:close/>
                <a:moveTo>
                  <a:pt x="181" y="186"/>
                </a:moveTo>
                <a:cubicBezTo>
                  <a:pt x="190" y="186"/>
                  <a:pt x="190" y="186"/>
                  <a:pt x="190" y="186"/>
                </a:cubicBezTo>
                <a:cubicBezTo>
                  <a:pt x="213" y="186"/>
                  <a:pt x="232" y="205"/>
                  <a:pt x="232" y="228"/>
                </a:cubicBezTo>
                <a:cubicBezTo>
                  <a:pt x="232" y="245"/>
                  <a:pt x="232" y="245"/>
                  <a:pt x="232" y="245"/>
                </a:cubicBezTo>
                <a:cubicBezTo>
                  <a:pt x="181" y="245"/>
                  <a:pt x="181" y="245"/>
                  <a:pt x="181" y="245"/>
                </a:cubicBezTo>
                <a:lnTo>
                  <a:pt x="181" y="186"/>
                </a:lnTo>
                <a:close/>
                <a:moveTo>
                  <a:pt x="181" y="254"/>
                </a:moveTo>
                <a:cubicBezTo>
                  <a:pt x="232" y="254"/>
                  <a:pt x="232" y="254"/>
                  <a:pt x="232" y="254"/>
                </a:cubicBezTo>
                <a:cubicBezTo>
                  <a:pt x="232" y="294"/>
                  <a:pt x="232" y="294"/>
                  <a:pt x="232" y="294"/>
                </a:cubicBezTo>
                <a:cubicBezTo>
                  <a:pt x="181" y="294"/>
                  <a:pt x="181" y="294"/>
                  <a:pt x="181" y="294"/>
                </a:cubicBezTo>
                <a:lnTo>
                  <a:pt x="181" y="254"/>
                </a:lnTo>
                <a:close/>
                <a:moveTo>
                  <a:pt x="181" y="304"/>
                </a:moveTo>
                <a:cubicBezTo>
                  <a:pt x="232" y="304"/>
                  <a:pt x="232" y="304"/>
                  <a:pt x="232" y="304"/>
                </a:cubicBezTo>
                <a:cubicBezTo>
                  <a:pt x="232" y="314"/>
                  <a:pt x="232" y="314"/>
                  <a:pt x="232" y="314"/>
                </a:cubicBezTo>
                <a:cubicBezTo>
                  <a:pt x="232" y="337"/>
                  <a:pt x="213" y="356"/>
                  <a:pt x="190" y="356"/>
                </a:cubicBezTo>
                <a:cubicBezTo>
                  <a:pt x="181" y="356"/>
                  <a:pt x="181" y="356"/>
                  <a:pt x="181" y="356"/>
                </a:cubicBezTo>
                <a:lnTo>
                  <a:pt x="181" y="304"/>
                </a:lnTo>
                <a:close/>
                <a:moveTo>
                  <a:pt x="172" y="356"/>
                </a:moveTo>
                <a:cubicBezTo>
                  <a:pt x="117" y="356"/>
                  <a:pt x="117" y="356"/>
                  <a:pt x="117" y="356"/>
                </a:cubicBezTo>
                <a:cubicBezTo>
                  <a:pt x="117" y="250"/>
                  <a:pt x="117" y="250"/>
                  <a:pt x="117" y="250"/>
                </a:cubicBezTo>
                <a:cubicBezTo>
                  <a:pt x="117" y="247"/>
                  <a:pt x="115" y="245"/>
                  <a:pt x="112" y="245"/>
                </a:cubicBezTo>
                <a:cubicBezTo>
                  <a:pt x="57" y="245"/>
                  <a:pt x="57" y="245"/>
                  <a:pt x="57" y="245"/>
                </a:cubicBezTo>
                <a:cubicBezTo>
                  <a:pt x="57" y="228"/>
                  <a:pt x="57" y="228"/>
                  <a:pt x="57" y="228"/>
                </a:cubicBezTo>
                <a:cubicBezTo>
                  <a:pt x="57" y="205"/>
                  <a:pt x="75" y="186"/>
                  <a:pt x="98" y="186"/>
                </a:cubicBezTo>
                <a:cubicBezTo>
                  <a:pt x="172" y="186"/>
                  <a:pt x="172" y="186"/>
                  <a:pt x="172" y="186"/>
                </a:cubicBezTo>
                <a:lnTo>
                  <a:pt x="172" y="356"/>
                </a:ln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18" name="Oval 13"/>
          <p:cNvSpPr>
            <a:spLocks noChangeArrowheads="1"/>
          </p:cNvSpPr>
          <p:nvPr/>
        </p:nvSpPr>
        <p:spPr bwMode="auto">
          <a:xfrm>
            <a:off x="4831649" y="1528549"/>
            <a:ext cx="1119124" cy="1119124"/>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1138" name="Freeform 26"/>
          <p:cNvSpPr>
            <a:spLocks noEditPoints="1"/>
          </p:cNvSpPr>
          <p:nvPr/>
        </p:nvSpPr>
        <p:spPr bwMode="auto">
          <a:xfrm>
            <a:off x="5148646" y="1727918"/>
            <a:ext cx="485131" cy="720386"/>
          </a:xfrm>
          <a:custGeom>
            <a:avLst/>
            <a:gdLst>
              <a:gd name="T0" fmla="*/ 154 w 309"/>
              <a:gd name="T1" fmla="*/ 0 h 459"/>
              <a:gd name="T2" fmla="*/ 0 w 309"/>
              <a:gd name="T3" fmla="*/ 154 h 459"/>
              <a:gd name="T4" fmla="*/ 0 w 309"/>
              <a:gd name="T5" fmla="*/ 304 h 459"/>
              <a:gd name="T6" fmla="*/ 154 w 309"/>
              <a:gd name="T7" fmla="*/ 459 h 459"/>
              <a:gd name="T8" fmla="*/ 309 w 309"/>
              <a:gd name="T9" fmla="*/ 304 h 459"/>
              <a:gd name="T10" fmla="*/ 309 w 309"/>
              <a:gd name="T11" fmla="*/ 154 h 459"/>
              <a:gd name="T12" fmla="*/ 154 w 309"/>
              <a:gd name="T13" fmla="*/ 0 h 459"/>
              <a:gd name="T14" fmla="*/ 169 w 309"/>
              <a:gd name="T15" fmla="*/ 168 h 459"/>
              <a:gd name="T16" fmla="*/ 169 w 309"/>
              <a:gd name="T17" fmla="*/ 215 h 459"/>
              <a:gd name="T18" fmla="*/ 154 w 309"/>
              <a:gd name="T19" fmla="*/ 230 h 459"/>
              <a:gd name="T20" fmla="*/ 139 w 309"/>
              <a:gd name="T21" fmla="*/ 215 h 459"/>
              <a:gd name="T22" fmla="*/ 139 w 309"/>
              <a:gd name="T23" fmla="*/ 168 h 459"/>
              <a:gd name="T24" fmla="*/ 154 w 309"/>
              <a:gd name="T25" fmla="*/ 152 h 459"/>
              <a:gd name="T26" fmla="*/ 169 w 309"/>
              <a:gd name="T27" fmla="*/ 168 h 459"/>
              <a:gd name="T28" fmla="*/ 9 w 309"/>
              <a:gd name="T29" fmla="*/ 154 h 459"/>
              <a:gd name="T30" fmla="*/ 150 w 309"/>
              <a:gd name="T31" fmla="*/ 9 h 459"/>
              <a:gd name="T32" fmla="*/ 150 w 309"/>
              <a:gd name="T33" fmla="*/ 144 h 459"/>
              <a:gd name="T34" fmla="*/ 130 w 309"/>
              <a:gd name="T35" fmla="*/ 168 h 459"/>
              <a:gd name="T36" fmla="*/ 130 w 309"/>
              <a:gd name="T37" fmla="*/ 187 h 459"/>
              <a:gd name="T38" fmla="*/ 9 w 309"/>
              <a:gd name="T39" fmla="*/ 187 h 459"/>
              <a:gd name="T40" fmla="*/ 9 w 309"/>
              <a:gd name="T41" fmla="*/ 154 h 459"/>
              <a:gd name="T42" fmla="*/ 300 w 309"/>
              <a:gd name="T43" fmla="*/ 304 h 459"/>
              <a:gd name="T44" fmla="*/ 154 w 309"/>
              <a:gd name="T45" fmla="*/ 449 h 459"/>
              <a:gd name="T46" fmla="*/ 9 w 309"/>
              <a:gd name="T47" fmla="*/ 304 h 459"/>
              <a:gd name="T48" fmla="*/ 9 w 309"/>
              <a:gd name="T49" fmla="*/ 196 h 459"/>
              <a:gd name="T50" fmla="*/ 130 w 309"/>
              <a:gd name="T51" fmla="*/ 196 h 459"/>
              <a:gd name="T52" fmla="*/ 130 w 309"/>
              <a:gd name="T53" fmla="*/ 215 h 459"/>
              <a:gd name="T54" fmla="*/ 154 w 309"/>
              <a:gd name="T55" fmla="*/ 240 h 459"/>
              <a:gd name="T56" fmla="*/ 179 w 309"/>
              <a:gd name="T57" fmla="*/ 215 h 459"/>
              <a:gd name="T58" fmla="*/ 179 w 309"/>
              <a:gd name="T59" fmla="*/ 196 h 459"/>
              <a:gd name="T60" fmla="*/ 300 w 309"/>
              <a:gd name="T61" fmla="*/ 196 h 459"/>
              <a:gd name="T62" fmla="*/ 300 w 309"/>
              <a:gd name="T63" fmla="*/ 304 h 459"/>
              <a:gd name="T64" fmla="*/ 300 w 309"/>
              <a:gd name="T65" fmla="*/ 187 h 459"/>
              <a:gd name="T66" fmla="*/ 179 w 309"/>
              <a:gd name="T67" fmla="*/ 187 h 459"/>
              <a:gd name="T68" fmla="*/ 179 w 309"/>
              <a:gd name="T69" fmla="*/ 168 h 459"/>
              <a:gd name="T70" fmla="*/ 159 w 309"/>
              <a:gd name="T71" fmla="*/ 144 h 459"/>
              <a:gd name="T72" fmla="*/ 159 w 309"/>
              <a:gd name="T73" fmla="*/ 9 h 459"/>
              <a:gd name="T74" fmla="*/ 300 w 309"/>
              <a:gd name="T75" fmla="*/ 154 h 459"/>
              <a:gd name="T76" fmla="*/ 300 w 309"/>
              <a:gd name="T77" fmla="*/ 187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09" h="459">
                <a:moveTo>
                  <a:pt x="154" y="0"/>
                </a:moveTo>
                <a:cubicBezTo>
                  <a:pt x="69" y="0"/>
                  <a:pt x="0" y="69"/>
                  <a:pt x="0" y="154"/>
                </a:cubicBezTo>
                <a:cubicBezTo>
                  <a:pt x="0" y="304"/>
                  <a:pt x="0" y="304"/>
                  <a:pt x="0" y="304"/>
                </a:cubicBezTo>
                <a:cubicBezTo>
                  <a:pt x="0" y="390"/>
                  <a:pt x="69" y="459"/>
                  <a:pt x="154" y="459"/>
                </a:cubicBezTo>
                <a:cubicBezTo>
                  <a:pt x="240" y="459"/>
                  <a:pt x="309" y="390"/>
                  <a:pt x="309" y="304"/>
                </a:cubicBezTo>
                <a:cubicBezTo>
                  <a:pt x="309" y="154"/>
                  <a:pt x="309" y="154"/>
                  <a:pt x="309" y="154"/>
                </a:cubicBezTo>
                <a:cubicBezTo>
                  <a:pt x="309" y="69"/>
                  <a:pt x="240" y="0"/>
                  <a:pt x="154" y="0"/>
                </a:cubicBezTo>
                <a:close/>
                <a:moveTo>
                  <a:pt x="169" y="168"/>
                </a:moveTo>
                <a:cubicBezTo>
                  <a:pt x="169" y="215"/>
                  <a:pt x="169" y="215"/>
                  <a:pt x="169" y="215"/>
                </a:cubicBezTo>
                <a:cubicBezTo>
                  <a:pt x="169" y="223"/>
                  <a:pt x="163" y="230"/>
                  <a:pt x="154" y="230"/>
                </a:cubicBezTo>
                <a:cubicBezTo>
                  <a:pt x="146" y="230"/>
                  <a:pt x="139" y="223"/>
                  <a:pt x="139" y="215"/>
                </a:cubicBezTo>
                <a:cubicBezTo>
                  <a:pt x="139" y="168"/>
                  <a:pt x="139" y="168"/>
                  <a:pt x="139" y="168"/>
                </a:cubicBezTo>
                <a:cubicBezTo>
                  <a:pt x="139" y="159"/>
                  <a:pt x="146" y="152"/>
                  <a:pt x="154" y="152"/>
                </a:cubicBezTo>
                <a:cubicBezTo>
                  <a:pt x="163" y="152"/>
                  <a:pt x="169" y="159"/>
                  <a:pt x="169" y="168"/>
                </a:cubicBezTo>
                <a:close/>
                <a:moveTo>
                  <a:pt x="9" y="154"/>
                </a:moveTo>
                <a:cubicBezTo>
                  <a:pt x="9" y="76"/>
                  <a:pt x="72" y="12"/>
                  <a:pt x="150" y="9"/>
                </a:cubicBezTo>
                <a:cubicBezTo>
                  <a:pt x="150" y="144"/>
                  <a:pt x="150" y="144"/>
                  <a:pt x="150" y="144"/>
                </a:cubicBezTo>
                <a:cubicBezTo>
                  <a:pt x="138" y="146"/>
                  <a:pt x="130" y="156"/>
                  <a:pt x="130" y="168"/>
                </a:cubicBezTo>
                <a:cubicBezTo>
                  <a:pt x="130" y="187"/>
                  <a:pt x="130" y="187"/>
                  <a:pt x="130" y="187"/>
                </a:cubicBezTo>
                <a:cubicBezTo>
                  <a:pt x="9" y="187"/>
                  <a:pt x="9" y="187"/>
                  <a:pt x="9" y="187"/>
                </a:cubicBezTo>
                <a:lnTo>
                  <a:pt x="9" y="154"/>
                </a:lnTo>
                <a:close/>
                <a:moveTo>
                  <a:pt x="300" y="304"/>
                </a:moveTo>
                <a:cubicBezTo>
                  <a:pt x="300" y="384"/>
                  <a:pt x="234" y="449"/>
                  <a:pt x="154" y="449"/>
                </a:cubicBezTo>
                <a:cubicBezTo>
                  <a:pt x="74" y="449"/>
                  <a:pt x="9" y="384"/>
                  <a:pt x="9" y="304"/>
                </a:cubicBezTo>
                <a:cubicBezTo>
                  <a:pt x="9" y="196"/>
                  <a:pt x="9" y="196"/>
                  <a:pt x="9" y="196"/>
                </a:cubicBezTo>
                <a:cubicBezTo>
                  <a:pt x="130" y="196"/>
                  <a:pt x="130" y="196"/>
                  <a:pt x="130" y="196"/>
                </a:cubicBezTo>
                <a:cubicBezTo>
                  <a:pt x="130" y="215"/>
                  <a:pt x="130" y="215"/>
                  <a:pt x="130" y="215"/>
                </a:cubicBezTo>
                <a:cubicBezTo>
                  <a:pt x="130" y="229"/>
                  <a:pt x="141" y="240"/>
                  <a:pt x="154" y="240"/>
                </a:cubicBezTo>
                <a:cubicBezTo>
                  <a:pt x="168" y="240"/>
                  <a:pt x="179" y="229"/>
                  <a:pt x="179" y="215"/>
                </a:cubicBezTo>
                <a:cubicBezTo>
                  <a:pt x="179" y="196"/>
                  <a:pt x="179" y="196"/>
                  <a:pt x="179" y="196"/>
                </a:cubicBezTo>
                <a:cubicBezTo>
                  <a:pt x="300" y="196"/>
                  <a:pt x="300" y="196"/>
                  <a:pt x="300" y="196"/>
                </a:cubicBezTo>
                <a:lnTo>
                  <a:pt x="300" y="304"/>
                </a:lnTo>
                <a:close/>
                <a:moveTo>
                  <a:pt x="300" y="187"/>
                </a:moveTo>
                <a:cubicBezTo>
                  <a:pt x="179" y="187"/>
                  <a:pt x="179" y="187"/>
                  <a:pt x="179" y="187"/>
                </a:cubicBezTo>
                <a:cubicBezTo>
                  <a:pt x="179" y="168"/>
                  <a:pt x="179" y="168"/>
                  <a:pt x="179" y="168"/>
                </a:cubicBezTo>
                <a:cubicBezTo>
                  <a:pt x="179" y="156"/>
                  <a:pt x="170" y="146"/>
                  <a:pt x="159" y="144"/>
                </a:cubicBezTo>
                <a:cubicBezTo>
                  <a:pt x="159" y="9"/>
                  <a:pt x="159" y="9"/>
                  <a:pt x="159" y="9"/>
                </a:cubicBezTo>
                <a:cubicBezTo>
                  <a:pt x="237" y="12"/>
                  <a:pt x="300" y="76"/>
                  <a:pt x="300" y="154"/>
                </a:cubicBezTo>
                <a:lnTo>
                  <a:pt x="300" y="187"/>
                </a:ln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21" name="Oval 16"/>
          <p:cNvSpPr>
            <a:spLocks noChangeArrowheads="1"/>
          </p:cNvSpPr>
          <p:nvPr/>
        </p:nvSpPr>
        <p:spPr bwMode="auto">
          <a:xfrm>
            <a:off x="8347593" y="3120088"/>
            <a:ext cx="1119124" cy="1119124"/>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1139" name="Freeform 27"/>
          <p:cNvSpPr>
            <a:spLocks noEditPoints="1"/>
          </p:cNvSpPr>
          <p:nvPr/>
        </p:nvSpPr>
        <p:spPr bwMode="auto">
          <a:xfrm>
            <a:off x="8580052" y="3437561"/>
            <a:ext cx="652877" cy="508089"/>
          </a:xfrm>
          <a:custGeom>
            <a:avLst/>
            <a:gdLst>
              <a:gd name="T0" fmla="*/ 249 w 416"/>
              <a:gd name="T1" fmla="*/ 0 h 324"/>
              <a:gd name="T2" fmla="*/ 138 w 416"/>
              <a:gd name="T3" fmla="*/ 45 h 324"/>
              <a:gd name="T4" fmla="*/ 0 w 416"/>
              <a:gd name="T5" fmla="*/ 186 h 324"/>
              <a:gd name="T6" fmla="*/ 185 w 416"/>
              <a:gd name="T7" fmla="*/ 266 h 324"/>
              <a:gd name="T8" fmla="*/ 205 w 416"/>
              <a:gd name="T9" fmla="*/ 324 h 324"/>
              <a:gd name="T10" fmla="*/ 339 w 416"/>
              <a:gd name="T11" fmla="*/ 304 h 324"/>
              <a:gd name="T12" fmla="*/ 345 w 416"/>
              <a:gd name="T13" fmla="*/ 266 h 324"/>
              <a:gd name="T14" fmla="*/ 354 w 416"/>
              <a:gd name="T15" fmla="*/ 108 h 324"/>
              <a:gd name="T16" fmla="*/ 318 w 416"/>
              <a:gd name="T17" fmla="*/ 314 h 324"/>
              <a:gd name="T18" fmla="*/ 195 w 416"/>
              <a:gd name="T19" fmla="*/ 304 h 324"/>
              <a:gd name="T20" fmla="*/ 205 w 416"/>
              <a:gd name="T21" fmla="*/ 203 h 324"/>
              <a:gd name="T22" fmla="*/ 329 w 416"/>
              <a:gd name="T23" fmla="*/ 214 h 324"/>
              <a:gd name="T24" fmla="*/ 219 w 416"/>
              <a:gd name="T25" fmla="*/ 194 h 324"/>
              <a:gd name="T26" fmla="*/ 262 w 416"/>
              <a:gd name="T27" fmla="*/ 129 h 324"/>
              <a:gd name="T28" fmla="*/ 304 w 416"/>
              <a:gd name="T29" fmla="*/ 194 h 324"/>
              <a:gd name="T30" fmla="*/ 344 w 416"/>
              <a:gd name="T31" fmla="*/ 257 h 324"/>
              <a:gd name="T32" fmla="*/ 339 w 416"/>
              <a:gd name="T33" fmla="*/ 214 h 324"/>
              <a:gd name="T34" fmla="*/ 314 w 416"/>
              <a:gd name="T35" fmla="*/ 194 h 324"/>
              <a:gd name="T36" fmla="*/ 262 w 416"/>
              <a:gd name="T37" fmla="*/ 120 h 324"/>
              <a:gd name="T38" fmla="*/ 210 w 416"/>
              <a:gd name="T39" fmla="*/ 194 h 324"/>
              <a:gd name="T40" fmla="*/ 185 w 416"/>
              <a:gd name="T41" fmla="*/ 214 h 324"/>
              <a:gd name="T42" fmla="*/ 77 w 416"/>
              <a:gd name="T43" fmla="*/ 257 h 324"/>
              <a:gd name="T44" fmla="*/ 76 w 416"/>
              <a:gd name="T45" fmla="*/ 115 h 324"/>
              <a:gd name="T46" fmla="*/ 138 w 416"/>
              <a:gd name="T47" fmla="*/ 54 h 324"/>
              <a:gd name="T48" fmla="*/ 167 w 416"/>
              <a:gd name="T49" fmla="*/ 57 h 324"/>
              <a:gd name="T50" fmla="*/ 345 w 416"/>
              <a:gd name="T51" fmla="*/ 112 h 324"/>
              <a:gd name="T52" fmla="*/ 407 w 416"/>
              <a:gd name="T53" fmla="*/ 186 h 324"/>
              <a:gd name="T54" fmla="*/ 262 w 416"/>
              <a:gd name="T55" fmla="*/ 237 h 324"/>
              <a:gd name="T56" fmla="*/ 257 w 416"/>
              <a:gd name="T57" fmla="*/ 261 h 324"/>
              <a:gd name="T58" fmla="*/ 262 w 416"/>
              <a:gd name="T59" fmla="*/ 279 h 324"/>
              <a:gd name="T60" fmla="*/ 267 w 416"/>
              <a:gd name="T61" fmla="*/ 261 h 324"/>
              <a:gd name="T62" fmla="*/ 262 w 416"/>
              <a:gd name="T63" fmla="*/ 237 h 324"/>
              <a:gd name="T64" fmla="*/ 259 w 416"/>
              <a:gd name="T65" fmla="*/ 249 h 324"/>
              <a:gd name="T66" fmla="*/ 265 w 416"/>
              <a:gd name="T67" fmla="*/ 249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16" h="324">
                <a:moveTo>
                  <a:pt x="354" y="108"/>
                </a:moveTo>
                <a:cubicBezTo>
                  <a:pt x="350" y="48"/>
                  <a:pt x="304" y="0"/>
                  <a:pt x="249" y="0"/>
                </a:cubicBezTo>
                <a:cubicBezTo>
                  <a:pt x="213" y="0"/>
                  <a:pt x="182" y="18"/>
                  <a:pt x="161" y="49"/>
                </a:cubicBezTo>
                <a:cubicBezTo>
                  <a:pt x="153" y="46"/>
                  <a:pt x="146" y="45"/>
                  <a:pt x="138" y="45"/>
                </a:cubicBezTo>
                <a:cubicBezTo>
                  <a:pt x="102" y="45"/>
                  <a:pt x="73" y="71"/>
                  <a:pt x="71" y="106"/>
                </a:cubicBezTo>
                <a:cubicBezTo>
                  <a:pt x="32" y="110"/>
                  <a:pt x="0" y="145"/>
                  <a:pt x="0" y="186"/>
                </a:cubicBezTo>
                <a:cubicBezTo>
                  <a:pt x="0" y="231"/>
                  <a:pt x="34" y="266"/>
                  <a:pt x="77" y="266"/>
                </a:cubicBezTo>
                <a:cubicBezTo>
                  <a:pt x="185" y="266"/>
                  <a:pt x="185" y="266"/>
                  <a:pt x="185" y="266"/>
                </a:cubicBezTo>
                <a:cubicBezTo>
                  <a:pt x="185" y="304"/>
                  <a:pt x="185" y="304"/>
                  <a:pt x="185" y="304"/>
                </a:cubicBezTo>
                <a:cubicBezTo>
                  <a:pt x="185" y="315"/>
                  <a:pt x="194" y="324"/>
                  <a:pt x="205" y="324"/>
                </a:cubicBezTo>
                <a:cubicBezTo>
                  <a:pt x="318" y="324"/>
                  <a:pt x="318" y="324"/>
                  <a:pt x="318" y="324"/>
                </a:cubicBezTo>
                <a:cubicBezTo>
                  <a:pt x="330" y="324"/>
                  <a:pt x="339" y="315"/>
                  <a:pt x="339" y="304"/>
                </a:cubicBezTo>
                <a:cubicBezTo>
                  <a:pt x="339" y="266"/>
                  <a:pt x="339" y="266"/>
                  <a:pt x="339" y="266"/>
                </a:cubicBezTo>
                <a:cubicBezTo>
                  <a:pt x="345" y="266"/>
                  <a:pt x="345" y="266"/>
                  <a:pt x="345" y="266"/>
                </a:cubicBezTo>
                <a:cubicBezTo>
                  <a:pt x="384" y="264"/>
                  <a:pt x="416" y="228"/>
                  <a:pt x="416" y="186"/>
                </a:cubicBezTo>
                <a:cubicBezTo>
                  <a:pt x="416" y="147"/>
                  <a:pt x="390" y="115"/>
                  <a:pt x="354" y="108"/>
                </a:cubicBezTo>
                <a:close/>
                <a:moveTo>
                  <a:pt x="329" y="304"/>
                </a:moveTo>
                <a:cubicBezTo>
                  <a:pt x="329" y="309"/>
                  <a:pt x="324" y="314"/>
                  <a:pt x="318" y="314"/>
                </a:cubicBezTo>
                <a:cubicBezTo>
                  <a:pt x="205" y="314"/>
                  <a:pt x="205" y="314"/>
                  <a:pt x="205" y="314"/>
                </a:cubicBezTo>
                <a:cubicBezTo>
                  <a:pt x="200" y="314"/>
                  <a:pt x="195" y="309"/>
                  <a:pt x="195" y="304"/>
                </a:cubicBezTo>
                <a:cubicBezTo>
                  <a:pt x="195" y="214"/>
                  <a:pt x="195" y="214"/>
                  <a:pt x="195" y="214"/>
                </a:cubicBezTo>
                <a:cubicBezTo>
                  <a:pt x="195" y="208"/>
                  <a:pt x="200" y="203"/>
                  <a:pt x="205" y="203"/>
                </a:cubicBezTo>
                <a:cubicBezTo>
                  <a:pt x="318" y="203"/>
                  <a:pt x="318" y="203"/>
                  <a:pt x="318" y="203"/>
                </a:cubicBezTo>
                <a:cubicBezTo>
                  <a:pt x="324" y="203"/>
                  <a:pt x="329" y="208"/>
                  <a:pt x="329" y="214"/>
                </a:cubicBezTo>
                <a:lnTo>
                  <a:pt x="329" y="304"/>
                </a:lnTo>
                <a:close/>
                <a:moveTo>
                  <a:pt x="219" y="194"/>
                </a:moveTo>
                <a:cubicBezTo>
                  <a:pt x="219" y="171"/>
                  <a:pt x="219" y="171"/>
                  <a:pt x="219" y="171"/>
                </a:cubicBezTo>
                <a:cubicBezTo>
                  <a:pt x="219" y="148"/>
                  <a:pt x="239" y="129"/>
                  <a:pt x="262" y="129"/>
                </a:cubicBezTo>
                <a:cubicBezTo>
                  <a:pt x="285" y="129"/>
                  <a:pt x="304" y="148"/>
                  <a:pt x="304" y="171"/>
                </a:cubicBezTo>
                <a:cubicBezTo>
                  <a:pt x="304" y="194"/>
                  <a:pt x="304" y="194"/>
                  <a:pt x="304" y="194"/>
                </a:cubicBezTo>
                <a:lnTo>
                  <a:pt x="219" y="194"/>
                </a:lnTo>
                <a:close/>
                <a:moveTo>
                  <a:pt x="344" y="257"/>
                </a:moveTo>
                <a:cubicBezTo>
                  <a:pt x="339" y="257"/>
                  <a:pt x="339" y="257"/>
                  <a:pt x="339" y="257"/>
                </a:cubicBezTo>
                <a:cubicBezTo>
                  <a:pt x="339" y="214"/>
                  <a:pt x="339" y="214"/>
                  <a:pt x="339" y="214"/>
                </a:cubicBezTo>
                <a:cubicBezTo>
                  <a:pt x="339" y="203"/>
                  <a:pt x="330" y="194"/>
                  <a:pt x="318" y="194"/>
                </a:cubicBezTo>
                <a:cubicBezTo>
                  <a:pt x="314" y="194"/>
                  <a:pt x="314" y="194"/>
                  <a:pt x="314" y="194"/>
                </a:cubicBezTo>
                <a:cubicBezTo>
                  <a:pt x="314" y="171"/>
                  <a:pt x="314" y="171"/>
                  <a:pt x="314" y="171"/>
                </a:cubicBezTo>
                <a:cubicBezTo>
                  <a:pt x="314" y="143"/>
                  <a:pt x="291" y="120"/>
                  <a:pt x="262" y="120"/>
                </a:cubicBezTo>
                <a:cubicBezTo>
                  <a:pt x="233" y="120"/>
                  <a:pt x="210" y="143"/>
                  <a:pt x="210" y="171"/>
                </a:cubicBezTo>
                <a:cubicBezTo>
                  <a:pt x="210" y="194"/>
                  <a:pt x="210" y="194"/>
                  <a:pt x="210" y="194"/>
                </a:cubicBezTo>
                <a:cubicBezTo>
                  <a:pt x="205" y="194"/>
                  <a:pt x="205" y="194"/>
                  <a:pt x="205" y="194"/>
                </a:cubicBezTo>
                <a:cubicBezTo>
                  <a:pt x="194" y="194"/>
                  <a:pt x="185" y="203"/>
                  <a:pt x="185" y="214"/>
                </a:cubicBezTo>
                <a:cubicBezTo>
                  <a:pt x="185" y="257"/>
                  <a:pt x="185" y="257"/>
                  <a:pt x="185" y="257"/>
                </a:cubicBezTo>
                <a:cubicBezTo>
                  <a:pt x="77" y="257"/>
                  <a:pt x="77" y="257"/>
                  <a:pt x="77" y="257"/>
                </a:cubicBezTo>
                <a:cubicBezTo>
                  <a:pt x="39" y="257"/>
                  <a:pt x="10" y="226"/>
                  <a:pt x="10" y="186"/>
                </a:cubicBezTo>
                <a:cubicBezTo>
                  <a:pt x="10" y="148"/>
                  <a:pt x="39" y="117"/>
                  <a:pt x="76" y="115"/>
                </a:cubicBezTo>
                <a:cubicBezTo>
                  <a:pt x="78" y="115"/>
                  <a:pt x="80" y="113"/>
                  <a:pt x="80" y="110"/>
                </a:cubicBezTo>
                <a:cubicBezTo>
                  <a:pt x="80" y="79"/>
                  <a:pt x="106" y="54"/>
                  <a:pt x="138" y="54"/>
                </a:cubicBezTo>
                <a:cubicBezTo>
                  <a:pt x="146" y="54"/>
                  <a:pt x="153" y="56"/>
                  <a:pt x="161" y="59"/>
                </a:cubicBezTo>
                <a:cubicBezTo>
                  <a:pt x="163" y="60"/>
                  <a:pt x="166" y="59"/>
                  <a:pt x="167" y="57"/>
                </a:cubicBezTo>
                <a:cubicBezTo>
                  <a:pt x="186" y="27"/>
                  <a:pt x="215" y="9"/>
                  <a:pt x="249" y="9"/>
                </a:cubicBezTo>
                <a:cubicBezTo>
                  <a:pt x="300" y="9"/>
                  <a:pt x="343" y="55"/>
                  <a:pt x="345" y="112"/>
                </a:cubicBezTo>
                <a:cubicBezTo>
                  <a:pt x="345" y="114"/>
                  <a:pt x="346" y="116"/>
                  <a:pt x="349" y="117"/>
                </a:cubicBezTo>
                <a:cubicBezTo>
                  <a:pt x="382" y="121"/>
                  <a:pt x="407" y="151"/>
                  <a:pt x="407" y="186"/>
                </a:cubicBezTo>
                <a:cubicBezTo>
                  <a:pt x="407" y="223"/>
                  <a:pt x="379" y="255"/>
                  <a:pt x="344" y="257"/>
                </a:cubicBezTo>
                <a:close/>
                <a:moveTo>
                  <a:pt x="262" y="237"/>
                </a:moveTo>
                <a:cubicBezTo>
                  <a:pt x="255" y="237"/>
                  <a:pt x="250" y="242"/>
                  <a:pt x="250" y="249"/>
                </a:cubicBezTo>
                <a:cubicBezTo>
                  <a:pt x="250" y="254"/>
                  <a:pt x="253" y="259"/>
                  <a:pt x="257" y="261"/>
                </a:cubicBezTo>
                <a:cubicBezTo>
                  <a:pt x="257" y="274"/>
                  <a:pt x="257" y="274"/>
                  <a:pt x="257" y="274"/>
                </a:cubicBezTo>
                <a:cubicBezTo>
                  <a:pt x="257" y="277"/>
                  <a:pt x="259" y="279"/>
                  <a:pt x="262" y="279"/>
                </a:cubicBezTo>
                <a:cubicBezTo>
                  <a:pt x="265" y="279"/>
                  <a:pt x="267" y="277"/>
                  <a:pt x="267" y="274"/>
                </a:cubicBezTo>
                <a:cubicBezTo>
                  <a:pt x="267" y="261"/>
                  <a:pt x="267" y="261"/>
                  <a:pt x="267" y="261"/>
                </a:cubicBezTo>
                <a:cubicBezTo>
                  <a:pt x="271" y="259"/>
                  <a:pt x="274" y="254"/>
                  <a:pt x="274" y="249"/>
                </a:cubicBezTo>
                <a:cubicBezTo>
                  <a:pt x="274" y="242"/>
                  <a:pt x="269" y="237"/>
                  <a:pt x="262" y="237"/>
                </a:cubicBezTo>
                <a:close/>
                <a:moveTo>
                  <a:pt x="262" y="252"/>
                </a:moveTo>
                <a:cubicBezTo>
                  <a:pt x="260" y="252"/>
                  <a:pt x="259" y="251"/>
                  <a:pt x="259" y="249"/>
                </a:cubicBezTo>
                <a:cubicBezTo>
                  <a:pt x="259" y="248"/>
                  <a:pt x="260" y="246"/>
                  <a:pt x="262" y="246"/>
                </a:cubicBezTo>
                <a:cubicBezTo>
                  <a:pt x="264" y="246"/>
                  <a:pt x="265" y="248"/>
                  <a:pt x="265" y="249"/>
                </a:cubicBezTo>
                <a:cubicBezTo>
                  <a:pt x="265" y="251"/>
                  <a:pt x="264" y="252"/>
                  <a:pt x="262" y="252"/>
                </a:cubicBez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endParaRPr lang="en-US" sz="1836"/>
          </a:p>
        </p:txBody>
      </p:sp>
    </p:spTree>
    <p:extLst>
      <p:ext uri="{BB962C8B-B14F-4D97-AF65-F5344CB8AC3E}">
        <p14:creationId xmlns:p14="http://schemas.microsoft.com/office/powerpoint/2010/main" val="46398229"/>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You need to </a:t>
            </a:r>
            <a:r>
              <a:rPr lang="en-US" b="1" dirty="0"/>
              <a:t>embrace it</a:t>
            </a:r>
          </a:p>
        </p:txBody>
      </p:sp>
      <p:sp>
        <p:nvSpPr>
          <p:cNvPr id="3" name="Content Placeholder 2"/>
          <p:cNvSpPr>
            <a:spLocks noGrp="1"/>
          </p:cNvSpPr>
          <p:nvPr>
            <p:ph idx="1"/>
          </p:nvPr>
        </p:nvSpPr>
        <p:spPr>
          <a:xfrm>
            <a:off x="1775027" y="1243471"/>
            <a:ext cx="8886421" cy="4719686"/>
          </a:xfrm>
        </p:spPr>
        <p:txBody>
          <a:bodyPr anchor="ctr"/>
          <a:lstStyle/>
          <a:p>
            <a:pPr marL="0" indent="0" algn="ctr">
              <a:buNone/>
            </a:pPr>
            <a:r>
              <a:rPr lang="en-US" sz="2400" dirty="0"/>
              <a:t>80% of organizations have started </a:t>
            </a:r>
            <a:r>
              <a:rPr lang="en-US" sz="2400" dirty="0">
                <a:solidFill>
                  <a:schemeClr val="accent6"/>
                </a:solidFill>
              </a:rPr>
              <a:t>re-organizing</a:t>
            </a:r>
            <a:r>
              <a:rPr lang="en-US" sz="2400" dirty="0"/>
              <a:t> in reaction to this, and engaged organizations </a:t>
            </a:r>
            <a:r>
              <a:rPr lang="en-US" sz="2400" dirty="0">
                <a:solidFill>
                  <a:schemeClr val="accent6"/>
                </a:solidFill>
              </a:rPr>
              <a:t>outperform competition </a:t>
            </a:r>
            <a:r>
              <a:rPr lang="en-US" sz="2400" dirty="0"/>
              <a:t>by 147%.</a:t>
            </a:r>
          </a:p>
        </p:txBody>
      </p:sp>
    </p:spTree>
    <p:extLst>
      <p:ext uri="{BB962C8B-B14F-4D97-AF65-F5344CB8AC3E}">
        <p14:creationId xmlns:p14="http://schemas.microsoft.com/office/powerpoint/2010/main" val="407329028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2000"/>
                                        <p:tgtEl>
                                          <p:spTgt spid="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eople</a:t>
            </a:r>
          </a:p>
        </p:txBody>
      </p:sp>
      <p:sp>
        <p:nvSpPr>
          <p:cNvPr id="131" name="Oval 21"/>
          <p:cNvSpPr>
            <a:spLocks noChangeArrowheads="1"/>
          </p:cNvSpPr>
          <p:nvPr/>
        </p:nvSpPr>
        <p:spPr bwMode="auto">
          <a:xfrm>
            <a:off x="4831649" y="4711628"/>
            <a:ext cx="1119124" cy="1119124"/>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140" name="Freeform 30"/>
          <p:cNvSpPr>
            <a:spLocks noEditPoints="1"/>
          </p:cNvSpPr>
          <p:nvPr/>
        </p:nvSpPr>
        <p:spPr bwMode="auto">
          <a:xfrm>
            <a:off x="5129861" y="4938909"/>
            <a:ext cx="516059" cy="664562"/>
          </a:xfrm>
          <a:custGeom>
            <a:avLst/>
            <a:gdLst>
              <a:gd name="T0" fmla="*/ 296 w 329"/>
              <a:gd name="T1" fmla="*/ 66 h 423"/>
              <a:gd name="T2" fmla="*/ 273 w 329"/>
              <a:gd name="T3" fmla="*/ 76 h 423"/>
              <a:gd name="T4" fmla="*/ 273 w 329"/>
              <a:gd name="T5" fmla="*/ 56 h 423"/>
              <a:gd name="T6" fmla="*/ 240 w 329"/>
              <a:gd name="T7" fmla="*/ 23 h 423"/>
              <a:gd name="T8" fmla="*/ 217 w 329"/>
              <a:gd name="T9" fmla="*/ 33 h 423"/>
              <a:gd name="T10" fmla="*/ 217 w 329"/>
              <a:gd name="T11" fmla="*/ 33 h 423"/>
              <a:gd name="T12" fmla="*/ 184 w 329"/>
              <a:gd name="T13" fmla="*/ 0 h 423"/>
              <a:gd name="T14" fmla="*/ 151 w 329"/>
              <a:gd name="T15" fmla="*/ 33 h 423"/>
              <a:gd name="T16" fmla="*/ 151 w 329"/>
              <a:gd name="T17" fmla="*/ 45 h 423"/>
              <a:gd name="T18" fmla="*/ 128 w 329"/>
              <a:gd name="T19" fmla="*/ 36 h 423"/>
              <a:gd name="T20" fmla="*/ 95 w 329"/>
              <a:gd name="T21" fmla="*/ 68 h 423"/>
              <a:gd name="T22" fmla="*/ 95 w 329"/>
              <a:gd name="T23" fmla="*/ 247 h 423"/>
              <a:gd name="T24" fmla="*/ 63 w 329"/>
              <a:gd name="T25" fmla="*/ 209 h 423"/>
              <a:gd name="T26" fmla="*/ 37 w 329"/>
              <a:gd name="T27" fmla="*/ 197 h 423"/>
              <a:gd name="T28" fmla="*/ 17 w 329"/>
              <a:gd name="T29" fmla="*/ 204 h 423"/>
              <a:gd name="T30" fmla="*/ 11 w 329"/>
              <a:gd name="T31" fmla="*/ 250 h 423"/>
              <a:gd name="T32" fmla="*/ 120 w 329"/>
              <a:gd name="T33" fmla="*/ 386 h 423"/>
              <a:gd name="T34" fmla="*/ 207 w 329"/>
              <a:gd name="T35" fmla="*/ 423 h 423"/>
              <a:gd name="T36" fmla="*/ 329 w 329"/>
              <a:gd name="T37" fmla="*/ 301 h 423"/>
              <a:gd name="T38" fmla="*/ 329 w 329"/>
              <a:gd name="T39" fmla="*/ 99 h 423"/>
              <a:gd name="T40" fmla="*/ 296 w 329"/>
              <a:gd name="T41" fmla="*/ 66 h 423"/>
              <a:gd name="T42" fmla="*/ 319 w 329"/>
              <a:gd name="T43" fmla="*/ 301 h 423"/>
              <a:gd name="T44" fmla="*/ 207 w 329"/>
              <a:gd name="T45" fmla="*/ 413 h 423"/>
              <a:gd name="T46" fmla="*/ 127 w 329"/>
              <a:gd name="T47" fmla="*/ 380 h 423"/>
              <a:gd name="T48" fmla="*/ 19 w 329"/>
              <a:gd name="T49" fmla="*/ 244 h 423"/>
              <a:gd name="T50" fmla="*/ 14 w 329"/>
              <a:gd name="T51" fmla="*/ 227 h 423"/>
              <a:gd name="T52" fmla="*/ 22 w 329"/>
              <a:gd name="T53" fmla="*/ 211 h 423"/>
              <a:gd name="T54" fmla="*/ 37 w 329"/>
              <a:gd name="T55" fmla="*/ 206 h 423"/>
              <a:gd name="T56" fmla="*/ 55 w 329"/>
              <a:gd name="T57" fmla="*/ 215 h 423"/>
              <a:gd name="T58" fmla="*/ 96 w 329"/>
              <a:gd name="T59" fmla="*/ 263 h 423"/>
              <a:gd name="T60" fmla="*/ 101 w 329"/>
              <a:gd name="T61" fmla="*/ 265 h 423"/>
              <a:gd name="T62" fmla="*/ 104 w 329"/>
              <a:gd name="T63" fmla="*/ 260 h 423"/>
              <a:gd name="T64" fmla="*/ 104 w 329"/>
              <a:gd name="T65" fmla="*/ 68 h 423"/>
              <a:gd name="T66" fmla="*/ 128 w 329"/>
              <a:gd name="T67" fmla="*/ 45 h 423"/>
              <a:gd name="T68" fmla="*/ 151 w 329"/>
              <a:gd name="T69" fmla="*/ 68 h 423"/>
              <a:gd name="T70" fmla="*/ 151 w 329"/>
              <a:gd name="T71" fmla="*/ 202 h 423"/>
              <a:gd name="T72" fmla="*/ 156 w 329"/>
              <a:gd name="T73" fmla="*/ 207 h 423"/>
              <a:gd name="T74" fmla="*/ 161 w 329"/>
              <a:gd name="T75" fmla="*/ 202 h 423"/>
              <a:gd name="T76" fmla="*/ 161 w 329"/>
              <a:gd name="T77" fmla="*/ 33 h 423"/>
              <a:gd name="T78" fmla="*/ 184 w 329"/>
              <a:gd name="T79" fmla="*/ 10 h 423"/>
              <a:gd name="T80" fmla="*/ 207 w 329"/>
              <a:gd name="T81" fmla="*/ 33 h 423"/>
              <a:gd name="T82" fmla="*/ 207 w 329"/>
              <a:gd name="T83" fmla="*/ 191 h 423"/>
              <a:gd name="T84" fmla="*/ 212 w 329"/>
              <a:gd name="T85" fmla="*/ 195 h 423"/>
              <a:gd name="T86" fmla="*/ 217 w 329"/>
              <a:gd name="T87" fmla="*/ 191 h 423"/>
              <a:gd name="T88" fmla="*/ 217 w 329"/>
              <a:gd name="T89" fmla="*/ 56 h 423"/>
              <a:gd name="T90" fmla="*/ 240 w 329"/>
              <a:gd name="T91" fmla="*/ 33 h 423"/>
              <a:gd name="T92" fmla="*/ 263 w 329"/>
              <a:gd name="T93" fmla="*/ 56 h 423"/>
              <a:gd name="T94" fmla="*/ 263 w 329"/>
              <a:gd name="T95" fmla="*/ 199 h 423"/>
              <a:gd name="T96" fmla="*/ 268 w 329"/>
              <a:gd name="T97" fmla="*/ 203 h 423"/>
              <a:gd name="T98" fmla="*/ 273 w 329"/>
              <a:gd name="T99" fmla="*/ 199 h 423"/>
              <a:gd name="T100" fmla="*/ 273 w 329"/>
              <a:gd name="T101" fmla="*/ 99 h 423"/>
              <a:gd name="T102" fmla="*/ 296 w 329"/>
              <a:gd name="T103" fmla="*/ 75 h 423"/>
              <a:gd name="T104" fmla="*/ 319 w 329"/>
              <a:gd name="T105" fmla="*/ 99 h 423"/>
              <a:gd name="T106" fmla="*/ 319 w 329"/>
              <a:gd name="T107" fmla="*/ 301 h 4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29" h="423">
                <a:moveTo>
                  <a:pt x="296" y="66"/>
                </a:moveTo>
                <a:cubicBezTo>
                  <a:pt x="287" y="66"/>
                  <a:pt x="279" y="70"/>
                  <a:pt x="273" y="76"/>
                </a:cubicBezTo>
                <a:cubicBezTo>
                  <a:pt x="273" y="56"/>
                  <a:pt x="273" y="56"/>
                  <a:pt x="273" y="56"/>
                </a:cubicBezTo>
                <a:cubicBezTo>
                  <a:pt x="273" y="38"/>
                  <a:pt x="258" y="23"/>
                  <a:pt x="240" y="23"/>
                </a:cubicBezTo>
                <a:cubicBezTo>
                  <a:pt x="231" y="23"/>
                  <a:pt x="223" y="27"/>
                  <a:pt x="217" y="33"/>
                </a:cubicBezTo>
                <a:cubicBezTo>
                  <a:pt x="217" y="33"/>
                  <a:pt x="217" y="33"/>
                  <a:pt x="217" y="33"/>
                </a:cubicBezTo>
                <a:cubicBezTo>
                  <a:pt x="217" y="15"/>
                  <a:pt x="202" y="0"/>
                  <a:pt x="184" y="0"/>
                </a:cubicBezTo>
                <a:cubicBezTo>
                  <a:pt x="166" y="0"/>
                  <a:pt x="151" y="15"/>
                  <a:pt x="151" y="33"/>
                </a:cubicBezTo>
                <a:cubicBezTo>
                  <a:pt x="151" y="45"/>
                  <a:pt x="151" y="45"/>
                  <a:pt x="151" y="45"/>
                </a:cubicBezTo>
                <a:cubicBezTo>
                  <a:pt x="145" y="39"/>
                  <a:pt x="137" y="36"/>
                  <a:pt x="128" y="36"/>
                </a:cubicBezTo>
                <a:cubicBezTo>
                  <a:pt x="110" y="36"/>
                  <a:pt x="95" y="50"/>
                  <a:pt x="95" y="68"/>
                </a:cubicBezTo>
                <a:cubicBezTo>
                  <a:pt x="95" y="247"/>
                  <a:pt x="95" y="247"/>
                  <a:pt x="95" y="247"/>
                </a:cubicBezTo>
                <a:cubicBezTo>
                  <a:pt x="63" y="209"/>
                  <a:pt x="63" y="209"/>
                  <a:pt x="63" y="209"/>
                </a:cubicBezTo>
                <a:cubicBezTo>
                  <a:pt x="56" y="201"/>
                  <a:pt x="47" y="197"/>
                  <a:pt x="37" y="197"/>
                </a:cubicBezTo>
                <a:cubicBezTo>
                  <a:pt x="30" y="197"/>
                  <a:pt x="22" y="199"/>
                  <a:pt x="17" y="204"/>
                </a:cubicBezTo>
                <a:cubicBezTo>
                  <a:pt x="2" y="215"/>
                  <a:pt x="0" y="236"/>
                  <a:pt x="11" y="250"/>
                </a:cubicBezTo>
                <a:cubicBezTo>
                  <a:pt x="12" y="251"/>
                  <a:pt x="108" y="371"/>
                  <a:pt x="120" y="386"/>
                </a:cubicBezTo>
                <a:cubicBezTo>
                  <a:pt x="134" y="403"/>
                  <a:pt x="174" y="423"/>
                  <a:pt x="207" y="423"/>
                </a:cubicBezTo>
                <a:cubicBezTo>
                  <a:pt x="274" y="423"/>
                  <a:pt x="329" y="368"/>
                  <a:pt x="329" y="301"/>
                </a:cubicBezTo>
                <a:cubicBezTo>
                  <a:pt x="329" y="99"/>
                  <a:pt x="329" y="99"/>
                  <a:pt x="329" y="99"/>
                </a:cubicBezTo>
                <a:cubicBezTo>
                  <a:pt x="329" y="81"/>
                  <a:pt x="314" y="66"/>
                  <a:pt x="296" y="66"/>
                </a:cubicBezTo>
                <a:close/>
                <a:moveTo>
                  <a:pt x="319" y="301"/>
                </a:moveTo>
                <a:cubicBezTo>
                  <a:pt x="319" y="363"/>
                  <a:pt x="269" y="413"/>
                  <a:pt x="207" y="413"/>
                </a:cubicBezTo>
                <a:cubicBezTo>
                  <a:pt x="174" y="413"/>
                  <a:pt x="138" y="394"/>
                  <a:pt x="127" y="380"/>
                </a:cubicBezTo>
                <a:cubicBezTo>
                  <a:pt x="115" y="365"/>
                  <a:pt x="20" y="245"/>
                  <a:pt x="19" y="244"/>
                </a:cubicBezTo>
                <a:cubicBezTo>
                  <a:pt x="15" y="239"/>
                  <a:pt x="13" y="233"/>
                  <a:pt x="14" y="227"/>
                </a:cubicBezTo>
                <a:cubicBezTo>
                  <a:pt x="15" y="221"/>
                  <a:pt x="18" y="215"/>
                  <a:pt x="22" y="211"/>
                </a:cubicBezTo>
                <a:cubicBezTo>
                  <a:pt x="27" y="208"/>
                  <a:pt x="32" y="206"/>
                  <a:pt x="37" y="206"/>
                </a:cubicBezTo>
                <a:cubicBezTo>
                  <a:pt x="44" y="206"/>
                  <a:pt x="51" y="209"/>
                  <a:pt x="55" y="215"/>
                </a:cubicBezTo>
                <a:cubicBezTo>
                  <a:pt x="96" y="263"/>
                  <a:pt x="96" y="263"/>
                  <a:pt x="96" y="263"/>
                </a:cubicBezTo>
                <a:cubicBezTo>
                  <a:pt x="97" y="265"/>
                  <a:pt x="99" y="265"/>
                  <a:pt x="101" y="265"/>
                </a:cubicBezTo>
                <a:cubicBezTo>
                  <a:pt x="103" y="264"/>
                  <a:pt x="104" y="262"/>
                  <a:pt x="104" y="260"/>
                </a:cubicBezTo>
                <a:cubicBezTo>
                  <a:pt x="104" y="68"/>
                  <a:pt x="104" y="68"/>
                  <a:pt x="104" y="68"/>
                </a:cubicBezTo>
                <a:cubicBezTo>
                  <a:pt x="104" y="56"/>
                  <a:pt x="115" y="45"/>
                  <a:pt x="128" y="45"/>
                </a:cubicBezTo>
                <a:cubicBezTo>
                  <a:pt x="141" y="45"/>
                  <a:pt x="151" y="56"/>
                  <a:pt x="151" y="68"/>
                </a:cubicBezTo>
                <a:cubicBezTo>
                  <a:pt x="151" y="202"/>
                  <a:pt x="151" y="202"/>
                  <a:pt x="151" y="202"/>
                </a:cubicBezTo>
                <a:cubicBezTo>
                  <a:pt x="151" y="205"/>
                  <a:pt x="153" y="207"/>
                  <a:pt x="156" y="207"/>
                </a:cubicBezTo>
                <a:cubicBezTo>
                  <a:pt x="158" y="207"/>
                  <a:pt x="161" y="205"/>
                  <a:pt x="161" y="202"/>
                </a:cubicBezTo>
                <a:cubicBezTo>
                  <a:pt x="161" y="33"/>
                  <a:pt x="161" y="33"/>
                  <a:pt x="161" y="33"/>
                </a:cubicBezTo>
                <a:cubicBezTo>
                  <a:pt x="161" y="20"/>
                  <a:pt x="171" y="10"/>
                  <a:pt x="184" y="10"/>
                </a:cubicBezTo>
                <a:cubicBezTo>
                  <a:pt x="197" y="10"/>
                  <a:pt x="207" y="20"/>
                  <a:pt x="207" y="33"/>
                </a:cubicBezTo>
                <a:cubicBezTo>
                  <a:pt x="207" y="191"/>
                  <a:pt x="207" y="191"/>
                  <a:pt x="207" y="191"/>
                </a:cubicBezTo>
                <a:cubicBezTo>
                  <a:pt x="207" y="193"/>
                  <a:pt x="209" y="195"/>
                  <a:pt x="212" y="195"/>
                </a:cubicBezTo>
                <a:cubicBezTo>
                  <a:pt x="215" y="195"/>
                  <a:pt x="217" y="193"/>
                  <a:pt x="217" y="191"/>
                </a:cubicBezTo>
                <a:cubicBezTo>
                  <a:pt x="217" y="56"/>
                  <a:pt x="217" y="56"/>
                  <a:pt x="217" y="56"/>
                </a:cubicBezTo>
                <a:cubicBezTo>
                  <a:pt x="217" y="43"/>
                  <a:pt x="227" y="33"/>
                  <a:pt x="240" y="33"/>
                </a:cubicBezTo>
                <a:cubicBezTo>
                  <a:pt x="253" y="33"/>
                  <a:pt x="263" y="43"/>
                  <a:pt x="263" y="56"/>
                </a:cubicBezTo>
                <a:cubicBezTo>
                  <a:pt x="263" y="199"/>
                  <a:pt x="263" y="199"/>
                  <a:pt x="263" y="199"/>
                </a:cubicBezTo>
                <a:cubicBezTo>
                  <a:pt x="263" y="201"/>
                  <a:pt x="265" y="203"/>
                  <a:pt x="268" y="203"/>
                </a:cubicBezTo>
                <a:cubicBezTo>
                  <a:pt x="271" y="203"/>
                  <a:pt x="273" y="201"/>
                  <a:pt x="273" y="199"/>
                </a:cubicBezTo>
                <a:cubicBezTo>
                  <a:pt x="273" y="99"/>
                  <a:pt x="273" y="99"/>
                  <a:pt x="273" y="99"/>
                </a:cubicBezTo>
                <a:cubicBezTo>
                  <a:pt x="273" y="86"/>
                  <a:pt x="283" y="75"/>
                  <a:pt x="296" y="75"/>
                </a:cubicBezTo>
                <a:cubicBezTo>
                  <a:pt x="309" y="75"/>
                  <a:pt x="319" y="86"/>
                  <a:pt x="319" y="99"/>
                </a:cubicBezTo>
                <a:lnTo>
                  <a:pt x="319" y="301"/>
                </a:ln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130" name="Oval 20"/>
          <p:cNvSpPr>
            <a:spLocks noChangeArrowheads="1"/>
          </p:cNvSpPr>
          <p:nvPr/>
        </p:nvSpPr>
        <p:spPr bwMode="auto">
          <a:xfrm>
            <a:off x="1315706" y="3120088"/>
            <a:ext cx="1119124" cy="1119124"/>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141" name="Freeform 31"/>
          <p:cNvSpPr>
            <a:spLocks noEditPoints="1"/>
          </p:cNvSpPr>
          <p:nvPr/>
        </p:nvSpPr>
        <p:spPr bwMode="auto">
          <a:xfrm>
            <a:off x="1576725" y="3361038"/>
            <a:ext cx="595760" cy="605362"/>
          </a:xfrm>
          <a:custGeom>
            <a:avLst/>
            <a:gdLst>
              <a:gd name="T0" fmla="*/ 278 w 380"/>
              <a:gd name="T1" fmla="*/ 287 h 386"/>
              <a:gd name="T2" fmla="*/ 244 w 380"/>
              <a:gd name="T3" fmla="*/ 213 h 386"/>
              <a:gd name="T4" fmla="*/ 280 w 380"/>
              <a:gd name="T5" fmla="*/ 119 h 386"/>
              <a:gd name="T6" fmla="*/ 190 w 380"/>
              <a:gd name="T7" fmla="*/ 0 h 386"/>
              <a:gd name="T8" fmla="*/ 100 w 380"/>
              <a:gd name="T9" fmla="*/ 119 h 386"/>
              <a:gd name="T10" fmla="*/ 138 w 380"/>
              <a:gd name="T11" fmla="*/ 215 h 386"/>
              <a:gd name="T12" fmla="*/ 106 w 380"/>
              <a:gd name="T13" fmla="*/ 287 h 386"/>
              <a:gd name="T14" fmla="*/ 0 w 380"/>
              <a:gd name="T15" fmla="*/ 381 h 386"/>
              <a:gd name="T16" fmla="*/ 5 w 380"/>
              <a:gd name="T17" fmla="*/ 386 h 386"/>
              <a:gd name="T18" fmla="*/ 376 w 380"/>
              <a:gd name="T19" fmla="*/ 386 h 386"/>
              <a:gd name="T20" fmla="*/ 380 w 380"/>
              <a:gd name="T21" fmla="*/ 381 h 386"/>
              <a:gd name="T22" fmla="*/ 278 w 380"/>
              <a:gd name="T23" fmla="*/ 287 h 386"/>
              <a:gd name="T24" fmla="*/ 110 w 380"/>
              <a:gd name="T25" fmla="*/ 119 h 386"/>
              <a:gd name="T26" fmla="*/ 190 w 380"/>
              <a:gd name="T27" fmla="*/ 10 h 386"/>
              <a:gd name="T28" fmla="*/ 271 w 380"/>
              <a:gd name="T29" fmla="*/ 119 h 386"/>
              <a:gd name="T30" fmla="*/ 236 w 380"/>
              <a:gd name="T31" fmla="*/ 207 h 386"/>
              <a:gd name="T32" fmla="*/ 235 w 380"/>
              <a:gd name="T33" fmla="*/ 209 h 386"/>
              <a:gd name="T34" fmla="*/ 190 w 380"/>
              <a:gd name="T35" fmla="*/ 228 h 386"/>
              <a:gd name="T36" fmla="*/ 147 w 380"/>
              <a:gd name="T37" fmla="*/ 210 h 386"/>
              <a:gd name="T38" fmla="*/ 145 w 380"/>
              <a:gd name="T39" fmla="*/ 208 h 386"/>
              <a:gd name="T40" fmla="*/ 110 w 380"/>
              <a:gd name="T41" fmla="*/ 119 h 386"/>
              <a:gd name="T42" fmla="*/ 10 w 380"/>
              <a:gd name="T43" fmla="*/ 376 h 386"/>
              <a:gd name="T44" fmla="*/ 108 w 380"/>
              <a:gd name="T45" fmla="*/ 296 h 386"/>
              <a:gd name="T46" fmla="*/ 108 w 380"/>
              <a:gd name="T47" fmla="*/ 296 h 386"/>
              <a:gd name="T48" fmla="*/ 147 w 380"/>
              <a:gd name="T49" fmla="*/ 222 h 386"/>
              <a:gd name="T50" fmla="*/ 190 w 380"/>
              <a:gd name="T51" fmla="*/ 238 h 386"/>
              <a:gd name="T52" fmla="*/ 234 w 380"/>
              <a:gd name="T53" fmla="*/ 221 h 386"/>
              <a:gd name="T54" fmla="*/ 275 w 380"/>
              <a:gd name="T55" fmla="*/ 296 h 386"/>
              <a:gd name="T56" fmla="*/ 276 w 380"/>
              <a:gd name="T57" fmla="*/ 297 h 386"/>
              <a:gd name="T58" fmla="*/ 371 w 380"/>
              <a:gd name="T59" fmla="*/ 376 h 386"/>
              <a:gd name="T60" fmla="*/ 10 w 380"/>
              <a:gd name="T61" fmla="*/ 376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80" h="386">
                <a:moveTo>
                  <a:pt x="278" y="287"/>
                </a:moveTo>
                <a:cubicBezTo>
                  <a:pt x="262" y="283"/>
                  <a:pt x="244" y="261"/>
                  <a:pt x="244" y="213"/>
                </a:cubicBezTo>
                <a:cubicBezTo>
                  <a:pt x="265" y="191"/>
                  <a:pt x="280" y="157"/>
                  <a:pt x="280" y="119"/>
                </a:cubicBezTo>
                <a:cubicBezTo>
                  <a:pt x="280" y="46"/>
                  <a:pt x="246" y="0"/>
                  <a:pt x="190" y="0"/>
                </a:cubicBezTo>
                <a:cubicBezTo>
                  <a:pt x="135" y="0"/>
                  <a:pt x="100" y="46"/>
                  <a:pt x="100" y="119"/>
                </a:cubicBezTo>
                <a:cubicBezTo>
                  <a:pt x="100" y="157"/>
                  <a:pt x="116" y="193"/>
                  <a:pt x="138" y="215"/>
                </a:cubicBezTo>
                <a:cubicBezTo>
                  <a:pt x="138" y="244"/>
                  <a:pt x="129" y="279"/>
                  <a:pt x="106" y="287"/>
                </a:cubicBezTo>
                <a:cubicBezTo>
                  <a:pt x="37" y="301"/>
                  <a:pt x="0" y="333"/>
                  <a:pt x="0" y="381"/>
                </a:cubicBezTo>
                <a:cubicBezTo>
                  <a:pt x="0" y="384"/>
                  <a:pt x="2" y="386"/>
                  <a:pt x="5" y="386"/>
                </a:cubicBezTo>
                <a:cubicBezTo>
                  <a:pt x="376" y="386"/>
                  <a:pt x="376" y="386"/>
                  <a:pt x="376" y="386"/>
                </a:cubicBezTo>
                <a:cubicBezTo>
                  <a:pt x="378" y="386"/>
                  <a:pt x="380" y="384"/>
                  <a:pt x="380" y="381"/>
                </a:cubicBezTo>
                <a:cubicBezTo>
                  <a:pt x="380" y="334"/>
                  <a:pt x="345" y="302"/>
                  <a:pt x="278" y="287"/>
                </a:cubicBezTo>
                <a:close/>
                <a:moveTo>
                  <a:pt x="110" y="119"/>
                </a:moveTo>
                <a:cubicBezTo>
                  <a:pt x="110" y="66"/>
                  <a:pt x="131" y="10"/>
                  <a:pt x="190" y="10"/>
                </a:cubicBezTo>
                <a:cubicBezTo>
                  <a:pt x="250" y="10"/>
                  <a:pt x="271" y="66"/>
                  <a:pt x="271" y="119"/>
                </a:cubicBezTo>
                <a:cubicBezTo>
                  <a:pt x="271" y="151"/>
                  <a:pt x="257" y="186"/>
                  <a:pt x="236" y="207"/>
                </a:cubicBezTo>
                <a:cubicBezTo>
                  <a:pt x="236" y="207"/>
                  <a:pt x="235" y="208"/>
                  <a:pt x="235" y="209"/>
                </a:cubicBezTo>
                <a:cubicBezTo>
                  <a:pt x="222" y="221"/>
                  <a:pt x="207" y="228"/>
                  <a:pt x="190" y="228"/>
                </a:cubicBezTo>
                <a:cubicBezTo>
                  <a:pt x="174" y="228"/>
                  <a:pt x="159" y="221"/>
                  <a:pt x="147" y="210"/>
                </a:cubicBezTo>
                <a:cubicBezTo>
                  <a:pt x="147" y="209"/>
                  <a:pt x="146" y="209"/>
                  <a:pt x="145" y="208"/>
                </a:cubicBezTo>
                <a:cubicBezTo>
                  <a:pt x="124" y="187"/>
                  <a:pt x="110" y="152"/>
                  <a:pt x="110" y="119"/>
                </a:cubicBezTo>
                <a:close/>
                <a:moveTo>
                  <a:pt x="10" y="376"/>
                </a:moveTo>
                <a:cubicBezTo>
                  <a:pt x="12" y="335"/>
                  <a:pt x="45" y="308"/>
                  <a:pt x="108" y="296"/>
                </a:cubicBezTo>
                <a:cubicBezTo>
                  <a:pt x="108" y="296"/>
                  <a:pt x="108" y="296"/>
                  <a:pt x="108" y="296"/>
                </a:cubicBezTo>
                <a:cubicBezTo>
                  <a:pt x="135" y="287"/>
                  <a:pt x="146" y="254"/>
                  <a:pt x="147" y="222"/>
                </a:cubicBezTo>
                <a:cubicBezTo>
                  <a:pt x="160" y="232"/>
                  <a:pt x="175" y="238"/>
                  <a:pt x="190" y="238"/>
                </a:cubicBezTo>
                <a:cubicBezTo>
                  <a:pt x="206" y="238"/>
                  <a:pt x="221" y="232"/>
                  <a:pt x="234" y="221"/>
                </a:cubicBezTo>
                <a:cubicBezTo>
                  <a:pt x="236" y="253"/>
                  <a:pt x="248" y="289"/>
                  <a:pt x="275" y="296"/>
                </a:cubicBezTo>
                <a:cubicBezTo>
                  <a:pt x="276" y="297"/>
                  <a:pt x="276" y="297"/>
                  <a:pt x="276" y="297"/>
                </a:cubicBezTo>
                <a:cubicBezTo>
                  <a:pt x="337" y="309"/>
                  <a:pt x="369" y="336"/>
                  <a:pt x="371" y="376"/>
                </a:cubicBezTo>
                <a:lnTo>
                  <a:pt x="10" y="376"/>
                </a:ln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1179" name="Oval 16"/>
          <p:cNvSpPr>
            <a:spLocks noChangeArrowheads="1"/>
          </p:cNvSpPr>
          <p:nvPr/>
        </p:nvSpPr>
        <p:spPr bwMode="auto">
          <a:xfrm>
            <a:off x="3073678" y="3120088"/>
            <a:ext cx="1119124" cy="1119124"/>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201" name="Freeform 32"/>
          <p:cNvSpPr>
            <a:spLocks noEditPoints="1"/>
          </p:cNvSpPr>
          <p:nvPr/>
        </p:nvSpPr>
        <p:spPr bwMode="auto">
          <a:xfrm>
            <a:off x="3310927" y="3329842"/>
            <a:ext cx="643297" cy="647844"/>
          </a:xfrm>
          <a:custGeom>
            <a:avLst/>
            <a:gdLst>
              <a:gd name="T0" fmla="*/ 224 w 410"/>
              <a:gd name="T1" fmla="*/ 333 h 413"/>
              <a:gd name="T2" fmla="*/ 197 w 410"/>
              <a:gd name="T3" fmla="*/ 274 h 413"/>
              <a:gd name="T4" fmla="*/ 227 w 410"/>
              <a:gd name="T5" fmla="*/ 199 h 413"/>
              <a:gd name="T6" fmla="*/ 153 w 410"/>
              <a:gd name="T7" fmla="*/ 102 h 413"/>
              <a:gd name="T8" fmla="*/ 80 w 410"/>
              <a:gd name="T9" fmla="*/ 199 h 413"/>
              <a:gd name="T10" fmla="*/ 111 w 410"/>
              <a:gd name="T11" fmla="*/ 276 h 413"/>
              <a:gd name="T12" fmla="*/ 85 w 410"/>
              <a:gd name="T13" fmla="*/ 332 h 413"/>
              <a:gd name="T14" fmla="*/ 0 w 410"/>
              <a:gd name="T15" fmla="*/ 409 h 413"/>
              <a:gd name="T16" fmla="*/ 5 w 410"/>
              <a:gd name="T17" fmla="*/ 413 h 413"/>
              <a:gd name="T18" fmla="*/ 302 w 410"/>
              <a:gd name="T19" fmla="*/ 413 h 413"/>
              <a:gd name="T20" fmla="*/ 307 w 410"/>
              <a:gd name="T21" fmla="*/ 409 h 413"/>
              <a:gd name="T22" fmla="*/ 224 w 410"/>
              <a:gd name="T23" fmla="*/ 333 h 413"/>
              <a:gd name="T24" fmla="*/ 90 w 410"/>
              <a:gd name="T25" fmla="*/ 199 h 413"/>
              <a:gd name="T26" fmla="*/ 153 w 410"/>
              <a:gd name="T27" fmla="*/ 112 h 413"/>
              <a:gd name="T28" fmla="*/ 217 w 410"/>
              <a:gd name="T29" fmla="*/ 199 h 413"/>
              <a:gd name="T30" fmla="*/ 153 w 410"/>
              <a:gd name="T31" fmla="*/ 285 h 413"/>
              <a:gd name="T32" fmla="*/ 120 w 410"/>
              <a:gd name="T33" fmla="*/ 271 h 413"/>
              <a:gd name="T34" fmla="*/ 118 w 410"/>
              <a:gd name="T35" fmla="*/ 269 h 413"/>
              <a:gd name="T36" fmla="*/ 90 w 410"/>
              <a:gd name="T37" fmla="*/ 199 h 413"/>
              <a:gd name="T38" fmla="*/ 10 w 410"/>
              <a:gd name="T39" fmla="*/ 404 h 413"/>
              <a:gd name="T40" fmla="*/ 87 w 410"/>
              <a:gd name="T41" fmla="*/ 341 h 413"/>
              <a:gd name="T42" fmla="*/ 88 w 410"/>
              <a:gd name="T43" fmla="*/ 341 h 413"/>
              <a:gd name="T44" fmla="*/ 120 w 410"/>
              <a:gd name="T45" fmla="*/ 283 h 413"/>
              <a:gd name="T46" fmla="*/ 153 w 410"/>
              <a:gd name="T47" fmla="*/ 295 h 413"/>
              <a:gd name="T48" fmla="*/ 188 w 410"/>
              <a:gd name="T49" fmla="*/ 282 h 413"/>
              <a:gd name="T50" fmla="*/ 194 w 410"/>
              <a:gd name="T51" fmla="*/ 313 h 413"/>
              <a:gd name="T52" fmla="*/ 221 w 410"/>
              <a:gd name="T53" fmla="*/ 342 h 413"/>
              <a:gd name="T54" fmla="*/ 222 w 410"/>
              <a:gd name="T55" fmla="*/ 342 h 413"/>
              <a:gd name="T56" fmla="*/ 297 w 410"/>
              <a:gd name="T57" fmla="*/ 404 h 413"/>
              <a:gd name="T58" fmla="*/ 10 w 410"/>
              <a:gd name="T59" fmla="*/ 404 h 413"/>
              <a:gd name="T60" fmla="*/ 262 w 410"/>
              <a:gd name="T61" fmla="*/ 270 h 413"/>
              <a:gd name="T62" fmla="*/ 286 w 410"/>
              <a:gd name="T63" fmla="*/ 250 h 413"/>
              <a:gd name="T64" fmla="*/ 262 w 410"/>
              <a:gd name="T65" fmla="*/ 229 h 413"/>
              <a:gd name="T66" fmla="*/ 237 w 410"/>
              <a:gd name="T67" fmla="*/ 250 h 413"/>
              <a:gd name="T68" fmla="*/ 262 w 410"/>
              <a:gd name="T69" fmla="*/ 270 h 413"/>
              <a:gd name="T70" fmla="*/ 262 w 410"/>
              <a:gd name="T71" fmla="*/ 238 h 413"/>
              <a:gd name="T72" fmla="*/ 276 w 410"/>
              <a:gd name="T73" fmla="*/ 250 h 413"/>
              <a:gd name="T74" fmla="*/ 262 w 410"/>
              <a:gd name="T75" fmla="*/ 261 h 413"/>
              <a:gd name="T76" fmla="*/ 247 w 410"/>
              <a:gd name="T77" fmla="*/ 250 h 413"/>
              <a:gd name="T78" fmla="*/ 262 w 410"/>
              <a:gd name="T79" fmla="*/ 238 h 413"/>
              <a:gd name="T80" fmla="*/ 327 w 410"/>
              <a:gd name="T81" fmla="*/ 0 h 413"/>
              <a:gd name="T82" fmla="*/ 244 w 410"/>
              <a:gd name="T83" fmla="*/ 69 h 413"/>
              <a:gd name="T84" fmla="*/ 327 w 410"/>
              <a:gd name="T85" fmla="*/ 138 h 413"/>
              <a:gd name="T86" fmla="*/ 410 w 410"/>
              <a:gd name="T87" fmla="*/ 69 h 413"/>
              <a:gd name="T88" fmla="*/ 327 w 410"/>
              <a:gd name="T89" fmla="*/ 0 h 413"/>
              <a:gd name="T90" fmla="*/ 327 w 410"/>
              <a:gd name="T91" fmla="*/ 129 h 413"/>
              <a:gd name="T92" fmla="*/ 253 w 410"/>
              <a:gd name="T93" fmla="*/ 69 h 413"/>
              <a:gd name="T94" fmla="*/ 327 w 410"/>
              <a:gd name="T95" fmla="*/ 9 h 413"/>
              <a:gd name="T96" fmla="*/ 401 w 410"/>
              <a:gd name="T97" fmla="*/ 69 h 413"/>
              <a:gd name="T98" fmla="*/ 327 w 410"/>
              <a:gd name="T99" fmla="*/ 129 h 413"/>
              <a:gd name="T100" fmla="*/ 318 w 410"/>
              <a:gd name="T101" fmla="*/ 167 h 413"/>
              <a:gd name="T102" fmla="*/ 281 w 410"/>
              <a:gd name="T103" fmla="*/ 199 h 413"/>
              <a:gd name="T104" fmla="*/ 318 w 410"/>
              <a:gd name="T105" fmla="*/ 230 h 413"/>
              <a:gd name="T106" fmla="*/ 355 w 410"/>
              <a:gd name="T107" fmla="*/ 199 h 413"/>
              <a:gd name="T108" fmla="*/ 318 w 410"/>
              <a:gd name="T109" fmla="*/ 167 h 413"/>
              <a:gd name="T110" fmla="*/ 318 w 410"/>
              <a:gd name="T111" fmla="*/ 220 h 413"/>
              <a:gd name="T112" fmla="*/ 290 w 410"/>
              <a:gd name="T113" fmla="*/ 199 h 413"/>
              <a:gd name="T114" fmla="*/ 318 w 410"/>
              <a:gd name="T115" fmla="*/ 177 h 413"/>
              <a:gd name="T116" fmla="*/ 345 w 410"/>
              <a:gd name="T117" fmla="*/ 199 h 413"/>
              <a:gd name="T118" fmla="*/ 318 w 410"/>
              <a:gd name="T119" fmla="*/ 220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10" h="413">
                <a:moveTo>
                  <a:pt x="224" y="333"/>
                </a:moveTo>
                <a:cubicBezTo>
                  <a:pt x="204" y="327"/>
                  <a:pt x="198" y="295"/>
                  <a:pt x="197" y="274"/>
                </a:cubicBezTo>
                <a:cubicBezTo>
                  <a:pt x="215" y="257"/>
                  <a:pt x="227" y="229"/>
                  <a:pt x="227" y="199"/>
                </a:cubicBezTo>
                <a:cubicBezTo>
                  <a:pt x="227" y="139"/>
                  <a:pt x="199" y="102"/>
                  <a:pt x="153" y="102"/>
                </a:cubicBezTo>
                <a:cubicBezTo>
                  <a:pt x="108" y="102"/>
                  <a:pt x="80" y="139"/>
                  <a:pt x="80" y="199"/>
                </a:cubicBezTo>
                <a:cubicBezTo>
                  <a:pt x="80" y="229"/>
                  <a:pt x="93" y="258"/>
                  <a:pt x="111" y="276"/>
                </a:cubicBezTo>
                <a:cubicBezTo>
                  <a:pt x="110" y="298"/>
                  <a:pt x="104" y="326"/>
                  <a:pt x="85" y="332"/>
                </a:cubicBezTo>
                <a:cubicBezTo>
                  <a:pt x="30" y="343"/>
                  <a:pt x="0" y="370"/>
                  <a:pt x="0" y="409"/>
                </a:cubicBezTo>
                <a:cubicBezTo>
                  <a:pt x="0" y="411"/>
                  <a:pt x="2" y="413"/>
                  <a:pt x="5" y="413"/>
                </a:cubicBezTo>
                <a:cubicBezTo>
                  <a:pt x="302" y="413"/>
                  <a:pt x="302" y="413"/>
                  <a:pt x="302" y="413"/>
                </a:cubicBezTo>
                <a:cubicBezTo>
                  <a:pt x="305" y="413"/>
                  <a:pt x="307" y="411"/>
                  <a:pt x="307" y="409"/>
                </a:cubicBezTo>
                <a:cubicBezTo>
                  <a:pt x="307" y="370"/>
                  <a:pt x="278" y="344"/>
                  <a:pt x="224" y="333"/>
                </a:cubicBezTo>
                <a:close/>
                <a:moveTo>
                  <a:pt x="90" y="199"/>
                </a:moveTo>
                <a:cubicBezTo>
                  <a:pt x="90" y="157"/>
                  <a:pt x="107" y="112"/>
                  <a:pt x="153" y="112"/>
                </a:cubicBezTo>
                <a:cubicBezTo>
                  <a:pt x="200" y="112"/>
                  <a:pt x="217" y="157"/>
                  <a:pt x="217" y="199"/>
                </a:cubicBezTo>
                <a:cubicBezTo>
                  <a:pt x="217" y="248"/>
                  <a:pt x="184" y="285"/>
                  <a:pt x="153" y="285"/>
                </a:cubicBezTo>
                <a:cubicBezTo>
                  <a:pt x="141" y="285"/>
                  <a:pt x="129" y="280"/>
                  <a:pt x="120" y="271"/>
                </a:cubicBezTo>
                <a:cubicBezTo>
                  <a:pt x="119" y="270"/>
                  <a:pt x="119" y="270"/>
                  <a:pt x="118" y="269"/>
                </a:cubicBezTo>
                <a:cubicBezTo>
                  <a:pt x="101" y="252"/>
                  <a:pt x="90" y="224"/>
                  <a:pt x="90" y="199"/>
                </a:cubicBezTo>
                <a:close/>
                <a:moveTo>
                  <a:pt x="10" y="404"/>
                </a:moveTo>
                <a:cubicBezTo>
                  <a:pt x="12" y="372"/>
                  <a:pt x="38" y="351"/>
                  <a:pt x="87" y="341"/>
                </a:cubicBezTo>
                <a:cubicBezTo>
                  <a:pt x="88" y="341"/>
                  <a:pt x="88" y="341"/>
                  <a:pt x="88" y="341"/>
                </a:cubicBezTo>
                <a:cubicBezTo>
                  <a:pt x="109" y="335"/>
                  <a:pt x="118" y="308"/>
                  <a:pt x="120" y="283"/>
                </a:cubicBezTo>
                <a:cubicBezTo>
                  <a:pt x="130" y="290"/>
                  <a:pt x="142" y="295"/>
                  <a:pt x="153" y="295"/>
                </a:cubicBezTo>
                <a:cubicBezTo>
                  <a:pt x="166" y="295"/>
                  <a:pt x="178" y="290"/>
                  <a:pt x="188" y="282"/>
                </a:cubicBezTo>
                <a:cubicBezTo>
                  <a:pt x="189" y="293"/>
                  <a:pt x="191" y="304"/>
                  <a:pt x="194" y="313"/>
                </a:cubicBezTo>
                <a:cubicBezTo>
                  <a:pt x="200" y="328"/>
                  <a:pt x="209" y="339"/>
                  <a:pt x="221" y="342"/>
                </a:cubicBezTo>
                <a:cubicBezTo>
                  <a:pt x="222" y="342"/>
                  <a:pt x="222" y="342"/>
                  <a:pt x="222" y="342"/>
                </a:cubicBezTo>
                <a:cubicBezTo>
                  <a:pt x="270" y="352"/>
                  <a:pt x="295" y="373"/>
                  <a:pt x="297" y="404"/>
                </a:cubicBezTo>
                <a:lnTo>
                  <a:pt x="10" y="404"/>
                </a:lnTo>
                <a:close/>
                <a:moveTo>
                  <a:pt x="262" y="270"/>
                </a:moveTo>
                <a:cubicBezTo>
                  <a:pt x="275" y="270"/>
                  <a:pt x="286" y="261"/>
                  <a:pt x="286" y="250"/>
                </a:cubicBezTo>
                <a:cubicBezTo>
                  <a:pt x="286" y="238"/>
                  <a:pt x="275" y="229"/>
                  <a:pt x="262" y="229"/>
                </a:cubicBezTo>
                <a:cubicBezTo>
                  <a:pt x="248" y="229"/>
                  <a:pt x="237" y="238"/>
                  <a:pt x="237" y="250"/>
                </a:cubicBezTo>
                <a:cubicBezTo>
                  <a:pt x="237" y="261"/>
                  <a:pt x="248" y="270"/>
                  <a:pt x="262" y="270"/>
                </a:cubicBezTo>
                <a:close/>
                <a:moveTo>
                  <a:pt x="262" y="238"/>
                </a:moveTo>
                <a:cubicBezTo>
                  <a:pt x="270" y="238"/>
                  <a:pt x="276" y="243"/>
                  <a:pt x="276" y="250"/>
                </a:cubicBezTo>
                <a:cubicBezTo>
                  <a:pt x="276" y="256"/>
                  <a:pt x="270" y="261"/>
                  <a:pt x="262" y="261"/>
                </a:cubicBezTo>
                <a:cubicBezTo>
                  <a:pt x="253" y="261"/>
                  <a:pt x="247" y="256"/>
                  <a:pt x="247" y="250"/>
                </a:cubicBezTo>
                <a:cubicBezTo>
                  <a:pt x="247" y="243"/>
                  <a:pt x="253" y="238"/>
                  <a:pt x="262" y="238"/>
                </a:cubicBezTo>
                <a:close/>
                <a:moveTo>
                  <a:pt x="327" y="0"/>
                </a:moveTo>
                <a:cubicBezTo>
                  <a:pt x="281" y="0"/>
                  <a:pt x="244" y="31"/>
                  <a:pt x="244" y="69"/>
                </a:cubicBezTo>
                <a:cubicBezTo>
                  <a:pt x="244" y="107"/>
                  <a:pt x="281" y="138"/>
                  <a:pt x="327" y="138"/>
                </a:cubicBezTo>
                <a:cubicBezTo>
                  <a:pt x="373" y="138"/>
                  <a:pt x="410" y="107"/>
                  <a:pt x="410" y="69"/>
                </a:cubicBezTo>
                <a:cubicBezTo>
                  <a:pt x="410" y="31"/>
                  <a:pt x="373" y="0"/>
                  <a:pt x="327" y="0"/>
                </a:cubicBezTo>
                <a:close/>
                <a:moveTo>
                  <a:pt x="327" y="129"/>
                </a:moveTo>
                <a:cubicBezTo>
                  <a:pt x="286" y="129"/>
                  <a:pt x="253" y="102"/>
                  <a:pt x="253" y="69"/>
                </a:cubicBezTo>
                <a:cubicBezTo>
                  <a:pt x="253" y="36"/>
                  <a:pt x="286" y="9"/>
                  <a:pt x="327" y="9"/>
                </a:cubicBezTo>
                <a:cubicBezTo>
                  <a:pt x="368" y="9"/>
                  <a:pt x="401" y="36"/>
                  <a:pt x="401" y="69"/>
                </a:cubicBezTo>
                <a:cubicBezTo>
                  <a:pt x="401" y="102"/>
                  <a:pt x="368" y="129"/>
                  <a:pt x="327" y="129"/>
                </a:cubicBezTo>
                <a:close/>
                <a:moveTo>
                  <a:pt x="318" y="167"/>
                </a:moveTo>
                <a:cubicBezTo>
                  <a:pt x="298" y="167"/>
                  <a:pt x="281" y="181"/>
                  <a:pt x="281" y="199"/>
                </a:cubicBezTo>
                <a:cubicBezTo>
                  <a:pt x="281" y="216"/>
                  <a:pt x="298" y="230"/>
                  <a:pt x="318" y="230"/>
                </a:cubicBezTo>
                <a:cubicBezTo>
                  <a:pt x="338" y="230"/>
                  <a:pt x="355" y="216"/>
                  <a:pt x="355" y="199"/>
                </a:cubicBezTo>
                <a:cubicBezTo>
                  <a:pt x="355" y="181"/>
                  <a:pt x="338" y="167"/>
                  <a:pt x="318" y="167"/>
                </a:cubicBezTo>
                <a:close/>
                <a:moveTo>
                  <a:pt x="318" y="220"/>
                </a:moveTo>
                <a:cubicBezTo>
                  <a:pt x="303" y="220"/>
                  <a:pt x="290" y="211"/>
                  <a:pt x="290" y="199"/>
                </a:cubicBezTo>
                <a:cubicBezTo>
                  <a:pt x="290" y="187"/>
                  <a:pt x="303" y="177"/>
                  <a:pt x="318" y="177"/>
                </a:cubicBezTo>
                <a:cubicBezTo>
                  <a:pt x="333" y="177"/>
                  <a:pt x="345" y="187"/>
                  <a:pt x="345" y="199"/>
                </a:cubicBezTo>
                <a:cubicBezTo>
                  <a:pt x="345" y="211"/>
                  <a:pt x="333" y="220"/>
                  <a:pt x="318" y="220"/>
                </a:cubicBez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1177" name="Oval 14"/>
          <p:cNvSpPr>
            <a:spLocks noChangeArrowheads="1"/>
          </p:cNvSpPr>
          <p:nvPr/>
        </p:nvSpPr>
        <p:spPr bwMode="auto">
          <a:xfrm>
            <a:off x="4831649" y="3120088"/>
            <a:ext cx="1119124" cy="1119124"/>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202" name="Freeform 33"/>
          <p:cNvSpPr>
            <a:spLocks noEditPoints="1"/>
          </p:cNvSpPr>
          <p:nvPr/>
        </p:nvSpPr>
        <p:spPr bwMode="auto">
          <a:xfrm>
            <a:off x="5010417" y="3299971"/>
            <a:ext cx="761589" cy="570846"/>
          </a:xfrm>
          <a:custGeom>
            <a:avLst/>
            <a:gdLst>
              <a:gd name="T0" fmla="*/ 169 w 485"/>
              <a:gd name="T1" fmla="*/ 91 h 364"/>
              <a:gd name="T2" fmla="*/ 169 w 485"/>
              <a:gd name="T3" fmla="*/ 81 h 364"/>
              <a:gd name="T4" fmla="*/ 177 w 485"/>
              <a:gd name="T5" fmla="*/ 74 h 364"/>
              <a:gd name="T6" fmla="*/ 123 w 485"/>
              <a:gd name="T7" fmla="*/ 279 h 364"/>
              <a:gd name="T8" fmla="*/ 49 w 485"/>
              <a:gd name="T9" fmla="*/ 232 h 364"/>
              <a:gd name="T10" fmla="*/ 0 w 485"/>
              <a:gd name="T11" fmla="*/ 359 h 364"/>
              <a:gd name="T12" fmla="*/ 190 w 485"/>
              <a:gd name="T13" fmla="*/ 359 h 364"/>
              <a:gd name="T14" fmla="*/ 95 w 485"/>
              <a:gd name="T15" fmla="*/ 181 h 364"/>
              <a:gd name="T16" fmla="*/ 58 w 485"/>
              <a:gd name="T17" fmla="*/ 232 h 364"/>
              <a:gd name="T18" fmla="*/ 56 w 485"/>
              <a:gd name="T19" fmla="*/ 320 h 364"/>
              <a:gd name="T20" fmla="*/ 114 w 485"/>
              <a:gd name="T21" fmla="*/ 286 h 364"/>
              <a:gd name="T22" fmla="*/ 180 w 485"/>
              <a:gd name="T23" fmla="*/ 355 h 364"/>
              <a:gd name="T24" fmla="*/ 246 w 485"/>
              <a:gd name="T25" fmla="*/ 109 h 364"/>
              <a:gd name="T26" fmla="*/ 262 w 485"/>
              <a:gd name="T27" fmla="*/ 92 h 364"/>
              <a:gd name="T28" fmla="*/ 262 w 485"/>
              <a:gd name="T29" fmla="*/ 102 h 364"/>
              <a:gd name="T30" fmla="*/ 316 w 485"/>
              <a:gd name="T31" fmla="*/ 109 h 364"/>
              <a:gd name="T32" fmla="*/ 299 w 485"/>
              <a:gd name="T33" fmla="*/ 126 h 364"/>
              <a:gd name="T34" fmla="*/ 292 w 485"/>
              <a:gd name="T35" fmla="*/ 109 h 364"/>
              <a:gd name="T36" fmla="*/ 299 w 485"/>
              <a:gd name="T37" fmla="*/ 117 h 364"/>
              <a:gd name="T38" fmla="*/ 327 w 485"/>
              <a:gd name="T39" fmla="*/ 215 h 364"/>
              <a:gd name="T40" fmla="*/ 378 w 485"/>
              <a:gd name="T41" fmla="*/ 108 h 364"/>
              <a:gd name="T42" fmla="*/ 203 w 485"/>
              <a:gd name="T43" fmla="*/ 0 h 364"/>
              <a:gd name="T44" fmla="*/ 154 w 485"/>
              <a:gd name="T45" fmla="*/ 183 h 364"/>
              <a:gd name="T46" fmla="*/ 208 w 485"/>
              <a:gd name="T47" fmla="*/ 143 h 364"/>
              <a:gd name="T48" fmla="*/ 321 w 485"/>
              <a:gd name="T49" fmla="*/ 216 h 364"/>
              <a:gd name="T50" fmla="*/ 226 w 485"/>
              <a:gd name="T51" fmla="*/ 130 h 364"/>
              <a:gd name="T52" fmla="*/ 199 w 485"/>
              <a:gd name="T53" fmla="*/ 137 h 364"/>
              <a:gd name="T54" fmla="*/ 180 w 485"/>
              <a:gd name="T55" fmla="*/ 134 h 364"/>
              <a:gd name="T56" fmla="*/ 131 w 485"/>
              <a:gd name="T57" fmla="*/ 71 h 364"/>
              <a:gd name="T58" fmla="*/ 275 w 485"/>
              <a:gd name="T59" fmla="*/ 49 h 364"/>
              <a:gd name="T60" fmla="*/ 314 w 485"/>
              <a:gd name="T61" fmla="*/ 169 h 364"/>
              <a:gd name="T62" fmla="*/ 296 w 485"/>
              <a:gd name="T63" fmla="*/ 173 h 364"/>
              <a:gd name="T64" fmla="*/ 418 w 485"/>
              <a:gd name="T65" fmla="*/ 279 h 364"/>
              <a:gd name="T66" fmla="*/ 343 w 485"/>
              <a:gd name="T67" fmla="*/ 232 h 364"/>
              <a:gd name="T68" fmla="*/ 295 w 485"/>
              <a:gd name="T69" fmla="*/ 359 h 364"/>
              <a:gd name="T70" fmla="*/ 485 w 485"/>
              <a:gd name="T71" fmla="*/ 359 h 364"/>
              <a:gd name="T72" fmla="*/ 390 w 485"/>
              <a:gd name="T73" fmla="*/ 181 h 364"/>
              <a:gd name="T74" fmla="*/ 353 w 485"/>
              <a:gd name="T75" fmla="*/ 232 h 364"/>
              <a:gd name="T76" fmla="*/ 350 w 485"/>
              <a:gd name="T77" fmla="*/ 320 h 364"/>
              <a:gd name="T78" fmla="*/ 409 w 485"/>
              <a:gd name="T79" fmla="*/ 286 h 364"/>
              <a:gd name="T80" fmla="*/ 475 w 485"/>
              <a:gd name="T81" fmla="*/ 355 h 364"/>
              <a:gd name="T82" fmla="*/ 189 w 485"/>
              <a:gd name="T83" fmla="*/ 74 h 364"/>
              <a:gd name="T84" fmla="*/ 206 w 485"/>
              <a:gd name="T85" fmla="*/ 57 h 364"/>
              <a:gd name="T86" fmla="*/ 206 w 485"/>
              <a:gd name="T87" fmla="*/ 66 h 364"/>
              <a:gd name="T88" fmla="*/ 260 w 485"/>
              <a:gd name="T89" fmla="*/ 74 h 364"/>
              <a:gd name="T90" fmla="*/ 243 w 485"/>
              <a:gd name="T91" fmla="*/ 91 h 364"/>
              <a:gd name="T92" fmla="*/ 236 w 485"/>
              <a:gd name="T93" fmla="*/ 74 h 364"/>
              <a:gd name="T94" fmla="*/ 243 w 485"/>
              <a:gd name="T95" fmla="*/ 81 h 364"/>
              <a:gd name="T96" fmla="*/ 336 w 485"/>
              <a:gd name="T97" fmla="*/ 92 h 364"/>
              <a:gd name="T98" fmla="*/ 336 w 485"/>
              <a:gd name="T99" fmla="*/ 102 h 364"/>
              <a:gd name="T100" fmla="*/ 329 w 485"/>
              <a:gd name="T101" fmla="*/ 109 h 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85" h="364">
                <a:moveTo>
                  <a:pt x="169" y="57"/>
                </a:moveTo>
                <a:cubicBezTo>
                  <a:pt x="160" y="57"/>
                  <a:pt x="153" y="65"/>
                  <a:pt x="153" y="74"/>
                </a:cubicBezTo>
                <a:cubicBezTo>
                  <a:pt x="153" y="83"/>
                  <a:pt x="160" y="91"/>
                  <a:pt x="169" y="91"/>
                </a:cubicBezTo>
                <a:cubicBezTo>
                  <a:pt x="179" y="91"/>
                  <a:pt x="186" y="83"/>
                  <a:pt x="186" y="74"/>
                </a:cubicBezTo>
                <a:cubicBezTo>
                  <a:pt x="186" y="65"/>
                  <a:pt x="179" y="57"/>
                  <a:pt x="169" y="57"/>
                </a:cubicBezTo>
                <a:close/>
                <a:moveTo>
                  <a:pt x="169" y="81"/>
                </a:moveTo>
                <a:cubicBezTo>
                  <a:pt x="165" y="81"/>
                  <a:pt x="162" y="78"/>
                  <a:pt x="162" y="74"/>
                </a:cubicBezTo>
                <a:cubicBezTo>
                  <a:pt x="162" y="70"/>
                  <a:pt x="165" y="66"/>
                  <a:pt x="169" y="66"/>
                </a:cubicBezTo>
                <a:cubicBezTo>
                  <a:pt x="173" y="66"/>
                  <a:pt x="177" y="70"/>
                  <a:pt x="177" y="74"/>
                </a:cubicBezTo>
                <a:cubicBezTo>
                  <a:pt x="177" y="78"/>
                  <a:pt x="173" y="81"/>
                  <a:pt x="169" y="81"/>
                </a:cubicBezTo>
                <a:close/>
                <a:moveTo>
                  <a:pt x="138" y="312"/>
                </a:moveTo>
                <a:cubicBezTo>
                  <a:pt x="127" y="309"/>
                  <a:pt x="124" y="290"/>
                  <a:pt x="123" y="279"/>
                </a:cubicBezTo>
                <a:cubicBezTo>
                  <a:pt x="134" y="267"/>
                  <a:pt x="141" y="250"/>
                  <a:pt x="141" y="232"/>
                </a:cubicBezTo>
                <a:cubicBezTo>
                  <a:pt x="141" y="195"/>
                  <a:pt x="123" y="171"/>
                  <a:pt x="95" y="171"/>
                </a:cubicBezTo>
                <a:cubicBezTo>
                  <a:pt x="66" y="171"/>
                  <a:pt x="49" y="195"/>
                  <a:pt x="49" y="232"/>
                </a:cubicBezTo>
                <a:cubicBezTo>
                  <a:pt x="49" y="251"/>
                  <a:pt x="56" y="268"/>
                  <a:pt x="67" y="279"/>
                </a:cubicBezTo>
                <a:cubicBezTo>
                  <a:pt x="67" y="293"/>
                  <a:pt x="62" y="308"/>
                  <a:pt x="53" y="311"/>
                </a:cubicBezTo>
                <a:cubicBezTo>
                  <a:pt x="9" y="320"/>
                  <a:pt x="0" y="342"/>
                  <a:pt x="0" y="359"/>
                </a:cubicBezTo>
                <a:cubicBezTo>
                  <a:pt x="0" y="362"/>
                  <a:pt x="2" y="364"/>
                  <a:pt x="4" y="364"/>
                </a:cubicBezTo>
                <a:cubicBezTo>
                  <a:pt x="185" y="364"/>
                  <a:pt x="185" y="364"/>
                  <a:pt x="185" y="364"/>
                </a:cubicBezTo>
                <a:cubicBezTo>
                  <a:pt x="188" y="364"/>
                  <a:pt x="190" y="362"/>
                  <a:pt x="190" y="359"/>
                </a:cubicBezTo>
                <a:cubicBezTo>
                  <a:pt x="190" y="343"/>
                  <a:pt x="181" y="321"/>
                  <a:pt x="138" y="312"/>
                </a:cubicBezTo>
                <a:close/>
                <a:moveTo>
                  <a:pt x="58" y="232"/>
                </a:moveTo>
                <a:cubicBezTo>
                  <a:pt x="58" y="185"/>
                  <a:pt x="86" y="181"/>
                  <a:pt x="95" y="181"/>
                </a:cubicBezTo>
                <a:cubicBezTo>
                  <a:pt x="104" y="181"/>
                  <a:pt x="132" y="185"/>
                  <a:pt x="132" y="232"/>
                </a:cubicBezTo>
                <a:cubicBezTo>
                  <a:pt x="132" y="261"/>
                  <a:pt x="112" y="283"/>
                  <a:pt x="95" y="283"/>
                </a:cubicBezTo>
                <a:cubicBezTo>
                  <a:pt x="77" y="283"/>
                  <a:pt x="58" y="261"/>
                  <a:pt x="58" y="232"/>
                </a:cubicBezTo>
                <a:close/>
                <a:moveTo>
                  <a:pt x="9" y="355"/>
                </a:moveTo>
                <a:cubicBezTo>
                  <a:pt x="12" y="338"/>
                  <a:pt x="27" y="326"/>
                  <a:pt x="55" y="320"/>
                </a:cubicBezTo>
                <a:cubicBezTo>
                  <a:pt x="55" y="320"/>
                  <a:pt x="55" y="320"/>
                  <a:pt x="56" y="320"/>
                </a:cubicBezTo>
                <a:cubicBezTo>
                  <a:pt x="68" y="316"/>
                  <a:pt x="74" y="301"/>
                  <a:pt x="76" y="286"/>
                </a:cubicBezTo>
                <a:cubicBezTo>
                  <a:pt x="82" y="290"/>
                  <a:pt x="88" y="292"/>
                  <a:pt x="95" y="292"/>
                </a:cubicBezTo>
                <a:cubicBezTo>
                  <a:pt x="102" y="292"/>
                  <a:pt x="108" y="290"/>
                  <a:pt x="114" y="286"/>
                </a:cubicBezTo>
                <a:cubicBezTo>
                  <a:pt x="116" y="302"/>
                  <a:pt x="122" y="317"/>
                  <a:pt x="136" y="321"/>
                </a:cubicBezTo>
                <a:cubicBezTo>
                  <a:pt x="136" y="321"/>
                  <a:pt x="136" y="321"/>
                  <a:pt x="136" y="321"/>
                </a:cubicBezTo>
                <a:cubicBezTo>
                  <a:pt x="163" y="326"/>
                  <a:pt x="178" y="338"/>
                  <a:pt x="180" y="355"/>
                </a:cubicBezTo>
                <a:lnTo>
                  <a:pt x="9" y="355"/>
                </a:lnTo>
                <a:close/>
                <a:moveTo>
                  <a:pt x="262" y="92"/>
                </a:moveTo>
                <a:cubicBezTo>
                  <a:pt x="253" y="92"/>
                  <a:pt x="246" y="100"/>
                  <a:pt x="246" y="109"/>
                </a:cubicBezTo>
                <a:cubicBezTo>
                  <a:pt x="246" y="118"/>
                  <a:pt x="253" y="126"/>
                  <a:pt x="262" y="126"/>
                </a:cubicBezTo>
                <a:cubicBezTo>
                  <a:pt x="272" y="126"/>
                  <a:pt x="279" y="118"/>
                  <a:pt x="279" y="109"/>
                </a:cubicBezTo>
                <a:cubicBezTo>
                  <a:pt x="279" y="100"/>
                  <a:pt x="272" y="92"/>
                  <a:pt x="262" y="92"/>
                </a:cubicBezTo>
                <a:close/>
                <a:moveTo>
                  <a:pt x="262" y="117"/>
                </a:moveTo>
                <a:cubicBezTo>
                  <a:pt x="258" y="117"/>
                  <a:pt x="255" y="113"/>
                  <a:pt x="255" y="109"/>
                </a:cubicBezTo>
                <a:cubicBezTo>
                  <a:pt x="255" y="105"/>
                  <a:pt x="258" y="102"/>
                  <a:pt x="262" y="102"/>
                </a:cubicBezTo>
                <a:cubicBezTo>
                  <a:pt x="267" y="102"/>
                  <a:pt x="270" y="105"/>
                  <a:pt x="270" y="109"/>
                </a:cubicBezTo>
                <a:cubicBezTo>
                  <a:pt x="270" y="113"/>
                  <a:pt x="267" y="117"/>
                  <a:pt x="262" y="117"/>
                </a:cubicBezTo>
                <a:close/>
                <a:moveTo>
                  <a:pt x="316" y="109"/>
                </a:moveTo>
                <a:cubicBezTo>
                  <a:pt x="316" y="100"/>
                  <a:pt x="308" y="92"/>
                  <a:pt x="299" y="92"/>
                </a:cubicBezTo>
                <a:cubicBezTo>
                  <a:pt x="290" y="92"/>
                  <a:pt x="282" y="100"/>
                  <a:pt x="282" y="109"/>
                </a:cubicBezTo>
                <a:cubicBezTo>
                  <a:pt x="282" y="118"/>
                  <a:pt x="290" y="126"/>
                  <a:pt x="299" y="126"/>
                </a:cubicBezTo>
                <a:cubicBezTo>
                  <a:pt x="308" y="126"/>
                  <a:pt x="316" y="118"/>
                  <a:pt x="316" y="109"/>
                </a:cubicBezTo>
                <a:close/>
                <a:moveTo>
                  <a:pt x="299" y="117"/>
                </a:moveTo>
                <a:cubicBezTo>
                  <a:pt x="295" y="117"/>
                  <a:pt x="292" y="113"/>
                  <a:pt x="292" y="109"/>
                </a:cubicBezTo>
                <a:cubicBezTo>
                  <a:pt x="292" y="105"/>
                  <a:pt x="295" y="102"/>
                  <a:pt x="299" y="102"/>
                </a:cubicBezTo>
                <a:cubicBezTo>
                  <a:pt x="303" y="102"/>
                  <a:pt x="307" y="105"/>
                  <a:pt x="307" y="109"/>
                </a:cubicBezTo>
                <a:cubicBezTo>
                  <a:pt x="307" y="113"/>
                  <a:pt x="303" y="117"/>
                  <a:pt x="299" y="117"/>
                </a:cubicBezTo>
                <a:close/>
                <a:moveTo>
                  <a:pt x="321" y="216"/>
                </a:moveTo>
                <a:cubicBezTo>
                  <a:pt x="322" y="216"/>
                  <a:pt x="323" y="216"/>
                  <a:pt x="324" y="216"/>
                </a:cubicBezTo>
                <a:cubicBezTo>
                  <a:pt x="325" y="216"/>
                  <a:pt x="326" y="216"/>
                  <a:pt x="327" y="215"/>
                </a:cubicBezTo>
                <a:cubicBezTo>
                  <a:pt x="328" y="214"/>
                  <a:pt x="329" y="212"/>
                  <a:pt x="328" y="210"/>
                </a:cubicBezTo>
                <a:cubicBezTo>
                  <a:pt x="328" y="210"/>
                  <a:pt x="321" y="195"/>
                  <a:pt x="320" y="177"/>
                </a:cubicBezTo>
                <a:cubicBezTo>
                  <a:pt x="354" y="168"/>
                  <a:pt x="378" y="140"/>
                  <a:pt x="378" y="108"/>
                </a:cubicBezTo>
                <a:cubicBezTo>
                  <a:pt x="378" y="69"/>
                  <a:pt x="341" y="37"/>
                  <a:pt x="296" y="37"/>
                </a:cubicBezTo>
                <a:cubicBezTo>
                  <a:pt x="289" y="37"/>
                  <a:pt x="283" y="37"/>
                  <a:pt x="276" y="39"/>
                </a:cubicBezTo>
                <a:cubicBezTo>
                  <a:pt x="262" y="15"/>
                  <a:pt x="234" y="0"/>
                  <a:pt x="203" y="0"/>
                </a:cubicBezTo>
                <a:cubicBezTo>
                  <a:pt x="158" y="0"/>
                  <a:pt x="122" y="32"/>
                  <a:pt x="122" y="71"/>
                </a:cubicBezTo>
                <a:cubicBezTo>
                  <a:pt x="122" y="100"/>
                  <a:pt x="141" y="125"/>
                  <a:pt x="171" y="137"/>
                </a:cubicBezTo>
                <a:cubicBezTo>
                  <a:pt x="169" y="163"/>
                  <a:pt x="154" y="183"/>
                  <a:pt x="154" y="183"/>
                </a:cubicBezTo>
                <a:cubicBezTo>
                  <a:pt x="152" y="185"/>
                  <a:pt x="152" y="188"/>
                  <a:pt x="154" y="189"/>
                </a:cubicBezTo>
                <a:cubicBezTo>
                  <a:pt x="155" y="191"/>
                  <a:pt x="157" y="191"/>
                  <a:pt x="159" y="191"/>
                </a:cubicBezTo>
                <a:cubicBezTo>
                  <a:pt x="184" y="179"/>
                  <a:pt x="200" y="164"/>
                  <a:pt x="208" y="143"/>
                </a:cubicBezTo>
                <a:cubicBezTo>
                  <a:pt x="213" y="142"/>
                  <a:pt x="218" y="142"/>
                  <a:pt x="224" y="141"/>
                </a:cubicBezTo>
                <a:cubicBezTo>
                  <a:pt x="236" y="163"/>
                  <a:pt x="261" y="177"/>
                  <a:pt x="289" y="179"/>
                </a:cubicBezTo>
                <a:cubicBezTo>
                  <a:pt x="295" y="193"/>
                  <a:pt x="306" y="205"/>
                  <a:pt x="321" y="216"/>
                </a:cubicBezTo>
                <a:close/>
                <a:moveTo>
                  <a:pt x="292" y="170"/>
                </a:moveTo>
                <a:cubicBezTo>
                  <a:pt x="265" y="169"/>
                  <a:pt x="241" y="155"/>
                  <a:pt x="230" y="133"/>
                </a:cubicBezTo>
                <a:cubicBezTo>
                  <a:pt x="229" y="131"/>
                  <a:pt x="228" y="130"/>
                  <a:pt x="226" y="130"/>
                </a:cubicBezTo>
                <a:cubicBezTo>
                  <a:pt x="226" y="130"/>
                  <a:pt x="225" y="130"/>
                  <a:pt x="225" y="131"/>
                </a:cubicBezTo>
                <a:cubicBezTo>
                  <a:pt x="218" y="132"/>
                  <a:pt x="211" y="133"/>
                  <a:pt x="204" y="133"/>
                </a:cubicBezTo>
                <a:cubicBezTo>
                  <a:pt x="202" y="133"/>
                  <a:pt x="200" y="135"/>
                  <a:pt x="199" y="137"/>
                </a:cubicBezTo>
                <a:cubicBezTo>
                  <a:pt x="199" y="138"/>
                  <a:pt x="199" y="138"/>
                  <a:pt x="199" y="139"/>
                </a:cubicBezTo>
                <a:cubicBezTo>
                  <a:pt x="194" y="154"/>
                  <a:pt x="185" y="165"/>
                  <a:pt x="170" y="175"/>
                </a:cubicBezTo>
                <a:cubicBezTo>
                  <a:pt x="175" y="165"/>
                  <a:pt x="180" y="150"/>
                  <a:pt x="180" y="134"/>
                </a:cubicBezTo>
                <a:cubicBezTo>
                  <a:pt x="180" y="134"/>
                  <a:pt x="180" y="134"/>
                  <a:pt x="180" y="134"/>
                </a:cubicBezTo>
                <a:cubicBezTo>
                  <a:pt x="180" y="132"/>
                  <a:pt x="179" y="130"/>
                  <a:pt x="177" y="129"/>
                </a:cubicBezTo>
                <a:cubicBezTo>
                  <a:pt x="149" y="120"/>
                  <a:pt x="131" y="97"/>
                  <a:pt x="131" y="71"/>
                </a:cubicBezTo>
                <a:cubicBezTo>
                  <a:pt x="131" y="37"/>
                  <a:pt x="164" y="9"/>
                  <a:pt x="203" y="9"/>
                </a:cubicBezTo>
                <a:cubicBezTo>
                  <a:pt x="232" y="9"/>
                  <a:pt x="258" y="24"/>
                  <a:pt x="269" y="47"/>
                </a:cubicBezTo>
                <a:cubicBezTo>
                  <a:pt x="270" y="48"/>
                  <a:pt x="273" y="49"/>
                  <a:pt x="275" y="49"/>
                </a:cubicBezTo>
                <a:cubicBezTo>
                  <a:pt x="282" y="47"/>
                  <a:pt x="289" y="46"/>
                  <a:pt x="296" y="46"/>
                </a:cubicBezTo>
                <a:cubicBezTo>
                  <a:pt x="336" y="46"/>
                  <a:pt x="368" y="74"/>
                  <a:pt x="368" y="108"/>
                </a:cubicBezTo>
                <a:cubicBezTo>
                  <a:pt x="368" y="137"/>
                  <a:pt x="346" y="162"/>
                  <a:pt x="314" y="169"/>
                </a:cubicBezTo>
                <a:cubicBezTo>
                  <a:pt x="312" y="169"/>
                  <a:pt x="310" y="171"/>
                  <a:pt x="310" y="173"/>
                </a:cubicBezTo>
                <a:cubicBezTo>
                  <a:pt x="311" y="183"/>
                  <a:pt x="312" y="191"/>
                  <a:pt x="314" y="198"/>
                </a:cubicBezTo>
                <a:cubicBezTo>
                  <a:pt x="306" y="190"/>
                  <a:pt x="300" y="182"/>
                  <a:pt x="296" y="173"/>
                </a:cubicBezTo>
                <a:cubicBezTo>
                  <a:pt x="296" y="171"/>
                  <a:pt x="294" y="170"/>
                  <a:pt x="292" y="170"/>
                </a:cubicBezTo>
                <a:close/>
                <a:moveTo>
                  <a:pt x="433" y="312"/>
                </a:moveTo>
                <a:cubicBezTo>
                  <a:pt x="422" y="309"/>
                  <a:pt x="418" y="290"/>
                  <a:pt x="418" y="279"/>
                </a:cubicBezTo>
                <a:cubicBezTo>
                  <a:pt x="429" y="267"/>
                  <a:pt x="436" y="250"/>
                  <a:pt x="436" y="232"/>
                </a:cubicBezTo>
                <a:cubicBezTo>
                  <a:pt x="436" y="195"/>
                  <a:pt x="418" y="171"/>
                  <a:pt x="390" y="171"/>
                </a:cubicBezTo>
                <a:cubicBezTo>
                  <a:pt x="361" y="171"/>
                  <a:pt x="343" y="195"/>
                  <a:pt x="343" y="232"/>
                </a:cubicBezTo>
                <a:cubicBezTo>
                  <a:pt x="343" y="251"/>
                  <a:pt x="351" y="268"/>
                  <a:pt x="362" y="279"/>
                </a:cubicBezTo>
                <a:cubicBezTo>
                  <a:pt x="362" y="293"/>
                  <a:pt x="357" y="308"/>
                  <a:pt x="348" y="311"/>
                </a:cubicBezTo>
                <a:cubicBezTo>
                  <a:pt x="304" y="320"/>
                  <a:pt x="295" y="342"/>
                  <a:pt x="295" y="359"/>
                </a:cubicBezTo>
                <a:cubicBezTo>
                  <a:pt x="295" y="362"/>
                  <a:pt x="297" y="364"/>
                  <a:pt x="299" y="364"/>
                </a:cubicBezTo>
                <a:cubicBezTo>
                  <a:pt x="480" y="364"/>
                  <a:pt x="480" y="364"/>
                  <a:pt x="480" y="364"/>
                </a:cubicBezTo>
                <a:cubicBezTo>
                  <a:pt x="483" y="364"/>
                  <a:pt x="485" y="362"/>
                  <a:pt x="485" y="359"/>
                </a:cubicBezTo>
                <a:cubicBezTo>
                  <a:pt x="485" y="343"/>
                  <a:pt x="476" y="321"/>
                  <a:pt x="433" y="312"/>
                </a:cubicBezTo>
                <a:close/>
                <a:moveTo>
                  <a:pt x="353" y="232"/>
                </a:moveTo>
                <a:cubicBezTo>
                  <a:pt x="353" y="185"/>
                  <a:pt x="381" y="181"/>
                  <a:pt x="390" y="181"/>
                </a:cubicBezTo>
                <a:cubicBezTo>
                  <a:pt x="398" y="181"/>
                  <a:pt x="427" y="185"/>
                  <a:pt x="427" y="232"/>
                </a:cubicBezTo>
                <a:cubicBezTo>
                  <a:pt x="427" y="261"/>
                  <a:pt x="407" y="283"/>
                  <a:pt x="390" y="283"/>
                </a:cubicBezTo>
                <a:cubicBezTo>
                  <a:pt x="372" y="283"/>
                  <a:pt x="353" y="261"/>
                  <a:pt x="353" y="232"/>
                </a:cubicBezTo>
                <a:close/>
                <a:moveTo>
                  <a:pt x="304" y="355"/>
                </a:moveTo>
                <a:cubicBezTo>
                  <a:pt x="307" y="338"/>
                  <a:pt x="322" y="326"/>
                  <a:pt x="350" y="320"/>
                </a:cubicBezTo>
                <a:cubicBezTo>
                  <a:pt x="350" y="320"/>
                  <a:pt x="350" y="320"/>
                  <a:pt x="350" y="320"/>
                </a:cubicBezTo>
                <a:cubicBezTo>
                  <a:pt x="363" y="316"/>
                  <a:pt x="369" y="301"/>
                  <a:pt x="371" y="286"/>
                </a:cubicBezTo>
                <a:cubicBezTo>
                  <a:pt x="377" y="290"/>
                  <a:pt x="383" y="292"/>
                  <a:pt x="390" y="292"/>
                </a:cubicBezTo>
                <a:cubicBezTo>
                  <a:pt x="397" y="292"/>
                  <a:pt x="403" y="290"/>
                  <a:pt x="409" y="286"/>
                </a:cubicBezTo>
                <a:cubicBezTo>
                  <a:pt x="411" y="302"/>
                  <a:pt x="417" y="317"/>
                  <a:pt x="431" y="321"/>
                </a:cubicBezTo>
                <a:cubicBezTo>
                  <a:pt x="431" y="321"/>
                  <a:pt x="431" y="321"/>
                  <a:pt x="431" y="321"/>
                </a:cubicBezTo>
                <a:cubicBezTo>
                  <a:pt x="458" y="326"/>
                  <a:pt x="473" y="338"/>
                  <a:pt x="475" y="355"/>
                </a:cubicBezTo>
                <a:lnTo>
                  <a:pt x="304" y="355"/>
                </a:lnTo>
                <a:close/>
                <a:moveTo>
                  <a:pt x="206" y="57"/>
                </a:moveTo>
                <a:cubicBezTo>
                  <a:pt x="197" y="57"/>
                  <a:pt x="189" y="65"/>
                  <a:pt x="189" y="74"/>
                </a:cubicBezTo>
                <a:cubicBezTo>
                  <a:pt x="189" y="83"/>
                  <a:pt x="197" y="91"/>
                  <a:pt x="206" y="91"/>
                </a:cubicBezTo>
                <a:cubicBezTo>
                  <a:pt x="215" y="91"/>
                  <a:pt x="223" y="83"/>
                  <a:pt x="223" y="74"/>
                </a:cubicBezTo>
                <a:cubicBezTo>
                  <a:pt x="223" y="65"/>
                  <a:pt x="215" y="57"/>
                  <a:pt x="206" y="57"/>
                </a:cubicBezTo>
                <a:close/>
                <a:moveTo>
                  <a:pt x="206" y="81"/>
                </a:moveTo>
                <a:cubicBezTo>
                  <a:pt x="202" y="81"/>
                  <a:pt x="199" y="78"/>
                  <a:pt x="199" y="74"/>
                </a:cubicBezTo>
                <a:cubicBezTo>
                  <a:pt x="199" y="70"/>
                  <a:pt x="202" y="66"/>
                  <a:pt x="206" y="66"/>
                </a:cubicBezTo>
                <a:cubicBezTo>
                  <a:pt x="210" y="66"/>
                  <a:pt x="214" y="70"/>
                  <a:pt x="214" y="74"/>
                </a:cubicBezTo>
                <a:cubicBezTo>
                  <a:pt x="214" y="78"/>
                  <a:pt x="210" y="81"/>
                  <a:pt x="206" y="81"/>
                </a:cubicBezTo>
                <a:close/>
                <a:moveTo>
                  <a:pt x="260" y="74"/>
                </a:moveTo>
                <a:cubicBezTo>
                  <a:pt x="260" y="65"/>
                  <a:pt x="252" y="57"/>
                  <a:pt x="243" y="57"/>
                </a:cubicBezTo>
                <a:cubicBezTo>
                  <a:pt x="234" y="57"/>
                  <a:pt x="226" y="65"/>
                  <a:pt x="226" y="74"/>
                </a:cubicBezTo>
                <a:cubicBezTo>
                  <a:pt x="226" y="83"/>
                  <a:pt x="234" y="91"/>
                  <a:pt x="243" y="91"/>
                </a:cubicBezTo>
                <a:cubicBezTo>
                  <a:pt x="252" y="91"/>
                  <a:pt x="260" y="83"/>
                  <a:pt x="260" y="74"/>
                </a:cubicBezTo>
                <a:close/>
                <a:moveTo>
                  <a:pt x="243" y="81"/>
                </a:moveTo>
                <a:cubicBezTo>
                  <a:pt x="239" y="81"/>
                  <a:pt x="236" y="78"/>
                  <a:pt x="236" y="74"/>
                </a:cubicBezTo>
                <a:cubicBezTo>
                  <a:pt x="236" y="70"/>
                  <a:pt x="239" y="66"/>
                  <a:pt x="243" y="66"/>
                </a:cubicBezTo>
                <a:cubicBezTo>
                  <a:pt x="247" y="66"/>
                  <a:pt x="250" y="70"/>
                  <a:pt x="250" y="74"/>
                </a:cubicBezTo>
                <a:cubicBezTo>
                  <a:pt x="250" y="78"/>
                  <a:pt x="247" y="81"/>
                  <a:pt x="243" y="81"/>
                </a:cubicBezTo>
                <a:close/>
                <a:moveTo>
                  <a:pt x="336" y="126"/>
                </a:moveTo>
                <a:cubicBezTo>
                  <a:pt x="345" y="126"/>
                  <a:pt x="353" y="118"/>
                  <a:pt x="353" y="109"/>
                </a:cubicBezTo>
                <a:cubicBezTo>
                  <a:pt x="353" y="100"/>
                  <a:pt x="345" y="92"/>
                  <a:pt x="336" y="92"/>
                </a:cubicBezTo>
                <a:cubicBezTo>
                  <a:pt x="327" y="92"/>
                  <a:pt x="319" y="100"/>
                  <a:pt x="319" y="109"/>
                </a:cubicBezTo>
                <a:cubicBezTo>
                  <a:pt x="319" y="118"/>
                  <a:pt x="327" y="126"/>
                  <a:pt x="336" y="126"/>
                </a:cubicBezTo>
                <a:close/>
                <a:moveTo>
                  <a:pt x="336" y="102"/>
                </a:moveTo>
                <a:cubicBezTo>
                  <a:pt x="340" y="102"/>
                  <a:pt x="343" y="105"/>
                  <a:pt x="343" y="109"/>
                </a:cubicBezTo>
                <a:cubicBezTo>
                  <a:pt x="343" y="113"/>
                  <a:pt x="340" y="117"/>
                  <a:pt x="336" y="117"/>
                </a:cubicBezTo>
                <a:cubicBezTo>
                  <a:pt x="332" y="117"/>
                  <a:pt x="329" y="113"/>
                  <a:pt x="329" y="109"/>
                </a:cubicBezTo>
                <a:cubicBezTo>
                  <a:pt x="329" y="105"/>
                  <a:pt x="332" y="102"/>
                  <a:pt x="336" y="102"/>
                </a:cubicBez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1178" name="Oval 15"/>
          <p:cNvSpPr>
            <a:spLocks noChangeArrowheads="1"/>
          </p:cNvSpPr>
          <p:nvPr/>
        </p:nvSpPr>
        <p:spPr bwMode="auto">
          <a:xfrm>
            <a:off x="8347593" y="3120088"/>
            <a:ext cx="1119124" cy="1119124"/>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203" name="Freeform 34"/>
          <p:cNvSpPr>
            <a:spLocks noEditPoints="1"/>
          </p:cNvSpPr>
          <p:nvPr/>
        </p:nvSpPr>
        <p:spPr bwMode="auto">
          <a:xfrm>
            <a:off x="8526706" y="3299971"/>
            <a:ext cx="761562" cy="570846"/>
          </a:xfrm>
          <a:custGeom>
            <a:avLst/>
            <a:gdLst>
              <a:gd name="T0" fmla="*/ 419 w 486"/>
              <a:gd name="T1" fmla="*/ 279 h 364"/>
              <a:gd name="T2" fmla="*/ 390 w 486"/>
              <a:gd name="T3" fmla="*/ 171 h 364"/>
              <a:gd name="T4" fmla="*/ 363 w 486"/>
              <a:gd name="T5" fmla="*/ 279 h 364"/>
              <a:gd name="T6" fmla="*/ 295 w 486"/>
              <a:gd name="T7" fmla="*/ 359 h 364"/>
              <a:gd name="T8" fmla="*/ 481 w 486"/>
              <a:gd name="T9" fmla="*/ 364 h 364"/>
              <a:gd name="T10" fmla="*/ 434 w 486"/>
              <a:gd name="T11" fmla="*/ 312 h 364"/>
              <a:gd name="T12" fmla="*/ 390 w 486"/>
              <a:gd name="T13" fmla="*/ 181 h 364"/>
              <a:gd name="T14" fmla="*/ 390 w 486"/>
              <a:gd name="T15" fmla="*/ 283 h 364"/>
              <a:gd name="T16" fmla="*/ 305 w 486"/>
              <a:gd name="T17" fmla="*/ 355 h 364"/>
              <a:gd name="T18" fmla="*/ 351 w 486"/>
              <a:gd name="T19" fmla="*/ 320 h 364"/>
              <a:gd name="T20" fmla="*/ 390 w 486"/>
              <a:gd name="T21" fmla="*/ 292 h 364"/>
              <a:gd name="T22" fmla="*/ 431 w 486"/>
              <a:gd name="T23" fmla="*/ 321 h 364"/>
              <a:gd name="T24" fmla="*/ 476 w 486"/>
              <a:gd name="T25" fmla="*/ 355 h 364"/>
              <a:gd name="T26" fmla="*/ 322 w 486"/>
              <a:gd name="T27" fmla="*/ 216 h 364"/>
              <a:gd name="T28" fmla="*/ 327 w 486"/>
              <a:gd name="T29" fmla="*/ 215 h 364"/>
              <a:gd name="T30" fmla="*/ 321 w 486"/>
              <a:gd name="T31" fmla="*/ 177 h 364"/>
              <a:gd name="T32" fmla="*/ 297 w 486"/>
              <a:gd name="T33" fmla="*/ 37 h 364"/>
              <a:gd name="T34" fmla="*/ 204 w 486"/>
              <a:gd name="T35" fmla="*/ 0 h 364"/>
              <a:gd name="T36" fmla="*/ 171 w 486"/>
              <a:gd name="T37" fmla="*/ 137 h 364"/>
              <a:gd name="T38" fmla="*/ 154 w 486"/>
              <a:gd name="T39" fmla="*/ 189 h 364"/>
              <a:gd name="T40" fmla="*/ 208 w 486"/>
              <a:gd name="T41" fmla="*/ 143 h 364"/>
              <a:gd name="T42" fmla="*/ 289 w 486"/>
              <a:gd name="T43" fmla="*/ 179 h 364"/>
              <a:gd name="T44" fmla="*/ 293 w 486"/>
              <a:gd name="T45" fmla="*/ 170 h 364"/>
              <a:gd name="T46" fmla="*/ 227 w 486"/>
              <a:gd name="T47" fmla="*/ 130 h 364"/>
              <a:gd name="T48" fmla="*/ 205 w 486"/>
              <a:gd name="T49" fmla="*/ 133 h 364"/>
              <a:gd name="T50" fmla="*/ 200 w 486"/>
              <a:gd name="T51" fmla="*/ 139 h 364"/>
              <a:gd name="T52" fmla="*/ 181 w 486"/>
              <a:gd name="T53" fmla="*/ 134 h 364"/>
              <a:gd name="T54" fmla="*/ 178 w 486"/>
              <a:gd name="T55" fmla="*/ 129 h 364"/>
              <a:gd name="T56" fmla="*/ 204 w 486"/>
              <a:gd name="T57" fmla="*/ 9 h 364"/>
              <a:gd name="T58" fmla="*/ 276 w 486"/>
              <a:gd name="T59" fmla="*/ 49 h 364"/>
              <a:gd name="T60" fmla="*/ 369 w 486"/>
              <a:gd name="T61" fmla="*/ 108 h 364"/>
              <a:gd name="T62" fmla="*/ 311 w 486"/>
              <a:gd name="T63" fmla="*/ 173 h 364"/>
              <a:gd name="T64" fmla="*/ 297 w 486"/>
              <a:gd name="T65" fmla="*/ 173 h 364"/>
              <a:gd name="T66" fmla="*/ 139 w 486"/>
              <a:gd name="T67" fmla="*/ 312 h 364"/>
              <a:gd name="T68" fmla="*/ 142 w 486"/>
              <a:gd name="T69" fmla="*/ 232 h 364"/>
              <a:gd name="T70" fmla="*/ 49 w 486"/>
              <a:gd name="T71" fmla="*/ 232 h 364"/>
              <a:gd name="T72" fmla="*/ 54 w 486"/>
              <a:gd name="T73" fmla="*/ 311 h 364"/>
              <a:gd name="T74" fmla="*/ 5 w 486"/>
              <a:gd name="T75" fmla="*/ 364 h 364"/>
              <a:gd name="T76" fmla="*/ 191 w 486"/>
              <a:gd name="T77" fmla="*/ 359 h 364"/>
              <a:gd name="T78" fmla="*/ 59 w 486"/>
              <a:gd name="T79" fmla="*/ 232 h 364"/>
              <a:gd name="T80" fmla="*/ 132 w 486"/>
              <a:gd name="T81" fmla="*/ 232 h 364"/>
              <a:gd name="T82" fmla="*/ 59 w 486"/>
              <a:gd name="T83" fmla="*/ 232 h 364"/>
              <a:gd name="T84" fmla="*/ 56 w 486"/>
              <a:gd name="T85" fmla="*/ 320 h 364"/>
              <a:gd name="T86" fmla="*/ 77 w 486"/>
              <a:gd name="T87" fmla="*/ 286 h 364"/>
              <a:gd name="T88" fmla="*/ 115 w 486"/>
              <a:gd name="T89" fmla="*/ 286 h 364"/>
              <a:gd name="T90" fmla="*/ 137 w 486"/>
              <a:gd name="T91" fmla="*/ 321 h 364"/>
              <a:gd name="T92" fmla="*/ 10 w 486"/>
              <a:gd name="T93" fmla="*/ 355 h 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86" h="364">
                <a:moveTo>
                  <a:pt x="434" y="312"/>
                </a:moveTo>
                <a:cubicBezTo>
                  <a:pt x="423" y="309"/>
                  <a:pt x="419" y="290"/>
                  <a:pt x="419" y="279"/>
                </a:cubicBezTo>
                <a:cubicBezTo>
                  <a:pt x="429" y="267"/>
                  <a:pt x="437" y="250"/>
                  <a:pt x="437" y="232"/>
                </a:cubicBezTo>
                <a:cubicBezTo>
                  <a:pt x="437" y="195"/>
                  <a:pt x="419" y="171"/>
                  <a:pt x="390" y="171"/>
                </a:cubicBezTo>
                <a:cubicBezTo>
                  <a:pt x="362" y="171"/>
                  <a:pt x="344" y="195"/>
                  <a:pt x="344" y="232"/>
                </a:cubicBezTo>
                <a:cubicBezTo>
                  <a:pt x="344" y="251"/>
                  <a:pt x="352" y="268"/>
                  <a:pt x="363" y="279"/>
                </a:cubicBezTo>
                <a:cubicBezTo>
                  <a:pt x="362" y="293"/>
                  <a:pt x="358" y="308"/>
                  <a:pt x="348" y="311"/>
                </a:cubicBezTo>
                <a:cubicBezTo>
                  <a:pt x="304" y="320"/>
                  <a:pt x="295" y="342"/>
                  <a:pt x="295" y="359"/>
                </a:cubicBezTo>
                <a:cubicBezTo>
                  <a:pt x="295" y="362"/>
                  <a:pt x="297" y="364"/>
                  <a:pt x="300" y="364"/>
                </a:cubicBezTo>
                <a:cubicBezTo>
                  <a:pt x="481" y="364"/>
                  <a:pt x="481" y="364"/>
                  <a:pt x="481" y="364"/>
                </a:cubicBezTo>
                <a:cubicBezTo>
                  <a:pt x="483" y="364"/>
                  <a:pt x="486" y="362"/>
                  <a:pt x="486" y="359"/>
                </a:cubicBezTo>
                <a:cubicBezTo>
                  <a:pt x="486" y="343"/>
                  <a:pt x="477" y="321"/>
                  <a:pt x="434" y="312"/>
                </a:cubicBezTo>
                <a:close/>
                <a:moveTo>
                  <a:pt x="354" y="232"/>
                </a:moveTo>
                <a:cubicBezTo>
                  <a:pt x="354" y="185"/>
                  <a:pt x="382" y="181"/>
                  <a:pt x="390" y="181"/>
                </a:cubicBezTo>
                <a:cubicBezTo>
                  <a:pt x="399" y="181"/>
                  <a:pt x="427" y="185"/>
                  <a:pt x="427" y="232"/>
                </a:cubicBezTo>
                <a:cubicBezTo>
                  <a:pt x="427" y="261"/>
                  <a:pt x="408" y="283"/>
                  <a:pt x="390" y="283"/>
                </a:cubicBezTo>
                <a:cubicBezTo>
                  <a:pt x="373" y="283"/>
                  <a:pt x="354" y="261"/>
                  <a:pt x="354" y="232"/>
                </a:cubicBezTo>
                <a:close/>
                <a:moveTo>
                  <a:pt x="305" y="355"/>
                </a:moveTo>
                <a:cubicBezTo>
                  <a:pt x="307" y="338"/>
                  <a:pt x="323" y="326"/>
                  <a:pt x="351" y="320"/>
                </a:cubicBezTo>
                <a:cubicBezTo>
                  <a:pt x="351" y="320"/>
                  <a:pt x="351" y="320"/>
                  <a:pt x="351" y="320"/>
                </a:cubicBezTo>
                <a:cubicBezTo>
                  <a:pt x="364" y="316"/>
                  <a:pt x="370" y="301"/>
                  <a:pt x="372" y="286"/>
                </a:cubicBezTo>
                <a:cubicBezTo>
                  <a:pt x="377" y="290"/>
                  <a:pt x="384" y="292"/>
                  <a:pt x="390" y="292"/>
                </a:cubicBezTo>
                <a:cubicBezTo>
                  <a:pt x="397" y="292"/>
                  <a:pt x="404" y="290"/>
                  <a:pt x="410" y="286"/>
                </a:cubicBezTo>
                <a:cubicBezTo>
                  <a:pt x="412" y="302"/>
                  <a:pt x="418" y="317"/>
                  <a:pt x="431" y="321"/>
                </a:cubicBezTo>
                <a:cubicBezTo>
                  <a:pt x="431" y="321"/>
                  <a:pt x="431" y="321"/>
                  <a:pt x="432" y="321"/>
                </a:cubicBezTo>
                <a:cubicBezTo>
                  <a:pt x="459" y="326"/>
                  <a:pt x="474" y="338"/>
                  <a:pt x="476" y="355"/>
                </a:cubicBezTo>
                <a:lnTo>
                  <a:pt x="305" y="355"/>
                </a:lnTo>
                <a:close/>
                <a:moveTo>
                  <a:pt x="322" y="216"/>
                </a:moveTo>
                <a:cubicBezTo>
                  <a:pt x="323" y="216"/>
                  <a:pt x="323" y="216"/>
                  <a:pt x="324" y="216"/>
                </a:cubicBezTo>
                <a:cubicBezTo>
                  <a:pt x="325" y="216"/>
                  <a:pt x="327" y="216"/>
                  <a:pt x="327" y="215"/>
                </a:cubicBezTo>
                <a:cubicBezTo>
                  <a:pt x="329" y="214"/>
                  <a:pt x="330" y="212"/>
                  <a:pt x="329" y="210"/>
                </a:cubicBezTo>
                <a:cubicBezTo>
                  <a:pt x="329" y="210"/>
                  <a:pt x="322" y="195"/>
                  <a:pt x="321" y="177"/>
                </a:cubicBezTo>
                <a:cubicBezTo>
                  <a:pt x="355" y="168"/>
                  <a:pt x="378" y="140"/>
                  <a:pt x="378" y="108"/>
                </a:cubicBezTo>
                <a:cubicBezTo>
                  <a:pt x="378" y="69"/>
                  <a:pt x="342" y="37"/>
                  <a:pt x="297" y="37"/>
                </a:cubicBezTo>
                <a:cubicBezTo>
                  <a:pt x="290" y="37"/>
                  <a:pt x="283" y="37"/>
                  <a:pt x="277" y="39"/>
                </a:cubicBezTo>
                <a:cubicBezTo>
                  <a:pt x="263" y="15"/>
                  <a:pt x="235" y="0"/>
                  <a:pt x="204" y="0"/>
                </a:cubicBezTo>
                <a:cubicBezTo>
                  <a:pt x="159" y="0"/>
                  <a:pt x="123" y="32"/>
                  <a:pt x="123" y="71"/>
                </a:cubicBezTo>
                <a:cubicBezTo>
                  <a:pt x="123" y="100"/>
                  <a:pt x="142" y="125"/>
                  <a:pt x="171" y="137"/>
                </a:cubicBezTo>
                <a:cubicBezTo>
                  <a:pt x="170" y="163"/>
                  <a:pt x="154" y="183"/>
                  <a:pt x="154" y="183"/>
                </a:cubicBezTo>
                <a:cubicBezTo>
                  <a:pt x="153" y="185"/>
                  <a:pt x="153" y="188"/>
                  <a:pt x="154" y="189"/>
                </a:cubicBezTo>
                <a:cubicBezTo>
                  <a:pt x="156" y="191"/>
                  <a:pt x="158" y="191"/>
                  <a:pt x="160" y="191"/>
                </a:cubicBezTo>
                <a:cubicBezTo>
                  <a:pt x="185" y="179"/>
                  <a:pt x="201" y="164"/>
                  <a:pt x="208" y="143"/>
                </a:cubicBezTo>
                <a:cubicBezTo>
                  <a:pt x="214" y="142"/>
                  <a:pt x="219" y="142"/>
                  <a:pt x="224" y="141"/>
                </a:cubicBezTo>
                <a:cubicBezTo>
                  <a:pt x="237" y="163"/>
                  <a:pt x="261" y="177"/>
                  <a:pt x="289" y="179"/>
                </a:cubicBezTo>
                <a:cubicBezTo>
                  <a:pt x="296" y="193"/>
                  <a:pt x="306" y="205"/>
                  <a:pt x="322" y="216"/>
                </a:cubicBezTo>
                <a:close/>
                <a:moveTo>
                  <a:pt x="293" y="170"/>
                </a:moveTo>
                <a:cubicBezTo>
                  <a:pt x="266" y="169"/>
                  <a:pt x="242" y="155"/>
                  <a:pt x="231" y="133"/>
                </a:cubicBezTo>
                <a:cubicBezTo>
                  <a:pt x="230" y="131"/>
                  <a:pt x="228" y="130"/>
                  <a:pt x="227" y="130"/>
                </a:cubicBezTo>
                <a:cubicBezTo>
                  <a:pt x="226" y="130"/>
                  <a:pt x="226" y="130"/>
                  <a:pt x="225" y="131"/>
                </a:cubicBezTo>
                <a:cubicBezTo>
                  <a:pt x="219" y="132"/>
                  <a:pt x="212" y="133"/>
                  <a:pt x="205" y="133"/>
                </a:cubicBezTo>
                <a:cubicBezTo>
                  <a:pt x="202" y="133"/>
                  <a:pt x="201" y="135"/>
                  <a:pt x="200" y="137"/>
                </a:cubicBezTo>
                <a:cubicBezTo>
                  <a:pt x="200" y="138"/>
                  <a:pt x="200" y="138"/>
                  <a:pt x="200" y="139"/>
                </a:cubicBezTo>
                <a:cubicBezTo>
                  <a:pt x="195" y="154"/>
                  <a:pt x="185" y="165"/>
                  <a:pt x="170" y="175"/>
                </a:cubicBezTo>
                <a:cubicBezTo>
                  <a:pt x="175" y="165"/>
                  <a:pt x="180" y="150"/>
                  <a:pt x="181" y="134"/>
                </a:cubicBezTo>
                <a:cubicBezTo>
                  <a:pt x="181" y="134"/>
                  <a:pt x="181" y="134"/>
                  <a:pt x="181" y="134"/>
                </a:cubicBezTo>
                <a:cubicBezTo>
                  <a:pt x="181" y="132"/>
                  <a:pt x="180" y="130"/>
                  <a:pt x="178" y="129"/>
                </a:cubicBezTo>
                <a:cubicBezTo>
                  <a:pt x="150" y="120"/>
                  <a:pt x="132" y="97"/>
                  <a:pt x="132" y="71"/>
                </a:cubicBezTo>
                <a:cubicBezTo>
                  <a:pt x="132" y="37"/>
                  <a:pt x="164" y="9"/>
                  <a:pt x="204" y="9"/>
                </a:cubicBezTo>
                <a:cubicBezTo>
                  <a:pt x="233" y="9"/>
                  <a:pt x="259" y="24"/>
                  <a:pt x="270" y="47"/>
                </a:cubicBezTo>
                <a:cubicBezTo>
                  <a:pt x="271" y="48"/>
                  <a:pt x="273" y="49"/>
                  <a:pt x="276" y="49"/>
                </a:cubicBezTo>
                <a:cubicBezTo>
                  <a:pt x="282" y="47"/>
                  <a:pt x="290" y="46"/>
                  <a:pt x="297" y="46"/>
                </a:cubicBezTo>
                <a:cubicBezTo>
                  <a:pt x="337" y="46"/>
                  <a:pt x="369" y="74"/>
                  <a:pt x="369" y="108"/>
                </a:cubicBezTo>
                <a:cubicBezTo>
                  <a:pt x="369" y="137"/>
                  <a:pt x="347" y="162"/>
                  <a:pt x="315" y="169"/>
                </a:cubicBezTo>
                <a:cubicBezTo>
                  <a:pt x="313" y="169"/>
                  <a:pt x="311" y="171"/>
                  <a:pt x="311" y="173"/>
                </a:cubicBezTo>
                <a:cubicBezTo>
                  <a:pt x="311" y="183"/>
                  <a:pt x="313" y="191"/>
                  <a:pt x="315" y="198"/>
                </a:cubicBezTo>
                <a:cubicBezTo>
                  <a:pt x="306" y="190"/>
                  <a:pt x="301" y="182"/>
                  <a:pt x="297" y="173"/>
                </a:cubicBezTo>
                <a:cubicBezTo>
                  <a:pt x="296" y="171"/>
                  <a:pt x="295" y="170"/>
                  <a:pt x="293" y="170"/>
                </a:cubicBezTo>
                <a:close/>
                <a:moveTo>
                  <a:pt x="139" y="312"/>
                </a:moveTo>
                <a:cubicBezTo>
                  <a:pt x="128" y="309"/>
                  <a:pt x="124" y="290"/>
                  <a:pt x="124" y="279"/>
                </a:cubicBezTo>
                <a:cubicBezTo>
                  <a:pt x="135" y="267"/>
                  <a:pt x="142" y="250"/>
                  <a:pt x="142" y="232"/>
                </a:cubicBezTo>
                <a:cubicBezTo>
                  <a:pt x="142" y="195"/>
                  <a:pt x="124" y="171"/>
                  <a:pt x="96" y="171"/>
                </a:cubicBezTo>
                <a:cubicBezTo>
                  <a:pt x="67" y="171"/>
                  <a:pt x="49" y="195"/>
                  <a:pt x="49" y="232"/>
                </a:cubicBezTo>
                <a:cubicBezTo>
                  <a:pt x="49" y="251"/>
                  <a:pt x="57" y="268"/>
                  <a:pt x="68" y="279"/>
                </a:cubicBezTo>
                <a:cubicBezTo>
                  <a:pt x="67" y="293"/>
                  <a:pt x="63" y="308"/>
                  <a:pt x="54" y="311"/>
                </a:cubicBezTo>
                <a:cubicBezTo>
                  <a:pt x="10" y="320"/>
                  <a:pt x="0" y="342"/>
                  <a:pt x="0" y="359"/>
                </a:cubicBezTo>
                <a:cubicBezTo>
                  <a:pt x="0" y="362"/>
                  <a:pt x="3" y="364"/>
                  <a:pt x="5" y="364"/>
                </a:cubicBezTo>
                <a:cubicBezTo>
                  <a:pt x="186" y="364"/>
                  <a:pt x="186" y="364"/>
                  <a:pt x="186" y="364"/>
                </a:cubicBezTo>
                <a:cubicBezTo>
                  <a:pt x="189" y="364"/>
                  <a:pt x="191" y="362"/>
                  <a:pt x="191" y="359"/>
                </a:cubicBezTo>
                <a:cubicBezTo>
                  <a:pt x="191" y="343"/>
                  <a:pt x="182" y="321"/>
                  <a:pt x="139" y="312"/>
                </a:cubicBezTo>
                <a:close/>
                <a:moveTo>
                  <a:pt x="59" y="232"/>
                </a:moveTo>
                <a:cubicBezTo>
                  <a:pt x="59" y="185"/>
                  <a:pt x="87" y="181"/>
                  <a:pt x="96" y="181"/>
                </a:cubicBezTo>
                <a:cubicBezTo>
                  <a:pt x="104" y="181"/>
                  <a:pt x="132" y="185"/>
                  <a:pt x="132" y="232"/>
                </a:cubicBezTo>
                <a:cubicBezTo>
                  <a:pt x="132" y="261"/>
                  <a:pt x="113" y="283"/>
                  <a:pt x="96" y="283"/>
                </a:cubicBezTo>
                <a:cubicBezTo>
                  <a:pt x="78" y="283"/>
                  <a:pt x="59" y="261"/>
                  <a:pt x="59" y="232"/>
                </a:cubicBezTo>
                <a:close/>
                <a:moveTo>
                  <a:pt x="10" y="355"/>
                </a:moveTo>
                <a:cubicBezTo>
                  <a:pt x="12" y="338"/>
                  <a:pt x="28" y="326"/>
                  <a:pt x="56" y="320"/>
                </a:cubicBezTo>
                <a:cubicBezTo>
                  <a:pt x="56" y="320"/>
                  <a:pt x="56" y="320"/>
                  <a:pt x="56" y="320"/>
                </a:cubicBezTo>
                <a:cubicBezTo>
                  <a:pt x="69" y="316"/>
                  <a:pt x="75" y="301"/>
                  <a:pt x="77" y="286"/>
                </a:cubicBezTo>
                <a:cubicBezTo>
                  <a:pt x="83" y="290"/>
                  <a:pt x="89" y="292"/>
                  <a:pt x="96" y="292"/>
                </a:cubicBezTo>
                <a:cubicBezTo>
                  <a:pt x="102" y="292"/>
                  <a:pt x="109" y="290"/>
                  <a:pt x="115" y="286"/>
                </a:cubicBezTo>
                <a:cubicBezTo>
                  <a:pt x="117" y="302"/>
                  <a:pt x="123" y="317"/>
                  <a:pt x="136" y="321"/>
                </a:cubicBezTo>
                <a:cubicBezTo>
                  <a:pt x="137" y="321"/>
                  <a:pt x="137" y="321"/>
                  <a:pt x="137" y="321"/>
                </a:cubicBezTo>
                <a:cubicBezTo>
                  <a:pt x="164" y="326"/>
                  <a:pt x="179" y="338"/>
                  <a:pt x="181" y="355"/>
                </a:cubicBezTo>
                <a:lnTo>
                  <a:pt x="10" y="355"/>
                </a:ln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2077" name="Oval 10"/>
          <p:cNvSpPr>
            <a:spLocks noChangeArrowheads="1"/>
          </p:cNvSpPr>
          <p:nvPr/>
        </p:nvSpPr>
        <p:spPr bwMode="auto">
          <a:xfrm>
            <a:off x="6589621" y="3120088"/>
            <a:ext cx="1119124" cy="1119124"/>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204" name="Freeform 35"/>
          <p:cNvSpPr>
            <a:spLocks noEditPoints="1"/>
          </p:cNvSpPr>
          <p:nvPr/>
        </p:nvSpPr>
        <p:spPr bwMode="auto">
          <a:xfrm>
            <a:off x="6735738" y="3447329"/>
            <a:ext cx="828218" cy="396937"/>
          </a:xfrm>
          <a:custGeom>
            <a:avLst/>
            <a:gdLst>
              <a:gd name="T0" fmla="*/ 439 w 528"/>
              <a:gd name="T1" fmla="*/ 140 h 253"/>
              <a:gd name="T2" fmla="*/ 403 w 528"/>
              <a:gd name="T3" fmla="*/ 0 h 253"/>
              <a:gd name="T4" fmla="*/ 368 w 528"/>
              <a:gd name="T5" fmla="*/ 141 h 253"/>
              <a:gd name="T6" fmla="*/ 278 w 528"/>
              <a:gd name="T7" fmla="*/ 248 h 253"/>
              <a:gd name="T8" fmla="*/ 523 w 528"/>
              <a:gd name="T9" fmla="*/ 253 h 253"/>
              <a:gd name="T10" fmla="*/ 460 w 528"/>
              <a:gd name="T11" fmla="*/ 186 h 253"/>
              <a:gd name="T12" fmla="*/ 403 w 528"/>
              <a:gd name="T13" fmla="*/ 10 h 253"/>
              <a:gd name="T14" fmla="*/ 403 w 528"/>
              <a:gd name="T15" fmla="*/ 148 h 253"/>
              <a:gd name="T16" fmla="*/ 288 w 528"/>
              <a:gd name="T17" fmla="*/ 243 h 253"/>
              <a:gd name="T18" fmla="*/ 350 w 528"/>
              <a:gd name="T19" fmla="*/ 195 h 253"/>
              <a:gd name="T20" fmla="*/ 403 w 528"/>
              <a:gd name="T21" fmla="*/ 157 h 253"/>
              <a:gd name="T22" fmla="*/ 457 w 528"/>
              <a:gd name="T23" fmla="*/ 195 h 253"/>
              <a:gd name="T24" fmla="*/ 518 w 528"/>
              <a:gd name="T25" fmla="*/ 243 h 253"/>
              <a:gd name="T26" fmla="*/ 319 w 528"/>
              <a:gd name="T27" fmla="*/ 94 h 253"/>
              <a:gd name="T28" fmla="*/ 334 w 528"/>
              <a:gd name="T29" fmla="*/ 79 h 253"/>
              <a:gd name="T30" fmla="*/ 319 w 528"/>
              <a:gd name="T31" fmla="*/ 64 h 253"/>
              <a:gd name="T32" fmla="*/ 304 w 528"/>
              <a:gd name="T33" fmla="*/ 79 h 253"/>
              <a:gd name="T34" fmla="*/ 319 w 528"/>
              <a:gd name="T35" fmla="*/ 94 h 253"/>
              <a:gd name="T36" fmla="*/ 319 w 528"/>
              <a:gd name="T37" fmla="*/ 73 h 253"/>
              <a:gd name="T38" fmla="*/ 325 w 528"/>
              <a:gd name="T39" fmla="*/ 79 h 253"/>
              <a:gd name="T40" fmla="*/ 315 w 528"/>
              <a:gd name="T41" fmla="*/ 83 h 253"/>
              <a:gd name="T42" fmla="*/ 315 w 528"/>
              <a:gd name="T43" fmla="*/ 75 h 253"/>
              <a:gd name="T44" fmla="*/ 160 w 528"/>
              <a:gd name="T45" fmla="*/ 140 h 253"/>
              <a:gd name="T46" fmla="*/ 124 w 528"/>
              <a:gd name="T47" fmla="*/ 0 h 253"/>
              <a:gd name="T48" fmla="*/ 89 w 528"/>
              <a:gd name="T49" fmla="*/ 141 h 253"/>
              <a:gd name="T50" fmla="*/ 0 w 528"/>
              <a:gd name="T51" fmla="*/ 248 h 253"/>
              <a:gd name="T52" fmla="*/ 244 w 528"/>
              <a:gd name="T53" fmla="*/ 253 h 253"/>
              <a:gd name="T54" fmla="*/ 181 w 528"/>
              <a:gd name="T55" fmla="*/ 186 h 253"/>
              <a:gd name="T56" fmla="*/ 124 w 528"/>
              <a:gd name="T57" fmla="*/ 10 h 253"/>
              <a:gd name="T58" fmla="*/ 124 w 528"/>
              <a:gd name="T59" fmla="*/ 148 h 253"/>
              <a:gd name="T60" fmla="*/ 9 w 528"/>
              <a:gd name="T61" fmla="*/ 243 h 253"/>
              <a:gd name="T62" fmla="*/ 72 w 528"/>
              <a:gd name="T63" fmla="*/ 195 h 253"/>
              <a:gd name="T64" fmla="*/ 124 w 528"/>
              <a:gd name="T65" fmla="*/ 157 h 253"/>
              <a:gd name="T66" fmla="*/ 179 w 528"/>
              <a:gd name="T67" fmla="*/ 195 h 253"/>
              <a:gd name="T68" fmla="*/ 239 w 528"/>
              <a:gd name="T69" fmla="*/ 243 h 253"/>
              <a:gd name="T70" fmla="*/ 297 w 528"/>
              <a:gd name="T71" fmla="*/ 79 h 253"/>
              <a:gd name="T72" fmla="*/ 267 w 528"/>
              <a:gd name="T73" fmla="*/ 79 h 253"/>
              <a:gd name="T74" fmla="*/ 297 w 528"/>
              <a:gd name="T75" fmla="*/ 79 h 253"/>
              <a:gd name="T76" fmla="*/ 282 w 528"/>
              <a:gd name="T77" fmla="*/ 73 h 253"/>
              <a:gd name="T78" fmla="*/ 282 w 528"/>
              <a:gd name="T79" fmla="*/ 84 h 253"/>
              <a:gd name="T80" fmla="*/ 245 w 528"/>
              <a:gd name="T81" fmla="*/ 63 h 253"/>
              <a:gd name="T82" fmla="*/ 245 w 528"/>
              <a:gd name="T83" fmla="*/ 94 h 253"/>
              <a:gd name="T84" fmla="*/ 245 w 528"/>
              <a:gd name="T85" fmla="*/ 63 h 253"/>
              <a:gd name="T86" fmla="*/ 239 w 528"/>
              <a:gd name="T87" fmla="*/ 79 h 253"/>
              <a:gd name="T88" fmla="*/ 251 w 528"/>
              <a:gd name="T89" fmla="*/ 79 h 253"/>
              <a:gd name="T90" fmla="*/ 208 w 528"/>
              <a:gd name="T91" fmla="*/ 94 h 253"/>
              <a:gd name="T92" fmla="*/ 223 w 528"/>
              <a:gd name="T93" fmla="*/ 79 h 253"/>
              <a:gd name="T94" fmla="*/ 208 w 528"/>
              <a:gd name="T95" fmla="*/ 64 h 253"/>
              <a:gd name="T96" fmla="*/ 193 w 528"/>
              <a:gd name="T97" fmla="*/ 79 h 253"/>
              <a:gd name="T98" fmla="*/ 208 w 528"/>
              <a:gd name="T99" fmla="*/ 94 h 253"/>
              <a:gd name="T100" fmla="*/ 208 w 528"/>
              <a:gd name="T101" fmla="*/ 73 h 253"/>
              <a:gd name="T102" fmla="*/ 214 w 528"/>
              <a:gd name="T103" fmla="*/ 79 h 253"/>
              <a:gd name="T104" fmla="*/ 204 w 528"/>
              <a:gd name="T105" fmla="*/ 83 h 253"/>
              <a:gd name="T106" fmla="*/ 204 w 528"/>
              <a:gd name="T107" fmla="*/ 75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28" h="253">
                <a:moveTo>
                  <a:pt x="460" y="186"/>
                </a:moveTo>
                <a:cubicBezTo>
                  <a:pt x="444" y="182"/>
                  <a:pt x="439" y="156"/>
                  <a:pt x="439" y="140"/>
                </a:cubicBezTo>
                <a:cubicBezTo>
                  <a:pt x="453" y="126"/>
                  <a:pt x="463" y="103"/>
                  <a:pt x="463" y="79"/>
                </a:cubicBezTo>
                <a:cubicBezTo>
                  <a:pt x="463" y="30"/>
                  <a:pt x="440" y="0"/>
                  <a:pt x="403" y="0"/>
                </a:cubicBezTo>
                <a:cubicBezTo>
                  <a:pt x="366" y="0"/>
                  <a:pt x="343" y="30"/>
                  <a:pt x="343" y="79"/>
                </a:cubicBezTo>
                <a:cubicBezTo>
                  <a:pt x="343" y="103"/>
                  <a:pt x="353" y="126"/>
                  <a:pt x="368" y="141"/>
                </a:cubicBezTo>
                <a:cubicBezTo>
                  <a:pt x="367" y="159"/>
                  <a:pt x="362" y="181"/>
                  <a:pt x="348" y="186"/>
                </a:cubicBezTo>
                <a:cubicBezTo>
                  <a:pt x="302" y="195"/>
                  <a:pt x="278" y="216"/>
                  <a:pt x="278" y="248"/>
                </a:cubicBezTo>
                <a:cubicBezTo>
                  <a:pt x="278" y="251"/>
                  <a:pt x="280" y="253"/>
                  <a:pt x="283" y="253"/>
                </a:cubicBezTo>
                <a:cubicBezTo>
                  <a:pt x="523" y="253"/>
                  <a:pt x="523" y="253"/>
                  <a:pt x="523" y="253"/>
                </a:cubicBezTo>
                <a:cubicBezTo>
                  <a:pt x="525" y="253"/>
                  <a:pt x="528" y="251"/>
                  <a:pt x="528" y="248"/>
                </a:cubicBezTo>
                <a:cubicBezTo>
                  <a:pt x="528" y="217"/>
                  <a:pt x="504" y="195"/>
                  <a:pt x="460" y="186"/>
                </a:cubicBezTo>
                <a:close/>
                <a:moveTo>
                  <a:pt x="352" y="79"/>
                </a:moveTo>
                <a:cubicBezTo>
                  <a:pt x="352" y="45"/>
                  <a:pt x="366" y="10"/>
                  <a:pt x="403" y="10"/>
                </a:cubicBezTo>
                <a:cubicBezTo>
                  <a:pt x="440" y="10"/>
                  <a:pt x="453" y="45"/>
                  <a:pt x="453" y="79"/>
                </a:cubicBezTo>
                <a:cubicBezTo>
                  <a:pt x="453" y="118"/>
                  <a:pt x="427" y="148"/>
                  <a:pt x="403" y="148"/>
                </a:cubicBezTo>
                <a:cubicBezTo>
                  <a:pt x="379" y="148"/>
                  <a:pt x="352" y="118"/>
                  <a:pt x="352" y="79"/>
                </a:cubicBezTo>
                <a:close/>
                <a:moveTo>
                  <a:pt x="288" y="243"/>
                </a:moveTo>
                <a:cubicBezTo>
                  <a:pt x="290" y="219"/>
                  <a:pt x="311" y="202"/>
                  <a:pt x="350" y="195"/>
                </a:cubicBezTo>
                <a:cubicBezTo>
                  <a:pt x="350" y="195"/>
                  <a:pt x="350" y="195"/>
                  <a:pt x="350" y="195"/>
                </a:cubicBezTo>
                <a:cubicBezTo>
                  <a:pt x="367" y="189"/>
                  <a:pt x="375" y="169"/>
                  <a:pt x="377" y="148"/>
                </a:cubicBezTo>
                <a:cubicBezTo>
                  <a:pt x="385" y="154"/>
                  <a:pt x="394" y="157"/>
                  <a:pt x="403" y="157"/>
                </a:cubicBezTo>
                <a:cubicBezTo>
                  <a:pt x="412" y="157"/>
                  <a:pt x="422" y="154"/>
                  <a:pt x="430" y="148"/>
                </a:cubicBezTo>
                <a:cubicBezTo>
                  <a:pt x="433" y="186"/>
                  <a:pt x="453" y="194"/>
                  <a:pt x="457" y="195"/>
                </a:cubicBezTo>
                <a:cubicBezTo>
                  <a:pt x="458" y="195"/>
                  <a:pt x="458" y="195"/>
                  <a:pt x="458" y="195"/>
                </a:cubicBezTo>
                <a:cubicBezTo>
                  <a:pt x="495" y="203"/>
                  <a:pt x="516" y="219"/>
                  <a:pt x="518" y="243"/>
                </a:cubicBezTo>
                <a:lnTo>
                  <a:pt x="288" y="243"/>
                </a:lnTo>
                <a:close/>
                <a:moveTo>
                  <a:pt x="319" y="94"/>
                </a:moveTo>
                <a:cubicBezTo>
                  <a:pt x="323" y="94"/>
                  <a:pt x="327" y="92"/>
                  <a:pt x="330" y="89"/>
                </a:cubicBezTo>
                <a:cubicBezTo>
                  <a:pt x="332" y="86"/>
                  <a:pt x="334" y="83"/>
                  <a:pt x="334" y="79"/>
                </a:cubicBezTo>
                <a:cubicBezTo>
                  <a:pt x="334" y="75"/>
                  <a:pt x="332" y="71"/>
                  <a:pt x="330" y="68"/>
                </a:cubicBezTo>
                <a:cubicBezTo>
                  <a:pt x="327" y="65"/>
                  <a:pt x="323" y="64"/>
                  <a:pt x="319" y="64"/>
                </a:cubicBezTo>
                <a:cubicBezTo>
                  <a:pt x="315" y="64"/>
                  <a:pt x="311" y="65"/>
                  <a:pt x="308" y="68"/>
                </a:cubicBezTo>
                <a:cubicBezTo>
                  <a:pt x="305" y="71"/>
                  <a:pt x="304" y="75"/>
                  <a:pt x="304" y="79"/>
                </a:cubicBezTo>
                <a:cubicBezTo>
                  <a:pt x="304" y="83"/>
                  <a:pt x="305" y="86"/>
                  <a:pt x="308" y="89"/>
                </a:cubicBezTo>
                <a:cubicBezTo>
                  <a:pt x="311" y="92"/>
                  <a:pt x="315" y="94"/>
                  <a:pt x="319" y="94"/>
                </a:cubicBezTo>
                <a:close/>
                <a:moveTo>
                  <a:pt x="315" y="75"/>
                </a:moveTo>
                <a:cubicBezTo>
                  <a:pt x="316" y="74"/>
                  <a:pt x="317" y="73"/>
                  <a:pt x="319" y="73"/>
                </a:cubicBezTo>
                <a:cubicBezTo>
                  <a:pt x="320" y="73"/>
                  <a:pt x="322" y="74"/>
                  <a:pt x="323" y="75"/>
                </a:cubicBezTo>
                <a:cubicBezTo>
                  <a:pt x="324" y="76"/>
                  <a:pt x="325" y="77"/>
                  <a:pt x="325" y="79"/>
                </a:cubicBezTo>
                <a:cubicBezTo>
                  <a:pt x="325" y="80"/>
                  <a:pt x="324" y="82"/>
                  <a:pt x="323" y="83"/>
                </a:cubicBezTo>
                <a:cubicBezTo>
                  <a:pt x="321" y="85"/>
                  <a:pt x="317" y="85"/>
                  <a:pt x="315" y="83"/>
                </a:cubicBezTo>
                <a:cubicBezTo>
                  <a:pt x="314" y="82"/>
                  <a:pt x="313" y="80"/>
                  <a:pt x="313" y="79"/>
                </a:cubicBezTo>
                <a:cubicBezTo>
                  <a:pt x="313" y="77"/>
                  <a:pt x="314" y="76"/>
                  <a:pt x="315" y="75"/>
                </a:cubicBezTo>
                <a:close/>
                <a:moveTo>
                  <a:pt x="181" y="186"/>
                </a:moveTo>
                <a:cubicBezTo>
                  <a:pt x="165" y="182"/>
                  <a:pt x="161" y="156"/>
                  <a:pt x="160" y="140"/>
                </a:cubicBezTo>
                <a:cubicBezTo>
                  <a:pt x="175" y="126"/>
                  <a:pt x="184" y="103"/>
                  <a:pt x="184" y="79"/>
                </a:cubicBezTo>
                <a:cubicBezTo>
                  <a:pt x="184" y="30"/>
                  <a:pt x="161" y="0"/>
                  <a:pt x="124" y="0"/>
                </a:cubicBezTo>
                <a:cubicBezTo>
                  <a:pt x="87" y="0"/>
                  <a:pt x="64" y="30"/>
                  <a:pt x="64" y="79"/>
                </a:cubicBezTo>
                <a:cubicBezTo>
                  <a:pt x="64" y="103"/>
                  <a:pt x="74" y="126"/>
                  <a:pt x="89" y="141"/>
                </a:cubicBezTo>
                <a:cubicBezTo>
                  <a:pt x="89" y="159"/>
                  <a:pt x="83" y="181"/>
                  <a:pt x="69" y="186"/>
                </a:cubicBezTo>
                <a:cubicBezTo>
                  <a:pt x="24" y="195"/>
                  <a:pt x="0" y="216"/>
                  <a:pt x="0" y="248"/>
                </a:cubicBezTo>
                <a:cubicBezTo>
                  <a:pt x="0" y="251"/>
                  <a:pt x="2" y="253"/>
                  <a:pt x="4" y="253"/>
                </a:cubicBezTo>
                <a:cubicBezTo>
                  <a:pt x="244" y="253"/>
                  <a:pt x="244" y="253"/>
                  <a:pt x="244" y="253"/>
                </a:cubicBezTo>
                <a:cubicBezTo>
                  <a:pt x="247" y="253"/>
                  <a:pt x="249" y="251"/>
                  <a:pt x="249" y="248"/>
                </a:cubicBezTo>
                <a:cubicBezTo>
                  <a:pt x="249" y="217"/>
                  <a:pt x="226" y="195"/>
                  <a:pt x="181" y="186"/>
                </a:cubicBezTo>
                <a:close/>
                <a:moveTo>
                  <a:pt x="74" y="79"/>
                </a:moveTo>
                <a:cubicBezTo>
                  <a:pt x="74" y="45"/>
                  <a:pt x="87" y="10"/>
                  <a:pt x="124" y="10"/>
                </a:cubicBezTo>
                <a:cubicBezTo>
                  <a:pt x="161" y="10"/>
                  <a:pt x="175" y="45"/>
                  <a:pt x="175" y="79"/>
                </a:cubicBezTo>
                <a:cubicBezTo>
                  <a:pt x="175" y="118"/>
                  <a:pt x="148" y="148"/>
                  <a:pt x="124" y="148"/>
                </a:cubicBezTo>
                <a:cubicBezTo>
                  <a:pt x="100" y="148"/>
                  <a:pt x="74" y="118"/>
                  <a:pt x="74" y="79"/>
                </a:cubicBezTo>
                <a:close/>
                <a:moveTo>
                  <a:pt x="9" y="243"/>
                </a:moveTo>
                <a:cubicBezTo>
                  <a:pt x="11" y="219"/>
                  <a:pt x="32" y="202"/>
                  <a:pt x="71" y="195"/>
                </a:cubicBezTo>
                <a:cubicBezTo>
                  <a:pt x="71" y="195"/>
                  <a:pt x="71" y="195"/>
                  <a:pt x="72" y="195"/>
                </a:cubicBezTo>
                <a:cubicBezTo>
                  <a:pt x="89" y="189"/>
                  <a:pt x="96" y="169"/>
                  <a:pt x="98" y="148"/>
                </a:cubicBezTo>
                <a:cubicBezTo>
                  <a:pt x="106" y="154"/>
                  <a:pt x="115" y="157"/>
                  <a:pt x="124" y="157"/>
                </a:cubicBezTo>
                <a:cubicBezTo>
                  <a:pt x="134" y="157"/>
                  <a:pt x="143" y="154"/>
                  <a:pt x="151" y="148"/>
                </a:cubicBezTo>
                <a:cubicBezTo>
                  <a:pt x="154" y="186"/>
                  <a:pt x="174" y="194"/>
                  <a:pt x="179" y="195"/>
                </a:cubicBezTo>
                <a:cubicBezTo>
                  <a:pt x="179" y="195"/>
                  <a:pt x="179" y="195"/>
                  <a:pt x="179" y="195"/>
                </a:cubicBezTo>
                <a:cubicBezTo>
                  <a:pt x="217" y="203"/>
                  <a:pt x="237" y="219"/>
                  <a:pt x="239" y="243"/>
                </a:cubicBezTo>
                <a:lnTo>
                  <a:pt x="9" y="243"/>
                </a:lnTo>
                <a:close/>
                <a:moveTo>
                  <a:pt x="297" y="79"/>
                </a:moveTo>
                <a:cubicBezTo>
                  <a:pt x="297" y="70"/>
                  <a:pt x="290" y="63"/>
                  <a:pt x="282" y="63"/>
                </a:cubicBezTo>
                <a:cubicBezTo>
                  <a:pt x="274" y="63"/>
                  <a:pt x="267" y="70"/>
                  <a:pt x="267" y="79"/>
                </a:cubicBezTo>
                <a:cubicBezTo>
                  <a:pt x="267" y="87"/>
                  <a:pt x="274" y="94"/>
                  <a:pt x="282" y="94"/>
                </a:cubicBezTo>
                <a:cubicBezTo>
                  <a:pt x="290" y="94"/>
                  <a:pt x="297" y="87"/>
                  <a:pt x="297" y="79"/>
                </a:cubicBezTo>
                <a:close/>
                <a:moveTo>
                  <a:pt x="276" y="79"/>
                </a:moveTo>
                <a:cubicBezTo>
                  <a:pt x="276" y="75"/>
                  <a:pt x="279" y="73"/>
                  <a:pt x="282" y="73"/>
                </a:cubicBezTo>
                <a:cubicBezTo>
                  <a:pt x="285" y="73"/>
                  <a:pt x="288" y="75"/>
                  <a:pt x="288" y="79"/>
                </a:cubicBezTo>
                <a:cubicBezTo>
                  <a:pt x="288" y="82"/>
                  <a:pt x="285" y="84"/>
                  <a:pt x="282" y="84"/>
                </a:cubicBezTo>
                <a:cubicBezTo>
                  <a:pt x="279" y="84"/>
                  <a:pt x="276" y="82"/>
                  <a:pt x="276" y="79"/>
                </a:cubicBezTo>
                <a:close/>
                <a:moveTo>
                  <a:pt x="245" y="63"/>
                </a:moveTo>
                <a:cubicBezTo>
                  <a:pt x="237" y="63"/>
                  <a:pt x="230" y="70"/>
                  <a:pt x="230" y="79"/>
                </a:cubicBezTo>
                <a:cubicBezTo>
                  <a:pt x="230" y="87"/>
                  <a:pt x="237" y="94"/>
                  <a:pt x="245" y="94"/>
                </a:cubicBezTo>
                <a:cubicBezTo>
                  <a:pt x="253" y="94"/>
                  <a:pt x="260" y="87"/>
                  <a:pt x="260" y="79"/>
                </a:cubicBezTo>
                <a:cubicBezTo>
                  <a:pt x="260" y="70"/>
                  <a:pt x="253" y="63"/>
                  <a:pt x="245" y="63"/>
                </a:cubicBezTo>
                <a:close/>
                <a:moveTo>
                  <a:pt x="245" y="84"/>
                </a:moveTo>
                <a:cubicBezTo>
                  <a:pt x="242" y="84"/>
                  <a:pt x="239" y="82"/>
                  <a:pt x="239" y="79"/>
                </a:cubicBezTo>
                <a:cubicBezTo>
                  <a:pt x="239" y="75"/>
                  <a:pt x="242" y="73"/>
                  <a:pt x="245" y="73"/>
                </a:cubicBezTo>
                <a:cubicBezTo>
                  <a:pt x="248" y="73"/>
                  <a:pt x="251" y="75"/>
                  <a:pt x="251" y="79"/>
                </a:cubicBezTo>
                <a:cubicBezTo>
                  <a:pt x="251" y="82"/>
                  <a:pt x="248" y="84"/>
                  <a:pt x="245" y="84"/>
                </a:cubicBezTo>
                <a:close/>
                <a:moveTo>
                  <a:pt x="208" y="94"/>
                </a:moveTo>
                <a:cubicBezTo>
                  <a:pt x="212" y="94"/>
                  <a:pt x="216" y="92"/>
                  <a:pt x="219" y="89"/>
                </a:cubicBezTo>
                <a:cubicBezTo>
                  <a:pt x="222" y="86"/>
                  <a:pt x="223" y="83"/>
                  <a:pt x="223" y="79"/>
                </a:cubicBezTo>
                <a:cubicBezTo>
                  <a:pt x="223" y="75"/>
                  <a:pt x="222" y="71"/>
                  <a:pt x="219" y="68"/>
                </a:cubicBezTo>
                <a:cubicBezTo>
                  <a:pt x="216" y="65"/>
                  <a:pt x="212" y="64"/>
                  <a:pt x="208" y="64"/>
                </a:cubicBezTo>
                <a:cubicBezTo>
                  <a:pt x="204" y="64"/>
                  <a:pt x="200" y="65"/>
                  <a:pt x="198" y="68"/>
                </a:cubicBezTo>
                <a:cubicBezTo>
                  <a:pt x="195" y="71"/>
                  <a:pt x="193" y="75"/>
                  <a:pt x="193" y="79"/>
                </a:cubicBezTo>
                <a:cubicBezTo>
                  <a:pt x="193" y="83"/>
                  <a:pt x="195" y="87"/>
                  <a:pt x="198" y="89"/>
                </a:cubicBezTo>
                <a:cubicBezTo>
                  <a:pt x="200" y="92"/>
                  <a:pt x="204" y="94"/>
                  <a:pt x="208" y="94"/>
                </a:cubicBezTo>
                <a:close/>
                <a:moveTo>
                  <a:pt x="204" y="75"/>
                </a:moveTo>
                <a:cubicBezTo>
                  <a:pt x="205" y="74"/>
                  <a:pt x="207" y="73"/>
                  <a:pt x="208" y="73"/>
                </a:cubicBezTo>
                <a:cubicBezTo>
                  <a:pt x="210" y="73"/>
                  <a:pt x="211" y="74"/>
                  <a:pt x="212" y="75"/>
                </a:cubicBezTo>
                <a:cubicBezTo>
                  <a:pt x="213" y="76"/>
                  <a:pt x="214" y="77"/>
                  <a:pt x="214" y="79"/>
                </a:cubicBezTo>
                <a:cubicBezTo>
                  <a:pt x="214" y="80"/>
                  <a:pt x="213" y="82"/>
                  <a:pt x="212" y="83"/>
                </a:cubicBezTo>
                <a:cubicBezTo>
                  <a:pt x="210" y="85"/>
                  <a:pt x="206" y="85"/>
                  <a:pt x="204" y="83"/>
                </a:cubicBezTo>
                <a:cubicBezTo>
                  <a:pt x="203" y="82"/>
                  <a:pt x="202" y="80"/>
                  <a:pt x="202" y="79"/>
                </a:cubicBezTo>
                <a:cubicBezTo>
                  <a:pt x="202" y="77"/>
                  <a:pt x="203" y="76"/>
                  <a:pt x="204" y="75"/>
                </a:cubicBez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134" name="Oval 24"/>
          <p:cNvSpPr>
            <a:spLocks noChangeArrowheads="1"/>
          </p:cNvSpPr>
          <p:nvPr/>
        </p:nvSpPr>
        <p:spPr bwMode="auto">
          <a:xfrm>
            <a:off x="3073678" y="1528549"/>
            <a:ext cx="1119124" cy="1119124"/>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205" name="Freeform 36"/>
          <p:cNvSpPr>
            <a:spLocks noEditPoints="1"/>
          </p:cNvSpPr>
          <p:nvPr/>
        </p:nvSpPr>
        <p:spPr bwMode="auto">
          <a:xfrm>
            <a:off x="3252446" y="1719944"/>
            <a:ext cx="760260" cy="736335"/>
          </a:xfrm>
          <a:custGeom>
            <a:avLst/>
            <a:gdLst>
              <a:gd name="T0" fmla="*/ 367 w 484"/>
              <a:gd name="T1" fmla="*/ 1 h 469"/>
              <a:gd name="T2" fmla="*/ 367 w 484"/>
              <a:gd name="T3" fmla="*/ 10 h 469"/>
              <a:gd name="T4" fmla="*/ 331 w 484"/>
              <a:gd name="T5" fmla="*/ 45 h 469"/>
              <a:gd name="T6" fmla="*/ 162 w 484"/>
              <a:gd name="T7" fmla="*/ 44 h 469"/>
              <a:gd name="T8" fmla="*/ 118 w 484"/>
              <a:gd name="T9" fmla="*/ 89 h 469"/>
              <a:gd name="T10" fmla="*/ 118 w 484"/>
              <a:gd name="T11" fmla="*/ 79 h 469"/>
              <a:gd name="T12" fmla="*/ 482 w 484"/>
              <a:gd name="T13" fmla="*/ 263 h 469"/>
              <a:gd name="T14" fmla="*/ 436 w 484"/>
              <a:gd name="T15" fmla="*/ 127 h 469"/>
              <a:gd name="T16" fmla="*/ 256 w 484"/>
              <a:gd name="T17" fmla="*/ 246 h 469"/>
              <a:gd name="T18" fmla="*/ 263 w 484"/>
              <a:gd name="T19" fmla="*/ 283 h 469"/>
              <a:gd name="T20" fmla="*/ 307 w 484"/>
              <a:gd name="T21" fmla="*/ 220 h 469"/>
              <a:gd name="T22" fmla="*/ 291 w 484"/>
              <a:gd name="T23" fmla="*/ 347 h 469"/>
              <a:gd name="T24" fmla="*/ 310 w 484"/>
              <a:gd name="T25" fmla="*/ 451 h 469"/>
              <a:gd name="T26" fmla="*/ 365 w 484"/>
              <a:gd name="T27" fmla="*/ 347 h 469"/>
              <a:gd name="T28" fmla="*/ 402 w 484"/>
              <a:gd name="T29" fmla="*/ 469 h 469"/>
              <a:gd name="T30" fmla="*/ 423 w 484"/>
              <a:gd name="T31" fmla="*/ 450 h 469"/>
              <a:gd name="T32" fmla="*/ 446 w 484"/>
              <a:gd name="T33" fmla="*/ 343 h 469"/>
              <a:gd name="T34" fmla="*/ 449 w 484"/>
              <a:gd name="T35" fmla="*/ 274 h 469"/>
              <a:gd name="T36" fmla="*/ 470 w 484"/>
              <a:gd name="T37" fmla="*/ 283 h 469"/>
              <a:gd name="T38" fmla="*/ 464 w 484"/>
              <a:gd name="T39" fmla="*/ 274 h 469"/>
              <a:gd name="T40" fmla="*/ 419 w 484"/>
              <a:gd name="T41" fmla="*/ 179 h 469"/>
              <a:gd name="T42" fmla="*/ 436 w 484"/>
              <a:gd name="T43" fmla="*/ 338 h 469"/>
              <a:gd name="T44" fmla="*/ 411 w 484"/>
              <a:gd name="T45" fmla="*/ 343 h 469"/>
              <a:gd name="T46" fmla="*/ 414 w 484"/>
              <a:gd name="T47" fmla="*/ 450 h 469"/>
              <a:gd name="T48" fmla="*/ 402 w 484"/>
              <a:gd name="T49" fmla="*/ 464 h 469"/>
              <a:gd name="T50" fmla="*/ 377 w 484"/>
              <a:gd name="T51" fmla="*/ 342 h 469"/>
              <a:gd name="T52" fmla="*/ 356 w 484"/>
              <a:gd name="T53" fmla="*/ 342 h 469"/>
              <a:gd name="T54" fmla="*/ 319 w 484"/>
              <a:gd name="T55" fmla="*/ 450 h 469"/>
              <a:gd name="T56" fmla="*/ 320 w 484"/>
              <a:gd name="T57" fmla="*/ 433 h 469"/>
              <a:gd name="T58" fmla="*/ 321 w 484"/>
              <a:gd name="T59" fmla="*/ 340 h 469"/>
              <a:gd name="T60" fmla="*/ 323 w 484"/>
              <a:gd name="T61" fmla="*/ 182 h 469"/>
              <a:gd name="T62" fmla="*/ 276 w 484"/>
              <a:gd name="T63" fmla="*/ 270 h 469"/>
              <a:gd name="T64" fmla="*/ 260 w 484"/>
              <a:gd name="T65" fmla="*/ 265 h 469"/>
              <a:gd name="T66" fmla="*/ 305 w 484"/>
              <a:gd name="T67" fmla="*/ 131 h 469"/>
              <a:gd name="T68" fmla="*/ 468 w 484"/>
              <a:gd name="T69" fmla="*/ 248 h 469"/>
              <a:gd name="T70" fmla="*/ 473 w 484"/>
              <a:gd name="T71" fmla="*/ 265 h 469"/>
              <a:gd name="T72" fmla="*/ 228 w 484"/>
              <a:gd name="T73" fmla="*/ 246 h 469"/>
              <a:gd name="T74" fmla="*/ 48 w 484"/>
              <a:gd name="T75" fmla="*/ 127 h 469"/>
              <a:gd name="T76" fmla="*/ 2 w 484"/>
              <a:gd name="T77" fmla="*/ 263 h 469"/>
              <a:gd name="T78" fmla="*/ 36 w 484"/>
              <a:gd name="T79" fmla="*/ 274 h 469"/>
              <a:gd name="T80" fmla="*/ 61 w 484"/>
              <a:gd name="T81" fmla="*/ 451 h 469"/>
              <a:gd name="T82" fmla="*/ 118 w 484"/>
              <a:gd name="T83" fmla="*/ 332 h 469"/>
              <a:gd name="T84" fmla="*/ 153 w 484"/>
              <a:gd name="T85" fmla="*/ 469 h 469"/>
              <a:gd name="T86" fmla="*/ 168 w 484"/>
              <a:gd name="T87" fmla="*/ 204 h 469"/>
              <a:gd name="T88" fmla="*/ 222 w 484"/>
              <a:gd name="T89" fmla="*/ 283 h 469"/>
              <a:gd name="T90" fmla="*/ 219 w 484"/>
              <a:gd name="T91" fmla="*/ 274 h 469"/>
              <a:gd name="T92" fmla="*/ 162 w 484"/>
              <a:gd name="T93" fmla="*/ 176 h 469"/>
              <a:gd name="T94" fmla="*/ 164 w 484"/>
              <a:gd name="T95" fmla="*/ 408 h 469"/>
              <a:gd name="T96" fmla="*/ 165 w 484"/>
              <a:gd name="T97" fmla="*/ 450 h 469"/>
              <a:gd name="T98" fmla="*/ 153 w 484"/>
              <a:gd name="T99" fmla="*/ 459 h 469"/>
              <a:gd name="T100" fmla="*/ 118 w 484"/>
              <a:gd name="T101" fmla="*/ 287 h 469"/>
              <a:gd name="T102" fmla="*/ 83 w 484"/>
              <a:gd name="T103" fmla="*/ 459 h 469"/>
              <a:gd name="T104" fmla="*/ 71 w 484"/>
              <a:gd name="T105" fmla="*/ 439 h 469"/>
              <a:gd name="T106" fmla="*/ 77 w 484"/>
              <a:gd name="T107" fmla="*/ 181 h 469"/>
              <a:gd name="T108" fmla="*/ 27 w 484"/>
              <a:gd name="T109" fmla="*/ 270 h 469"/>
              <a:gd name="T110" fmla="*/ 11 w 484"/>
              <a:gd name="T111" fmla="*/ 265 h 469"/>
              <a:gd name="T112" fmla="*/ 17 w 484"/>
              <a:gd name="T113" fmla="*/ 249 h 469"/>
              <a:gd name="T114" fmla="*/ 179 w 484"/>
              <a:gd name="T115" fmla="*/ 131 h 469"/>
              <a:gd name="T116" fmla="*/ 225 w 484"/>
              <a:gd name="T117" fmla="*/ 265 h 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84" h="469">
                <a:moveTo>
                  <a:pt x="367" y="90"/>
                </a:moveTo>
                <a:cubicBezTo>
                  <a:pt x="391" y="90"/>
                  <a:pt x="411" y="70"/>
                  <a:pt x="411" y="45"/>
                </a:cubicBezTo>
                <a:cubicBezTo>
                  <a:pt x="411" y="21"/>
                  <a:pt x="391" y="1"/>
                  <a:pt x="367" y="1"/>
                </a:cubicBezTo>
                <a:cubicBezTo>
                  <a:pt x="342" y="1"/>
                  <a:pt x="322" y="21"/>
                  <a:pt x="322" y="45"/>
                </a:cubicBezTo>
                <a:cubicBezTo>
                  <a:pt x="322" y="70"/>
                  <a:pt x="342" y="90"/>
                  <a:pt x="367" y="90"/>
                </a:cubicBezTo>
                <a:close/>
                <a:moveTo>
                  <a:pt x="367" y="10"/>
                </a:moveTo>
                <a:cubicBezTo>
                  <a:pt x="386" y="10"/>
                  <a:pt x="402" y="26"/>
                  <a:pt x="402" y="45"/>
                </a:cubicBezTo>
                <a:cubicBezTo>
                  <a:pt x="402" y="64"/>
                  <a:pt x="386" y="80"/>
                  <a:pt x="367" y="80"/>
                </a:cubicBezTo>
                <a:cubicBezTo>
                  <a:pt x="347" y="80"/>
                  <a:pt x="331" y="64"/>
                  <a:pt x="331" y="45"/>
                </a:cubicBezTo>
                <a:cubicBezTo>
                  <a:pt x="331" y="26"/>
                  <a:pt x="347" y="10"/>
                  <a:pt x="367" y="10"/>
                </a:cubicBezTo>
                <a:close/>
                <a:moveTo>
                  <a:pt x="118" y="89"/>
                </a:moveTo>
                <a:cubicBezTo>
                  <a:pt x="142" y="89"/>
                  <a:pt x="162" y="69"/>
                  <a:pt x="162" y="44"/>
                </a:cubicBezTo>
                <a:cubicBezTo>
                  <a:pt x="162" y="20"/>
                  <a:pt x="142" y="0"/>
                  <a:pt x="118" y="0"/>
                </a:cubicBezTo>
                <a:cubicBezTo>
                  <a:pt x="93" y="0"/>
                  <a:pt x="74" y="20"/>
                  <a:pt x="74" y="44"/>
                </a:cubicBezTo>
                <a:cubicBezTo>
                  <a:pt x="74" y="69"/>
                  <a:pt x="93" y="89"/>
                  <a:pt x="118" y="89"/>
                </a:cubicBezTo>
                <a:close/>
                <a:moveTo>
                  <a:pt x="118" y="9"/>
                </a:moveTo>
                <a:cubicBezTo>
                  <a:pt x="137" y="9"/>
                  <a:pt x="153" y="25"/>
                  <a:pt x="153" y="44"/>
                </a:cubicBezTo>
                <a:cubicBezTo>
                  <a:pt x="153" y="64"/>
                  <a:pt x="137" y="79"/>
                  <a:pt x="118" y="79"/>
                </a:cubicBezTo>
                <a:cubicBezTo>
                  <a:pt x="99" y="79"/>
                  <a:pt x="83" y="64"/>
                  <a:pt x="83" y="44"/>
                </a:cubicBezTo>
                <a:cubicBezTo>
                  <a:pt x="83" y="25"/>
                  <a:pt x="99" y="9"/>
                  <a:pt x="118" y="9"/>
                </a:cubicBezTo>
                <a:close/>
                <a:moveTo>
                  <a:pt x="482" y="263"/>
                </a:moveTo>
                <a:cubicBezTo>
                  <a:pt x="482" y="262"/>
                  <a:pt x="482" y="262"/>
                  <a:pt x="482" y="262"/>
                </a:cubicBezTo>
                <a:cubicBezTo>
                  <a:pt x="481" y="261"/>
                  <a:pt x="479" y="254"/>
                  <a:pt x="477" y="246"/>
                </a:cubicBezTo>
                <a:cubicBezTo>
                  <a:pt x="465" y="211"/>
                  <a:pt x="442" y="140"/>
                  <a:pt x="436" y="127"/>
                </a:cubicBezTo>
                <a:cubicBezTo>
                  <a:pt x="427" y="107"/>
                  <a:pt x="406" y="99"/>
                  <a:pt x="367" y="99"/>
                </a:cubicBezTo>
                <a:cubicBezTo>
                  <a:pt x="327" y="99"/>
                  <a:pt x="306" y="107"/>
                  <a:pt x="297" y="127"/>
                </a:cubicBezTo>
                <a:cubicBezTo>
                  <a:pt x="291" y="140"/>
                  <a:pt x="268" y="211"/>
                  <a:pt x="256" y="246"/>
                </a:cubicBezTo>
                <a:cubicBezTo>
                  <a:pt x="254" y="254"/>
                  <a:pt x="252" y="261"/>
                  <a:pt x="251" y="262"/>
                </a:cubicBezTo>
                <a:cubicBezTo>
                  <a:pt x="251" y="262"/>
                  <a:pt x="251" y="262"/>
                  <a:pt x="251" y="263"/>
                </a:cubicBezTo>
                <a:cubicBezTo>
                  <a:pt x="249" y="271"/>
                  <a:pt x="254" y="280"/>
                  <a:pt x="263" y="283"/>
                </a:cubicBezTo>
                <a:cubicBezTo>
                  <a:pt x="265" y="283"/>
                  <a:pt x="267" y="284"/>
                  <a:pt x="269" y="284"/>
                </a:cubicBezTo>
                <a:cubicBezTo>
                  <a:pt x="276" y="284"/>
                  <a:pt x="282" y="280"/>
                  <a:pt x="284" y="274"/>
                </a:cubicBezTo>
                <a:cubicBezTo>
                  <a:pt x="307" y="220"/>
                  <a:pt x="307" y="220"/>
                  <a:pt x="307" y="220"/>
                </a:cubicBezTo>
                <a:cubicBezTo>
                  <a:pt x="287" y="342"/>
                  <a:pt x="287" y="342"/>
                  <a:pt x="287" y="342"/>
                </a:cubicBezTo>
                <a:cubicBezTo>
                  <a:pt x="287" y="343"/>
                  <a:pt x="287" y="345"/>
                  <a:pt x="288" y="346"/>
                </a:cubicBezTo>
                <a:cubicBezTo>
                  <a:pt x="289" y="347"/>
                  <a:pt x="290" y="347"/>
                  <a:pt x="291" y="347"/>
                </a:cubicBezTo>
                <a:cubicBezTo>
                  <a:pt x="313" y="347"/>
                  <a:pt x="313" y="347"/>
                  <a:pt x="313" y="347"/>
                </a:cubicBezTo>
                <a:cubicBezTo>
                  <a:pt x="312" y="379"/>
                  <a:pt x="310" y="446"/>
                  <a:pt x="310" y="450"/>
                </a:cubicBezTo>
                <a:cubicBezTo>
                  <a:pt x="310" y="450"/>
                  <a:pt x="310" y="450"/>
                  <a:pt x="310" y="451"/>
                </a:cubicBezTo>
                <a:cubicBezTo>
                  <a:pt x="311" y="461"/>
                  <a:pt x="320" y="469"/>
                  <a:pt x="331" y="469"/>
                </a:cubicBezTo>
                <a:cubicBezTo>
                  <a:pt x="342" y="469"/>
                  <a:pt x="352" y="461"/>
                  <a:pt x="353" y="451"/>
                </a:cubicBezTo>
                <a:cubicBezTo>
                  <a:pt x="365" y="347"/>
                  <a:pt x="365" y="347"/>
                  <a:pt x="365" y="347"/>
                </a:cubicBezTo>
                <a:cubicBezTo>
                  <a:pt x="368" y="347"/>
                  <a:pt x="368" y="347"/>
                  <a:pt x="368" y="347"/>
                </a:cubicBezTo>
                <a:cubicBezTo>
                  <a:pt x="380" y="451"/>
                  <a:pt x="380" y="451"/>
                  <a:pt x="380" y="451"/>
                </a:cubicBezTo>
                <a:cubicBezTo>
                  <a:pt x="381" y="461"/>
                  <a:pt x="391" y="469"/>
                  <a:pt x="402" y="469"/>
                </a:cubicBezTo>
                <a:cubicBezTo>
                  <a:pt x="402" y="469"/>
                  <a:pt x="402" y="469"/>
                  <a:pt x="402" y="469"/>
                </a:cubicBezTo>
                <a:cubicBezTo>
                  <a:pt x="413" y="469"/>
                  <a:pt x="422" y="461"/>
                  <a:pt x="423" y="451"/>
                </a:cubicBezTo>
                <a:cubicBezTo>
                  <a:pt x="423" y="450"/>
                  <a:pt x="423" y="450"/>
                  <a:pt x="423" y="450"/>
                </a:cubicBezTo>
                <a:cubicBezTo>
                  <a:pt x="423" y="446"/>
                  <a:pt x="421" y="379"/>
                  <a:pt x="420" y="347"/>
                </a:cubicBezTo>
                <a:cubicBezTo>
                  <a:pt x="442" y="347"/>
                  <a:pt x="442" y="347"/>
                  <a:pt x="442" y="347"/>
                </a:cubicBezTo>
                <a:cubicBezTo>
                  <a:pt x="444" y="347"/>
                  <a:pt x="446" y="345"/>
                  <a:pt x="446" y="343"/>
                </a:cubicBezTo>
                <a:cubicBezTo>
                  <a:pt x="446" y="342"/>
                  <a:pt x="446" y="342"/>
                  <a:pt x="446" y="341"/>
                </a:cubicBezTo>
                <a:cubicBezTo>
                  <a:pt x="426" y="220"/>
                  <a:pt x="426" y="220"/>
                  <a:pt x="426" y="220"/>
                </a:cubicBezTo>
                <a:cubicBezTo>
                  <a:pt x="449" y="274"/>
                  <a:pt x="449" y="274"/>
                  <a:pt x="449" y="274"/>
                </a:cubicBezTo>
                <a:cubicBezTo>
                  <a:pt x="451" y="280"/>
                  <a:pt x="457" y="284"/>
                  <a:pt x="464" y="284"/>
                </a:cubicBezTo>
                <a:cubicBezTo>
                  <a:pt x="464" y="284"/>
                  <a:pt x="464" y="284"/>
                  <a:pt x="464" y="284"/>
                </a:cubicBezTo>
                <a:cubicBezTo>
                  <a:pt x="466" y="284"/>
                  <a:pt x="468" y="283"/>
                  <a:pt x="470" y="283"/>
                </a:cubicBezTo>
                <a:cubicBezTo>
                  <a:pt x="479" y="280"/>
                  <a:pt x="484" y="271"/>
                  <a:pt x="482" y="263"/>
                </a:cubicBezTo>
                <a:close/>
                <a:moveTo>
                  <a:pt x="467" y="274"/>
                </a:moveTo>
                <a:cubicBezTo>
                  <a:pt x="466" y="274"/>
                  <a:pt x="465" y="274"/>
                  <a:pt x="464" y="274"/>
                </a:cubicBezTo>
                <a:cubicBezTo>
                  <a:pt x="464" y="274"/>
                  <a:pt x="464" y="274"/>
                  <a:pt x="464" y="274"/>
                </a:cubicBezTo>
                <a:cubicBezTo>
                  <a:pt x="461" y="274"/>
                  <a:pt x="458" y="273"/>
                  <a:pt x="457" y="270"/>
                </a:cubicBezTo>
                <a:cubicBezTo>
                  <a:pt x="419" y="179"/>
                  <a:pt x="419" y="179"/>
                  <a:pt x="419" y="179"/>
                </a:cubicBezTo>
                <a:cubicBezTo>
                  <a:pt x="418" y="177"/>
                  <a:pt x="415" y="176"/>
                  <a:pt x="413" y="176"/>
                </a:cubicBezTo>
                <a:cubicBezTo>
                  <a:pt x="411" y="177"/>
                  <a:pt x="409" y="179"/>
                  <a:pt x="410" y="182"/>
                </a:cubicBezTo>
                <a:cubicBezTo>
                  <a:pt x="436" y="338"/>
                  <a:pt x="436" y="338"/>
                  <a:pt x="436" y="338"/>
                </a:cubicBezTo>
                <a:cubicBezTo>
                  <a:pt x="416" y="338"/>
                  <a:pt x="416" y="338"/>
                  <a:pt x="416" y="338"/>
                </a:cubicBezTo>
                <a:cubicBezTo>
                  <a:pt x="414" y="338"/>
                  <a:pt x="413" y="339"/>
                  <a:pt x="412" y="340"/>
                </a:cubicBezTo>
                <a:cubicBezTo>
                  <a:pt x="411" y="340"/>
                  <a:pt x="411" y="342"/>
                  <a:pt x="411" y="343"/>
                </a:cubicBezTo>
                <a:cubicBezTo>
                  <a:pt x="411" y="343"/>
                  <a:pt x="412" y="370"/>
                  <a:pt x="412" y="397"/>
                </a:cubicBezTo>
                <a:cubicBezTo>
                  <a:pt x="413" y="410"/>
                  <a:pt x="413" y="423"/>
                  <a:pt x="413" y="433"/>
                </a:cubicBezTo>
                <a:cubicBezTo>
                  <a:pt x="414" y="443"/>
                  <a:pt x="414" y="447"/>
                  <a:pt x="414" y="450"/>
                </a:cubicBezTo>
                <a:cubicBezTo>
                  <a:pt x="414" y="450"/>
                  <a:pt x="414" y="450"/>
                  <a:pt x="414" y="450"/>
                </a:cubicBezTo>
                <a:cubicBezTo>
                  <a:pt x="413" y="455"/>
                  <a:pt x="408" y="459"/>
                  <a:pt x="402" y="459"/>
                </a:cubicBezTo>
                <a:cubicBezTo>
                  <a:pt x="402" y="464"/>
                  <a:pt x="402" y="464"/>
                  <a:pt x="402" y="464"/>
                </a:cubicBezTo>
                <a:cubicBezTo>
                  <a:pt x="402" y="459"/>
                  <a:pt x="402" y="459"/>
                  <a:pt x="402" y="459"/>
                </a:cubicBezTo>
                <a:cubicBezTo>
                  <a:pt x="396" y="459"/>
                  <a:pt x="390" y="455"/>
                  <a:pt x="390" y="450"/>
                </a:cubicBezTo>
                <a:cubicBezTo>
                  <a:pt x="377" y="342"/>
                  <a:pt x="377" y="342"/>
                  <a:pt x="377" y="342"/>
                </a:cubicBezTo>
                <a:cubicBezTo>
                  <a:pt x="377" y="340"/>
                  <a:pt x="375" y="338"/>
                  <a:pt x="372" y="338"/>
                </a:cubicBezTo>
                <a:cubicBezTo>
                  <a:pt x="361" y="338"/>
                  <a:pt x="361" y="338"/>
                  <a:pt x="361" y="338"/>
                </a:cubicBezTo>
                <a:cubicBezTo>
                  <a:pt x="358" y="338"/>
                  <a:pt x="356" y="340"/>
                  <a:pt x="356" y="342"/>
                </a:cubicBezTo>
                <a:cubicBezTo>
                  <a:pt x="343" y="450"/>
                  <a:pt x="343" y="450"/>
                  <a:pt x="343" y="450"/>
                </a:cubicBezTo>
                <a:cubicBezTo>
                  <a:pt x="343" y="455"/>
                  <a:pt x="338" y="459"/>
                  <a:pt x="331" y="459"/>
                </a:cubicBezTo>
                <a:cubicBezTo>
                  <a:pt x="325" y="459"/>
                  <a:pt x="320" y="455"/>
                  <a:pt x="319" y="450"/>
                </a:cubicBezTo>
                <a:cubicBezTo>
                  <a:pt x="319" y="450"/>
                  <a:pt x="319" y="450"/>
                  <a:pt x="319" y="450"/>
                </a:cubicBezTo>
                <a:cubicBezTo>
                  <a:pt x="319" y="449"/>
                  <a:pt x="319" y="447"/>
                  <a:pt x="319" y="446"/>
                </a:cubicBezTo>
                <a:cubicBezTo>
                  <a:pt x="319" y="443"/>
                  <a:pt x="320" y="439"/>
                  <a:pt x="320" y="433"/>
                </a:cubicBezTo>
                <a:cubicBezTo>
                  <a:pt x="320" y="423"/>
                  <a:pt x="320" y="410"/>
                  <a:pt x="321" y="397"/>
                </a:cubicBezTo>
                <a:cubicBezTo>
                  <a:pt x="321" y="370"/>
                  <a:pt x="322" y="343"/>
                  <a:pt x="322" y="343"/>
                </a:cubicBezTo>
                <a:cubicBezTo>
                  <a:pt x="322" y="342"/>
                  <a:pt x="322" y="340"/>
                  <a:pt x="321" y="340"/>
                </a:cubicBezTo>
                <a:cubicBezTo>
                  <a:pt x="320" y="339"/>
                  <a:pt x="319" y="338"/>
                  <a:pt x="317" y="338"/>
                </a:cubicBezTo>
                <a:cubicBezTo>
                  <a:pt x="297" y="338"/>
                  <a:pt x="297" y="338"/>
                  <a:pt x="297" y="338"/>
                </a:cubicBezTo>
                <a:cubicBezTo>
                  <a:pt x="323" y="182"/>
                  <a:pt x="323" y="182"/>
                  <a:pt x="323" y="182"/>
                </a:cubicBezTo>
                <a:cubicBezTo>
                  <a:pt x="324" y="179"/>
                  <a:pt x="322" y="177"/>
                  <a:pt x="320" y="176"/>
                </a:cubicBezTo>
                <a:cubicBezTo>
                  <a:pt x="318" y="176"/>
                  <a:pt x="315" y="177"/>
                  <a:pt x="314" y="179"/>
                </a:cubicBezTo>
                <a:cubicBezTo>
                  <a:pt x="276" y="270"/>
                  <a:pt x="276" y="270"/>
                  <a:pt x="276" y="270"/>
                </a:cubicBezTo>
                <a:cubicBezTo>
                  <a:pt x="274" y="273"/>
                  <a:pt x="270" y="275"/>
                  <a:pt x="266" y="274"/>
                </a:cubicBezTo>
                <a:cubicBezTo>
                  <a:pt x="262" y="272"/>
                  <a:pt x="259" y="268"/>
                  <a:pt x="260" y="265"/>
                </a:cubicBezTo>
                <a:cubicBezTo>
                  <a:pt x="260" y="265"/>
                  <a:pt x="260" y="265"/>
                  <a:pt x="260" y="265"/>
                </a:cubicBezTo>
                <a:cubicBezTo>
                  <a:pt x="260" y="264"/>
                  <a:pt x="261" y="263"/>
                  <a:pt x="261" y="261"/>
                </a:cubicBezTo>
                <a:cubicBezTo>
                  <a:pt x="262" y="258"/>
                  <a:pt x="264" y="254"/>
                  <a:pt x="265" y="249"/>
                </a:cubicBezTo>
                <a:cubicBezTo>
                  <a:pt x="276" y="217"/>
                  <a:pt x="300" y="143"/>
                  <a:pt x="305" y="131"/>
                </a:cubicBezTo>
                <a:cubicBezTo>
                  <a:pt x="311" y="120"/>
                  <a:pt x="322" y="108"/>
                  <a:pt x="367" y="108"/>
                </a:cubicBezTo>
                <a:cubicBezTo>
                  <a:pt x="411" y="108"/>
                  <a:pt x="422" y="120"/>
                  <a:pt x="428" y="131"/>
                </a:cubicBezTo>
                <a:cubicBezTo>
                  <a:pt x="433" y="143"/>
                  <a:pt x="457" y="217"/>
                  <a:pt x="468" y="248"/>
                </a:cubicBezTo>
                <a:cubicBezTo>
                  <a:pt x="469" y="254"/>
                  <a:pt x="471" y="258"/>
                  <a:pt x="472" y="261"/>
                </a:cubicBezTo>
                <a:cubicBezTo>
                  <a:pt x="472" y="262"/>
                  <a:pt x="473" y="264"/>
                  <a:pt x="473" y="265"/>
                </a:cubicBezTo>
                <a:cubicBezTo>
                  <a:pt x="473" y="265"/>
                  <a:pt x="473" y="265"/>
                  <a:pt x="473" y="265"/>
                </a:cubicBezTo>
                <a:cubicBezTo>
                  <a:pt x="474" y="268"/>
                  <a:pt x="471" y="272"/>
                  <a:pt x="467" y="274"/>
                </a:cubicBezTo>
                <a:close/>
                <a:moveTo>
                  <a:pt x="233" y="262"/>
                </a:moveTo>
                <a:cubicBezTo>
                  <a:pt x="233" y="261"/>
                  <a:pt x="231" y="254"/>
                  <a:pt x="228" y="246"/>
                </a:cubicBezTo>
                <a:cubicBezTo>
                  <a:pt x="217" y="211"/>
                  <a:pt x="194" y="140"/>
                  <a:pt x="188" y="127"/>
                </a:cubicBezTo>
                <a:cubicBezTo>
                  <a:pt x="178" y="107"/>
                  <a:pt x="157" y="99"/>
                  <a:pt x="118" y="99"/>
                </a:cubicBezTo>
                <a:cubicBezTo>
                  <a:pt x="79" y="99"/>
                  <a:pt x="58" y="107"/>
                  <a:pt x="48" y="127"/>
                </a:cubicBezTo>
                <a:cubicBezTo>
                  <a:pt x="42" y="140"/>
                  <a:pt x="19" y="211"/>
                  <a:pt x="8" y="246"/>
                </a:cubicBezTo>
                <a:cubicBezTo>
                  <a:pt x="5" y="254"/>
                  <a:pt x="3" y="261"/>
                  <a:pt x="3" y="262"/>
                </a:cubicBezTo>
                <a:cubicBezTo>
                  <a:pt x="2" y="262"/>
                  <a:pt x="2" y="262"/>
                  <a:pt x="2" y="263"/>
                </a:cubicBezTo>
                <a:cubicBezTo>
                  <a:pt x="0" y="271"/>
                  <a:pt x="5" y="280"/>
                  <a:pt x="14" y="283"/>
                </a:cubicBezTo>
                <a:cubicBezTo>
                  <a:pt x="16" y="283"/>
                  <a:pt x="18" y="284"/>
                  <a:pt x="20" y="284"/>
                </a:cubicBezTo>
                <a:cubicBezTo>
                  <a:pt x="27" y="284"/>
                  <a:pt x="33" y="280"/>
                  <a:pt x="36" y="274"/>
                </a:cubicBezTo>
                <a:cubicBezTo>
                  <a:pt x="68" y="204"/>
                  <a:pt x="68" y="204"/>
                  <a:pt x="68" y="204"/>
                </a:cubicBezTo>
                <a:cubicBezTo>
                  <a:pt x="65" y="298"/>
                  <a:pt x="62" y="443"/>
                  <a:pt x="61" y="450"/>
                </a:cubicBezTo>
                <a:cubicBezTo>
                  <a:pt x="61" y="450"/>
                  <a:pt x="61" y="450"/>
                  <a:pt x="61" y="451"/>
                </a:cubicBezTo>
                <a:cubicBezTo>
                  <a:pt x="62" y="461"/>
                  <a:pt x="71" y="469"/>
                  <a:pt x="83" y="469"/>
                </a:cubicBezTo>
                <a:cubicBezTo>
                  <a:pt x="94" y="469"/>
                  <a:pt x="103" y="461"/>
                  <a:pt x="104" y="451"/>
                </a:cubicBezTo>
                <a:cubicBezTo>
                  <a:pt x="118" y="332"/>
                  <a:pt x="118" y="332"/>
                  <a:pt x="118" y="332"/>
                </a:cubicBezTo>
                <a:cubicBezTo>
                  <a:pt x="132" y="451"/>
                  <a:pt x="132" y="451"/>
                  <a:pt x="132" y="451"/>
                </a:cubicBezTo>
                <a:cubicBezTo>
                  <a:pt x="133" y="461"/>
                  <a:pt x="142" y="469"/>
                  <a:pt x="153" y="469"/>
                </a:cubicBezTo>
                <a:cubicBezTo>
                  <a:pt x="153" y="469"/>
                  <a:pt x="153" y="469"/>
                  <a:pt x="153" y="469"/>
                </a:cubicBezTo>
                <a:cubicBezTo>
                  <a:pt x="165" y="469"/>
                  <a:pt x="174" y="461"/>
                  <a:pt x="175" y="451"/>
                </a:cubicBezTo>
                <a:cubicBezTo>
                  <a:pt x="175" y="450"/>
                  <a:pt x="175" y="450"/>
                  <a:pt x="175" y="450"/>
                </a:cubicBezTo>
                <a:cubicBezTo>
                  <a:pt x="174" y="443"/>
                  <a:pt x="171" y="298"/>
                  <a:pt x="168" y="204"/>
                </a:cubicBezTo>
                <a:cubicBezTo>
                  <a:pt x="200" y="274"/>
                  <a:pt x="200" y="274"/>
                  <a:pt x="200" y="274"/>
                </a:cubicBezTo>
                <a:cubicBezTo>
                  <a:pt x="203" y="280"/>
                  <a:pt x="209" y="284"/>
                  <a:pt x="216" y="284"/>
                </a:cubicBezTo>
                <a:cubicBezTo>
                  <a:pt x="218" y="284"/>
                  <a:pt x="220" y="283"/>
                  <a:pt x="222" y="283"/>
                </a:cubicBezTo>
                <a:cubicBezTo>
                  <a:pt x="230" y="280"/>
                  <a:pt x="236" y="271"/>
                  <a:pt x="234" y="263"/>
                </a:cubicBezTo>
                <a:cubicBezTo>
                  <a:pt x="234" y="262"/>
                  <a:pt x="233" y="262"/>
                  <a:pt x="233" y="262"/>
                </a:cubicBezTo>
                <a:close/>
                <a:moveTo>
                  <a:pt x="219" y="274"/>
                </a:moveTo>
                <a:cubicBezTo>
                  <a:pt x="215" y="275"/>
                  <a:pt x="210" y="274"/>
                  <a:pt x="209" y="270"/>
                </a:cubicBezTo>
                <a:cubicBezTo>
                  <a:pt x="167" y="179"/>
                  <a:pt x="167" y="179"/>
                  <a:pt x="167" y="179"/>
                </a:cubicBezTo>
                <a:cubicBezTo>
                  <a:pt x="167" y="177"/>
                  <a:pt x="164" y="176"/>
                  <a:pt x="162" y="176"/>
                </a:cubicBezTo>
                <a:cubicBezTo>
                  <a:pt x="160" y="177"/>
                  <a:pt x="158" y="179"/>
                  <a:pt x="158" y="181"/>
                </a:cubicBezTo>
                <a:cubicBezTo>
                  <a:pt x="158" y="181"/>
                  <a:pt x="160" y="248"/>
                  <a:pt x="162" y="316"/>
                </a:cubicBezTo>
                <a:cubicBezTo>
                  <a:pt x="163" y="349"/>
                  <a:pt x="163" y="383"/>
                  <a:pt x="164" y="408"/>
                </a:cubicBezTo>
                <a:cubicBezTo>
                  <a:pt x="164" y="421"/>
                  <a:pt x="165" y="431"/>
                  <a:pt x="165" y="439"/>
                </a:cubicBezTo>
                <a:cubicBezTo>
                  <a:pt x="165" y="444"/>
                  <a:pt x="165" y="448"/>
                  <a:pt x="165" y="450"/>
                </a:cubicBezTo>
                <a:cubicBezTo>
                  <a:pt x="165" y="450"/>
                  <a:pt x="165" y="450"/>
                  <a:pt x="165" y="450"/>
                </a:cubicBezTo>
                <a:cubicBezTo>
                  <a:pt x="165" y="455"/>
                  <a:pt x="160" y="459"/>
                  <a:pt x="153" y="459"/>
                </a:cubicBezTo>
                <a:cubicBezTo>
                  <a:pt x="153" y="464"/>
                  <a:pt x="153" y="464"/>
                  <a:pt x="153" y="464"/>
                </a:cubicBezTo>
                <a:cubicBezTo>
                  <a:pt x="153" y="459"/>
                  <a:pt x="153" y="459"/>
                  <a:pt x="153" y="459"/>
                </a:cubicBezTo>
                <a:cubicBezTo>
                  <a:pt x="147" y="459"/>
                  <a:pt x="142" y="455"/>
                  <a:pt x="141" y="450"/>
                </a:cubicBezTo>
                <a:cubicBezTo>
                  <a:pt x="123" y="292"/>
                  <a:pt x="123" y="292"/>
                  <a:pt x="123" y="292"/>
                </a:cubicBezTo>
                <a:cubicBezTo>
                  <a:pt x="122" y="289"/>
                  <a:pt x="120" y="287"/>
                  <a:pt x="118" y="287"/>
                </a:cubicBezTo>
                <a:cubicBezTo>
                  <a:pt x="116" y="287"/>
                  <a:pt x="114" y="289"/>
                  <a:pt x="113" y="292"/>
                </a:cubicBezTo>
                <a:cubicBezTo>
                  <a:pt x="95" y="450"/>
                  <a:pt x="95" y="450"/>
                  <a:pt x="95" y="450"/>
                </a:cubicBezTo>
                <a:cubicBezTo>
                  <a:pt x="94" y="455"/>
                  <a:pt x="89" y="459"/>
                  <a:pt x="83" y="459"/>
                </a:cubicBezTo>
                <a:cubicBezTo>
                  <a:pt x="76" y="459"/>
                  <a:pt x="71" y="455"/>
                  <a:pt x="71" y="450"/>
                </a:cubicBezTo>
                <a:cubicBezTo>
                  <a:pt x="71" y="449"/>
                  <a:pt x="71" y="448"/>
                  <a:pt x="71" y="447"/>
                </a:cubicBezTo>
                <a:cubicBezTo>
                  <a:pt x="71" y="445"/>
                  <a:pt x="71" y="442"/>
                  <a:pt x="71" y="439"/>
                </a:cubicBezTo>
                <a:cubicBezTo>
                  <a:pt x="71" y="431"/>
                  <a:pt x="71" y="421"/>
                  <a:pt x="72" y="408"/>
                </a:cubicBezTo>
                <a:cubicBezTo>
                  <a:pt x="72" y="383"/>
                  <a:pt x="73" y="349"/>
                  <a:pt x="74" y="316"/>
                </a:cubicBezTo>
                <a:cubicBezTo>
                  <a:pt x="76" y="248"/>
                  <a:pt x="77" y="181"/>
                  <a:pt x="77" y="181"/>
                </a:cubicBezTo>
                <a:cubicBezTo>
                  <a:pt x="78" y="179"/>
                  <a:pt x="76" y="177"/>
                  <a:pt x="74" y="176"/>
                </a:cubicBezTo>
                <a:cubicBezTo>
                  <a:pt x="72" y="176"/>
                  <a:pt x="69" y="177"/>
                  <a:pt x="68" y="179"/>
                </a:cubicBezTo>
                <a:cubicBezTo>
                  <a:pt x="27" y="270"/>
                  <a:pt x="27" y="270"/>
                  <a:pt x="27" y="270"/>
                </a:cubicBezTo>
                <a:cubicBezTo>
                  <a:pt x="26" y="273"/>
                  <a:pt x="23" y="274"/>
                  <a:pt x="20" y="274"/>
                </a:cubicBezTo>
                <a:cubicBezTo>
                  <a:pt x="19" y="274"/>
                  <a:pt x="18" y="274"/>
                  <a:pt x="17" y="274"/>
                </a:cubicBezTo>
                <a:cubicBezTo>
                  <a:pt x="13" y="272"/>
                  <a:pt x="11" y="268"/>
                  <a:pt x="11" y="265"/>
                </a:cubicBezTo>
                <a:cubicBezTo>
                  <a:pt x="11" y="265"/>
                  <a:pt x="11" y="265"/>
                  <a:pt x="11" y="265"/>
                </a:cubicBezTo>
                <a:cubicBezTo>
                  <a:pt x="12" y="264"/>
                  <a:pt x="12" y="263"/>
                  <a:pt x="13" y="261"/>
                </a:cubicBezTo>
                <a:cubicBezTo>
                  <a:pt x="14" y="258"/>
                  <a:pt x="15" y="254"/>
                  <a:pt x="17" y="249"/>
                </a:cubicBezTo>
                <a:cubicBezTo>
                  <a:pt x="27" y="217"/>
                  <a:pt x="51" y="143"/>
                  <a:pt x="57" y="131"/>
                </a:cubicBezTo>
                <a:cubicBezTo>
                  <a:pt x="62" y="120"/>
                  <a:pt x="74" y="108"/>
                  <a:pt x="118" y="108"/>
                </a:cubicBezTo>
                <a:cubicBezTo>
                  <a:pt x="162" y="108"/>
                  <a:pt x="174" y="120"/>
                  <a:pt x="179" y="131"/>
                </a:cubicBezTo>
                <a:cubicBezTo>
                  <a:pt x="185" y="143"/>
                  <a:pt x="209" y="217"/>
                  <a:pt x="219" y="249"/>
                </a:cubicBezTo>
                <a:cubicBezTo>
                  <a:pt x="221" y="254"/>
                  <a:pt x="222" y="258"/>
                  <a:pt x="223" y="261"/>
                </a:cubicBezTo>
                <a:cubicBezTo>
                  <a:pt x="224" y="262"/>
                  <a:pt x="224" y="264"/>
                  <a:pt x="225" y="265"/>
                </a:cubicBezTo>
                <a:cubicBezTo>
                  <a:pt x="224" y="265"/>
                  <a:pt x="224" y="265"/>
                  <a:pt x="224" y="265"/>
                </a:cubicBezTo>
                <a:cubicBezTo>
                  <a:pt x="225" y="268"/>
                  <a:pt x="223" y="272"/>
                  <a:pt x="219" y="274"/>
                </a:cubicBez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132" name="Oval 22"/>
          <p:cNvSpPr>
            <a:spLocks noChangeArrowheads="1"/>
          </p:cNvSpPr>
          <p:nvPr/>
        </p:nvSpPr>
        <p:spPr bwMode="auto">
          <a:xfrm>
            <a:off x="6589621" y="1528549"/>
            <a:ext cx="1119124" cy="1119124"/>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206" name="Freeform 37"/>
          <p:cNvSpPr>
            <a:spLocks noEditPoints="1"/>
          </p:cNvSpPr>
          <p:nvPr/>
        </p:nvSpPr>
        <p:spPr bwMode="auto">
          <a:xfrm>
            <a:off x="6956906" y="1704659"/>
            <a:ext cx="384554" cy="767570"/>
          </a:xfrm>
          <a:custGeom>
            <a:avLst/>
            <a:gdLst>
              <a:gd name="T0" fmla="*/ 243 w 245"/>
              <a:gd name="T1" fmla="*/ 273 h 489"/>
              <a:gd name="T2" fmla="*/ 195 w 245"/>
              <a:gd name="T3" fmla="*/ 133 h 489"/>
              <a:gd name="T4" fmla="*/ 50 w 245"/>
              <a:gd name="T5" fmla="*/ 133 h 489"/>
              <a:gd name="T6" fmla="*/ 2 w 245"/>
              <a:gd name="T7" fmla="*/ 273 h 489"/>
              <a:gd name="T8" fmla="*/ 14 w 245"/>
              <a:gd name="T9" fmla="*/ 295 h 489"/>
              <a:gd name="T10" fmla="*/ 36 w 245"/>
              <a:gd name="T11" fmla="*/ 286 h 489"/>
              <a:gd name="T12" fmla="*/ 63 w 245"/>
              <a:gd name="T13" fmla="*/ 469 h 489"/>
              <a:gd name="T14" fmla="*/ 86 w 245"/>
              <a:gd name="T15" fmla="*/ 489 h 489"/>
              <a:gd name="T16" fmla="*/ 123 w 245"/>
              <a:gd name="T17" fmla="*/ 345 h 489"/>
              <a:gd name="T18" fmla="*/ 159 w 245"/>
              <a:gd name="T19" fmla="*/ 489 h 489"/>
              <a:gd name="T20" fmla="*/ 182 w 245"/>
              <a:gd name="T21" fmla="*/ 470 h 489"/>
              <a:gd name="T22" fmla="*/ 175 w 245"/>
              <a:gd name="T23" fmla="*/ 212 h 489"/>
              <a:gd name="T24" fmla="*/ 225 w 245"/>
              <a:gd name="T25" fmla="*/ 296 h 489"/>
              <a:gd name="T26" fmla="*/ 243 w 245"/>
              <a:gd name="T27" fmla="*/ 274 h 489"/>
              <a:gd name="T28" fmla="*/ 225 w 245"/>
              <a:gd name="T29" fmla="*/ 286 h 489"/>
              <a:gd name="T30" fmla="*/ 174 w 245"/>
              <a:gd name="T31" fmla="*/ 187 h 489"/>
              <a:gd name="T32" fmla="*/ 165 w 245"/>
              <a:gd name="T33" fmla="*/ 189 h 489"/>
              <a:gd name="T34" fmla="*/ 171 w 245"/>
              <a:gd name="T35" fmla="*/ 426 h 489"/>
              <a:gd name="T36" fmla="*/ 172 w 245"/>
              <a:gd name="T37" fmla="*/ 469 h 489"/>
              <a:gd name="T38" fmla="*/ 159 w 245"/>
              <a:gd name="T39" fmla="*/ 479 h 489"/>
              <a:gd name="T40" fmla="*/ 159 w 245"/>
              <a:gd name="T41" fmla="*/ 479 h 489"/>
              <a:gd name="T42" fmla="*/ 127 w 245"/>
              <a:gd name="T43" fmla="*/ 304 h 489"/>
              <a:gd name="T44" fmla="*/ 118 w 245"/>
              <a:gd name="T45" fmla="*/ 304 h 489"/>
              <a:gd name="T46" fmla="*/ 86 w 245"/>
              <a:gd name="T47" fmla="*/ 479 h 489"/>
              <a:gd name="T48" fmla="*/ 73 w 245"/>
              <a:gd name="T49" fmla="*/ 467 h 489"/>
              <a:gd name="T50" fmla="*/ 74 w 245"/>
              <a:gd name="T51" fmla="*/ 426 h 489"/>
              <a:gd name="T52" fmla="*/ 80 w 245"/>
              <a:gd name="T53" fmla="*/ 189 h 489"/>
              <a:gd name="T54" fmla="*/ 71 w 245"/>
              <a:gd name="T55" fmla="*/ 187 h 489"/>
              <a:gd name="T56" fmla="*/ 21 w 245"/>
              <a:gd name="T57" fmla="*/ 286 h 489"/>
              <a:gd name="T58" fmla="*/ 11 w 245"/>
              <a:gd name="T59" fmla="*/ 276 h 489"/>
              <a:gd name="T60" fmla="*/ 13 w 245"/>
              <a:gd name="T61" fmla="*/ 272 h 489"/>
              <a:gd name="T62" fmla="*/ 58 w 245"/>
              <a:gd name="T63" fmla="*/ 137 h 489"/>
              <a:gd name="T64" fmla="*/ 187 w 245"/>
              <a:gd name="T65" fmla="*/ 137 h 489"/>
              <a:gd name="T66" fmla="*/ 232 w 245"/>
              <a:gd name="T67" fmla="*/ 272 h 489"/>
              <a:gd name="T68" fmla="*/ 234 w 245"/>
              <a:gd name="T69" fmla="*/ 276 h 489"/>
              <a:gd name="T70" fmla="*/ 123 w 245"/>
              <a:gd name="T71" fmla="*/ 92 h 489"/>
              <a:gd name="T72" fmla="*/ 123 w 245"/>
              <a:gd name="T73" fmla="*/ 0 h 489"/>
              <a:gd name="T74" fmla="*/ 123 w 245"/>
              <a:gd name="T75" fmla="*/ 92 h 489"/>
              <a:gd name="T76" fmla="*/ 159 w 245"/>
              <a:gd name="T77" fmla="*/ 46 h 489"/>
              <a:gd name="T78" fmla="*/ 86 w 245"/>
              <a:gd name="T79" fmla="*/ 46 h 4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5" h="489">
                <a:moveTo>
                  <a:pt x="243" y="274"/>
                </a:moveTo>
                <a:cubicBezTo>
                  <a:pt x="243" y="274"/>
                  <a:pt x="243" y="274"/>
                  <a:pt x="243" y="273"/>
                </a:cubicBezTo>
                <a:cubicBezTo>
                  <a:pt x="242" y="272"/>
                  <a:pt x="240" y="265"/>
                  <a:pt x="237" y="256"/>
                </a:cubicBezTo>
                <a:cubicBezTo>
                  <a:pt x="226" y="220"/>
                  <a:pt x="201" y="146"/>
                  <a:pt x="195" y="133"/>
                </a:cubicBezTo>
                <a:cubicBezTo>
                  <a:pt x="185" y="112"/>
                  <a:pt x="163" y="103"/>
                  <a:pt x="123" y="103"/>
                </a:cubicBezTo>
                <a:cubicBezTo>
                  <a:pt x="82" y="103"/>
                  <a:pt x="60" y="112"/>
                  <a:pt x="50" y="133"/>
                </a:cubicBezTo>
                <a:cubicBezTo>
                  <a:pt x="44" y="146"/>
                  <a:pt x="19" y="220"/>
                  <a:pt x="8" y="256"/>
                </a:cubicBezTo>
                <a:cubicBezTo>
                  <a:pt x="5" y="265"/>
                  <a:pt x="3" y="272"/>
                  <a:pt x="2" y="273"/>
                </a:cubicBezTo>
                <a:cubicBezTo>
                  <a:pt x="2" y="274"/>
                  <a:pt x="2" y="274"/>
                  <a:pt x="2" y="274"/>
                </a:cubicBezTo>
                <a:cubicBezTo>
                  <a:pt x="0" y="282"/>
                  <a:pt x="5" y="291"/>
                  <a:pt x="14" y="295"/>
                </a:cubicBezTo>
                <a:cubicBezTo>
                  <a:pt x="16" y="295"/>
                  <a:pt x="18" y="296"/>
                  <a:pt x="21" y="296"/>
                </a:cubicBezTo>
                <a:cubicBezTo>
                  <a:pt x="28" y="296"/>
                  <a:pt x="34" y="292"/>
                  <a:pt x="36" y="286"/>
                </a:cubicBezTo>
                <a:cubicBezTo>
                  <a:pt x="70" y="212"/>
                  <a:pt x="70" y="212"/>
                  <a:pt x="70" y="212"/>
                </a:cubicBezTo>
                <a:cubicBezTo>
                  <a:pt x="68" y="309"/>
                  <a:pt x="64" y="463"/>
                  <a:pt x="63" y="469"/>
                </a:cubicBezTo>
                <a:cubicBezTo>
                  <a:pt x="63" y="470"/>
                  <a:pt x="63" y="470"/>
                  <a:pt x="63" y="470"/>
                </a:cubicBezTo>
                <a:cubicBezTo>
                  <a:pt x="64" y="481"/>
                  <a:pt x="74" y="489"/>
                  <a:pt x="86" y="489"/>
                </a:cubicBezTo>
                <a:cubicBezTo>
                  <a:pt x="97" y="489"/>
                  <a:pt x="107" y="481"/>
                  <a:pt x="108" y="470"/>
                </a:cubicBezTo>
                <a:cubicBezTo>
                  <a:pt x="123" y="345"/>
                  <a:pt x="123" y="345"/>
                  <a:pt x="123" y="345"/>
                </a:cubicBezTo>
                <a:cubicBezTo>
                  <a:pt x="137" y="470"/>
                  <a:pt x="137" y="470"/>
                  <a:pt x="137" y="470"/>
                </a:cubicBezTo>
                <a:cubicBezTo>
                  <a:pt x="138" y="481"/>
                  <a:pt x="148" y="489"/>
                  <a:pt x="159" y="489"/>
                </a:cubicBezTo>
                <a:cubicBezTo>
                  <a:pt x="159" y="489"/>
                  <a:pt x="159" y="489"/>
                  <a:pt x="159" y="489"/>
                </a:cubicBezTo>
                <a:cubicBezTo>
                  <a:pt x="171" y="489"/>
                  <a:pt x="181" y="481"/>
                  <a:pt x="182" y="470"/>
                </a:cubicBezTo>
                <a:cubicBezTo>
                  <a:pt x="182" y="470"/>
                  <a:pt x="182" y="470"/>
                  <a:pt x="182" y="469"/>
                </a:cubicBezTo>
                <a:cubicBezTo>
                  <a:pt x="181" y="463"/>
                  <a:pt x="177" y="309"/>
                  <a:pt x="175" y="212"/>
                </a:cubicBezTo>
                <a:cubicBezTo>
                  <a:pt x="209" y="286"/>
                  <a:pt x="209" y="286"/>
                  <a:pt x="209" y="286"/>
                </a:cubicBezTo>
                <a:cubicBezTo>
                  <a:pt x="211" y="292"/>
                  <a:pt x="217" y="296"/>
                  <a:pt x="225" y="296"/>
                </a:cubicBezTo>
                <a:cubicBezTo>
                  <a:pt x="227" y="296"/>
                  <a:pt x="229" y="295"/>
                  <a:pt x="231" y="295"/>
                </a:cubicBezTo>
                <a:cubicBezTo>
                  <a:pt x="240" y="291"/>
                  <a:pt x="245" y="282"/>
                  <a:pt x="243" y="274"/>
                </a:cubicBezTo>
                <a:close/>
                <a:moveTo>
                  <a:pt x="228" y="286"/>
                </a:moveTo>
                <a:cubicBezTo>
                  <a:pt x="227" y="286"/>
                  <a:pt x="226" y="286"/>
                  <a:pt x="225" y="286"/>
                </a:cubicBezTo>
                <a:cubicBezTo>
                  <a:pt x="221" y="286"/>
                  <a:pt x="218" y="285"/>
                  <a:pt x="217" y="282"/>
                </a:cubicBezTo>
                <a:cubicBezTo>
                  <a:pt x="174" y="187"/>
                  <a:pt x="174" y="187"/>
                  <a:pt x="174" y="187"/>
                </a:cubicBezTo>
                <a:cubicBezTo>
                  <a:pt x="173" y="185"/>
                  <a:pt x="171" y="184"/>
                  <a:pt x="169" y="184"/>
                </a:cubicBezTo>
                <a:cubicBezTo>
                  <a:pt x="167" y="184"/>
                  <a:pt x="165" y="186"/>
                  <a:pt x="165" y="189"/>
                </a:cubicBezTo>
                <a:cubicBezTo>
                  <a:pt x="165" y="189"/>
                  <a:pt x="167" y="259"/>
                  <a:pt x="169" y="329"/>
                </a:cubicBezTo>
                <a:cubicBezTo>
                  <a:pt x="169" y="364"/>
                  <a:pt x="170" y="399"/>
                  <a:pt x="171" y="426"/>
                </a:cubicBezTo>
                <a:cubicBezTo>
                  <a:pt x="171" y="439"/>
                  <a:pt x="172" y="450"/>
                  <a:pt x="172" y="458"/>
                </a:cubicBezTo>
                <a:cubicBezTo>
                  <a:pt x="172" y="464"/>
                  <a:pt x="172" y="467"/>
                  <a:pt x="172" y="469"/>
                </a:cubicBezTo>
                <a:cubicBezTo>
                  <a:pt x="172" y="469"/>
                  <a:pt x="172" y="469"/>
                  <a:pt x="172" y="469"/>
                </a:cubicBezTo>
                <a:cubicBezTo>
                  <a:pt x="172" y="475"/>
                  <a:pt x="166" y="479"/>
                  <a:pt x="159" y="479"/>
                </a:cubicBezTo>
                <a:cubicBezTo>
                  <a:pt x="159" y="484"/>
                  <a:pt x="159" y="484"/>
                  <a:pt x="159" y="484"/>
                </a:cubicBezTo>
                <a:cubicBezTo>
                  <a:pt x="159" y="479"/>
                  <a:pt x="159" y="479"/>
                  <a:pt x="159" y="479"/>
                </a:cubicBezTo>
                <a:cubicBezTo>
                  <a:pt x="153" y="479"/>
                  <a:pt x="147" y="475"/>
                  <a:pt x="147" y="469"/>
                </a:cubicBezTo>
                <a:cubicBezTo>
                  <a:pt x="127" y="304"/>
                  <a:pt x="127" y="304"/>
                  <a:pt x="127" y="304"/>
                </a:cubicBezTo>
                <a:cubicBezTo>
                  <a:pt x="127" y="302"/>
                  <a:pt x="125" y="300"/>
                  <a:pt x="123" y="300"/>
                </a:cubicBezTo>
                <a:cubicBezTo>
                  <a:pt x="120" y="300"/>
                  <a:pt x="118" y="302"/>
                  <a:pt x="118" y="304"/>
                </a:cubicBezTo>
                <a:cubicBezTo>
                  <a:pt x="98" y="469"/>
                  <a:pt x="98" y="469"/>
                  <a:pt x="98" y="469"/>
                </a:cubicBezTo>
                <a:cubicBezTo>
                  <a:pt x="98" y="475"/>
                  <a:pt x="92" y="479"/>
                  <a:pt x="86" y="479"/>
                </a:cubicBezTo>
                <a:cubicBezTo>
                  <a:pt x="79" y="479"/>
                  <a:pt x="73" y="475"/>
                  <a:pt x="73" y="469"/>
                </a:cubicBezTo>
                <a:cubicBezTo>
                  <a:pt x="73" y="469"/>
                  <a:pt x="73" y="468"/>
                  <a:pt x="73" y="467"/>
                </a:cubicBezTo>
                <a:cubicBezTo>
                  <a:pt x="73" y="465"/>
                  <a:pt x="73" y="462"/>
                  <a:pt x="73" y="458"/>
                </a:cubicBezTo>
                <a:cubicBezTo>
                  <a:pt x="73" y="450"/>
                  <a:pt x="74" y="439"/>
                  <a:pt x="74" y="426"/>
                </a:cubicBezTo>
                <a:cubicBezTo>
                  <a:pt x="75" y="400"/>
                  <a:pt x="76" y="364"/>
                  <a:pt x="77" y="329"/>
                </a:cubicBezTo>
                <a:cubicBezTo>
                  <a:pt x="78" y="259"/>
                  <a:pt x="80" y="189"/>
                  <a:pt x="80" y="189"/>
                </a:cubicBezTo>
                <a:cubicBezTo>
                  <a:pt x="80" y="186"/>
                  <a:pt x="79" y="184"/>
                  <a:pt x="76" y="184"/>
                </a:cubicBezTo>
                <a:cubicBezTo>
                  <a:pt x="74" y="184"/>
                  <a:pt x="72" y="185"/>
                  <a:pt x="71" y="187"/>
                </a:cubicBezTo>
                <a:cubicBezTo>
                  <a:pt x="28" y="282"/>
                  <a:pt x="28" y="282"/>
                  <a:pt x="28" y="282"/>
                </a:cubicBezTo>
                <a:cubicBezTo>
                  <a:pt x="27" y="285"/>
                  <a:pt x="24" y="286"/>
                  <a:pt x="21" y="286"/>
                </a:cubicBezTo>
                <a:cubicBezTo>
                  <a:pt x="19" y="286"/>
                  <a:pt x="18" y="286"/>
                  <a:pt x="17" y="286"/>
                </a:cubicBezTo>
                <a:cubicBezTo>
                  <a:pt x="13" y="284"/>
                  <a:pt x="10" y="280"/>
                  <a:pt x="11" y="276"/>
                </a:cubicBezTo>
                <a:cubicBezTo>
                  <a:pt x="11" y="276"/>
                  <a:pt x="11" y="276"/>
                  <a:pt x="11" y="276"/>
                </a:cubicBezTo>
                <a:cubicBezTo>
                  <a:pt x="11" y="275"/>
                  <a:pt x="12" y="274"/>
                  <a:pt x="13" y="272"/>
                </a:cubicBezTo>
                <a:cubicBezTo>
                  <a:pt x="14" y="269"/>
                  <a:pt x="15" y="264"/>
                  <a:pt x="17" y="259"/>
                </a:cubicBezTo>
                <a:cubicBezTo>
                  <a:pt x="27" y="226"/>
                  <a:pt x="52" y="149"/>
                  <a:pt x="58" y="137"/>
                </a:cubicBezTo>
                <a:cubicBezTo>
                  <a:pt x="64" y="125"/>
                  <a:pt x="76" y="112"/>
                  <a:pt x="123" y="112"/>
                </a:cubicBezTo>
                <a:cubicBezTo>
                  <a:pt x="169" y="112"/>
                  <a:pt x="181" y="125"/>
                  <a:pt x="187" y="137"/>
                </a:cubicBezTo>
                <a:cubicBezTo>
                  <a:pt x="193" y="149"/>
                  <a:pt x="218" y="226"/>
                  <a:pt x="228" y="259"/>
                </a:cubicBezTo>
                <a:cubicBezTo>
                  <a:pt x="230" y="264"/>
                  <a:pt x="232" y="269"/>
                  <a:pt x="232" y="272"/>
                </a:cubicBezTo>
                <a:cubicBezTo>
                  <a:pt x="233" y="274"/>
                  <a:pt x="234" y="275"/>
                  <a:pt x="234" y="276"/>
                </a:cubicBezTo>
                <a:cubicBezTo>
                  <a:pt x="234" y="276"/>
                  <a:pt x="234" y="276"/>
                  <a:pt x="234" y="276"/>
                </a:cubicBezTo>
                <a:cubicBezTo>
                  <a:pt x="235" y="280"/>
                  <a:pt x="232" y="284"/>
                  <a:pt x="228" y="286"/>
                </a:cubicBezTo>
                <a:close/>
                <a:moveTo>
                  <a:pt x="123" y="92"/>
                </a:moveTo>
                <a:cubicBezTo>
                  <a:pt x="148" y="92"/>
                  <a:pt x="169" y="71"/>
                  <a:pt x="169" y="46"/>
                </a:cubicBezTo>
                <a:cubicBezTo>
                  <a:pt x="169" y="20"/>
                  <a:pt x="148" y="0"/>
                  <a:pt x="123" y="0"/>
                </a:cubicBezTo>
                <a:cubicBezTo>
                  <a:pt x="97" y="0"/>
                  <a:pt x="76" y="20"/>
                  <a:pt x="76" y="46"/>
                </a:cubicBezTo>
                <a:cubicBezTo>
                  <a:pt x="76" y="71"/>
                  <a:pt x="97" y="92"/>
                  <a:pt x="123" y="92"/>
                </a:cubicBezTo>
                <a:close/>
                <a:moveTo>
                  <a:pt x="123" y="9"/>
                </a:moveTo>
                <a:cubicBezTo>
                  <a:pt x="143" y="9"/>
                  <a:pt x="159" y="26"/>
                  <a:pt x="159" y="46"/>
                </a:cubicBezTo>
                <a:cubicBezTo>
                  <a:pt x="159" y="66"/>
                  <a:pt x="143" y="83"/>
                  <a:pt x="123" y="83"/>
                </a:cubicBezTo>
                <a:cubicBezTo>
                  <a:pt x="102" y="83"/>
                  <a:pt x="86" y="66"/>
                  <a:pt x="86" y="46"/>
                </a:cubicBezTo>
                <a:cubicBezTo>
                  <a:pt x="86" y="26"/>
                  <a:pt x="102" y="9"/>
                  <a:pt x="123" y="9"/>
                </a:cubicBez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133" name="Oval 23"/>
          <p:cNvSpPr>
            <a:spLocks noChangeArrowheads="1"/>
          </p:cNvSpPr>
          <p:nvPr/>
        </p:nvSpPr>
        <p:spPr bwMode="auto">
          <a:xfrm>
            <a:off x="4831649" y="1528549"/>
            <a:ext cx="1119124" cy="1119124"/>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207" name="Freeform 38"/>
          <p:cNvSpPr>
            <a:spLocks noEditPoints="1"/>
          </p:cNvSpPr>
          <p:nvPr/>
        </p:nvSpPr>
        <p:spPr bwMode="auto">
          <a:xfrm>
            <a:off x="5198487" y="1704659"/>
            <a:ext cx="384783" cy="767570"/>
          </a:xfrm>
          <a:custGeom>
            <a:avLst/>
            <a:gdLst>
              <a:gd name="T0" fmla="*/ 169 w 245"/>
              <a:gd name="T1" fmla="*/ 46 h 489"/>
              <a:gd name="T2" fmla="*/ 76 w 245"/>
              <a:gd name="T3" fmla="*/ 46 h 489"/>
              <a:gd name="T4" fmla="*/ 122 w 245"/>
              <a:gd name="T5" fmla="*/ 9 h 489"/>
              <a:gd name="T6" fmla="*/ 122 w 245"/>
              <a:gd name="T7" fmla="*/ 83 h 489"/>
              <a:gd name="T8" fmla="*/ 122 w 245"/>
              <a:gd name="T9" fmla="*/ 9 h 489"/>
              <a:gd name="T10" fmla="*/ 243 w 245"/>
              <a:gd name="T11" fmla="*/ 273 h 489"/>
              <a:gd name="T12" fmla="*/ 195 w 245"/>
              <a:gd name="T13" fmla="*/ 132 h 489"/>
              <a:gd name="T14" fmla="*/ 50 w 245"/>
              <a:gd name="T15" fmla="*/ 132 h 489"/>
              <a:gd name="T16" fmla="*/ 2 w 245"/>
              <a:gd name="T17" fmla="*/ 273 h 489"/>
              <a:gd name="T18" fmla="*/ 14 w 245"/>
              <a:gd name="T19" fmla="*/ 294 h 489"/>
              <a:gd name="T20" fmla="*/ 36 w 245"/>
              <a:gd name="T21" fmla="*/ 285 h 489"/>
              <a:gd name="T22" fmla="*/ 39 w 245"/>
              <a:gd name="T23" fmla="*/ 356 h 489"/>
              <a:gd name="T24" fmla="*/ 44 w 245"/>
              <a:gd name="T25" fmla="*/ 362 h 489"/>
              <a:gd name="T26" fmla="*/ 63 w 245"/>
              <a:gd name="T27" fmla="*/ 469 h 489"/>
              <a:gd name="T28" fmla="*/ 85 w 245"/>
              <a:gd name="T29" fmla="*/ 489 h 489"/>
              <a:gd name="T30" fmla="*/ 120 w 245"/>
              <a:gd name="T31" fmla="*/ 362 h 489"/>
              <a:gd name="T32" fmla="*/ 137 w 245"/>
              <a:gd name="T33" fmla="*/ 470 h 489"/>
              <a:gd name="T34" fmla="*/ 159 w 245"/>
              <a:gd name="T35" fmla="*/ 489 h 489"/>
              <a:gd name="T36" fmla="*/ 181 w 245"/>
              <a:gd name="T37" fmla="*/ 469 h 489"/>
              <a:gd name="T38" fmla="*/ 201 w 245"/>
              <a:gd name="T39" fmla="*/ 362 h 489"/>
              <a:gd name="T40" fmla="*/ 205 w 245"/>
              <a:gd name="T41" fmla="*/ 356 h 489"/>
              <a:gd name="T42" fmla="*/ 208 w 245"/>
              <a:gd name="T43" fmla="*/ 285 h 489"/>
              <a:gd name="T44" fmla="*/ 224 w 245"/>
              <a:gd name="T45" fmla="*/ 295 h 489"/>
              <a:gd name="T46" fmla="*/ 243 w 245"/>
              <a:gd name="T47" fmla="*/ 274 h 489"/>
              <a:gd name="T48" fmla="*/ 224 w 245"/>
              <a:gd name="T49" fmla="*/ 286 h 489"/>
              <a:gd name="T50" fmla="*/ 217 w 245"/>
              <a:gd name="T51" fmla="*/ 282 h 489"/>
              <a:gd name="T52" fmla="*/ 171 w 245"/>
              <a:gd name="T53" fmla="*/ 184 h 489"/>
              <a:gd name="T54" fmla="*/ 195 w 245"/>
              <a:gd name="T55" fmla="*/ 353 h 489"/>
              <a:gd name="T56" fmla="*/ 170 w 245"/>
              <a:gd name="T57" fmla="*/ 354 h 489"/>
              <a:gd name="T58" fmla="*/ 170 w 245"/>
              <a:gd name="T59" fmla="*/ 413 h 489"/>
              <a:gd name="T60" fmla="*/ 172 w 245"/>
              <a:gd name="T61" fmla="*/ 469 h 489"/>
              <a:gd name="T62" fmla="*/ 159 w 245"/>
              <a:gd name="T63" fmla="*/ 479 h 489"/>
              <a:gd name="T64" fmla="*/ 159 w 245"/>
              <a:gd name="T65" fmla="*/ 479 h 489"/>
              <a:gd name="T66" fmla="*/ 133 w 245"/>
              <a:gd name="T67" fmla="*/ 357 h 489"/>
              <a:gd name="T68" fmla="*/ 116 w 245"/>
              <a:gd name="T69" fmla="*/ 353 h 489"/>
              <a:gd name="T70" fmla="*/ 98 w 245"/>
              <a:gd name="T71" fmla="*/ 469 h 489"/>
              <a:gd name="T72" fmla="*/ 73 w 245"/>
              <a:gd name="T73" fmla="*/ 469 h 489"/>
              <a:gd name="T74" fmla="*/ 73 w 245"/>
              <a:gd name="T75" fmla="*/ 465 h 489"/>
              <a:gd name="T76" fmla="*/ 74 w 245"/>
              <a:gd name="T77" fmla="*/ 413 h 489"/>
              <a:gd name="T78" fmla="*/ 74 w 245"/>
              <a:gd name="T79" fmla="*/ 354 h 489"/>
              <a:gd name="T80" fmla="*/ 49 w 245"/>
              <a:gd name="T81" fmla="*/ 353 h 489"/>
              <a:gd name="T82" fmla="*/ 73 w 245"/>
              <a:gd name="T83" fmla="*/ 184 h 489"/>
              <a:gd name="T84" fmla="*/ 28 w 245"/>
              <a:gd name="T85" fmla="*/ 282 h 489"/>
              <a:gd name="T86" fmla="*/ 17 w 245"/>
              <a:gd name="T87" fmla="*/ 285 h 489"/>
              <a:gd name="T88" fmla="*/ 11 w 245"/>
              <a:gd name="T89" fmla="*/ 276 h 489"/>
              <a:gd name="T90" fmla="*/ 16 w 245"/>
              <a:gd name="T91" fmla="*/ 259 h 489"/>
              <a:gd name="T92" fmla="*/ 122 w 245"/>
              <a:gd name="T93" fmla="*/ 112 h 489"/>
              <a:gd name="T94" fmla="*/ 228 w 245"/>
              <a:gd name="T95" fmla="*/ 259 h 489"/>
              <a:gd name="T96" fmla="*/ 234 w 245"/>
              <a:gd name="T97" fmla="*/ 276 h 489"/>
              <a:gd name="T98" fmla="*/ 228 w 245"/>
              <a:gd name="T99" fmla="*/ 285 h 4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45" h="489">
                <a:moveTo>
                  <a:pt x="122" y="93"/>
                </a:moveTo>
                <a:cubicBezTo>
                  <a:pt x="148" y="93"/>
                  <a:pt x="169" y="72"/>
                  <a:pt x="169" y="46"/>
                </a:cubicBezTo>
                <a:cubicBezTo>
                  <a:pt x="169" y="21"/>
                  <a:pt x="148" y="0"/>
                  <a:pt x="122" y="0"/>
                </a:cubicBezTo>
                <a:cubicBezTo>
                  <a:pt x="97" y="0"/>
                  <a:pt x="76" y="21"/>
                  <a:pt x="76" y="46"/>
                </a:cubicBezTo>
                <a:cubicBezTo>
                  <a:pt x="76" y="72"/>
                  <a:pt x="97" y="93"/>
                  <a:pt x="122" y="93"/>
                </a:cubicBezTo>
                <a:close/>
                <a:moveTo>
                  <a:pt x="122" y="9"/>
                </a:moveTo>
                <a:cubicBezTo>
                  <a:pt x="143" y="9"/>
                  <a:pt x="159" y="26"/>
                  <a:pt x="159" y="46"/>
                </a:cubicBezTo>
                <a:cubicBezTo>
                  <a:pt x="159" y="67"/>
                  <a:pt x="143" y="83"/>
                  <a:pt x="122" y="83"/>
                </a:cubicBezTo>
                <a:cubicBezTo>
                  <a:pt x="102" y="83"/>
                  <a:pt x="85" y="67"/>
                  <a:pt x="85" y="46"/>
                </a:cubicBezTo>
                <a:cubicBezTo>
                  <a:pt x="85" y="26"/>
                  <a:pt x="102" y="9"/>
                  <a:pt x="122" y="9"/>
                </a:cubicBezTo>
                <a:close/>
                <a:moveTo>
                  <a:pt x="243" y="274"/>
                </a:moveTo>
                <a:cubicBezTo>
                  <a:pt x="243" y="273"/>
                  <a:pt x="243" y="273"/>
                  <a:pt x="243" y="273"/>
                </a:cubicBezTo>
                <a:cubicBezTo>
                  <a:pt x="242" y="272"/>
                  <a:pt x="240" y="265"/>
                  <a:pt x="237" y="256"/>
                </a:cubicBezTo>
                <a:cubicBezTo>
                  <a:pt x="225" y="220"/>
                  <a:pt x="201" y="145"/>
                  <a:pt x="195" y="132"/>
                </a:cubicBezTo>
                <a:cubicBezTo>
                  <a:pt x="185" y="112"/>
                  <a:pt x="163" y="103"/>
                  <a:pt x="122" y="103"/>
                </a:cubicBezTo>
                <a:cubicBezTo>
                  <a:pt x="81" y="103"/>
                  <a:pt x="60" y="112"/>
                  <a:pt x="50" y="132"/>
                </a:cubicBezTo>
                <a:cubicBezTo>
                  <a:pt x="43" y="145"/>
                  <a:pt x="19" y="220"/>
                  <a:pt x="8" y="256"/>
                </a:cubicBezTo>
                <a:cubicBezTo>
                  <a:pt x="5" y="265"/>
                  <a:pt x="2" y="272"/>
                  <a:pt x="2" y="273"/>
                </a:cubicBezTo>
                <a:cubicBezTo>
                  <a:pt x="2" y="273"/>
                  <a:pt x="2" y="273"/>
                  <a:pt x="2" y="274"/>
                </a:cubicBezTo>
                <a:cubicBezTo>
                  <a:pt x="0" y="282"/>
                  <a:pt x="5" y="291"/>
                  <a:pt x="14" y="294"/>
                </a:cubicBezTo>
                <a:cubicBezTo>
                  <a:pt x="16" y="295"/>
                  <a:pt x="18" y="295"/>
                  <a:pt x="20" y="295"/>
                </a:cubicBezTo>
                <a:cubicBezTo>
                  <a:pt x="27" y="295"/>
                  <a:pt x="34" y="291"/>
                  <a:pt x="36" y="285"/>
                </a:cubicBezTo>
                <a:cubicBezTo>
                  <a:pt x="61" y="227"/>
                  <a:pt x="61" y="227"/>
                  <a:pt x="61" y="227"/>
                </a:cubicBezTo>
                <a:cubicBezTo>
                  <a:pt x="39" y="356"/>
                  <a:pt x="39" y="356"/>
                  <a:pt x="39" y="356"/>
                </a:cubicBezTo>
                <a:cubicBezTo>
                  <a:pt x="39" y="358"/>
                  <a:pt x="39" y="359"/>
                  <a:pt x="40" y="360"/>
                </a:cubicBezTo>
                <a:cubicBezTo>
                  <a:pt x="41" y="361"/>
                  <a:pt x="42" y="362"/>
                  <a:pt x="44" y="362"/>
                </a:cubicBezTo>
                <a:cubicBezTo>
                  <a:pt x="66" y="362"/>
                  <a:pt x="66" y="362"/>
                  <a:pt x="66" y="362"/>
                </a:cubicBezTo>
                <a:cubicBezTo>
                  <a:pt x="65" y="395"/>
                  <a:pt x="63" y="465"/>
                  <a:pt x="63" y="469"/>
                </a:cubicBezTo>
                <a:cubicBezTo>
                  <a:pt x="63" y="469"/>
                  <a:pt x="63" y="469"/>
                  <a:pt x="63" y="470"/>
                </a:cubicBezTo>
                <a:cubicBezTo>
                  <a:pt x="64" y="480"/>
                  <a:pt x="74" y="488"/>
                  <a:pt x="85" y="489"/>
                </a:cubicBezTo>
                <a:cubicBezTo>
                  <a:pt x="97" y="489"/>
                  <a:pt x="107" y="480"/>
                  <a:pt x="108" y="470"/>
                </a:cubicBezTo>
                <a:cubicBezTo>
                  <a:pt x="120" y="362"/>
                  <a:pt x="120" y="362"/>
                  <a:pt x="120" y="362"/>
                </a:cubicBezTo>
                <a:cubicBezTo>
                  <a:pt x="124" y="362"/>
                  <a:pt x="124" y="362"/>
                  <a:pt x="124" y="362"/>
                </a:cubicBezTo>
                <a:cubicBezTo>
                  <a:pt x="137" y="470"/>
                  <a:pt x="137" y="470"/>
                  <a:pt x="137" y="470"/>
                </a:cubicBezTo>
                <a:cubicBezTo>
                  <a:pt x="138" y="480"/>
                  <a:pt x="148" y="489"/>
                  <a:pt x="159" y="489"/>
                </a:cubicBezTo>
                <a:cubicBezTo>
                  <a:pt x="159" y="489"/>
                  <a:pt x="159" y="489"/>
                  <a:pt x="159" y="489"/>
                </a:cubicBezTo>
                <a:cubicBezTo>
                  <a:pt x="171" y="488"/>
                  <a:pt x="180" y="480"/>
                  <a:pt x="181" y="470"/>
                </a:cubicBezTo>
                <a:cubicBezTo>
                  <a:pt x="181" y="469"/>
                  <a:pt x="181" y="469"/>
                  <a:pt x="181" y="469"/>
                </a:cubicBezTo>
                <a:cubicBezTo>
                  <a:pt x="181" y="465"/>
                  <a:pt x="179" y="395"/>
                  <a:pt x="178" y="362"/>
                </a:cubicBezTo>
                <a:cubicBezTo>
                  <a:pt x="201" y="362"/>
                  <a:pt x="201" y="362"/>
                  <a:pt x="201" y="362"/>
                </a:cubicBezTo>
                <a:cubicBezTo>
                  <a:pt x="203" y="362"/>
                  <a:pt x="205" y="360"/>
                  <a:pt x="205" y="357"/>
                </a:cubicBezTo>
                <a:cubicBezTo>
                  <a:pt x="205" y="357"/>
                  <a:pt x="205" y="356"/>
                  <a:pt x="205" y="356"/>
                </a:cubicBezTo>
                <a:cubicBezTo>
                  <a:pt x="184" y="227"/>
                  <a:pt x="184" y="227"/>
                  <a:pt x="184" y="227"/>
                </a:cubicBezTo>
                <a:cubicBezTo>
                  <a:pt x="208" y="285"/>
                  <a:pt x="208" y="285"/>
                  <a:pt x="208" y="285"/>
                </a:cubicBezTo>
                <a:cubicBezTo>
                  <a:pt x="211" y="291"/>
                  <a:pt x="217" y="295"/>
                  <a:pt x="224" y="295"/>
                </a:cubicBezTo>
                <a:cubicBezTo>
                  <a:pt x="224" y="295"/>
                  <a:pt x="224" y="295"/>
                  <a:pt x="224" y="295"/>
                </a:cubicBezTo>
                <a:cubicBezTo>
                  <a:pt x="226" y="295"/>
                  <a:pt x="229" y="295"/>
                  <a:pt x="231" y="294"/>
                </a:cubicBezTo>
                <a:cubicBezTo>
                  <a:pt x="240" y="291"/>
                  <a:pt x="245" y="282"/>
                  <a:pt x="243" y="274"/>
                </a:cubicBezTo>
                <a:close/>
                <a:moveTo>
                  <a:pt x="228" y="285"/>
                </a:moveTo>
                <a:cubicBezTo>
                  <a:pt x="227" y="286"/>
                  <a:pt x="225" y="286"/>
                  <a:pt x="224" y="286"/>
                </a:cubicBezTo>
                <a:cubicBezTo>
                  <a:pt x="224" y="286"/>
                  <a:pt x="224" y="286"/>
                  <a:pt x="224" y="286"/>
                </a:cubicBezTo>
                <a:cubicBezTo>
                  <a:pt x="221" y="286"/>
                  <a:pt x="218" y="284"/>
                  <a:pt x="217" y="282"/>
                </a:cubicBezTo>
                <a:cubicBezTo>
                  <a:pt x="177" y="186"/>
                  <a:pt x="177" y="186"/>
                  <a:pt x="177" y="186"/>
                </a:cubicBezTo>
                <a:cubicBezTo>
                  <a:pt x="176" y="184"/>
                  <a:pt x="173" y="183"/>
                  <a:pt x="171" y="184"/>
                </a:cubicBezTo>
                <a:cubicBezTo>
                  <a:pt x="169" y="184"/>
                  <a:pt x="167" y="187"/>
                  <a:pt x="168" y="189"/>
                </a:cubicBezTo>
                <a:cubicBezTo>
                  <a:pt x="195" y="353"/>
                  <a:pt x="195" y="353"/>
                  <a:pt x="195" y="353"/>
                </a:cubicBezTo>
                <a:cubicBezTo>
                  <a:pt x="174" y="353"/>
                  <a:pt x="174" y="353"/>
                  <a:pt x="174" y="353"/>
                </a:cubicBezTo>
                <a:cubicBezTo>
                  <a:pt x="172" y="353"/>
                  <a:pt x="171" y="353"/>
                  <a:pt x="170" y="354"/>
                </a:cubicBezTo>
                <a:cubicBezTo>
                  <a:pt x="169" y="355"/>
                  <a:pt x="169" y="356"/>
                  <a:pt x="169" y="357"/>
                </a:cubicBezTo>
                <a:cubicBezTo>
                  <a:pt x="169" y="357"/>
                  <a:pt x="170" y="385"/>
                  <a:pt x="170" y="413"/>
                </a:cubicBezTo>
                <a:cubicBezTo>
                  <a:pt x="171" y="427"/>
                  <a:pt x="171" y="441"/>
                  <a:pt x="171" y="452"/>
                </a:cubicBezTo>
                <a:cubicBezTo>
                  <a:pt x="172" y="461"/>
                  <a:pt x="172" y="466"/>
                  <a:pt x="172" y="469"/>
                </a:cubicBezTo>
                <a:cubicBezTo>
                  <a:pt x="172" y="469"/>
                  <a:pt x="172" y="469"/>
                  <a:pt x="172" y="469"/>
                </a:cubicBezTo>
                <a:cubicBezTo>
                  <a:pt x="172" y="475"/>
                  <a:pt x="166" y="479"/>
                  <a:pt x="159" y="479"/>
                </a:cubicBezTo>
                <a:cubicBezTo>
                  <a:pt x="159" y="484"/>
                  <a:pt x="159" y="484"/>
                  <a:pt x="159" y="484"/>
                </a:cubicBezTo>
                <a:cubicBezTo>
                  <a:pt x="159" y="479"/>
                  <a:pt x="159" y="479"/>
                  <a:pt x="159" y="479"/>
                </a:cubicBezTo>
                <a:cubicBezTo>
                  <a:pt x="152" y="479"/>
                  <a:pt x="147" y="475"/>
                  <a:pt x="146" y="469"/>
                </a:cubicBezTo>
                <a:cubicBezTo>
                  <a:pt x="133" y="357"/>
                  <a:pt x="133" y="357"/>
                  <a:pt x="133" y="357"/>
                </a:cubicBezTo>
                <a:cubicBezTo>
                  <a:pt x="133" y="354"/>
                  <a:pt x="131" y="353"/>
                  <a:pt x="129" y="353"/>
                </a:cubicBezTo>
                <a:cubicBezTo>
                  <a:pt x="116" y="353"/>
                  <a:pt x="116" y="353"/>
                  <a:pt x="116" y="353"/>
                </a:cubicBezTo>
                <a:cubicBezTo>
                  <a:pt x="114" y="353"/>
                  <a:pt x="112" y="354"/>
                  <a:pt x="111" y="357"/>
                </a:cubicBezTo>
                <a:cubicBezTo>
                  <a:pt x="98" y="469"/>
                  <a:pt x="98" y="469"/>
                  <a:pt x="98" y="469"/>
                </a:cubicBezTo>
                <a:cubicBezTo>
                  <a:pt x="98" y="475"/>
                  <a:pt x="92" y="479"/>
                  <a:pt x="85" y="479"/>
                </a:cubicBezTo>
                <a:cubicBezTo>
                  <a:pt x="79" y="479"/>
                  <a:pt x="73" y="475"/>
                  <a:pt x="73" y="469"/>
                </a:cubicBezTo>
                <a:cubicBezTo>
                  <a:pt x="73" y="469"/>
                  <a:pt x="73" y="469"/>
                  <a:pt x="73" y="469"/>
                </a:cubicBezTo>
                <a:cubicBezTo>
                  <a:pt x="73" y="468"/>
                  <a:pt x="73" y="466"/>
                  <a:pt x="73" y="465"/>
                </a:cubicBezTo>
                <a:cubicBezTo>
                  <a:pt x="73" y="462"/>
                  <a:pt x="73" y="457"/>
                  <a:pt x="73" y="452"/>
                </a:cubicBezTo>
                <a:cubicBezTo>
                  <a:pt x="73" y="441"/>
                  <a:pt x="74" y="427"/>
                  <a:pt x="74" y="413"/>
                </a:cubicBezTo>
                <a:cubicBezTo>
                  <a:pt x="75" y="385"/>
                  <a:pt x="76" y="357"/>
                  <a:pt x="76" y="357"/>
                </a:cubicBezTo>
                <a:cubicBezTo>
                  <a:pt x="76" y="356"/>
                  <a:pt x="75" y="355"/>
                  <a:pt x="74" y="354"/>
                </a:cubicBezTo>
                <a:cubicBezTo>
                  <a:pt x="74" y="353"/>
                  <a:pt x="72" y="353"/>
                  <a:pt x="71" y="353"/>
                </a:cubicBezTo>
                <a:cubicBezTo>
                  <a:pt x="49" y="353"/>
                  <a:pt x="49" y="353"/>
                  <a:pt x="49" y="353"/>
                </a:cubicBezTo>
                <a:cubicBezTo>
                  <a:pt x="77" y="189"/>
                  <a:pt x="77" y="189"/>
                  <a:pt x="77" y="189"/>
                </a:cubicBezTo>
                <a:cubicBezTo>
                  <a:pt x="77" y="187"/>
                  <a:pt x="76" y="184"/>
                  <a:pt x="73" y="184"/>
                </a:cubicBezTo>
                <a:cubicBezTo>
                  <a:pt x="71" y="183"/>
                  <a:pt x="69" y="184"/>
                  <a:pt x="68" y="186"/>
                </a:cubicBezTo>
                <a:cubicBezTo>
                  <a:pt x="28" y="282"/>
                  <a:pt x="28" y="282"/>
                  <a:pt x="28" y="282"/>
                </a:cubicBezTo>
                <a:cubicBezTo>
                  <a:pt x="26" y="284"/>
                  <a:pt x="24" y="286"/>
                  <a:pt x="20" y="286"/>
                </a:cubicBezTo>
                <a:cubicBezTo>
                  <a:pt x="19" y="286"/>
                  <a:pt x="18" y="286"/>
                  <a:pt x="17" y="285"/>
                </a:cubicBezTo>
                <a:cubicBezTo>
                  <a:pt x="13" y="284"/>
                  <a:pt x="10" y="280"/>
                  <a:pt x="11" y="276"/>
                </a:cubicBezTo>
                <a:cubicBezTo>
                  <a:pt x="11" y="276"/>
                  <a:pt x="11" y="276"/>
                  <a:pt x="11" y="276"/>
                </a:cubicBezTo>
                <a:cubicBezTo>
                  <a:pt x="11" y="275"/>
                  <a:pt x="12" y="273"/>
                  <a:pt x="12" y="271"/>
                </a:cubicBezTo>
                <a:cubicBezTo>
                  <a:pt x="13" y="268"/>
                  <a:pt x="15" y="264"/>
                  <a:pt x="16" y="259"/>
                </a:cubicBezTo>
                <a:cubicBezTo>
                  <a:pt x="27" y="226"/>
                  <a:pt x="52" y="149"/>
                  <a:pt x="58" y="136"/>
                </a:cubicBezTo>
                <a:cubicBezTo>
                  <a:pt x="64" y="124"/>
                  <a:pt x="76" y="112"/>
                  <a:pt x="122" y="112"/>
                </a:cubicBezTo>
                <a:cubicBezTo>
                  <a:pt x="168" y="112"/>
                  <a:pt x="181" y="124"/>
                  <a:pt x="186" y="136"/>
                </a:cubicBezTo>
                <a:cubicBezTo>
                  <a:pt x="192" y="149"/>
                  <a:pt x="217" y="226"/>
                  <a:pt x="228" y="259"/>
                </a:cubicBezTo>
                <a:cubicBezTo>
                  <a:pt x="230" y="264"/>
                  <a:pt x="231" y="268"/>
                  <a:pt x="232" y="271"/>
                </a:cubicBezTo>
                <a:cubicBezTo>
                  <a:pt x="233" y="273"/>
                  <a:pt x="233" y="275"/>
                  <a:pt x="234" y="276"/>
                </a:cubicBezTo>
                <a:cubicBezTo>
                  <a:pt x="234" y="276"/>
                  <a:pt x="234" y="276"/>
                  <a:pt x="234" y="276"/>
                </a:cubicBezTo>
                <a:cubicBezTo>
                  <a:pt x="235" y="280"/>
                  <a:pt x="232" y="284"/>
                  <a:pt x="228" y="285"/>
                </a:cubicBez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2076" name="Oval 9"/>
          <p:cNvSpPr>
            <a:spLocks noChangeArrowheads="1"/>
          </p:cNvSpPr>
          <p:nvPr/>
        </p:nvSpPr>
        <p:spPr bwMode="auto">
          <a:xfrm>
            <a:off x="8347593" y="1528549"/>
            <a:ext cx="1119124" cy="1119124"/>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208" name="Freeform 39"/>
          <p:cNvSpPr>
            <a:spLocks noEditPoints="1"/>
          </p:cNvSpPr>
          <p:nvPr/>
        </p:nvSpPr>
        <p:spPr bwMode="auto">
          <a:xfrm>
            <a:off x="8592381" y="1727918"/>
            <a:ext cx="536012" cy="719057"/>
          </a:xfrm>
          <a:custGeom>
            <a:avLst/>
            <a:gdLst>
              <a:gd name="T0" fmla="*/ 235 w 342"/>
              <a:gd name="T1" fmla="*/ 50 h 458"/>
              <a:gd name="T2" fmla="*/ 136 w 342"/>
              <a:gd name="T3" fmla="*/ 50 h 458"/>
              <a:gd name="T4" fmla="*/ 185 w 342"/>
              <a:gd name="T5" fmla="*/ 9 h 458"/>
              <a:gd name="T6" fmla="*/ 185 w 342"/>
              <a:gd name="T7" fmla="*/ 90 h 458"/>
              <a:gd name="T8" fmla="*/ 185 w 342"/>
              <a:gd name="T9" fmla="*/ 9 h 458"/>
              <a:gd name="T10" fmla="*/ 321 w 342"/>
              <a:gd name="T11" fmla="*/ 183 h 458"/>
              <a:gd name="T12" fmla="*/ 254 w 342"/>
              <a:gd name="T13" fmla="*/ 118 h 458"/>
              <a:gd name="T14" fmla="*/ 176 w 342"/>
              <a:gd name="T15" fmla="*/ 114 h 458"/>
              <a:gd name="T16" fmla="*/ 97 w 342"/>
              <a:gd name="T17" fmla="*/ 165 h 458"/>
              <a:gd name="T18" fmla="*/ 2 w 342"/>
              <a:gd name="T19" fmla="*/ 171 h 458"/>
              <a:gd name="T20" fmla="*/ 93 w 342"/>
              <a:gd name="T21" fmla="*/ 214 h 458"/>
              <a:gd name="T22" fmla="*/ 110 w 342"/>
              <a:gd name="T23" fmla="*/ 213 h 458"/>
              <a:gd name="T24" fmla="*/ 185 w 342"/>
              <a:gd name="T25" fmla="*/ 247 h 458"/>
              <a:gd name="T26" fmla="*/ 127 w 342"/>
              <a:gd name="T27" fmla="*/ 321 h 458"/>
              <a:gd name="T28" fmla="*/ 90 w 342"/>
              <a:gd name="T29" fmla="*/ 446 h 458"/>
              <a:gd name="T30" fmla="*/ 140 w 342"/>
              <a:gd name="T31" fmla="*/ 443 h 458"/>
              <a:gd name="T32" fmla="*/ 181 w 342"/>
              <a:gd name="T33" fmla="*/ 343 h 458"/>
              <a:gd name="T34" fmla="*/ 213 w 342"/>
              <a:gd name="T35" fmla="*/ 311 h 458"/>
              <a:gd name="T36" fmla="*/ 266 w 342"/>
              <a:gd name="T37" fmla="*/ 458 h 458"/>
              <a:gd name="T38" fmla="*/ 295 w 342"/>
              <a:gd name="T39" fmla="*/ 425 h 458"/>
              <a:gd name="T40" fmla="*/ 245 w 342"/>
              <a:gd name="T41" fmla="*/ 177 h 458"/>
              <a:gd name="T42" fmla="*/ 297 w 342"/>
              <a:gd name="T43" fmla="*/ 267 h 458"/>
              <a:gd name="T44" fmla="*/ 337 w 342"/>
              <a:gd name="T45" fmla="*/ 277 h 458"/>
              <a:gd name="T46" fmla="*/ 106 w 342"/>
              <a:gd name="T47" fmla="*/ 204 h 458"/>
              <a:gd name="T48" fmla="*/ 21 w 342"/>
              <a:gd name="T49" fmla="*/ 186 h 458"/>
              <a:gd name="T50" fmla="*/ 30 w 342"/>
              <a:gd name="T51" fmla="*/ 162 h 458"/>
              <a:gd name="T52" fmla="*/ 100 w 342"/>
              <a:gd name="T53" fmla="*/ 174 h 458"/>
              <a:gd name="T54" fmla="*/ 162 w 342"/>
              <a:gd name="T55" fmla="*/ 150 h 458"/>
              <a:gd name="T56" fmla="*/ 106 w 342"/>
              <a:gd name="T57" fmla="*/ 204 h 458"/>
              <a:gd name="T58" fmla="*/ 270 w 342"/>
              <a:gd name="T59" fmla="*/ 449 h 458"/>
              <a:gd name="T60" fmla="*/ 221 w 342"/>
              <a:gd name="T61" fmla="*/ 303 h 458"/>
              <a:gd name="T62" fmla="*/ 286 w 342"/>
              <a:gd name="T63" fmla="*/ 426 h 458"/>
              <a:gd name="T64" fmla="*/ 320 w 342"/>
              <a:gd name="T65" fmla="*/ 276 h 458"/>
              <a:gd name="T66" fmla="*/ 285 w 342"/>
              <a:gd name="T67" fmla="*/ 199 h 458"/>
              <a:gd name="T68" fmla="*/ 239 w 342"/>
              <a:gd name="T69" fmla="*/ 160 h 458"/>
              <a:gd name="T70" fmla="*/ 232 w 342"/>
              <a:gd name="T71" fmla="*/ 165 h 458"/>
              <a:gd name="T72" fmla="*/ 194 w 342"/>
              <a:gd name="T73" fmla="*/ 317 h 458"/>
              <a:gd name="T74" fmla="*/ 147 w 342"/>
              <a:gd name="T75" fmla="*/ 400 h 458"/>
              <a:gd name="T76" fmla="*/ 114 w 342"/>
              <a:gd name="T77" fmla="*/ 449 h 458"/>
              <a:gd name="T78" fmla="*/ 98 w 342"/>
              <a:gd name="T79" fmla="*/ 419 h 458"/>
              <a:gd name="T80" fmla="*/ 194 w 342"/>
              <a:gd name="T81" fmla="*/ 251 h 458"/>
              <a:gd name="T82" fmla="*/ 171 w 342"/>
              <a:gd name="T83" fmla="*/ 148 h 458"/>
              <a:gd name="T84" fmla="*/ 202 w 342"/>
              <a:gd name="T85" fmla="*/ 111 h 458"/>
              <a:gd name="T86" fmla="*/ 307 w 342"/>
              <a:gd name="T87" fmla="*/ 177 h 458"/>
              <a:gd name="T88" fmla="*/ 331 w 342"/>
              <a:gd name="T89" fmla="*/ 260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42" h="458">
                <a:moveTo>
                  <a:pt x="185" y="99"/>
                </a:moveTo>
                <a:cubicBezTo>
                  <a:pt x="212" y="99"/>
                  <a:pt x="235" y="77"/>
                  <a:pt x="235" y="50"/>
                </a:cubicBezTo>
                <a:cubicBezTo>
                  <a:pt x="235" y="22"/>
                  <a:pt x="212" y="0"/>
                  <a:pt x="185" y="0"/>
                </a:cubicBezTo>
                <a:cubicBezTo>
                  <a:pt x="158" y="0"/>
                  <a:pt x="136" y="22"/>
                  <a:pt x="136" y="50"/>
                </a:cubicBezTo>
                <a:cubicBezTo>
                  <a:pt x="136" y="77"/>
                  <a:pt x="158" y="99"/>
                  <a:pt x="185" y="99"/>
                </a:cubicBezTo>
                <a:close/>
                <a:moveTo>
                  <a:pt x="185" y="9"/>
                </a:moveTo>
                <a:cubicBezTo>
                  <a:pt x="207" y="9"/>
                  <a:pt x="225" y="27"/>
                  <a:pt x="225" y="50"/>
                </a:cubicBezTo>
                <a:cubicBezTo>
                  <a:pt x="225" y="72"/>
                  <a:pt x="207" y="90"/>
                  <a:pt x="185" y="90"/>
                </a:cubicBezTo>
                <a:cubicBezTo>
                  <a:pt x="163" y="90"/>
                  <a:pt x="145" y="72"/>
                  <a:pt x="145" y="50"/>
                </a:cubicBezTo>
                <a:cubicBezTo>
                  <a:pt x="145" y="27"/>
                  <a:pt x="163" y="9"/>
                  <a:pt x="185" y="9"/>
                </a:cubicBezTo>
                <a:close/>
                <a:moveTo>
                  <a:pt x="340" y="258"/>
                </a:moveTo>
                <a:cubicBezTo>
                  <a:pt x="337" y="246"/>
                  <a:pt x="325" y="198"/>
                  <a:pt x="321" y="183"/>
                </a:cubicBezTo>
                <a:cubicBezTo>
                  <a:pt x="320" y="178"/>
                  <a:pt x="317" y="173"/>
                  <a:pt x="313" y="169"/>
                </a:cubicBezTo>
                <a:cubicBezTo>
                  <a:pt x="298" y="156"/>
                  <a:pt x="263" y="125"/>
                  <a:pt x="254" y="118"/>
                </a:cubicBezTo>
                <a:cubicBezTo>
                  <a:pt x="237" y="104"/>
                  <a:pt x="219" y="99"/>
                  <a:pt x="201" y="102"/>
                </a:cubicBezTo>
                <a:cubicBezTo>
                  <a:pt x="192" y="103"/>
                  <a:pt x="183" y="108"/>
                  <a:pt x="176" y="114"/>
                </a:cubicBezTo>
                <a:cubicBezTo>
                  <a:pt x="175" y="115"/>
                  <a:pt x="174" y="115"/>
                  <a:pt x="174" y="115"/>
                </a:cubicBezTo>
                <a:cubicBezTo>
                  <a:pt x="97" y="165"/>
                  <a:pt x="97" y="165"/>
                  <a:pt x="97" y="165"/>
                </a:cubicBezTo>
                <a:cubicBezTo>
                  <a:pt x="88" y="163"/>
                  <a:pt x="50" y="156"/>
                  <a:pt x="32" y="153"/>
                </a:cubicBezTo>
                <a:cubicBezTo>
                  <a:pt x="14" y="150"/>
                  <a:pt x="4" y="160"/>
                  <a:pt x="2" y="171"/>
                </a:cubicBezTo>
                <a:cubicBezTo>
                  <a:pt x="0" y="181"/>
                  <a:pt x="5" y="193"/>
                  <a:pt x="19" y="195"/>
                </a:cubicBezTo>
                <a:cubicBezTo>
                  <a:pt x="30" y="198"/>
                  <a:pt x="75" y="209"/>
                  <a:pt x="93" y="214"/>
                </a:cubicBezTo>
                <a:cubicBezTo>
                  <a:pt x="95" y="215"/>
                  <a:pt x="98" y="215"/>
                  <a:pt x="100" y="215"/>
                </a:cubicBezTo>
                <a:cubicBezTo>
                  <a:pt x="103" y="215"/>
                  <a:pt x="106" y="214"/>
                  <a:pt x="110" y="213"/>
                </a:cubicBezTo>
                <a:cubicBezTo>
                  <a:pt x="128" y="206"/>
                  <a:pt x="158" y="193"/>
                  <a:pt x="171" y="188"/>
                </a:cubicBezTo>
                <a:cubicBezTo>
                  <a:pt x="176" y="212"/>
                  <a:pt x="183" y="239"/>
                  <a:pt x="185" y="247"/>
                </a:cubicBezTo>
                <a:cubicBezTo>
                  <a:pt x="127" y="320"/>
                  <a:pt x="127" y="320"/>
                  <a:pt x="127" y="320"/>
                </a:cubicBezTo>
                <a:cubicBezTo>
                  <a:pt x="127" y="320"/>
                  <a:pt x="127" y="320"/>
                  <a:pt x="127" y="321"/>
                </a:cubicBezTo>
                <a:cubicBezTo>
                  <a:pt x="127" y="321"/>
                  <a:pt x="104" y="380"/>
                  <a:pt x="89" y="416"/>
                </a:cubicBezTo>
                <a:cubicBezTo>
                  <a:pt x="85" y="427"/>
                  <a:pt x="85" y="438"/>
                  <a:pt x="90" y="446"/>
                </a:cubicBezTo>
                <a:cubicBezTo>
                  <a:pt x="96" y="454"/>
                  <a:pt x="104" y="458"/>
                  <a:pt x="114" y="458"/>
                </a:cubicBezTo>
                <a:cubicBezTo>
                  <a:pt x="126" y="458"/>
                  <a:pt x="135" y="452"/>
                  <a:pt x="140" y="443"/>
                </a:cubicBezTo>
                <a:cubicBezTo>
                  <a:pt x="143" y="437"/>
                  <a:pt x="149" y="422"/>
                  <a:pt x="156" y="404"/>
                </a:cubicBezTo>
                <a:cubicBezTo>
                  <a:pt x="165" y="381"/>
                  <a:pt x="178" y="347"/>
                  <a:pt x="181" y="343"/>
                </a:cubicBezTo>
                <a:cubicBezTo>
                  <a:pt x="182" y="341"/>
                  <a:pt x="191" y="333"/>
                  <a:pt x="200" y="324"/>
                </a:cubicBezTo>
                <a:cubicBezTo>
                  <a:pt x="205" y="319"/>
                  <a:pt x="209" y="315"/>
                  <a:pt x="213" y="311"/>
                </a:cubicBezTo>
                <a:cubicBezTo>
                  <a:pt x="218" y="334"/>
                  <a:pt x="231" y="397"/>
                  <a:pt x="239" y="433"/>
                </a:cubicBezTo>
                <a:cubicBezTo>
                  <a:pt x="243" y="452"/>
                  <a:pt x="255" y="458"/>
                  <a:pt x="266" y="458"/>
                </a:cubicBezTo>
                <a:cubicBezTo>
                  <a:pt x="268" y="458"/>
                  <a:pt x="270" y="458"/>
                  <a:pt x="272" y="458"/>
                </a:cubicBezTo>
                <a:cubicBezTo>
                  <a:pt x="286" y="455"/>
                  <a:pt x="299" y="441"/>
                  <a:pt x="295" y="425"/>
                </a:cubicBezTo>
                <a:cubicBezTo>
                  <a:pt x="292" y="409"/>
                  <a:pt x="264" y="265"/>
                  <a:pt x="263" y="255"/>
                </a:cubicBezTo>
                <a:cubicBezTo>
                  <a:pt x="263" y="245"/>
                  <a:pt x="251" y="201"/>
                  <a:pt x="245" y="177"/>
                </a:cubicBezTo>
                <a:cubicBezTo>
                  <a:pt x="277" y="203"/>
                  <a:pt x="277" y="203"/>
                  <a:pt x="277" y="203"/>
                </a:cubicBezTo>
                <a:cubicBezTo>
                  <a:pt x="279" y="211"/>
                  <a:pt x="291" y="248"/>
                  <a:pt x="297" y="267"/>
                </a:cubicBezTo>
                <a:cubicBezTo>
                  <a:pt x="301" y="278"/>
                  <a:pt x="310" y="285"/>
                  <a:pt x="320" y="285"/>
                </a:cubicBezTo>
                <a:cubicBezTo>
                  <a:pt x="327" y="285"/>
                  <a:pt x="333" y="282"/>
                  <a:pt x="337" y="277"/>
                </a:cubicBezTo>
                <a:cubicBezTo>
                  <a:pt x="341" y="271"/>
                  <a:pt x="342" y="264"/>
                  <a:pt x="340" y="258"/>
                </a:cubicBezTo>
                <a:close/>
                <a:moveTo>
                  <a:pt x="106" y="204"/>
                </a:moveTo>
                <a:cubicBezTo>
                  <a:pt x="103" y="206"/>
                  <a:pt x="99" y="206"/>
                  <a:pt x="96" y="205"/>
                </a:cubicBezTo>
                <a:cubicBezTo>
                  <a:pt x="77" y="200"/>
                  <a:pt x="32" y="189"/>
                  <a:pt x="21" y="186"/>
                </a:cubicBezTo>
                <a:cubicBezTo>
                  <a:pt x="13" y="185"/>
                  <a:pt x="10" y="178"/>
                  <a:pt x="11" y="172"/>
                </a:cubicBezTo>
                <a:cubicBezTo>
                  <a:pt x="13" y="166"/>
                  <a:pt x="18" y="160"/>
                  <a:pt x="30" y="162"/>
                </a:cubicBezTo>
                <a:cubicBezTo>
                  <a:pt x="51" y="166"/>
                  <a:pt x="96" y="175"/>
                  <a:pt x="97" y="175"/>
                </a:cubicBezTo>
                <a:cubicBezTo>
                  <a:pt x="98" y="175"/>
                  <a:pt x="99" y="175"/>
                  <a:pt x="100" y="174"/>
                </a:cubicBezTo>
                <a:cubicBezTo>
                  <a:pt x="163" y="133"/>
                  <a:pt x="163" y="133"/>
                  <a:pt x="163" y="133"/>
                </a:cubicBezTo>
                <a:cubicBezTo>
                  <a:pt x="161" y="139"/>
                  <a:pt x="161" y="145"/>
                  <a:pt x="162" y="150"/>
                </a:cubicBezTo>
                <a:cubicBezTo>
                  <a:pt x="163" y="156"/>
                  <a:pt x="166" y="167"/>
                  <a:pt x="168" y="178"/>
                </a:cubicBezTo>
                <a:cubicBezTo>
                  <a:pt x="157" y="183"/>
                  <a:pt x="125" y="197"/>
                  <a:pt x="106" y="204"/>
                </a:cubicBezTo>
                <a:close/>
                <a:moveTo>
                  <a:pt x="286" y="426"/>
                </a:moveTo>
                <a:cubicBezTo>
                  <a:pt x="288" y="438"/>
                  <a:pt x="279" y="447"/>
                  <a:pt x="270" y="449"/>
                </a:cubicBezTo>
                <a:cubicBezTo>
                  <a:pt x="259" y="451"/>
                  <a:pt x="251" y="444"/>
                  <a:pt x="248" y="431"/>
                </a:cubicBezTo>
                <a:cubicBezTo>
                  <a:pt x="239" y="392"/>
                  <a:pt x="224" y="318"/>
                  <a:pt x="221" y="303"/>
                </a:cubicBezTo>
                <a:cubicBezTo>
                  <a:pt x="238" y="288"/>
                  <a:pt x="249" y="276"/>
                  <a:pt x="255" y="268"/>
                </a:cubicBezTo>
                <a:cubicBezTo>
                  <a:pt x="262" y="304"/>
                  <a:pt x="284" y="413"/>
                  <a:pt x="286" y="426"/>
                </a:cubicBezTo>
                <a:close/>
                <a:moveTo>
                  <a:pt x="330" y="271"/>
                </a:moveTo>
                <a:cubicBezTo>
                  <a:pt x="328" y="274"/>
                  <a:pt x="324" y="276"/>
                  <a:pt x="320" y="276"/>
                </a:cubicBezTo>
                <a:cubicBezTo>
                  <a:pt x="314" y="276"/>
                  <a:pt x="309" y="271"/>
                  <a:pt x="306" y="263"/>
                </a:cubicBezTo>
                <a:cubicBezTo>
                  <a:pt x="299" y="244"/>
                  <a:pt x="285" y="200"/>
                  <a:pt x="285" y="199"/>
                </a:cubicBezTo>
                <a:cubicBezTo>
                  <a:pt x="285" y="198"/>
                  <a:pt x="284" y="198"/>
                  <a:pt x="284" y="197"/>
                </a:cubicBezTo>
                <a:cubicBezTo>
                  <a:pt x="239" y="160"/>
                  <a:pt x="239" y="160"/>
                  <a:pt x="239" y="160"/>
                </a:cubicBezTo>
                <a:cubicBezTo>
                  <a:pt x="238" y="159"/>
                  <a:pt x="235" y="159"/>
                  <a:pt x="234" y="160"/>
                </a:cubicBezTo>
                <a:cubicBezTo>
                  <a:pt x="232" y="161"/>
                  <a:pt x="231" y="163"/>
                  <a:pt x="232" y="165"/>
                </a:cubicBezTo>
                <a:cubicBezTo>
                  <a:pt x="243" y="205"/>
                  <a:pt x="254" y="249"/>
                  <a:pt x="253" y="255"/>
                </a:cubicBezTo>
                <a:cubicBezTo>
                  <a:pt x="251" y="262"/>
                  <a:pt x="212" y="299"/>
                  <a:pt x="194" y="317"/>
                </a:cubicBezTo>
                <a:cubicBezTo>
                  <a:pt x="182" y="329"/>
                  <a:pt x="175" y="335"/>
                  <a:pt x="173" y="337"/>
                </a:cubicBezTo>
                <a:cubicBezTo>
                  <a:pt x="170" y="342"/>
                  <a:pt x="161" y="365"/>
                  <a:pt x="147" y="400"/>
                </a:cubicBezTo>
                <a:cubicBezTo>
                  <a:pt x="140" y="417"/>
                  <a:pt x="134" y="433"/>
                  <a:pt x="132" y="439"/>
                </a:cubicBezTo>
                <a:cubicBezTo>
                  <a:pt x="128" y="445"/>
                  <a:pt x="122" y="449"/>
                  <a:pt x="114" y="449"/>
                </a:cubicBezTo>
                <a:cubicBezTo>
                  <a:pt x="108" y="449"/>
                  <a:pt x="102" y="446"/>
                  <a:pt x="98" y="441"/>
                </a:cubicBezTo>
                <a:cubicBezTo>
                  <a:pt x="95" y="436"/>
                  <a:pt x="94" y="428"/>
                  <a:pt x="98" y="419"/>
                </a:cubicBezTo>
                <a:cubicBezTo>
                  <a:pt x="112" y="386"/>
                  <a:pt x="133" y="331"/>
                  <a:pt x="135" y="325"/>
                </a:cubicBezTo>
                <a:cubicBezTo>
                  <a:pt x="194" y="251"/>
                  <a:pt x="194" y="251"/>
                  <a:pt x="194" y="251"/>
                </a:cubicBezTo>
                <a:cubicBezTo>
                  <a:pt x="194" y="249"/>
                  <a:pt x="195" y="248"/>
                  <a:pt x="194" y="247"/>
                </a:cubicBezTo>
                <a:cubicBezTo>
                  <a:pt x="194" y="246"/>
                  <a:pt x="176" y="169"/>
                  <a:pt x="171" y="148"/>
                </a:cubicBezTo>
                <a:cubicBezTo>
                  <a:pt x="169" y="140"/>
                  <a:pt x="173" y="133"/>
                  <a:pt x="176" y="129"/>
                </a:cubicBezTo>
                <a:cubicBezTo>
                  <a:pt x="182" y="120"/>
                  <a:pt x="192" y="113"/>
                  <a:pt x="202" y="111"/>
                </a:cubicBezTo>
                <a:cubicBezTo>
                  <a:pt x="218" y="108"/>
                  <a:pt x="233" y="113"/>
                  <a:pt x="248" y="125"/>
                </a:cubicBezTo>
                <a:cubicBezTo>
                  <a:pt x="257" y="132"/>
                  <a:pt x="295" y="166"/>
                  <a:pt x="307" y="177"/>
                </a:cubicBezTo>
                <a:cubicBezTo>
                  <a:pt x="310" y="179"/>
                  <a:pt x="311" y="182"/>
                  <a:pt x="312" y="185"/>
                </a:cubicBezTo>
                <a:cubicBezTo>
                  <a:pt x="317" y="204"/>
                  <a:pt x="328" y="249"/>
                  <a:pt x="331" y="260"/>
                </a:cubicBezTo>
                <a:cubicBezTo>
                  <a:pt x="333" y="265"/>
                  <a:pt x="331" y="269"/>
                  <a:pt x="330" y="271"/>
                </a:cubicBez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129" name="Oval 19"/>
          <p:cNvSpPr>
            <a:spLocks noChangeArrowheads="1"/>
          </p:cNvSpPr>
          <p:nvPr/>
        </p:nvSpPr>
        <p:spPr bwMode="auto">
          <a:xfrm>
            <a:off x="10105564" y="3120088"/>
            <a:ext cx="1119124" cy="1119124"/>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209" name="Freeform 40"/>
          <p:cNvSpPr>
            <a:spLocks noEditPoints="1"/>
          </p:cNvSpPr>
          <p:nvPr/>
        </p:nvSpPr>
        <p:spPr bwMode="auto">
          <a:xfrm>
            <a:off x="10336695" y="3294204"/>
            <a:ext cx="656863" cy="770893"/>
          </a:xfrm>
          <a:custGeom>
            <a:avLst/>
            <a:gdLst>
              <a:gd name="T0" fmla="*/ 372 w 419"/>
              <a:gd name="T1" fmla="*/ 188 h 491"/>
              <a:gd name="T2" fmla="*/ 379 w 419"/>
              <a:gd name="T3" fmla="*/ 158 h 491"/>
              <a:gd name="T4" fmla="*/ 338 w 419"/>
              <a:gd name="T5" fmla="*/ 55 h 491"/>
              <a:gd name="T6" fmla="*/ 0 w 419"/>
              <a:gd name="T7" fmla="*/ 167 h 491"/>
              <a:gd name="T8" fmla="*/ 80 w 419"/>
              <a:gd name="T9" fmla="*/ 310 h 491"/>
              <a:gd name="T10" fmla="*/ 74 w 419"/>
              <a:gd name="T11" fmla="*/ 460 h 491"/>
              <a:gd name="T12" fmla="*/ 256 w 419"/>
              <a:gd name="T13" fmla="*/ 484 h 491"/>
              <a:gd name="T14" fmla="*/ 262 w 419"/>
              <a:gd name="T15" fmla="*/ 396 h 491"/>
              <a:gd name="T16" fmla="*/ 347 w 419"/>
              <a:gd name="T17" fmla="*/ 413 h 491"/>
              <a:gd name="T18" fmla="*/ 379 w 419"/>
              <a:gd name="T19" fmla="*/ 364 h 491"/>
              <a:gd name="T20" fmla="*/ 384 w 419"/>
              <a:gd name="T21" fmla="*/ 348 h 491"/>
              <a:gd name="T22" fmla="*/ 386 w 419"/>
              <a:gd name="T23" fmla="*/ 330 h 491"/>
              <a:gd name="T24" fmla="*/ 390 w 419"/>
              <a:gd name="T25" fmla="*/ 305 h 491"/>
              <a:gd name="T26" fmla="*/ 390 w 419"/>
              <a:gd name="T27" fmla="*/ 294 h 491"/>
              <a:gd name="T28" fmla="*/ 419 w 419"/>
              <a:gd name="T29" fmla="*/ 272 h 491"/>
              <a:gd name="T30" fmla="*/ 405 w 419"/>
              <a:gd name="T31" fmla="*/ 281 h 491"/>
              <a:gd name="T32" fmla="*/ 381 w 419"/>
              <a:gd name="T33" fmla="*/ 290 h 491"/>
              <a:gd name="T34" fmla="*/ 382 w 419"/>
              <a:gd name="T35" fmla="*/ 310 h 491"/>
              <a:gd name="T36" fmla="*/ 377 w 419"/>
              <a:gd name="T37" fmla="*/ 325 h 491"/>
              <a:gd name="T38" fmla="*/ 378 w 419"/>
              <a:gd name="T39" fmla="*/ 338 h 491"/>
              <a:gd name="T40" fmla="*/ 369 w 419"/>
              <a:gd name="T41" fmla="*/ 357 h 491"/>
              <a:gd name="T42" fmla="*/ 369 w 419"/>
              <a:gd name="T43" fmla="*/ 389 h 491"/>
              <a:gd name="T44" fmla="*/ 345 w 419"/>
              <a:gd name="T45" fmla="*/ 404 h 491"/>
              <a:gd name="T46" fmla="*/ 256 w 419"/>
              <a:gd name="T47" fmla="*/ 387 h 491"/>
              <a:gd name="T48" fmla="*/ 83 w 419"/>
              <a:gd name="T49" fmla="*/ 454 h 491"/>
              <a:gd name="T50" fmla="*/ 68 w 419"/>
              <a:gd name="T51" fmla="*/ 282 h 491"/>
              <a:gd name="T52" fmla="*/ 47 w 419"/>
              <a:gd name="T53" fmla="*/ 56 h 491"/>
              <a:gd name="T54" fmla="*/ 331 w 419"/>
              <a:gd name="T55" fmla="*/ 61 h 491"/>
              <a:gd name="T56" fmla="*/ 370 w 419"/>
              <a:gd name="T57" fmla="*/ 158 h 491"/>
              <a:gd name="T58" fmla="*/ 363 w 419"/>
              <a:gd name="T59" fmla="*/ 189 h 491"/>
              <a:gd name="T60" fmla="*/ 409 w 419"/>
              <a:gd name="T61" fmla="*/ 273 h 491"/>
              <a:gd name="T62" fmla="*/ 283 w 419"/>
              <a:gd name="T63" fmla="*/ 74 h 491"/>
              <a:gd name="T64" fmla="*/ 52 w 419"/>
              <a:gd name="T65" fmla="*/ 163 h 491"/>
              <a:gd name="T66" fmla="*/ 96 w 419"/>
              <a:gd name="T67" fmla="*/ 249 h 491"/>
              <a:gd name="T68" fmla="*/ 160 w 419"/>
              <a:gd name="T69" fmla="*/ 240 h 491"/>
              <a:gd name="T70" fmla="*/ 200 w 419"/>
              <a:gd name="T71" fmla="*/ 201 h 491"/>
              <a:gd name="T72" fmla="*/ 240 w 419"/>
              <a:gd name="T73" fmla="*/ 179 h 491"/>
              <a:gd name="T74" fmla="*/ 321 w 419"/>
              <a:gd name="T75" fmla="*/ 137 h 491"/>
              <a:gd name="T76" fmla="*/ 260 w 419"/>
              <a:gd name="T77" fmla="*/ 170 h 491"/>
              <a:gd name="T78" fmla="*/ 232 w 419"/>
              <a:gd name="T79" fmla="*/ 173 h 491"/>
              <a:gd name="T80" fmla="*/ 195 w 419"/>
              <a:gd name="T81" fmla="*/ 189 h 491"/>
              <a:gd name="T82" fmla="*/ 189 w 419"/>
              <a:gd name="T83" fmla="*/ 196 h 491"/>
              <a:gd name="T84" fmla="*/ 156 w 419"/>
              <a:gd name="T85" fmla="*/ 231 h 491"/>
              <a:gd name="T86" fmla="*/ 132 w 419"/>
              <a:gd name="T87" fmla="*/ 257 h 491"/>
              <a:gd name="T88" fmla="*/ 89 w 419"/>
              <a:gd name="T89" fmla="*/ 214 h 491"/>
              <a:gd name="T90" fmla="*/ 61 w 419"/>
              <a:gd name="T91" fmla="*/ 163 h 491"/>
              <a:gd name="T92" fmla="*/ 277 w 419"/>
              <a:gd name="T93" fmla="*/ 82 h 491"/>
              <a:gd name="T94" fmla="*/ 260 w 419"/>
              <a:gd name="T95" fmla="*/ 170 h 4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19" h="491">
                <a:moveTo>
                  <a:pt x="407" y="250"/>
                </a:moveTo>
                <a:cubicBezTo>
                  <a:pt x="396" y="233"/>
                  <a:pt x="374" y="197"/>
                  <a:pt x="372" y="188"/>
                </a:cubicBezTo>
                <a:cubicBezTo>
                  <a:pt x="373" y="187"/>
                  <a:pt x="373" y="185"/>
                  <a:pt x="374" y="183"/>
                </a:cubicBezTo>
                <a:cubicBezTo>
                  <a:pt x="376" y="176"/>
                  <a:pt x="379" y="166"/>
                  <a:pt x="379" y="158"/>
                </a:cubicBezTo>
                <a:cubicBezTo>
                  <a:pt x="379" y="146"/>
                  <a:pt x="377" y="129"/>
                  <a:pt x="374" y="118"/>
                </a:cubicBezTo>
                <a:cubicBezTo>
                  <a:pt x="373" y="112"/>
                  <a:pt x="364" y="83"/>
                  <a:pt x="338" y="55"/>
                </a:cubicBezTo>
                <a:cubicBezTo>
                  <a:pt x="303" y="18"/>
                  <a:pt x="255" y="0"/>
                  <a:pt x="193" y="0"/>
                </a:cubicBezTo>
                <a:cubicBezTo>
                  <a:pt x="65" y="0"/>
                  <a:pt x="0" y="56"/>
                  <a:pt x="0" y="167"/>
                </a:cubicBezTo>
                <a:cubicBezTo>
                  <a:pt x="0" y="231"/>
                  <a:pt x="37" y="266"/>
                  <a:pt x="61" y="288"/>
                </a:cubicBezTo>
                <a:cubicBezTo>
                  <a:pt x="70" y="297"/>
                  <a:pt x="78" y="304"/>
                  <a:pt x="80" y="310"/>
                </a:cubicBezTo>
                <a:cubicBezTo>
                  <a:pt x="97" y="376"/>
                  <a:pt x="82" y="429"/>
                  <a:pt x="72" y="454"/>
                </a:cubicBezTo>
                <a:cubicBezTo>
                  <a:pt x="71" y="456"/>
                  <a:pt x="72" y="459"/>
                  <a:pt x="74" y="460"/>
                </a:cubicBezTo>
                <a:cubicBezTo>
                  <a:pt x="112" y="480"/>
                  <a:pt x="154" y="491"/>
                  <a:pt x="197" y="491"/>
                </a:cubicBezTo>
                <a:cubicBezTo>
                  <a:pt x="217" y="491"/>
                  <a:pt x="236" y="489"/>
                  <a:pt x="256" y="484"/>
                </a:cubicBezTo>
                <a:cubicBezTo>
                  <a:pt x="258" y="484"/>
                  <a:pt x="259" y="482"/>
                  <a:pt x="259" y="480"/>
                </a:cubicBezTo>
                <a:cubicBezTo>
                  <a:pt x="259" y="438"/>
                  <a:pt x="260" y="406"/>
                  <a:pt x="262" y="396"/>
                </a:cubicBezTo>
                <a:cubicBezTo>
                  <a:pt x="280" y="401"/>
                  <a:pt x="335" y="413"/>
                  <a:pt x="345" y="413"/>
                </a:cubicBezTo>
                <a:cubicBezTo>
                  <a:pt x="346" y="413"/>
                  <a:pt x="347" y="413"/>
                  <a:pt x="347" y="413"/>
                </a:cubicBezTo>
                <a:cubicBezTo>
                  <a:pt x="355" y="413"/>
                  <a:pt x="374" y="413"/>
                  <a:pt x="378" y="391"/>
                </a:cubicBezTo>
                <a:cubicBezTo>
                  <a:pt x="381" y="380"/>
                  <a:pt x="380" y="370"/>
                  <a:pt x="379" y="364"/>
                </a:cubicBezTo>
                <a:cubicBezTo>
                  <a:pt x="379" y="362"/>
                  <a:pt x="378" y="360"/>
                  <a:pt x="378" y="360"/>
                </a:cubicBezTo>
                <a:cubicBezTo>
                  <a:pt x="379" y="356"/>
                  <a:pt x="382" y="352"/>
                  <a:pt x="384" y="348"/>
                </a:cubicBezTo>
                <a:cubicBezTo>
                  <a:pt x="386" y="344"/>
                  <a:pt x="387" y="342"/>
                  <a:pt x="388" y="339"/>
                </a:cubicBezTo>
                <a:cubicBezTo>
                  <a:pt x="388" y="337"/>
                  <a:pt x="387" y="333"/>
                  <a:pt x="386" y="330"/>
                </a:cubicBezTo>
                <a:cubicBezTo>
                  <a:pt x="389" y="327"/>
                  <a:pt x="393" y="323"/>
                  <a:pt x="394" y="319"/>
                </a:cubicBezTo>
                <a:cubicBezTo>
                  <a:pt x="394" y="315"/>
                  <a:pt x="392" y="310"/>
                  <a:pt x="390" y="305"/>
                </a:cubicBezTo>
                <a:cubicBezTo>
                  <a:pt x="390" y="305"/>
                  <a:pt x="390" y="305"/>
                  <a:pt x="390" y="304"/>
                </a:cubicBezTo>
                <a:cubicBezTo>
                  <a:pt x="390" y="303"/>
                  <a:pt x="390" y="299"/>
                  <a:pt x="390" y="294"/>
                </a:cubicBezTo>
                <a:cubicBezTo>
                  <a:pt x="396" y="293"/>
                  <a:pt x="406" y="291"/>
                  <a:pt x="409" y="289"/>
                </a:cubicBezTo>
                <a:cubicBezTo>
                  <a:pt x="415" y="286"/>
                  <a:pt x="419" y="277"/>
                  <a:pt x="419" y="272"/>
                </a:cubicBezTo>
                <a:cubicBezTo>
                  <a:pt x="419" y="270"/>
                  <a:pt x="418" y="270"/>
                  <a:pt x="407" y="250"/>
                </a:cubicBezTo>
                <a:close/>
                <a:moveTo>
                  <a:pt x="405" y="281"/>
                </a:moveTo>
                <a:cubicBezTo>
                  <a:pt x="403" y="282"/>
                  <a:pt x="393" y="284"/>
                  <a:pt x="385" y="286"/>
                </a:cubicBezTo>
                <a:cubicBezTo>
                  <a:pt x="383" y="286"/>
                  <a:pt x="381" y="288"/>
                  <a:pt x="381" y="290"/>
                </a:cubicBezTo>
                <a:cubicBezTo>
                  <a:pt x="380" y="305"/>
                  <a:pt x="380" y="306"/>
                  <a:pt x="380" y="307"/>
                </a:cubicBezTo>
                <a:cubicBezTo>
                  <a:pt x="381" y="308"/>
                  <a:pt x="381" y="308"/>
                  <a:pt x="382" y="310"/>
                </a:cubicBezTo>
                <a:cubicBezTo>
                  <a:pt x="384" y="314"/>
                  <a:pt x="385" y="316"/>
                  <a:pt x="385" y="317"/>
                </a:cubicBezTo>
                <a:cubicBezTo>
                  <a:pt x="384" y="319"/>
                  <a:pt x="381" y="322"/>
                  <a:pt x="377" y="325"/>
                </a:cubicBezTo>
                <a:cubicBezTo>
                  <a:pt x="376" y="326"/>
                  <a:pt x="375" y="329"/>
                  <a:pt x="376" y="331"/>
                </a:cubicBezTo>
                <a:cubicBezTo>
                  <a:pt x="377" y="334"/>
                  <a:pt x="378" y="337"/>
                  <a:pt x="378" y="338"/>
                </a:cubicBezTo>
                <a:cubicBezTo>
                  <a:pt x="378" y="339"/>
                  <a:pt x="377" y="342"/>
                  <a:pt x="375" y="344"/>
                </a:cubicBezTo>
                <a:cubicBezTo>
                  <a:pt x="373" y="348"/>
                  <a:pt x="371" y="353"/>
                  <a:pt x="369" y="357"/>
                </a:cubicBezTo>
                <a:cubicBezTo>
                  <a:pt x="369" y="359"/>
                  <a:pt x="369" y="362"/>
                  <a:pt x="369" y="365"/>
                </a:cubicBezTo>
                <a:cubicBezTo>
                  <a:pt x="370" y="371"/>
                  <a:pt x="371" y="379"/>
                  <a:pt x="369" y="389"/>
                </a:cubicBezTo>
                <a:cubicBezTo>
                  <a:pt x="367" y="401"/>
                  <a:pt x="359" y="404"/>
                  <a:pt x="347" y="404"/>
                </a:cubicBezTo>
                <a:cubicBezTo>
                  <a:pt x="347" y="404"/>
                  <a:pt x="346" y="404"/>
                  <a:pt x="345" y="404"/>
                </a:cubicBezTo>
                <a:cubicBezTo>
                  <a:pt x="335" y="403"/>
                  <a:pt x="271" y="389"/>
                  <a:pt x="261" y="386"/>
                </a:cubicBezTo>
                <a:cubicBezTo>
                  <a:pt x="259" y="386"/>
                  <a:pt x="257" y="386"/>
                  <a:pt x="256" y="387"/>
                </a:cubicBezTo>
                <a:cubicBezTo>
                  <a:pt x="250" y="394"/>
                  <a:pt x="249" y="449"/>
                  <a:pt x="250" y="476"/>
                </a:cubicBezTo>
                <a:cubicBezTo>
                  <a:pt x="193" y="488"/>
                  <a:pt x="133" y="480"/>
                  <a:pt x="83" y="454"/>
                </a:cubicBezTo>
                <a:cubicBezTo>
                  <a:pt x="93" y="426"/>
                  <a:pt x="105" y="373"/>
                  <a:pt x="89" y="307"/>
                </a:cubicBezTo>
                <a:cubicBezTo>
                  <a:pt x="87" y="299"/>
                  <a:pt x="79" y="292"/>
                  <a:pt x="68" y="282"/>
                </a:cubicBezTo>
                <a:cubicBezTo>
                  <a:pt x="44" y="260"/>
                  <a:pt x="9" y="227"/>
                  <a:pt x="9" y="167"/>
                </a:cubicBezTo>
                <a:cubicBezTo>
                  <a:pt x="9" y="119"/>
                  <a:pt x="22" y="82"/>
                  <a:pt x="47" y="56"/>
                </a:cubicBezTo>
                <a:cubicBezTo>
                  <a:pt x="78" y="25"/>
                  <a:pt x="127" y="9"/>
                  <a:pt x="193" y="9"/>
                </a:cubicBezTo>
                <a:cubicBezTo>
                  <a:pt x="252" y="9"/>
                  <a:pt x="298" y="27"/>
                  <a:pt x="331" y="61"/>
                </a:cubicBezTo>
                <a:cubicBezTo>
                  <a:pt x="357" y="88"/>
                  <a:pt x="364" y="117"/>
                  <a:pt x="365" y="120"/>
                </a:cubicBezTo>
                <a:cubicBezTo>
                  <a:pt x="367" y="130"/>
                  <a:pt x="370" y="147"/>
                  <a:pt x="370" y="158"/>
                </a:cubicBezTo>
                <a:cubicBezTo>
                  <a:pt x="370" y="165"/>
                  <a:pt x="367" y="174"/>
                  <a:pt x="365" y="180"/>
                </a:cubicBezTo>
                <a:cubicBezTo>
                  <a:pt x="363" y="185"/>
                  <a:pt x="363" y="187"/>
                  <a:pt x="363" y="189"/>
                </a:cubicBezTo>
                <a:cubicBezTo>
                  <a:pt x="364" y="198"/>
                  <a:pt x="380" y="224"/>
                  <a:pt x="399" y="255"/>
                </a:cubicBezTo>
                <a:cubicBezTo>
                  <a:pt x="403" y="263"/>
                  <a:pt x="408" y="271"/>
                  <a:pt x="409" y="273"/>
                </a:cubicBezTo>
                <a:cubicBezTo>
                  <a:pt x="409" y="275"/>
                  <a:pt x="406" y="280"/>
                  <a:pt x="405" y="281"/>
                </a:cubicBezTo>
                <a:close/>
                <a:moveTo>
                  <a:pt x="283" y="74"/>
                </a:moveTo>
                <a:cubicBezTo>
                  <a:pt x="257" y="54"/>
                  <a:pt x="225" y="43"/>
                  <a:pt x="192" y="43"/>
                </a:cubicBezTo>
                <a:cubicBezTo>
                  <a:pt x="103" y="43"/>
                  <a:pt x="52" y="87"/>
                  <a:pt x="52" y="163"/>
                </a:cubicBezTo>
                <a:cubicBezTo>
                  <a:pt x="52" y="204"/>
                  <a:pt x="70" y="215"/>
                  <a:pt x="80" y="218"/>
                </a:cubicBezTo>
                <a:cubicBezTo>
                  <a:pt x="82" y="228"/>
                  <a:pt x="90" y="242"/>
                  <a:pt x="96" y="249"/>
                </a:cubicBezTo>
                <a:cubicBezTo>
                  <a:pt x="107" y="260"/>
                  <a:pt x="120" y="266"/>
                  <a:pt x="132" y="266"/>
                </a:cubicBezTo>
                <a:cubicBezTo>
                  <a:pt x="146" y="266"/>
                  <a:pt x="156" y="257"/>
                  <a:pt x="160" y="240"/>
                </a:cubicBezTo>
                <a:cubicBezTo>
                  <a:pt x="176" y="239"/>
                  <a:pt x="188" y="228"/>
                  <a:pt x="194" y="218"/>
                </a:cubicBezTo>
                <a:cubicBezTo>
                  <a:pt x="198" y="212"/>
                  <a:pt x="200" y="206"/>
                  <a:pt x="200" y="201"/>
                </a:cubicBezTo>
                <a:cubicBezTo>
                  <a:pt x="203" y="202"/>
                  <a:pt x="206" y="202"/>
                  <a:pt x="208" y="202"/>
                </a:cubicBezTo>
                <a:cubicBezTo>
                  <a:pt x="224" y="202"/>
                  <a:pt x="236" y="190"/>
                  <a:pt x="240" y="179"/>
                </a:cubicBezTo>
                <a:cubicBezTo>
                  <a:pt x="248" y="179"/>
                  <a:pt x="254" y="179"/>
                  <a:pt x="260" y="179"/>
                </a:cubicBezTo>
                <a:cubicBezTo>
                  <a:pt x="286" y="179"/>
                  <a:pt x="321" y="175"/>
                  <a:pt x="321" y="137"/>
                </a:cubicBezTo>
                <a:cubicBezTo>
                  <a:pt x="321" y="116"/>
                  <a:pt x="307" y="93"/>
                  <a:pt x="283" y="74"/>
                </a:cubicBezTo>
                <a:close/>
                <a:moveTo>
                  <a:pt x="260" y="170"/>
                </a:moveTo>
                <a:cubicBezTo>
                  <a:pt x="254" y="170"/>
                  <a:pt x="246" y="170"/>
                  <a:pt x="237" y="169"/>
                </a:cubicBezTo>
                <a:cubicBezTo>
                  <a:pt x="234" y="169"/>
                  <a:pt x="232" y="171"/>
                  <a:pt x="232" y="173"/>
                </a:cubicBezTo>
                <a:cubicBezTo>
                  <a:pt x="231" y="181"/>
                  <a:pt x="222" y="192"/>
                  <a:pt x="208" y="192"/>
                </a:cubicBezTo>
                <a:cubicBezTo>
                  <a:pt x="204" y="192"/>
                  <a:pt x="200" y="191"/>
                  <a:pt x="195" y="189"/>
                </a:cubicBezTo>
                <a:cubicBezTo>
                  <a:pt x="194" y="189"/>
                  <a:pt x="191" y="189"/>
                  <a:pt x="190" y="190"/>
                </a:cubicBezTo>
                <a:cubicBezTo>
                  <a:pt x="189" y="192"/>
                  <a:pt x="188" y="194"/>
                  <a:pt x="189" y="196"/>
                </a:cubicBezTo>
                <a:cubicBezTo>
                  <a:pt x="191" y="200"/>
                  <a:pt x="190" y="206"/>
                  <a:pt x="186" y="213"/>
                </a:cubicBezTo>
                <a:cubicBezTo>
                  <a:pt x="180" y="222"/>
                  <a:pt x="169" y="231"/>
                  <a:pt x="156" y="231"/>
                </a:cubicBezTo>
                <a:cubicBezTo>
                  <a:pt x="154" y="231"/>
                  <a:pt x="152" y="233"/>
                  <a:pt x="152" y="235"/>
                </a:cubicBezTo>
                <a:cubicBezTo>
                  <a:pt x="150" y="245"/>
                  <a:pt x="145" y="257"/>
                  <a:pt x="132" y="257"/>
                </a:cubicBezTo>
                <a:cubicBezTo>
                  <a:pt x="123" y="257"/>
                  <a:pt x="112" y="251"/>
                  <a:pt x="103" y="242"/>
                </a:cubicBezTo>
                <a:cubicBezTo>
                  <a:pt x="97" y="236"/>
                  <a:pt x="89" y="221"/>
                  <a:pt x="89" y="214"/>
                </a:cubicBezTo>
                <a:cubicBezTo>
                  <a:pt x="89" y="211"/>
                  <a:pt x="87" y="209"/>
                  <a:pt x="85" y="209"/>
                </a:cubicBezTo>
                <a:cubicBezTo>
                  <a:pt x="80" y="208"/>
                  <a:pt x="61" y="203"/>
                  <a:pt x="61" y="163"/>
                </a:cubicBezTo>
                <a:cubicBezTo>
                  <a:pt x="61" y="122"/>
                  <a:pt x="78" y="53"/>
                  <a:pt x="192" y="53"/>
                </a:cubicBezTo>
                <a:cubicBezTo>
                  <a:pt x="223" y="53"/>
                  <a:pt x="253" y="63"/>
                  <a:pt x="277" y="82"/>
                </a:cubicBezTo>
                <a:cubicBezTo>
                  <a:pt x="299" y="98"/>
                  <a:pt x="312" y="119"/>
                  <a:pt x="312" y="137"/>
                </a:cubicBezTo>
                <a:cubicBezTo>
                  <a:pt x="312" y="160"/>
                  <a:pt x="297" y="170"/>
                  <a:pt x="260" y="170"/>
                </a:cubicBez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1180" name="Oval 17"/>
          <p:cNvSpPr>
            <a:spLocks noChangeArrowheads="1"/>
          </p:cNvSpPr>
          <p:nvPr/>
        </p:nvSpPr>
        <p:spPr bwMode="auto">
          <a:xfrm>
            <a:off x="1315706" y="4711628"/>
            <a:ext cx="1119124" cy="1119124"/>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210" name="Freeform 41"/>
          <p:cNvSpPr>
            <a:spLocks noEditPoints="1"/>
          </p:cNvSpPr>
          <p:nvPr/>
        </p:nvSpPr>
        <p:spPr bwMode="auto">
          <a:xfrm>
            <a:off x="1546309" y="4885744"/>
            <a:ext cx="657918" cy="770893"/>
          </a:xfrm>
          <a:custGeom>
            <a:avLst/>
            <a:gdLst>
              <a:gd name="T0" fmla="*/ 407 w 419"/>
              <a:gd name="T1" fmla="*/ 250 h 491"/>
              <a:gd name="T2" fmla="*/ 372 w 419"/>
              <a:gd name="T3" fmla="*/ 188 h 491"/>
              <a:gd name="T4" fmla="*/ 374 w 419"/>
              <a:gd name="T5" fmla="*/ 183 h 491"/>
              <a:gd name="T6" fmla="*/ 379 w 419"/>
              <a:gd name="T7" fmla="*/ 158 h 491"/>
              <a:gd name="T8" fmla="*/ 374 w 419"/>
              <a:gd name="T9" fmla="*/ 118 h 491"/>
              <a:gd name="T10" fmla="*/ 338 w 419"/>
              <a:gd name="T11" fmla="*/ 55 h 491"/>
              <a:gd name="T12" fmla="*/ 193 w 419"/>
              <a:gd name="T13" fmla="*/ 0 h 491"/>
              <a:gd name="T14" fmla="*/ 0 w 419"/>
              <a:gd name="T15" fmla="*/ 167 h 491"/>
              <a:gd name="T16" fmla="*/ 61 w 419"/>
              <a:gd name="T17" fmla="*/ 288 h 491"/>
              <a:gd name="T18" fmla="*/ 80 w 419"/>
              <a:gd name="T19" fmla="*/ 310 h 491"/>
              <a:gd name="T20" fmla="*/ 72 w 419"/>
              <a:gd name="T21" fmla="*/ 454 h 491"/>
              <a:gd name="T22" fmla="*/ 74 w 419"/>
              <a:gd name="T23" fmla="*/ 460 h 491"/>
              <a:gd name="T24" fmla="*/ 197 w 419"/>
              <a:gd name="T25" fmla="*/ 491 h 491"/>
              <a:gd name="T26" fmla="*/ 256 w 419"/>
              <a:gd name="T27" fmla="*/ 484 h 491"/>
              <a:gd name="T28" fmla="*/ 259 w 419"/>
              <a:gd name="T29" fmla="*/ 480 h 491"/>
              <a:gd name="T30" fmla="*/ 262 w 419"/>
              <a:gd name="T31" fmla="*/ 396 h 491"/>
              <a:gd name="T32" fmla="*/ 345 w 419"/>
              <a:gd name="T33" fmla="*/ 413 h 491"/>
              <a:gd name="T34" fmla="*/ 347 w 419"/>
              <a:gd name="T35" fmla="*/ 413 h 491"/>
              <a:gd name="T36" fmla="*/ 378 w 419"/>
              <a:gd name="T37" fmla="*/ 391 h 491"/>
              <a:gd name="T38" fmla="*/ 379 w 419"/>
              <a:gd name="T39" fmla="*/ 364 h 491"/>
              <a:gd name="T40" fmla="*/ 378 w 419"/>
              <a:gd name="T41" fmla="*/ 360 h 491"/>
              <a:gd name="T42" fmla="*/ 384 w 419"/>
              <a:gd name="T43" fmla="*/ 348 h 491"/>
              <a:gd name="T44" fmla="*/ 388 w 419"/>
              <a:gd name="T45" fmla="*/ 339 h 491"/>
              <a:gd name="T46" fmla="*/ 386 w 419"/>
              <a:gd name="T47" fmla="*/ 330 h 491"/>
              <a:gd name="T48" fmla="*/ 394 w 419"/>
              <a:gd name="T49" fmla="*/ 319 h 491"/>
              <a:gd name="T50" fmla="*/ 390 w 419"/>
              <a:gd name="T51" fmla="*/ 305 h 491"/>
              <a:gd name="T52" fmla="*/ 390 w 419"/>
              <a:gd name="T53" fmla="*/ 304 h 491"/>
              <a:gd name="T54" fmla="*/ 390 w 419"/>
              <a:gd name="T55" fmla="*/ 294 h 491"/>
              <a:gd name="T56" fmla="*/ 409 w 419"/>
              <a:gd name="T57" fmla="*/ 289 h 491"/>
              <a:gd name="T58" fmla="*/ 419 w 419"/>
              <a:gd name="T59" fmla="*/ 272 h 491"/>
              <a:gd name="T60" fmla="*/ 407 w 419"/>
              <a:gd name="T61" fmla="*/ 250 h 491"/>
              <a:gd name="T62" fmla="*/ 405 w 419"/>
              <a:gd name="T63" fmla="*/ 281 h 491"/>
              <a:gd name="T64" fmla="*/ 385 w 419"/>
              <a:gd name="T65" fmla="*/ 286 h 491"/>
              <a:gd name="T66" fmla="*/ 381 w 419"/>
              <a:gd name="T67" fmla="*/ 290 h 491"/>
              <a:gd name="T68" fmla="*/ 380 w 419"/>
              <a:gd name="T69" fmla="*/ 307 h 491"/>
              <a:gd name="T70" fmla="*/ 382 w 419"/>
              <a:gd name="T71" fmla="*/ 310 h 491"/>
              <a:gd name="T72" fmla="*/ 384 w 419"/>
              <a:gd name="T73" fmla="*/ 317 h 491"/>
              <a:gd name="T74" fmla="*/ 377 w 419"/>
              <a:gd name="T75" fmla="*/ 325 h 491"/>
              <a:gd name="T76" fmla="*/ 376 w 419"/>
              <a:gd name="T77" fmla="*/ 331 h 491"/>
              <a:gd name="T78" fmla="*/ 378 w 419"/>
              <a:gd name="T79" fmla="*/ 338 h 491"/>
              <a:gd name="T80" fmla="*/ 375 w 419"/>
              <a:gd name="T81" fmla="*/ 344 h 491"/>
              <a:gd name="T82" fmla="*/ 369 w 419"/>
              <a:gd name="T83" fmla="*/ 357 h 491"/>
              <a:gd name="T84" fmla="*/ 369 w 419"/>
              <a:gd name="T85" fmla="*/ 365 h 491"/>
              <a:gd name="T86" fmla="*/ 369 w 419"/>
              <a:gd name="T87" fmla="*/ 389 h 491"/>
              <a:gd name="T88" fmla="*/ 347 w 419"/>
              <a:gd name="T89" fmla="*/ 404 h 491"/>
              <a:gd name="T90" fmla="*/ 345 w 419"/>
              <a:gd name="T91" fmla="*/ 404 h 491"/>
              <a:gd name="T92" fmla="*/ 261 w 419"/>
              <a:gd name="T93" fmla="*/ 386 h 491"/>
              <a:gd name="T94" fmla="*/ 256 w 419"/>
              <a:gd name="T95" fmla="*/ 387 h 491"/>
              <a:gd name="T96" fmla="*/ 250 w 419"/>
              <a:gd name="T97" fmla="*/ 476 h 491"/>
              <a:gd name="T98" fmla="*/ 83 w 419"/>
              <a:gd name="T99" fmla="*/ 454 h 491"/>
              <a:gd name="T100" fmla="*/ 89 w 419"/>
              <a:gd name="T101" fmla="*/ 307 h 491"/>
              <a:gd name="T102" fmla="*/ 68 w 419"/>
              <a:gd name="T103" fmla="*/ 282 h 491"/>
              <a:gd name="T104" fmla="*/ 9 w 419"/>
              <a:gd name="T105" fmla="*/ 167 h 491"/>
              <a:gd name="T106" fmla="*/ 47 w 419"/>
              <a:gd name="T107" fmla="*/ 56 h 491"/>
              <a:gd name="T108" fmla="*/ 193 w 419"/>
              <a:gd name="T109" fmla="*/ 9 h 491"/>
              <a:gd name="T110" fmla="*/ 331 w 419"/>
              <a:gd name="T111" fmla="*/ 61 h 491"/>
              <a:gd name="T112" fmla="*/ 365 w 419"/>
              <a:gd name="T113" fmla="*/ 120 h 491"/>
              <a:gd name="T114" fmla="*/ 370 w 419"/>
              <a:gd name="T115" fmla="*/ 158 h 491"/>
              <a:gd name="T116" fmla="*/ 365 w 419"/>
              <a:gd name="T117" fmla="*/ 180 h 491"/>
              <a:gd name="T118" fmla="*/ 363 w 419"/>
              <a:gd name="T119" fmla="*/ 189 h 491"/>
              <a:gd name="T120" fmla="*/ 399 w 419"/>
              <a:gd name="T121" fmla="*/ 255 h 491"/>
              <a:gd name="T122" fmla="*/ 409 w 419"/>
              <a:gd name="T123" fmla="*/ 273 h 491"/>
              <a:gd name="T124" fmla="*/ 405 w 419"/>
              <a:gd name="T125" fmla="*/ 281 h 4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19" h="491">
                <a:moveTo>
                  <a:pt x="407" y="250"/>
                </a:moveTo>
                <a:cubicBezTo>
                  <a:pt x="395" y="232"/>
                  <a:pt x="374" y="197"/>
                  <a:pt x="372" y="188"/>
                </a:cubicBezTo>
                <a:cubicBezTo>
                  <a:pt x="373" y="187"/>
                  <a:pt x="373" y="185"/>
                  <a:pt x="374" y="183"/>
                </a:cubicBezTo>
                <a:cubicBezTo>
                  <a:pt x="376" y="176"/>
                  <a:pt x="379" y="166"/>
                  <a:pt x="379" y="158"/>
                </a:cubicBezTo>
                <a:cubicBezTo>
                  <a:pt x="379" y="146"/>
                  <a:pt x="377" y="129"/>
                  <a:pt x="374" y="118"/>
                </a:cubicBezTo>
                <a:cubicBezTo>
                  <a:pt x="373" y="112"/>
                  <a:pt x="364" y="83"/>
                  <a:pt x="338" y="55"/>
                </a:cubicBezTo>
                <a:cubicBezTo>
                  <a:pt x="303" y="18"/>
                  <a:pt x="255" y="0"/>
                  <a:pt x="193" y="0"/>
                </a:cubicBezTo>
                <a:cubicBezTo>
                  <a:pt x="65" y="0"/>
                  <a:pt x="0" y="56"/>
                  <a:pt x="0" y="167"/>
                </a:cubicBezTo>
                <a:cubicBezTo>
                  <a:pt x="0" y="231"/>
                  <a:pt x="37" y="266"/>
                  <a:pt x="61" y="288"/>
                </a:cubicBezTo>
                <a:cubicBezTo>
                  <a:pt x="70" y="297"/>
                  <a:pt x="78" y="304"/>
                  <a:pt x="80" y="310"/>
                </a:cubicBezTo>
                <a:cubicBezTo>
                  <a:pt x="97" y="376"/>
                  <a:pt x="82" y="429"/>
                  <a:pt x="72" y="454"/>
                </a:cubicBezTo>
                <a:cubicBezTo>
                  <a:pt x="71" y="456"/>
                  <a:pt x="72" y="459"/>
                  <a:pt x="74" y="460"/>
                </a:cubicBezTo>
                <a:cubicBezTo>
                  <a:pt x="112" y="480"/>
                  <a:pt x="154" y="491"/>
                  <a:pt x="197" y="491"/>
                </a:cubicBezTo>
                <a:cubicBezTo>
                  <a:pt x="217" y="491"/>
                  <a:pt x="236" y="489"/>
                  <a:pt x="256" y="484"/>
                </a:cubicBezTo>
                <a:cubicBezTo>
                  <a:pt x="258" y="484"/>
                  <a:pt x="259" y="482"/>
                  <a:pt x="259" y="480"/>
                </a:cubicBezTo>
                <a:cubicBezTo>
                  <a:pt x="259" y="438"/>
                  <a:pt x="260" y="406"/>
                  <a:pt x="262" y="396"/>
                </a:cubicBezTo>
                <a:cubicBezTo>
                  <a:pt x="280" y="401"/>
                  <a:pt x="335" y="413"/>
                  <a:pt x="345" y="413"/>
                </a:cubicBezTo>
                <a:cubicBezTo>
                  <a:pt x="346" y="413"/>
                  <a:pt x="347" y="413"/>
                  <a:pt x="347" y="413"/>
                </a:cubicBezTo>
                <a:cubicBezTo>
                  <a:pt x="355" y="413"/>
                  <a:pt x="374" y="413"/>
                  <a:pt x="378" y="391"/>
                </a:cubicBezTo>
                <a:cubicBezTo>
                  <a:pt x="381" y="380"/>
                  <a:pt x="380" y="370"/>
                  <a:pt x="379" y="364"/>
                </a:cubicBezTo>
                <a:cubicBezTo>
                  <a:pt x="379" y="362"/>
                  <a:pt x="378" y="360"/>
                  <a:pt x="378" y="360"/>
                </a:cubicBezTo>
                <a:cubicBezTo>
                  <a:pt x="379" y="356"/>
                  <a:pt x="382" y="352"/>
                  <a:pt x="384" y="348"/>
                </a:cubicBezTo>
                <a:cubicBezTo>
                  <a:pt x="386" y="344"/>
                  <a:pt x="387" y="342"/>
                  <a:pt x="388" y="339"/>
                </a:cubicBezTo>
                <a:cubicBezTo>
                  <a:pt x="388" y="337"/>
                  <a:pt x="387" y="333"/>
                  <a:pt x="386" y="330"/>
                </a:cubicBezTo>
                <a:cubicBezTo>
                  <a:pt x="389" y="327"/>
                  <a:pt x="393" y="323"/>
                  <a:pt x="394" y="319"/>
                </a:cubicBezTo>
                <a:cubicBezTo>
                  <a:pt x="394" y="315"/>
                  <a:pt x="392" y="310"/>
                  <a:pt x="390" y="305"/>
                </a:cubicBezTo>
                <a:cubicBezTo>
                  <a:pt x="390" y="305"/>
                  <a:pt x="390" y="305"/>
                  <a:pt x="390" y="304"/>
                </a:cubicBezTo>
                <a:cubicBezTo>
                  <a:pt x="390" y="303"/>
                  <a:pt x="390" y="299"/>
                  <a:pt x="390" y="294"/>
                </a:cubicBezTo>
                <a:cubicBezTo>
                  <a:pt x="396" y="293"/>
                  <a:pt x="406" y="291"/>
                  <a:pt x="409" y="289"/>
                </a:cubicBezTo>
                <a:cubicBezTo>
                  <a:pt x="415" y="286"/>
                  <a:pt x="419" y="277"/>
                  <a:pt x="419" y="272"/>
                </a:cubicBezTo>
                <a:cubicBezTo>
                  <a:pt x="419" y="270"/>
                  <a:pt x="418" y="270"/>
                  <a:pt x="407" y="250"/>
                </a:cubicBezTo>
                <a:close/>
                <a:moveTo>
                  <a:pt x="405" y="281"/>
                </a:moveTo>
                <a:cubicBezTo>
                  <a:pt x="403" y="282"/>
                  <a:pt x="393" y="284"/>
                  <a:pt x="385" y="286"/>
                </a:cubicBezTo>
                <a:cubicBezTo>
                  <a:pt x="383" y="286"/>
                  <a:pt x="381" y="288"/>
                  <a:pt x="381" y="290"/>
                </a:cubicBezTo>
                <a:cubicBezTo>
                  <a:pt x="380" y="305"/>
                  <a:pt x="380" y="306"/>
                  <a:pt x="380" y="307"/>
                </a:cubicBezTo>
                <a:cubicBezTo>
                  <a:pt x="381" y="308"/>
                  <a:pt x="381" y="308"/>
                  <a:pt x="382" y="310"/>
                </a:cubicBezTo>
                <a:cubicBezTo>
                  <a:pt x="384" y="314"/>
                  <a:pt x="385" y="316"/>
                  <a:pt x="384" y="317"/>
                </a:cubicBezTo>
                <a:cubicBezTo>
                  <a:pt x="384" y="319"/>
                  <a:pt x="381" y="322"/>
                  <a:pt x="377" y="325"/>
                </a:cubicBezTo>
                <a:cubicBezTo>
                  <a:pt x="375" y="326"/>
                  <a:pt x="375" y="329"/>
                  <a:pt x="376" y="331"/>
                </a:cubicBezTo>
                <a:cubicBezTo>
                  <a:pt x="377" y="334"/>
                  <a:pt x="378" y="337"/>
                  <a:pt x="378" y="338"/>
                </a:cubicBezTo>
                <a:cubicBezTo>
                  <a:pt x="378" y="339"/>
                  <a:pt x="377" y="342"/>
                  <a:pt x="375" y="344"/>
                </a:cubicBezTo>
                <a:cubicBezTo>
                  <a:pt x="373" y="348"/>
                  <a:pt x="371" y="353"/>
                  <a:pt x="369" y="357"/>
                </a:cubicBezTo>
                <a:cubicBezTo>
                  <a:pt x="369" y="359"/>
                  <a:pt x="369" y="362"/>
                  <a:pt x="369" y="365"/>
                </a:cubicBezTo>
                <a:cubicBezTo>
                  <a:pt x="370" y="371"/>
                  <a:pt x="371" y="379"/>
                  <a:pt x="369" y="389"/>
                </a:cubicBezTo>
                <a:cubicBezTo>
                  <a:pt x="366" y="401"/>
                  <a:pt x="359" y="404"/>
                  <a:pt x="347" y="404"/>
                </a:cubicBezTo>
                <a:cubicBezTo>
                  <a:pt x="347" y="404"/>
                  <a:pt x="346" y="404"/>
                  <a:pt x="345" y="404"/>
                </a:cubicBezTo>
                <a:cubicBezTo>
                  <a:pt x="335" y="403"/>
                  <a:pt x="271" y="389"/>
                  <a:pt x="261" y="386"/>
                </a:cubicBezTo>
                <a:cubicBezTo>
                  <a:pt x="259" y="386"/>
                  <a:pt x="257" y="386"/>
                  <a:pt x="256" y="387"/>
                </a:cubicBezTo>
                <a:cubicBezTo>
                  <a:pt x="250" y="394"/>
                  <a:pt x="249" y="449"/>
                  <a:pt x="250" y="476"/>
                </a:cubicBezTo>
                <a:cubicBezTo>
                  <a:pt x="193" y="488"/>
                  <a:pt x="133" y="480"/>
                  <a:pt x="83" y="454"/>
                </a:cubicBezTo>
                <a:cubicBezTo>
                  <a:pt x="93" y="426"/>
                  <a:pt x="105" y="373"/>
                  <a:pt x="89" y="307"/>
                </a:cubicBezTo>
                <a:cubicBezTo>
                  <a:pt x="87" y="299"/>
                  <a:pt x="79" y="292"/>
                  <a:pt x="68" y="282"/>
                </a:cubicBezTo>
                <a:cubicBezTo>
                  <a:pt x="44" y="260"/>
                  <a:pt x="9" y="227"/>
                  <a:pt x="9" y="167"/>
                </a:cubicBezTo>
                <a:cubicBezTo>
                  <a:pt x="9" y="119"/>
                  <a:pt x="22" y="82"/>
                  <a:pt x="47" y="56"/>
                </a:cubicBezTo>
                <a:cubicBezTo>
                  <a:pt x="77" y="25"/>
                  <a:pt x="127" y="9"/>
                  <a:pt x="193" y="9"/>
                </a:cubicBezTo>
                <a:cubicBezTo>
                  <a:pt x="252" y="9"/>
                  <a:pt x="298" y="27"/>
                  <a:pt x="331" y="61"/>
                </a:cubicBezTo>
                <a:cubicBezTo>
                  <a:pt x="357" y="88"/>
                  <a:pt x="364" y="117"/>
                  <a:pt x="365" y="120"/>
                </a:cubicBezTo>
                <a:cubicBezTo>
                  <a:pt x="367" y="130"/>
                  <a:pt x="370" y="147"/>
                  <a:pt x="370" y="158"/>
                </a:cubicBezTo>
                <a:cubicBezTo>
                  <a:pt x="370" y="165"/>
                  <a:pt x="367" y="174"/>
                  <a:pt x="365" y="180"/>
                </a:cubicBezTo>
                <a:cubicBezTo>
                  <a:pt x="363" y="185"/>
                  <a:pt x="363" y="187"/>
                  <a:pt x="363" y="189"/>
                </a:cubicBezTo>
                <a:cubicBezTo>
                  <a:pt x="364" y="198"/>
                  <a:pt x="380" y="224"/>
                  <a:pt x="399" y="255"/>
                </a:cubicBezTo>
                <a:cubicBezTo>
                  <a:pt x="403" y="263"/>
                  <a:pt x="408" y="271"/>
                  <a:pt x="409" y="273"/>
                </a:cubicBezTo>
                <a:cubicBezTo>
                  <a:pt x="409" y="275"/>
                  <a:pt x="406" y="280"/>
                  <a:pt x="405" y="281"/>
                </a:cubicBez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128" name="Oval 18"/>
          <p:cNvSpPr>
            <a:spLocks noChangeArrowheads="1"/>
          </p:cNvSpPr>
          <p:nvPr/>
        </p:nvSpPr>
        <p:spPr bwMode="auto">
          <a:xfrm>
            <a:off x="3073678" y="4711628"/>
            <a:ext cx="1119124" cy="1119124"/>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211" name="Freeform 42"/>
          <p:cNvSpPr>
            <a:spLocks noEditPoints="1"/>
          </p:cNvSpPr>
          <p:nvPr/>
        </p:nvSpPr>
        <p:spPr bwMode="auto">
          <a:xfrm>
            <a:off x="3304281" y="4885744"/>
            <a:ext cx="657918" cy="770893"/>
          </a:xfrm>
          <a:custGeom>
            <a:avLst/>
            <a:gdLst>
              <a:gd name="T0" fmla="*/ 122 w 419"/>
              <a:gd name="T1" fmla="*/ 141 h 491"/>
              <a:gd name="T2" fmla="*/ 156 w 419"/>
              <a:gd name="T3" fmla="*/ 239 h 491"/>
              <a:gd name="T4" fmla="*/ 169 w 419"/>
              <a:gd name="T5" fmla="*/ 276 h 491"/>
              <a:gd name="T6" fmla="*/ 194 w 419"/>
              <a:gd name="T7" fmla="*/ 293 h 491"/>
              <a:gd name="T8" fmla="*/ 220 w 419"/>
              <a:gd name="T9" fmla="*/ 276 h 491"/>
              <a:gd name="T10" fmla="*/ 233 w 419"/>
              <a:gd name="T11" fmla="*/ 239 h 491"/>
              <a:gd name="T12" fmla="*/ 266 w 419"/>
              <a:gd name="T13" fmla="*/ 141 h 491"/>
              <a:gd name="T14" fmla="*/ 194 w 419"/>
              <a:gd name="T15" fmla="*/ 283 h 491"/>
              <a:gd name="T16" fmla="*/ 207 w 419"/>
              <a:gd name="T17" fmla="*/ 276 h 491"/>
              <a:gd name="T18" fmla="*/ 223 w 419"/>
              <a:gd name="T19" fmla="*/ 263 h 491"/>
              <a:gd name="T20" fmla="*/ 169 w 419"/>
              <a:gd name="T21" fmla="*/ 266 h 491"/>
              <a:gd name="T22" fmla="*/ 165 w 419"/>
              <a:gd name="T23" fmla="*/ 244 h 491"/>
              <a:gd name="T24" fmla="*/ 223 w 419"/>
              <a:gd name="T25" fmla="*/ 263 h 491"/>
              <a:gd name="T26" fmla="*/ 223 w 419"/>
              <a:gd name="T27" fmla="*/ 235 h 491"/>
              <a:gd name="T28" fmla="*/ 199 w 419"/>
              <a:gd name="T29" fmla="*/ 168 h 491"/>
              <a:gd name="T30" fmla="*/ 221 w 419"/>
              <a:gd name="T31" fmla="*/ 134 h 491"/>
              <a:gd name="T32" fmla="*/ 194 w 419"/>
              <a:gd name="T33" fmla="*/ 159 h 491"/>
              <a:gd name="T34" fmla="*/ 168 w 419"/>
              <a:gd name="T35" fmla="*/ 134 h 491"/>
              <a:gd name="T36" fmla="*/ 190 w 419"/>
              <a:gd name="T37" fmla="*/ 168 h 491"/>
              <a:gd name="T38" fmla="*/ 165 w 419"/>
              <a:gd name="T39" fmla="*/ 235 h 491"/>
              <a:gd name="T40" fmla="*/ 132 w 419"/>
              <a:gd name="T41" fmla="*/ 141 h 491"/>
              <a:gd name="T42" fmla="*/ 257 w 419"/>
              <a:gd name="T43" fmla="*/ 141 h 491"/>
              <a:gd name="T44" fmla="*/ 407 w 419"/>
              <a:gd name="T45" fmla="*/ 250 h 491"/>
              <a:gd name="T46" fmla="*/ 374 w 419"/>
              <a:gd name="T47" fmla="*/ 183 h 491"/>
              <a:gd name="T48" fmla="*/ 374 w 419"/>
              <a:gd name="T49" fmla="*/ 118 h 491"/>
              <a:gd name="T50" fmla="*/ 193 w 419"/>
              <a:gd name="T51" fmla="*/ 0 h 491"/>
              <a:gd name="T52" fmla="*/ 61 w 419"/>
              <a:gd name="T53" fmla="*/ 288 h 491"/>
              <a:gd name="T54" fmla="*/ 72 w 419"/>
              <a:gd name="T55" fmla="*/ 454 h 491"/>
              <a:gd name="T56" fmla="*/ 197 w 419"/>
              <a:gd name="T57" fmla="*/ 491 h 491"/>
              <a:gd name="T58" fmla="*/ 259 w 419"/>
              <a:gd name="T59" fmla="*/ 480 h 491"/>
              <a:gd name="T60" fmla="*/ 345 w 419"/>
              <a:gd name="T61" fmla="*/ 413 h 491"/>
              <a:gd name="T62" fmla="*/ 378 w 419"/>
              <a:gd name="T63" fmla="*/ 391 h 491"/>
              <a:gd name="T64" fmla="*/ 378 w 419"/>
              <a:gd name="T65" fmla="*/ 360 h 491"/>
              <a:gd name="T66" fmla="*/ 388 w 419"/>
              <a:gd name="T67" fmla="*/ 339 h 491"/>
              <a:gd name="T68" fmla="*/ 394 w 419"/>
              <a:gd name="T69" fmla="*/ 319 h 491"/>
              <a:gd name="T70" fmla="*/ 390 w 419"/>
              <a:gd name="T71" fmla="*/ 304 h 491"/>
              <a:gd name="T72" fmla="*/ 409 w 419"/>
              <a:gd name="T73" fmla="*/ 289 h 491"/>
              <a:gd name="T74" fmla="*/ 407 w 419"/>
              <a:gd name="T75" fmla="*/ 250 h 491"/>
              <a:gd name="T76" fmla="*/ 385 w 419"/>
              <a:gd name="T77" fmla="*/ 286 h 491"/>
              <a:gd name="T78" fmla="*/ 380 w 419"/>
              <a:gd name="T79" fmla="*/ 307 h 491"/>
              <a:gd name="T80" fmla="*/ 385 w 419"/>
              <a:gd name="T81" fmla="*/ 317 h 491"/>
              <a:gd name="T82" fmla="*/ 376 w 419"/>
              <a:gd name="T83" fmla="*/ 331 h 491"/>
              <a:gd name="T84" fmla="*/ 375 w 419"/>
              <a:gd name="T85" fmla="*/ 344 h 491"/>
              <a:gd name="T86" fmla="*/ 369 w 419"/>
              <a:gd name="T87" fmla="*/ 365 h 491"/>
              <a:gd name="T88" fmla="*/ 347 w 419"/>
              <a:gd name="T89" fmla="*/ 404 h 491"/>
              <a:gd name="T90" fmla="*/ 261 w 419"/>
              <a:gd name="T91" fmla="*/ 386 h 491"/>
              <a:gd name="T92" fmla="*/ 250 w 419"/>
              <a:gd name="T93" fmla="*/ 476 h 491"/>
              <a:gd name="T94" fmla="*/ 89 w 419"/>
              <a:gd name="T95" fmla="*/ 307 h 491"/>
              <a:gd name="T96" fmla="*/ 9 w 419"/>
              <a:gd name="T97" fmla="*/ 167 h 491"/>
              <a:gd name="T98" fmla="*/ 193 w 419"/>
              <a:gd name="T99" fmla="*/ 9 h 491"/>
              <a:gd name="T100" fmla="*/ 365 w 419"/>
              <a:gd name="T101" fmla="*/ 120 h 491"/>
              <a:gd name="T102" fmla="*/ 365 w 419"/>
              <a:gd name="T103" fmla="*/ 180 h 491"/>
              <a:gd name="T104" fmla="*/ 399 w 419"/>
              <a:gd name="T105" fmla="*/ 255 h 491"/>
              <a:gd name="T106" fmla="*/ 405 w 419"/>
              <a:gd name="T107" fmla="*/ 281 h 4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19" h="491">
                <a:moveTo>
                  <a:pt x="194" y="69"/>
                </a:moveTo>
                <a:cubicBezTo>
                  <a:pt x="155" y="69"/>
                  <a:pt x="122" y="101"/>
                  <a:pt x="122" y="141"/>
                </a:cubicBezTo>
                <a:cubicBezTo>
                  <a:pt x="122" y="161"/>
                  <a:pt x="130" y="180"/>
                  <a:pt x="144" y="195"/>
                </a:cubicBezTo>
                <a:cubicBezTo>
                  <a:pt x="148" y="199"/>
                  <a:pt x="156" y="210"/>
                  <a:pt x="156" y="239"/>
                </a:cubicBezTo>
                <a:cubicBezTo>
                  <a:pt x="156" y="263"/>
                  <a:pt x="156" y="263"/>
                  <a:pt x="156" y="263"/>
                </a:cubicBezTo>
                <a:cubicBezTo>
                  <a:pt x="156" y="270"/>
                  <a:pt x="162" y="276"/>
                  <a:pt x="169" y="276"/>
                </a:cubicBezTo>
                <a:cubicBezTo>
                  <a:pt x="172" y="276"/>
                  <a:pt x="172" y="276"/>
                  <a:pt x="172" y="276"/>
                </a:cubicBezTo>
                <a:cubicBezTo>
                  <a:pt x="174" y="285"/>
                  <a:pt x="183" y="293"/>
                  <a:pt x="194" y="293"/>
                </a:cubicBezTo>
                <a:cubicBezTo>
                  <a:pt x="205" y="293"/>
                  <a:pt x="214" y="285"/>
                  <a:pt x="217" y="276"/>
                </a:cubicBezTo>
                <a:cubicBezTo>
                  <a:pt x="220" y="276"/>
                  <a:pt x="220" y="276"/>
                  <a:pt x="220" y="276"/>
                </a:cubicBezTo>
                <a:cubicBezTo>
                  <a:pt x="227" y="276"/>
                  <a:pt x="233" y="270"/>
                  <a:pt x="233" y="263"/>
                </a:cubicBezTo>
                <a:cubicBezTo>
                  <a:pt x="233" y="239"/>
                  <a:pt x="233" y="239"/>
                  <a:pt x="233" y="239"/>
                </a:cubicBezTo>
                <a:cubicBezTo>
                  <a:pt x="233" y="210"/>
                  <a:pt x="241" y="199"/>
                  <a:pt x="244" y="195"/>
                </a:cubicBezTo>
                <a:cubicBezTo>
                  <a:pt x="258" y="180"/>
                  <a:pt x="266" y="161"/>
                  <a:pt x="266" y="141"/>
                </a:cubicBezTo>
                <a:cubicBezTo>
                  <a:pt x="266" y="101"/>
                  <a:pt x="234" y="69"/>
                  <a:pt x="194" y="69"/>
                </a:cubicBezTo>
                <a:close/>
                <a:moveTo>
                  <a:pt x="194" y="283"/>
                </a:moveTo>
                <a:cubicBezTo>
                  <a:pt x="189" y="283"/>
                  <a:pt x="184" y="280"/>
                  <a:pt x="182" y="276"/>
                </a:cubicBezTo>
                <a:cubicBezTo>
                  <a:pt x="207" y="276"/>
                  <a:pt x="207" y="276"/>
                  <a:pt x="207" y="276"/>
                </a:cubicBezTo>
                <a:cubicBezTo>
                  <a:pt x="205" y="280"/>
                  <a:pt x="200" y="283"/>
                  <a:pt x="194" y="283"/>
                </a:cubicBezTo>
                <a:close/>
                <a:moveTo>
                  <a:pt x="223" y="263"/>
                </a:moveTo>
                <a:cubicBezTo>
                  <a:pt x="223" y="265"/>
                  <a:pt x="222" y="266"/>
                  <a:pt x="220" y="266"/>
                </a:cubicBezTo>
                <a:cubicBezTo>
                  <a:pt x="169" y="266"/>
                  <a:pt x="169" y="266"/>
                  <a:pt x="169" y="266"/>
                </a:cubicBezTo>
                <a:cubicBezTo>
                  <a:pt x="167" y="266"/>
                  <a:pt x="165" y="265"/>
                  <a:pt x="165" y="263"/>
                </a:cubicBezTo>
                <a:cubicBezTo>
                  <a:pt x="165" y="244"/>
                  <a:pt x="165" y="244"/>
                  <a:pt x="165" y="244"/>
                </a:cubicBezTo>
                <a:cubicBezTo>
                  <a:pt x="223" y="244"/>
                  <a:pt x="223" y="244"/>
                  <a:pt x="223" y="244"/>
                </a:cubicBezTo>
                <a:lnTo>
                  <a:pt x="223" y="263"/>
                </a:lnTo>
                <a:close/>
                <a:moveTo>
                  <a:pt x="237" y="188"/>
                </a:moveTo>
                <a:cubicBezTo>
                  <a:pt x="232" y="194"/>
                  <a:pt x="224" y="207"/>
                  <a:pt x="223" y="235"/>
                </a:cubicBezTo>
                <a:cubicBezTo>
                  <a:pt x="199" y="235"/>
                  <a:pt x="199" y="235"/>
                  <a:pt x="199" y="235"/>
                </a:cubicBezTo>
                <a:cubicBezTo>
                  <a:pt x="199" y="168"/>
                  <a:pt x="199" y="168"/>
                  <a:pt x="199" y="168"/>
                </a:cubicBezTo>
                <a:cubicBezTo>
                  <a:pt x="218" y="165"/>
                  <a:pt x="224" y="141"/>
                  <a:pt x="224" y="140"/>
                </a:cubicBezTo>
                <a:cubicBezTo>
                  <a:pt x="225" y="137"/>
                  <a:pt x="223" y="135"/>
                  <a:pt x="221" y="134"/>
                </a:cubicBezTo>
                <a:cubicBezTo>
                  <a:pt x="218" y="133"/>
                  <a:pt x="216" y="135"/>
                  <a:pt x="215" y="137"/>
                </a:cubicBezTo>
                <a:cubicBezTo>
                  <a:pt x="215" y="138"/>
                  <a:pt x="210" y="159"/>
                  <a:pt x="194" y="159"/>
                </a:cubicBezTo>
                <a:cubicBezTo>
                  <a:pt x="179" y="159"/>
                  <a:pt x="173" y="138"/>
                  <a:pt x="173" y="137"/>
                </a:cubicBezTo>
                <a:cubicBezTo>
                  <a:pt x="173" y="135"/>
                  <a:pt x="170" y="133"/>
                  <a:pt x="168" y="134"/>
                </a:cubicBezTo>
                <a:cubicBezTo>
                  <a:pt x="165" y="135"/>
                  <a:pt x="164" y="137"/>
                  <a:pt x="164" y="140"/>
                </a:cubicBezTo>
                <a:cubicBezTo>
                  <a:pt x="165" y="141"/>
                  <a:pt x="170" y="165"/>
                  <a:pt x="190" y="168"/>
                </a:cubicBezTo>
                <a:cubicBezTo>
                  <a:pt x="190" y="235"/>
                  <a:pt x="190" y="235"/>
                  <a:pt x="190" y="235"/>
                </a:cubicBezTo>
                <a:cubicBezTo>
                  <a:pt x="165" y="235"/>
                  <a:pt x="165" y="235"/>
                  <a:pt x="165" y="235"/>
                </a:cubicBezTo>
                <a:cubicBezTo>
                  <a:pt x="164" y="207"/>
                  <a:pt x="156" y="194"/>
                  <a:pt x="151" y="188"/>
                </a:cubicBezTo>
                <a:cubicBezTo>
                  <a:pt x="139" y="176"/>
                  <a:pt x="132" y="158"/>
                  <a:pt x="132" y="141"/>
                </a:cubicBezTo>
                <a:cubicBezTo>
                  <a:pt x="132" y="107"/>
                  <a:pt x="160" y="79"/>
                  <a:pt x="194" y="79"/>
                </a:cubicBezTo>
                <a:cubicBezTo>
                  <a:pt x="229" y="79"/>
                  <a:pt x="257" y="107"/>
                  <a:pt x="257" y="141"/>
                </a:cubicBezTo>
                <a:cubicBezTo>
                  <a:pt x="257" y="158"/>
                  <a:pt x="250" y="176"/>
                  <a:pt x="237" y="188"/>
                </a:cubicBezTo>
                <a:close/>
                <a:moveTo>
                  <a:pt x="407" y="250"/>
                </a:moveTo>
                <a:cubicBezTo>
                  <a:pt x="395" y="232"/>
                  <a:pt x="374" y="197"/>
                  <a:pt x="372" y="188"/>
                </a:cubicBezTo>
                <a:cubicBezTo>
                  <a:pt x="373" y="187"/>
                  <a:pt x="373" y="185"/>
                  <a:pt x="374" y="183"/>
                </a:cubicBezTo>
                <a:cubicBezTo>
                  <a:pt x="376" y="176"/>
                  <a:pt x="379" y="166"/>
                  <a:pt x="379" y="158"/>
                </a:cubicBezTo>
                <a:cubicBezTo>
                  <a:pt x="379" y="146"/>
                  <a:pt x="377" y="129"/>
                  <a:pt x="374" y="118"/>
                </a:cubicBezTo>
                <a:cubicBezTo>
                  <a:pt x="373" y="112"/>
                  <a:pt x="364" y="83"/>
                  <a:pt x="338" y="55"/>
                </a:cubicBezTo>
                <a:cubicBezTo>
                  <a:pt x="303" y="18"/>
                  <a:pt x="255" y="0"/>
                  <a:pt x="193" y="0"/>
                </a:cubicBezTo>
                <a:cubicBezTo>
                  <a:pt x="65" y="0"/>
                  <a:pt x="0" y="56"/>
                  <a:pt x="0" y="167"/>
                </a:cubicBezTo>
                <a:cubicBezTo>
                  <a:pt x="0" y="231"/>
                  <a:pt x="37" y="266"/>
                  <a:pt x="61" y="288"/>
                </a:cubicBezTo>
                <a:cubicBezTo>
                  <a:pt x="70" y="297"/>
                  <a:pt x="78" y="304"/>
                  <a:pt x="80" y="310"/>
                </a:cubicBezTo>
                <a:cubicBezTo>
                  <a:pt x="97" y="376"/>
                  <a:pt x="82" y="429"/>
                  <a:pt x="72" y="454"/>
                </a:cubicBezTo>
                <a:cubicBezTo>
                  <a:pt x="71" y="456"/>
                  <a:pt x="72" y="459"/>
                  <a:pt x="74" y="460"/>
                </a:cubicBezTo>
                <a:cubicBezTo>
                  <a:pt x="112" y="480"/>
                  <a:pt x="154" y="491"/>
                  <a:pt x="197" y="491"/>
                </a:cubicBezTo>
                <a:cubicBezTo>
                  <a:pt x="217" y="491"/>
                  <a:pt x="236" y="489"/>
                  <a:pt x="256" y="484"/>
                </a:cubicBezTo>
                <a:cubicBezTo>
                  <a:pt x="258" y="484"/>
                  <a:pt x="259" y="482"/>
                  <a:pt x="259" y="480"/>
                </a:cubicBezTo>
                <a:cubicBezTo>
                  <a:pt x="259" y="438"/>
                  <a:pt x="260" y="406"/>
                  <a:pt x="262" y="396"/>
                </a:cubicBezTo>
                <a:cubicBezTo>
                  <a:pt x="280" y="401"/>
                  <a:pt x="335" y="413"/>
                  <a:pt x="345" y="413"/>
                </a:cubicBezTo>
                <a:cubicBezTo>
                  <a:pt x="346" y="413"/>
                  <a:pt x="347" y="413"/>
                  <a:pt x="347" y="413"/>
                </a:cubicBezTo>
                <a:cubicBezTo>
                  <a:pt x="355" y="413"/>
                  <a:pt x="374" y="413"/>
                  <a:pt x="378" y="391"/>
                </a:cubicBezTo>
                <a:cubicBezTo>
                  <a:pt x="381" y="380"/>
                  <a:pt x="380" y="370"/>
                  <a:pt x="379" y="364"/>
                </a:cubicBezTo>
                <a:cubicBezTo>
                  <a:pt x="379" y="362"/>
                  <a:pt x="378" y="360"/>
                  <a:pt x="378" y="360"/>
                </a:cubicBezTo>
                <a:cubicBezTo>
                  <a:pt x="379" y="356"/>
                  <a:pt x="382" y="352"/>
                  <a:pt x="384" y="348"/>
                </a:cubicBezTo>
                <a:cubicBezTo>
                  <a:pt x="386" y="344"/>
                  <a:pt x="387" y="342"/>
                  <a:pt x="388" y="339"/>
                </a:cubicBezTo>
                <a:cubicBezTo>
                  <a:pt x="388" y="337"/>
                  <a:pt x="387" y="333"/>
                  <a:pt x="386" y="330"/>
                </a:cubicBezTo>
                <a:cubicBezTo>
                  <a:pt x="389" y="327"/>
                  <a:pt x="393" y="323"/>
                  <a:pt x="394" y="319"/>
                </a:cubicBezTo>
                <a:cubicBezTo>
                  <a:pt x="394" y="315"/>
                  <a:pt x="392" y="310"/>
                  <a:pt x="390" y="305"/>
                </a:cubicBezTo>
                <a:cubicBezTo>
                  <a:pt x="390" y="305"/>
                  <a:pt x="390" y="305"/>
                  <a:pt x="390" y="304"/>
                </a:cubicBezTo>
                <a:cubicBezTo>
                  <a:pt x="390" y="303"/>
                  <a:pt x="390" y="299"/>
                  <a:pt x="390" y="294"/>
                </a:cubicBezTo>
                <a:cubicBezTo>
                  <a:pt x="396" y="293"/>
                  <a:pt x="406" y="291"/>
                  <a:pt x="409" y="289"/>
                </a:cubicBezTo>
                <a:cubicBezTo>
                  <a:pt x="415" y="286"/>
                  <a:pt x="419" y="277"/>
                  <a:pt x="419" y="272"/>
                </a:cubicBezTo>
                <a:cubicBezTo>
                  <a:pt x="419" y="270"/>
                  <a:pt x="418" y="270"/>
                  <a:pt x="407" y="250"/>
                </a:cubicBezTo>
                <a:close/>
                <a:moveTo>
                  <a:pt x="405" y="281"/>
                </a:moveTo>
                <a:cubicBezTo>
                  <a:pt x="403" y="282"/>
                  <a:pt x="393" y="284"/>
                  <a:pt x="385" y="286"/>
                </a:cubicBezTo>
                <a:cubicBezTo>
                  <a:pt x="383" y="286"/>
                  <a:pt x="381" y="288"/>
                  <a:pt x="381" y="290"/>
                </a:cubicBezTo>
                <a:cubicBezTo>
                  <a:pt x="380" y="305"/>
                  <a:pt x="380" y="306"/>
                  <a:pt x="380" y="307"/>
                </a:cubicBezTo>
                <a:cubicBezTo>
                  <a:pt x="381" y="308"/>
                  <a:pt x="381" y="308"/>
                  <a:pt x="382" y="310"/>
                </a:cubicBezTo>
                <a:cubicBezTo>
                  <a:pt x="384" y="314"/>
                  <a:pt x="385" y="316"/>
                  <a:pt x="385" y="317"/>
                </a:cubicBezTo>
                <a:cubicBezTo>
                  <a:pt x="384" y="319"/>
                  <a:pt x="381" y="322"/>
                  <a:pt x="377" y="325"/>
                </a:cubicBezTo>
                <a:cubicBezTo>
                  <a:pt x="376" y="326"/>
                  <a:pt x="375" y="329"/>
                  <a:pt x="376" y="331"/>
                </a:cubicBezTo>
                <a:cubicBezTo>
                  <a:pt x="377" y="334"/>
                  <a:pt x="378" y="337"/>
                  <a:pt x="378" y="338"/>
                </a:cubicBezTo>
                <a:cubicBezTo>
                  <a:pt x="378" y="339"/>
                  <a:pt x="377" y="342"/>
                  <a:pt x="375" y="344"/>
                </a:cubicBezTo>
                <a:cubicBezTo>
                  <a:pt x="373" y="348"/>
                  <a:pt x="371" y="353"/>
                  <a:pt x="369" y="357"/>
                </a:cubicBezTo>
                <a:cubicBezTo>
                  <a:pt x="369" y="359"/>
                  <a:pt x="369" y="362"/>
                  <a:pt x="369" y="365"/>
                </a:cubicBezTo>
                <a:cubicBezTo>
                  <a:pt x="370" y="371"/>
                  <a:pt x="371" y="379"/>
                  <a:pt x="369" y="389"/>
                </a:cubicBezTo>
                <a:cubicBezTo>
                  <a:pt x="367" y="401"/>
                  <a:pt x="359" y="404"/>
                  <a:pt x="347" y="404"/>
                </a:cubicBezTo>
                <a:cubicBezTo>
                  <a:pt x="347" y="404"/>
                  <a:pt x="346" y="404"/>
                  <a:pt x="345" y="404"/>
                </a:cubicBezTo>
                <a:cubicBezTo>
                  <a:pt x="335" y="403"/>
                  <a:pt x="271" y="389"/>
                  <a:pt x="261" y="386"/>
                </a:cubicBezTo>
                <a:cubicBezTo>
                  <a:pt x="259" y="386"/>
                  <a:pt x="257" y="386"/>
                  <a:pt x="256" y="387"/>
                </a:cubicBezTo>
                <a:cubicBezTo>
                  <a:pt x="250" y="394"/>
                  <a:pt x="249" y="449"/>
                  <a:pt x="250" y="476"/>
                </a:cubicBezTo>
                <a:cubicBezTo>
                  <a:pt x="193" y="488"/>
                  <a:pt x="133" y="480"/>
                  <a:pt x="83" y="454"/>
                </a:cubicBezTo>
                <a:cubicBezTo>
                  <a:pt x="93" y="426"/>
                  <a:pt x="105" y="373"/>
                  <a:pt x="89" y="307"/>
                </a:cubicBezTo>
                <a:cubicBezTo>
                  <a:pt x="87" y="299"/>
                  <a:pt x="79" y="292"/>
                  <a:pt x="68" y="282"/>
                </a:cubicBezTo>
                <a:cubicBezTo>
                  <a:pt x="44" y="260"/>
                  <a:pt x="9" y="227"/>
                  <a:pt x="9" y="167"/>
                </a:cubicBezTo>
                <a:cubicBezTo>
                  <a:pt x="9" y="119"/>
                  <a:pt x="22" y="82"/>
                  <a:pt x="47" y="56"/>
                </a:cubicBezTo>
                <a:cubicBezTo>
                  <a:pt x="78" y="25"/>
                  <a:pt x="127" y="9"/>
                  <a:pt x="193" y="9"/>
                </a:cubicBezTo>
                <a:cubicBezTo>
                  <a:pt x="252" y="9"/>
                  <a:pt x="298" y="27"/>
                  <a:pt x="331" y="61"/>
                </a:cubicBezTo>
                <a:cubicBezTo>
                  <a:pt x="357" y="88"/>
                  <a:pt x="364" y="117"/>
                  <a:pt x="365" y="120"/>
                </a:cubicBezTo>
                <a:cubicBezTo>
                  <a:pt x="367" y="130"/>
                  <a:pt x="370" y="147"/>
                  <a:pt x="370" y="158"/>
                </a:cubicBezTo>
                <a:cubicBezTo>
                  <a:pt x="370" y="165"/>
                  <a:pt x="367" y="174"/>
                  <a:pt x="365" y="180"/>
                </a:cubicBezTo>
                <a:cubicBezTo>
                  <a:pt x="363" y="185"/>
                  <a:pt x="363" y="187"/>
                  <a:pt x="363" y="189"/>
                </a:cubicBezTo>
                <a:cubicBezTo>
                  <a:pt x="364" y="198"/>
                  <a:pt x="380" y="224"/>
                  <a:pt x="399" y="255"/>
                </a:cubicBezTo>
                <a:cubicBezTo>
                  <a:pt x="403" y="263"/>
                  <a:pt x="408" y="271"/>
                  <a:pt x="409" y="273"/>
                </a:cubicBezTo>
                <a:cubicBezTo>
                  <a:pt x="409" y="275"/>
                  <a:pt x="406" y="280"/>
                  <a:pt x="405" y="281"/>
                </a:cubicBez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135" name="Oval 25"/>
          <p:cNvSpPr>
            <a:spLocks noChangeArrowheads="1"/>
          </p:cNvSpPr>
          <p:nvPr/>
        </p:nvSpPr>
        <p:spPr bwMode="auto">
          <a:xfrm>
            <a:off x="1315706" y="1528549"/>
            <a:ext cx="1119124" cy="1119124"/>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212" name="Freeform 43"/>
          <p:cNvSpPr>
            <a:spLocks noEditPoints="1"/>
          </p:cNvSpPr>
          <p:nvPr/>
        </p:nvSpPr>
        <p:spPr bwMode="auto">
          <a:xfrm>
            <a:off x="1519727" y="1732570"/>
            <a:ext cx="711083" cy="713076"/>
          </a:xfrm>
          <a:custGeom>
            <a:avLst/>
            <a:gdLst>
              <a:gd name="T0" fmla="*/ 311 w 453"/>
              <a:gd name="T1" fmla="*/ 43 h 454"/>
              <a:gd name="T2" fmla="*/ 354 w 453"/>
              <a:gd name="T3" fmla="*/ 77 h 454"/>
              <a:gd name="T4" fmla="*/ 448 w 453"/>
              <a:gd name="T5" fmla="*/ 177 h 454"/>
              <a:gd name="T6" fmla="*/ 304 w 453"/>
              <a:gd name="T7" fmla="*/ 122 h 454"/>
              <a:gd name="T8" fmla="*/ 185 w 453"/>
              <a:gd name="T9" fmla="*/ 185 h 454"/>
              <a:gd name="T10" fmla="*/ 97 w 453"/>
              <a:gd name="T11" fmla="*/ 96 h 454"/>
              <a:gd name="T12" fmla="*/ 4 w 453"/>
              <a:gd name="T13" fmla="*/ 204 h 454"/>
              <a:gd name="T14" fmla="*/ 51 w 453"/>
              <a:gd name="T15" fmla="*/ 436 h 454"/>
              <a:gd name="T16" fmla="*/ 100 w 453"/>
              <a:gd name="T17" fmla="*/ 342 h 454"/>
              <a:gd name="T18" fmla="*/ 149 w 453"/>
              <a:gd name="T19" fmla="*/ 437 h 454"/>
              <a:gd name="T20" fmla="*/ 157 w 453"/>
              <a:gd name="T21" fmla="*/ 219 h 454"/>
              <a:gd name="T22" fmla="*/ 237 w 453"/>
              <a:gd name="T23" fmla="*/ 252 h 454"/>
              <a:gd name="T24" fmla="*/ 303 w 453"/>
              <a:gd name="T25" fmla="*/ 436 h 454"/>
              <a:gd name="T26" fmla="*/ 353 w 453"/>
              <a:gd name="T27" fmla="*/ 342 h 454"/>
              <a:gd name="T28" fmla="*/ 402 w 453"/>
              <a:gd name="T29" fmla="*/ 437 h 454"/>
              <a:gd name="T30" fmla="*/ 418 w 453"/>
              <a:gd name="T31" fmla="*/ 277 h 454"/>
              <a:gd name="T32" fmla="*/ 220 w 453"/>
              <a:gd name="T33" fmla="*/ 243 h 454"/>
              <a:gd name="T34" fmla="*/ 137 w 453"/>
              <a:gd name="T35" fmla="*/ 145 h 454"/>
              <a:gd name="T36" fmla="*/ 133 w 453"/>
              <a:gd name="T37" fmla="*/ 185 h 454"/>
              <a:gd name="T38" fmla="*/ 140 w 453"/>
              <a:gd name="T39" fmla="*/ 436 h 454"/>
              <a:gd name="T40" fmla="*/ 105 w 453"/>
              <a:gd name="T41" fmla="*/ 281 h 454"/>
              <a:gd name="T42" fmla="*/ 72 w 453"/>
              <a:gd name="T43" fmla="*/ 444 h 454"/>
              <a:gd name="T44" fmla="*/ 61 w 453"/>
              <a:gd name="T45" fmla="*/ 386 h 454"/>
              <a:gd name="T46" fmla="*/ 62 w 453"/>
              <a:gd name="T47" fmla="*/ 249 h 454"/>
              <a:gd name="T48" fmla="*/ 35 w 453"/>
              <a:gd name="T49" fmla="*/ 193 h 454"/>
              <a:gd name="T50" fmla="*/ 53 w 453"/>
              <a:gd name="T51" fmla="*/ 252 h 454"/>
              <a:gd name="T52" fmla="*/ 53 w 453"/>
              <a:gd name="T53" fmla="*/ 276 h 454"/>
              <a:gd name="T54" fmla="*/ 47 w 453"/>
              <a:gd name="T55" fmla="*/ 128 h 454"/>
              <a:gd name="T56" fmla="*/ 141 w 453"/>
              <a:gd name="T57" fmla="*/ 127 h 454"/>
              <a:gd name="T58" fmla="*/ 222 w 453"/>
              <a:gd name="T59" fmla="*/ 225 h 454"/>
              <a:gd name="T60" fmla="*/ 53 w 453"/>
              <a:gd name="T61" fmla="*/ 183 h 454"/>
              <a:gd name="T62" fmla="*/ 440 w 453"/>
              <a:gd name="T63" fmla="*/ 201 h 454"/>
              <a:gd name="T64" fmla="*/ 394 w 453"/>
              <a:gd name="T65" fmla="*/ 267 h 454"/>
              <a:gd name="T66" fmla="*/ 407 w 453"/>
              <a:gd name="T67" fmla="*/ 232 h 454"/>
              <a:gd name="T68" fmla="*/ 393 w 453"/>
              <a:gd name="T69" fmla="*/ 165 h 454"/>
              <a:gd name="T70" fmla="*/ 385 w 453"/>
              <a:gd name="T71" fmla="*/ 265 h 454"/>
              <a:gd name="T72" fmla="*/ 392 w 453"/>
              <a:gd name="T73" fmla="*/ 436 h 454"/>
              <a:gd name="T74" fmla="*/ 357 w 453"/>
              <a:gd name="T75" fmla="*/ 281 h 454"/>
              <a:gd name="T76" fmla="*/ 325 w 453"/>
              <a:gd name="T77" fmla="*/ 444 h 454"/>
              <a:gd name="T78" fmla="*/ 314 w 453"/>
              <a:gd name="T79" fmla="*/ 392 h 454"/>
              <a:gd name="T80" fmla="*/ 320 w 453"/>
              <a:gd name="T81" fmla="*/ 150 h 454"/>
              <a:gd name="T82" fmla="*/ 310 w 453"/>
              <a:gd name="T83" fmla="*/ 183 h 454"/>
              <a:gd name="T84" fmla="*/ 236 w 453"/>
              <a:gd name="T85" fmla="*/ 223 h 454"/>
              <a:gd name="T86" fmla="*/ 312 w 453"/>
              <a:gd name="T87" fmla="*/ 127 h 454"/>
              <a:gd name="T88" fmla="*/ 406 w 453"/>
              <a:gd name="T89" fmla="*/ 128 h 454"/>
              <a:gd name="T90" fmla="*/ 409 w 453"/>
              <a:gd name="T91" fmla="*/ 196 h 454"/>
              <a:gd name="T92" fmla="*/ 142 w 453"/>
              <a:gd name="T93" fmla="*/ 43 h 454"/>
              <a:gd name="T94" fmla="*/ 99 w 453"/>
              <a:gd name="T95" fmla="*/ 9 h 454"/>
              <a:gd name="T96" fmla="*/ 99 w 453"/>
              <a:gd name="T97" fmla="*/ 9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53" h="454">
                <a:moveTo>
                  <a:pt x="354" y="86"/>
                </a:moveTo>
                <a:cubicBezTo>
                  <a:pt x="378" y="86"/>
                  <a:pt x="398" y="67"/>
                  <a:pt x="398" y="43"/>
                </a:cubicBezTo>
                <a:cubicBezTo>
                  <a:pt x="398" y="19"/>
                  <a:pt x="378" y="0"/>
                  <a:pt x="354" y="0"/>
                </a:cubicBezTo>
                <a:cubicBezTo>
                  <a:pt x="330" y="0"/>
                  <a:pt x="311" y="19"/>
                  <a:pt x="311" y="43"/>
                </a:cubicBezTo>
                <a:cubicBezTo>
                  <a:pt x="311" y="67"/>
                  <a:pt x="330" y="86"/>
                  <a:pt x="354" y="86"/>
                </a:cubicBezTo>
                <a:close/>
                <a:moveTo>
                  <a:pt x="354" y="9"/>
                </a:moveTo>
                <a:cubicBezTo>
                  <a:pt x="373" y="9"/>
                  <a:pt x="388" y="24"/>
                  <a:pt x="388" y="43"/>
                </a:cubicBezTo>
                <a:cubicBezTo>
                  <a:pt x="388" y="62"/>
                  <a:pt x="373" y="77"/>
                  <a:pt x="354" y="77"/>
                </a:cubicBezTo>
                <a:cubicBezTo>
                  <a:pt x="336" y="77"/>
                  <a:pt x="320" y="62"/>
                  <a:pt x="320" y="43"/>
                </a:cubicBezTo>
                <a:cubicBezTo>
                  <a:pt x="320" y="24"/>
                  <a:pt x="336" y="9"/>
                  <a:pt x="354" y="9"/>
                </a:cubicBezTo>
                <a:close/>
                <a:moveTo>
                  <a:pt x="448" y="177"/>
                </a:moveTo>
                <a:cubicBezTo>
                  <a:pt x="448" y="177"/>
                  <a:pt x="448" y="177"/>
                  <a:pt x="448" y="177"/>
                </a:cubicBezTo>
                <a:cubicBezTo>
                  <a:pt x="414" y="123"/>
                  <a:pt x="414" y="123"/>
                  <a:pt x="414" y="123"/>
                </a:cubicBezTo>
                <a:cubicBezTo>
                  <a:pt x="401" y="104"/>
                  <a:pt x="393" y="96"/>
                  <a:pt x="356" y="96"/>
                </a:cubicBezTo>
                <a:cubicBezTo>
                  <a:pt x="356" y="96"/>
                  <a:pt x="356" y="96"/>
                  <a:pt x="356" y="96"/>
                </a:cubicBezTo>
                <a:cubicBezTo>
                  <a:pt x="319" y="96"/>
                  <a:pt x="309" y="113"/>
                  <a:pt x="304" y="122"/>
                </a:cubicBezTo>
                <a:cubicBezTo>
                  <a:pt x="304" y="122"/>
                  <a:pt x="304" y="122"/>
                  <a:pt x="304" y="122"/>
                </a:cubicBezTo>
                <a:cubicBezTo>
                  <a:pt x="297" y="136"/>
                  <a:pt x="272" y="179"/>
                  <a:pt x="268" y="185"/>
                </a:cubicBezTo>
                <a:cubicBezTo>
                  <a:pt x="263" y="188"/>
                  <a:pt x="240" y="206"/>
                  <a:pt x="226" y="217"/>
                </a:cubicBezTo>
                <a:cubicBezTo>
                  <a:pt x="216" y="209"/>
                  <a:pt x="198" y="195"/>
                  <a:pt x="185" y="185"/>
                </a:cubicBezTo>
                <a:cubicBezTo>
                  <a:pt x="181" y="179"/>
                  <a:pt x="156" y="136"/>
                  <a:pt x="149" y="122"/>
                </a:cubicBezTo>
                <a:cubicBezTo>
                  <a:pt x="148" y="122"/>
                  <a:pt x="148" y="122"/>
                  <a:pt x="148" y="122"/>
                </a:cubicBezTo>
                <a:cubicBezTo>
                  <a:pt x="143" y="113"/>
                  <a:pt x="134" y="96"/>
                  <a:pt x="97" y="96"/>
                </a:cubicBezTo>
                <a:cubicBezTo>
                  <a:pt x="97" y="96"/>
                  <a:pt x="97" y="96"/>
                  <a:pt x="97" y="96"/>
                </a:cubicBezTo>
                <a:cubicBezTo>
                  <a:pt x="60" y="96"/>
                  <a:pt x="52" y="104"/>
                  <a:pt x="39" y="123"/>
                </a:cubicBezTo>
                <a:cubicBezTo>
                  <a:pt x="5" y="177"/>
                  <a:pt x="5" y="177"/>
                  <a:pt x="5" y="177"/>
                </a:cubicBezTo>
                <a:cubicBezTo>
                  <a:pt x="5" y="177"/>
                  <a:pt x="5" y="177"/>
                  <a:pt x="5" y="177"/>
                </a:cubicBezTo>
                <a:cubicBezTo>
                  <a:pt x="0" y="186"/>
                  <a:pt x="0" y="195"/>
                  <a:pt x="4" y="204"/>
                </a:cubicBezTo>
                <a:cubicBezTo>
                  <a:pt x="35" y="277"/>
                  <a:pt x="35" y="277"/>
                  <a:pt x="35" y="277"/>
                </a:cubicBezTo>
                <a:cubicBezTo>
                  <a:pt x="38" y="282"/>
                  <a:pt x="44" y="286"/>
                  <a:pt x="50" y="286"/>
                </a:cubicBezTo>
                <a:cubicBezTo>
                  <a:pt x="51" y="286"/>
                  <a:pt x="52" y="286"/>
                  <a:pt x="52" y="286"/>
                </a:cubicBezTo>
                <a:cubicBezTo>
                  <a:pt x="52" y="404"/>
                  <a:pt x="51" y="433"/>
                  <a:pt x="51" y="436"/>
                </a:cubicBezTo>
                <a:cubicBezTo>
                  <a:pt x="51" y="436"/>
                  <a:pt x="51" y="436"/>
                  <a:pt x="51" y="437"/>
                </a:cubicBezTo>
                <a:cubicBezTo>
                  <a:pt x="52" y="447"/>
                  <a:pt x="62" y="454"/>
                  <a:pt x="72" y="454"/>
                </a:cubicBezTo>
                <a:cubicBezTo>
                  <a:pt x="83" y="454"/>
                  <a:pt x="92" y="446"/>
                  <a:pt x="93" y="436"/>
                </a:cubicBezTo>
                <a:cubicBezTo>
                  <a:pt x="100" y="342"/>
                  <a:pt x="100" y="342"/>
                  <a:pt x="100" y="342"/>
                </a:cubicBezTo>
                <a:cubicBezTo>
                  <a:pt x="108" y="436"/>
                  <a:pt x="108" y="436"/>
                  <a:pt x="108" y="436"/>
                </a:cubicBezTo>
                <a:cubicBezTo>
                  <a:pt x="108" y="446"/>
                  <a:pt x="117" y="454"/>
                  <a:pt x="128" y="454"/>
                </a:cubicBezTo>
                <a:cubicBezTo>
                  <a:pt x="128" y="454"/>
                  <a:pt x="128" y="454"/>
                  <a:pt x="129" y="454"/>
                </a:cubicBezTo>
                <a:cubicBezTo>
                  <a:pt x="139" y="454"/>
                  <a:pt x="148" y="446"/>
                  <a:pt x="149" y="437"/>
                </a:cubicBezTo>
                <a:cubicBezTo>
                  <a:pt x="149" y="436"/>
                  <a:pt x="149" y="436"/>
                  <a:pt x="149" y="436"/>
                </a:cubicBezTo>
                <a:cubicBezTo>
                  <a:pt x="149" y="430"/>
                  <a:pt x="146" y="298"/>
                  <a:pt x="143" y="200"/>
                </a:cubicBezTo>
                <a:cubicBezTo>
                  <a:pt x="156" y="218"/>
                  <a:pt x="156" y="218"/>
                  <a:pt x="156" y="218"/>
                </a:cubicBezTo>
                <a:cubicBezTo>
                  <a:pt x="156" y="218"/>
                  <a:pt x="157" y="219"/>
                  <a:pt x="157" y="219"/>
                </a:cubicBezTo>
                <a:cubicBezTo>
                  <a:pt x="215" y="251"/>
                  <a:pt x="215" y="251"/>
                  <a:pt x="215" y="251"/>
                </a:cubicBezTo>
                <a:cubicBezTo>
                  <a:pt x="219" y="254"/>
                  <a:pt x="223" y="254"/>
                  <a:pt x="226" y="253"/>
                </a:cubicBezTo>
                <a:cubicBezTo>
                  <a:pt x="227" y="254"/>
                  <a:pt x="229" y="254"/>
                  <a:pt x="230" y="254"/>
                </a:cubicBezTo>
                <a:cubicBezTo>
                  <a:pt x="232" y="254"/>
                  <a:pt x="235" y="253"/>
                  <a:pt x="237" y="252"/>
                </a:cubicBezTo>
                <a:cubicBezTo>
                  <a:pt x="295" y="219"/>
                  <a:pt x="295" y="219"/>
                  <a:pt x="295" y="219"/>
                </a:cubicBezTo>
                <a:cubicBezTo>
                  <a:pt x="296" y="219"/>
                  <a:pt x="297" y="218"/>
                  <a:pt x="297" y="218"/>
                </a:cubicBezTo>
                <a:cubicBezTo>
                  <a:pt x="310" y="200"/>
                  <a:pt x="310" y="200"/>
                  <a:pt x="310" y="200"/>
                </a:cubicBezTo>
                <a:cubicBezTo>
                  <a:pt x="307" y="298"/>
                  <a:pt x="304" y="430"/>
                  <a:pt x="303" y="436"/>
                </a:cubicBezTo>
                <a:cubicBezTo>
                  <a:pt x="303" y="436"/>
                  <a:pt x="303" y="436"/>
                  <a:pt x="303" y="437"/>
                </a:cubicBezTo>
                <a:cubicBezTo>
                  <a:pt x="305" y="447"/>
                  <a:pt x="314" y="454"/>
                  <a:pt x="325" y="454"/>
                </a:cubicBezTo>
                <a:cubicBezTo>
                  <a:pt x="336" y="454"/>
                  <a:pt x="345" y="446"/>
                  <a:pt x="345" y="436"/>
                </a:cubicBezTo>
                <a:cubicBezTo>
                  <a:pt x="353" y="342"/>
                  <a:pt x="353" y="342"/>
                  <a:pt x="353" y="342"/>
                </a:cubicBezTo>
                <a:cubicBezTo>
                  <a:pt x="360" y="436"/>
                  <a:pt x="360" y="436"/>
                  <a:pt x="360" y="436"/>
                </a:cubicBezTo>
                <a:cubicBezTo>
                  <a:pt x="361" y="446"/>
                  <a:pt x="369" y="454"/>
                  <a:pt x="380" y="454"/>
                </a:cubicBezTo>
                <a:cubicBezTo>
                  <a:pt x="381" y="454"/>
                  <a:pt x="381" y="454"/>
                  <a:pt x="381" y="454"/>
                </a:cubicBezTo>
                <a:cubicBezTo>
                  <a:pt x="392" y="454"/>
                  <a:pt x="401" y="446"/>
                  <a:pt x="402" y="437"/>
                </a:cubicBezTo>
                <a:cubicBezTo>
                  <a:pt x="402" y="436"/>
                  <a:pt x="402" y="436"/>
                  <a:pt x="402" y="436"/>
                </a:cubicBezTo>
                <a:cubicBezTo>
                  <a:pt x="402" y="433"/>
                  <a:pt x="401" y="404"/>
                  <a:pt x="400" y="286"/>
                </a:cubicBezTo>
                <a:cubicBezTo>
                  <a:pt x="401" y="286"/>
                  <a:pt x="402" y="286"/>
                  <a:pt x="403" y="286"/>
                </a:cubicBezTo>
                <a:cubicBezTo>
                  <a:pt x="409" y="286"/>
                  <a:pt x="415" y="282"/>
                  <a:pt x="418" y="277"/>
                </a:cubicBezTo>
                <a:cubicBezTo>
                  <a:pt x="449" y="204"/>
                  <a:pt x="449" y="204"/>
                  <a:pt x="449" y="204"/>
                </a:cubicBezTo>
                <a:cubicBezTo>
                  <a:pt x="453" y="195"/>
                  <a:pt x="452" y="186"/>
                  <a:pt x="448" y="177"/>
                </a:cubicBezTo>
                <a:close/>
                <a:moveTo>
                  <a:pt x="230" y="241"/>
                </a:moveTo>
                <a:cubicBezTo>
                  <a:pt x="227" y="244"/>
                  <a:pt x="223" y="245"/>
                  <a:pt x="220" y="243"/>
                </a:cubicBezTo>
                <a:cubicBezTo>
                  <a:pt x="163" y="211"/>
                  <a:pt x="163" y="211"/>
                  <a:pt x="163" y="211"/>
                </a:cubicBezTo>
                <a:cubicBezTo>
                  <a:pt x="143" y="183"/>
                  <a:pt x="143" y="183"/>
                  <a:pt x="143" y="183"/>
                </a:cubicBezTo>
                <a:cubicBezTo>
                  <a:pt x="142" y="171"/>
                  <a:pt x="142" y="160"/>
                  <a:pt x="142" y="150"/>
                </a:cubicBezTo>
                <a:cubicBezTo>
                  <a:pt x="142" y="147"/>
                  <a:pt x="140" y="145"/>
                  <a:pt x="137" y="145"/>
                </a:cubicBezTo>
                <a:cubicBezTo>
                  <a:pt x="137" y="145"/>
                  <a:pt x="137" y="145"/>
                  <a:pt x="137" y="145"/>
                </a:cubicBezTo>
                <a:cubicBezTo>
                  <a:pt x="134" y="145"/>
                  <a:pt x="132" y="148"/>
                  <a:pt x="132" y="150"/>
                </a:cubicBezTo>
                <a:cubicBezTo>
                  <a:pt x="132" y="150"/>
                  <a:pt x="133" y="164"/>
                  <a:pt x="133" y="185"/>
                </a:cubicBezTo>
                <a:cubicBezTo>
                  <a:pt x="133" y="185"/>
                  <a:pt x="133" y="185"/>
                  <a:pt x="133" y="185"/>
                </a:cubicBezTo>
                <a:cubicBezTo>
                  <a:pt x="134" y="213"/>
                  <a:pt x="135" y="253"/>
                  <a:pt x="136" y="293"/>
                </a:cubicBezTo>
                <a:cubicBezTo>
                  <a:pt x="137" y="329"/>
                  <a:pt x="138" y="365"/>
                  <a:pt x="139" y="392"/>
                </a:cubicBezTo>
                <a:cubicBezTo>
                  <a:pt x="139" y="405"/>
                  <a:pt x="139" y="416"/>
                  <a:pt x="140" y="424"/>
                </a:cubicBezTo>
                <a:cubicBezTo>
                  <a:pt x="140" y="430"/>
                  <a:pt x="140" y="433"/>
                  <a:pt x="140" y="436"/>
                </a:cubicBezTo>
                <a:cubicBezTo>
                  <a:pt x="140" y="436"/>
                  <a:pt x="140" y="436"/>
                  <a:pt x="140" y="436"/>
                </a:cubicBezTo>
                <a:cubicBezTo>
                  <a:pt x="140" y="441"/>
                  <a:pt x="134" y="445"/>
                  <a:pt x="128" y="444"/>
                </a:cubicBezTo>
                <a:cubicBezTo>
                  <a:pt x="122" y="444"/>
                  <a:pt x="117" y="440"/>
                  <a:pt x="117" y="435"/>
                </a:cubicBezTo>
                <a:cubicBezTo>
                  <a:pt x="105" y="281"/>
                  <a:pt x="105" y="281"/>
                  <a:pt x="105" y="281"/>
                </a:cubicBezTo>
                <a:cubicBezTo>
                  <a:pt x="105" y="279"/>
                  <a:pt x="103" y="277"/>
                  <a:pt x="100" y="277"/>
                </a:cubicBezTo>
                <a:cubicBezTo>
                  <a:pt x="98" y="277"/>
                  <a:pt x="96" y="279"/>
                  <a:pt x="96" y="281"/>
                </a:cubicBezTo>
                <a:cubicBezTo>
                  <a:pt x="84" y="435"/>
                  <a:pt x="84" y="435"/>
                  <a:pt x="84" y="435"/>
                </a:cubicBezTo>
                <a:cubicBezTo>
                  <a:pt x="83" y="440"/>
                  <a:pt x="78" y="444"/>
                  <a:pt x="72" y="444"/>
                </a:cubicBezTo>
                <a:cubicBezTo>
                  <a:pt x="66" y="445"/>
                  <a:pt x="61" y="441"/>
                  <a:pt x="60" y="436"/>
                </a:cubicBezTo>
                <a:cubicBezTo>
                  <a:pt x="60" y="436"/>
                  <a:pt x="60" y="436"/>
                  <a:pt x="60" y="436"/>
                </a:cubicBezTo>
                <a:cubicBezTo>
                  <a:pt x="61" y="433"/>
                  <a:pt x="61" y="429"/>
                  <a:pt x="61" y="422"/>
                </a:cubicBezTo>
                <a:cubicBezTo>
                  <a:pt x="61" y="413"/>
                  <a:pt x="61" y="401"/>
                  <a:pt x="61" y="386"/>
                </a:cubicBezTo>
                <a:cubicBezTo>
                  <a:pt x="61" y="357"/>
                  <a:pt x="62" y="318"/>
                  <a:pt x="62" y="281"/>
                </a:cubicBezTo>
                <a:cubicBezTo>
                  <a:pt x="67" y="277"/>
                  <a:pt x="69" y="271"/>
                  <a:pt x="67" y="265"/>
                </a:cubicBezTo>
                <a:cubicBezTo>
                  <a:pt x="67" y="265"/>
                  <a:pt x="67" y="265"/>
                  <a:pt x="67" y="264"/>
                </a:cubicBezTo>
                <a:cubicBezTo>
                  <a:pt x="67" y="263"/>
                  <a:pt x="65" y="258"/>
                  <a:pt x="62" y="249"/>
                </a:cubicBezTo>
                <a:cubicBezTo>
                  <a:pt x="63" y="197"/>
                  <a:pt x="63" y="169"/>
                  <a:pt x="63" y="169"/>
                </a:cubicBezTo>
                <a:cubicBezTo>
                  <a:pt x="63" y="167"/>
                  <a:pt x="61" y="165"/>
                  <a:pt x="59" y="165"/>
                </a:cubicBezTo>
                <a:cubicBezTo>
                  <a:pt x="58" y="164"/>
                  <a:pt x="55" y="165"/>
                  <a:pt x="54" y="166"/>
                </a:cubicBezTo>
                <a:cubicBezTo>
                  <a:pt x="35" y="193"/>
                  <a:pt x="35" y="193"/>
                  <a:pt x="35" y="193"/>
                </a:cubicBezTo>
                <a:cubicBezTo>
                  <a:pt x="34" y="194"/>
                  <a:pt x="34" y="195"/>
                  <a:pt x="34" y="197"/>
                </a:cubicBezTo>
                <a:cubicBezTo>
                  <a:pt x="34" y="197"/>
                  <a:pt x="40" y="215"/>
                  <a:pt x="46" y="232"/>
                </a:cubicBezTo>
                <a:cubicBezTo>
                  <a:pt x="49" y="239"/>
                  <a:pt x="51" y="246"/>
                  <a:pt x="53" y="252"/>
                </a:cubicBezTo>
                <a:cubicBezTo>
                  <a:pt x="53" y="252"/>
                  <a:pt x="53" y="252"/>
                  <a:pt x="53" y="252"/>
                </a:cubicBezTo>
                <a:cubicBezTo>
                  <a:pt x="54" y="254"/>
                  <a:pt x="54" y="255"/>
                  <a:pt x="55" y="257"/>
                </a:cubicBezTo>
                <a:cubicBezTo>
                  <a:pt x="56" y="262"/>
                  <a:pt x="58" y="265"/>
                  <a:pt x="59" y="267"/>
                </a:cubicBezTo>
                <a:cubicBezTo>
                  <a:pt x="58" y="267"/>
                  <a:pt x="58" y="267"/>
                  <a:pt x="58" y="267"/>
                </a:cubicBezTo>
                <a:cubicBezTo>
                  <a:pt x="59" y="271"/>
                  <a:pt x="57" y="274"/>
                  <a:pt x="53" y="276"/>
                </a:cubicBezTo>
                <a:cubicBezTo>
                  <a:pt x="49" y="277"/>
                  <a:pt x="45" y="276"/>
                  <a:pt x="44" y="273"/>
                </a:cubicBezTo>
                <a:cubicBezTo>
                  <a:pt x="12" y="201"/>
                  <a:pt x="12" y="201"/>
                  <a:pt x="12" y="201"/>
                </a:cubicBezTo>
                <a:cubicBezTo>
                  <a:pt x="10" y="194"/>
                  <a:pt x="10" y="188"/>
                  <a:pt x="13" y="182"/>
                </a:cubicBezTo>
                <a:cubicBezTo>
                  <a:pt x="47" y="128"/>
                  <a:pt x="47" y="128"/>
                  <a:pt x="47" y="128"/>
                </a:cubicBezTo>
                <a:cubicBezTo>
                  <a:pt x="58" y="112"/>
                  <a:pt x="63" y="105"/>
                  <a:pt x="97" y="105"/>
                </a:cubicBezTo>
                <a:cubicBezTo>
                  <a:pt x="97" y="105"/>
                  <a:pt x="97" y="105"/>
                  <a:pt x="97" y="105"/>
                </a:cubicBezTo>
                <a:cubicBezTo>
                  <a:pt x="128" y="105"/>
                  <a:pt x="136" y="118"/>
                  <a:pt x="140" y="126"/>
                </a:cubicBezTo>
                <a:cubicBezTo>
                  <a:pt x="141" y="127"/>
                  <a:pt x="141" y="127"/>
                  <a:pt x="141" y="127"/>
                </a:cubicBezTo>
                <a:cubicBezTo>
                  <a:pt x="149" y="141"/>
                  <a:pt x="177" y="190"/>
                  <a:pt x="177" y="191"/>
                </a:cubicBezTo>
                <a:cubicBezTo>
                  <a:pt x="178" y="191"/>
                  <a:pt x="178" y="192"/>
                  <a:pt x="178" y="192"/>
                </a:cubicBezTo>
                <a:cubicBezTo>
                  <a:pt x="178" y="192"/>
                  <a:pt x="191" y="202"/>
                  <a:pt x="204" y="212"/>
                </a:cubicBezTo>
                <a:cubicBezTo>
                  <a:pt x="211" y="217"/>
                  <a:pt x="217" y="221"/>
                  <a:pt x="222" y="225"/>
                </a:cubicBezTo>
                <a:cubicBezTo>
                  <a:pt x="226" y="228"/>
                  <a:pt x="228" y="230"/>
                  <a:pt x="230" y="231"/>
                </a:cubicBezTo>
                <a:cubicBezTo>
                  <a:pt x="230" y="231"/>
                  <a:pt x="230" y="231"/>
                  <a:pt x="230" y="231"/>
                </a:cubicBezTo>
                <a:cubicBezTo>
                  <a:pt x="232" y="233"/>
                  <a:pt x="232" y="238"/>
                  <a:pt x="230" y="241"/>
                </a:cubicBezTo>
                <a:close/>
                <a:moveTo>
                  <a:pt x="53" y="183"/>
                </a:moveTo>
                <a:cubicBezTo>
                  <a:pt x="53" y="192"/>
                  <a:pt x="53" y="206"/>
                  <a:pt x="53" y="223"/>
                </a:cubicBezTo>
                <a:cubicBezTo>
                  <a:pt x="50" y="214"/>
                  <a:pt x="47" y="204"/>
                  <a:pt x="44" y="196"/>
                </a:cubicBezTo>
                <a:lnTo>
                  <a:pt x="53" y="183"/>
                </a:lnTo>
                <a:close/>
                <a:moveTo>
                  <a:pt x="440" y="201"/>
                </a:moveTo>
                <a:cubicBezTo>
                  <a:pt x="409" y="273"/>
                  <a:pt x="409" y="273"/>
                  <a:pt x="409" y="273"/>
                </a:cubicBezTo>
                <a:cubicBezTo>
                  <a:pt x="408" y="276"/>
                  <a:pt x="404" y="277"/>
                  <a:pt x="400" y="276"/>
                </a:cubicBezTo>
                <a:cubicBezTo>
                  <a:pt x="396" y="274"/>
                  <a:pt x="394" y="271"/>
                  <a:pt x="394" y="267"/>
                </a:cubicBezTo>
                <a:cubicBezTo>
                  <a:pt x="394" y="267"/>
                  <a:pt x="394" y="267"/>
                  <a:pt x="394" y="267"/>
                </a:cubicBezTo>
                <a:cubicBezTo>
                  <a:pt x="395" y="265"/>
                  <a:pt x="396" y="262"/>
                  <a:pt x="398" y="257"/>
                </a:cubicBezTo>
                <a:cubicBezTo>
                  <a:pt x="399" y="255"/>
                  <a:pt x="399" y="254"/>
                  <a:pt x="400" y="252"/>
                </a:cubicBezTo>
                <a:cubicBezTo>
                  <a:pt x="400" y="252"/>
                  <a:pt x="400" y="252"/>
                  <a:pt x="400" y="252"/>
                </a:cubicBezTo>
                <a:cubicBezTo>
                  <a:pt x="402" y="246"/>
                  <a:pt x="404" y="239"/>
                  <a:pt x="407" y="232"/>
                </a:cubicBezTo>
                <a:cubicBezTo>
                  <a:pt x="413" y="215"/>
                  <a:pt x="419" y="197"/>
                  <a:pt x="419" y="197"/>
                </a:cubicBezTo>
                <a:cubicBezTo>
                  <a:pt x="419" y="195"/>
                  <a:pt x="419" y="194"/>
                  <a:pt x="418" y="193"/>
                </a:cubicBezTo>
                <a:cubicBezTo>
                  <a:pt x="399" y="166"/>
                  <a:pt x="399" y="166"/>
                  <a:pt x="399" y="166"/>
                </a:cubicBezTo>
                <a:cubicBezTo>
                  <a:pt x="397" y="165"/>
                  <a:pt x="395" y="164"/>
                  <a:pt x="393" y="165"/>
                </a:cubicBezTo>
                <a:cubicBezTo>
                  <a:pt x="391" y="165"/>
                  <a:pt x="390" y="167"/>
                  <a:pt x="390" y="169"/>
                </a:cubicBezTo>
                <a:cubicBezTo>
                  <a:pt x="390" y="169"/>
                  <a:pt x="390" y="197"/>
                  <a:pt x="391" y="249"/>
                </a:cubicBezTo>
                <a:cubicBezTo>
                  <a:pt x="388" y="258"/>
                  <a:pt x="386" y="263"/>
                  <a:pt x="386" y="264"/>
                </a:cubicBezTo>
                <a:cubicBezTo>
                  <a:pt x="386" y="265"/>
                  <a:pt x="385" y="265"/>
                  <a:pt x="385" y="265"/>
                </a:cubicBezTo>
                <a:cubicBezTo>
                  <a:pt x="384" y="271"/>
                  <a:pt x="386" y="277"/>
                  <a:pt x="391" y="281"/>
                </a:cubicBezTo>
                <a:cubicBezTo>
                  <a:pt x="391" y="318"/>
                  <a:pt x="392" y="357"/>
                  <a:pt x="392" y="386"/>
                </a:cubicBezTo>
                <a:cubicBezTo>
                  <a:pt x="392" y="401"/>
                  <a:pt x="392" y="413"/>
                  <a:pt x="392" y="422"/>
                </a:cubicBezTo>
                <a:cubicBezTo>
                  <a:pt x="392" y="429"/>
                  <a:pt x="392" y="433"/>
                  <a:pt x="392" y="436"/>
                </a:cubicBezTo>
                <a:cubicBezTo>
                  <a:pt x="392" y="436"/>
                  <a:pt x="392" y="436"/>
                  <a:pt x="392" y="436"/>
                </a:cubicBezTo>
                <a:cubicBezTo>
                  <a:pt x="392" y="441"/>
                  <a:pt x="387" y="445"/>
                  <a:pt x="381" y="444"/>
                </a:cubicBezTo>
                <a:cubicBezTo>
                  <a:pt x="375" y="444"/>
                  <a:pt x="370" y="440"/>
                  <a:pt x="369" y="435"/>
                </a:cubicBezTo>
                <a:cubicBezTo>
                  <a:pt x="357" y="281"/>
                  <a:pt x="357" y="281"/>
                  <a:pt x="357" y="281"/>
                </a:cubicBezTo>
                <a:cubicBezTo>
                  <a:pt x="357" y="279"/>
                  <a:pt x="355" y="277"/>
                  <a:pt x="353" y="277"/>
                </a:cubicBezTo>
                <a:cubicBezTo>
                  <a:pt x="350" y="277"/>
                  <a:pt x="348" y="279"/>
                  <a:pt x="348" y="281"/>
                </a:cubicBezTo>
                <a:cubicBezTo>
                  <a:pt x="336" y="435"/>
                  <a:pt x="336" y="435"/>
                  <a:pt x="336" y="435"/>
                </a:cubicBezTo>
                <a:cubicBezTo>
                  <a:pt x="336" y="440"/>
                  <a:pt x="331" y="444"/>
                  <a:pt x="325" y="444"/>
                </a:cubicBezTo>
                <a:cubicBezTo>
                  <a:pt x="319" y="445"/>
                  <a:pt x="313" y="441"/>
                  <a:pt x="313" y="436"/>
                </a:cubicBezTo>
                <a:cubicBezTo>
                  <a:pt x="313" y="436"/>
                  <a:pt x="313" y="436"/>
                  <a:pt x="313" y="436"/>
                </a:cubicBezTo>
                <a:cubicBezTo>
                  <a:pt x="313" y="433"/>
                  <a:pt x="313" y="430"/>
                  <a:pt x="313" y="424"/>
                </a:cubicBezTo>
                <a:cubicBezTo>
                  <a:pt x="313" y="416"/>
                  <a:pt x="314" y="405"/>
                  <a:pt x="314" y="392"/>
                </a:cubicBezTo>
                <a:cubicBezTo>
                  <a:pt x="315" y="365"/>
                  <a:pt x="316" y="329"/>
                  <a:pt x="317" y="293"/>
                </a:cubicBezTo>
                <a:cubicBezTo>
                  <a:pt x="318" y="253"/>
                  <a:pt x="319" y="213"/>
                  <a:pt x="320" y="185"/>
                </a:cubicBezTo>
                <a:cubicBezTo>
                  <a:pt x="320" y="185"/>
                  <a:pt x="320" y="185"/>
                  <a:pt x="320" y="185"/>
                </a:cubicBezTo>
                <a:cubicBezTo>
                  <a:pt x="320" y="164"/>
                  <a:pt x="320" y="150"/>
                  <a:pt x="320" y="150"/>
                </a:cubicBezTo>
                <a:cubicBezTo>
                  <a:pt x="321" y="148"/>
                  <a:pt x="318" y="145"/>
                  <a:pt x="316" y="145"/>
                </a:cubicBezTo>
                <a:cubicBezTo>
                  <a:pt x="316" y="145"/>
                  <a:pt x="316" y="145"/>
                  <a:pt x="316" y="145"/>
                </a:cubicBezTo>
                <a:cubicBezTo>
                  <a:pt x="313" y="145"/>
                  <a:pt x="311" y="147"/>
                  <a:pt x="311" y="150"/>
                </a:cubicBezTo>
                <a:cubicBezTo>
                  <a:pt x="311" y="160"/>
                  <a:pt x="310" y="171"/>
                  <a:pt x="310" y="183"/>
                </a:cubicBezTo>
                <a:cubicBezTo>
                  <a:pt x="290" y="211"/>
                  <a:pt x="290" y="211"/>
                  <a:pt x="290" y="211"/>
                </a:cubicBezTo>
                <a:cubicBezTo>
                  <a:pt x="241" y="239"/>
                  <a:pt x="241" y="239"/>
                  <a:pt x="241" y="239"/>
                </a:cubicBezTo>
                <a:cubicBezTo>
                  <a:pt x="242" y="233"/>
                  <a:pt x="240" y="228"/>
                  <a:pt x="236" y="224"/>
                </a:cubicBezTo>
                <a:cubicBezTo>
                  <a:pt x="236" y="224"/>
                  <a:pt x="236" y="224"/>
                  <a:pt x="236" y="223"/>
                </a:cubicBezTo>
                <a:cubicBezTo>
                  <a:pt x="235" y="223"/>
                  <a:pt x="235" y="223"/>
                  <a:pt x="234" y="222"/>
                </a:cubicBezTo>
                <a:cubicBezTo>
                  <a:pt x="249" y="211"/>
                  <a:pt x="274" y="192"/>
                  <a:pt x="274" y="192"/>
                </a:cubicBezTo>
                <a:cubicBezTo>
                  <a:pt x="275" y="192"/>
                  <a:pt x="275" y="191"/>
                  <a:pt x="276" y="191"/>
                </a:cubicBezTo>
                <a:cubicBezTo>
                  <a:pt x="276" y="190"/>
                  <a:pt x="304" y="141"/>
                  <a:pt x="312" y="127"/>
                </a:cubicBezTo>
                <a:cubicBezTo>
                  <a:pt x="313" y="126"/>
                  <a:pt x="313" y="126"/>
                  <a:pt x="313" y="126"/>
                </a:cubicBezTo>
                <a:cubicBezTo>
                  <a:pt x="317" y="118"/>
                  <a:pt x="324" y="105"/>
                  <a:pt x="356" y="105"/>
                </a:cubicBezTo>
                <a:cubicBezTo>
                  <a:pt x="356" y="105"/>
                  <a:pt x="356" y="105"/>
                  <a:pt x="356" y="105"/>
                </a:cubicBezTo>
                <a:cubicBezTo>
                  <a:pt x="390" y="105"/>
                  <a:pt x="395" y="112"/>
                  <a:pt x="406" y="128"/>
                </a:cubicBezTo>
                <a:cubicBezTo>
                  <a:pt x="440" y="182"/>
                  <a:pt x="440" y="182"/>
                  <a:pt x="440" y="182"/>
                </a:cubicBezTo>
                <a:cubicBezTo>
                  <a:pt x="443" y="188"/>
                  <a:pt x="443" y="194"/>
                  <a:pt x="440" y="201"/>
                </a:cubicBezTo>
                <a:close/>
                <a:moveTo>
                  <a:pt x="400" y="183"/>
                </a:moveTo>
                <a:cubicBezTo>
                  <a:pt x="409" y="196"/>
                  <a:pt x="409" y="196"/>
                  <a:pt x="409" y="196"/>
                </a:cubicBezTo>
                <a:cubicBezTo>
                  <a:pt x="406" y="204"/>
                  <a:pt x="403" y="214"/>
                  <a:pt x="400" y="223"/>
                </a:cubicBezTo>
                <a:cubicBezTo>
                  <a:pt x="400" y="206"/>
                  <a:pt x="400" y="192"/>
                  <a:pt x="400" y="183"/>
                </a:cubicBezTo>
                <a:close/>
                <a:moveTo>
                  <a:pt x="99" y="86"/>
                </a:moveTo>
                <a:cubicBezTo>
                  <a:pt x="122" y="86"/>
                  <a:pt x="142" y="67"/>
                  <a:pt x="142" y="43"/>
                </a:cubicBezTo>
                <a:cubicBezTo>
                  <a:pt x="142" y="19"/>
                  <a:pt x="122" y="0"/>
                  <a:pt x="99" y="0"/>
                </a:cubicBezTo>
                <a:cubicBezTo>
                  <a:pt x="75" y="0"/>
                  <a:pt x="55" y="19"/>
                  <a:pt x="55" y="43"/>
                </a:cubicBezTo>
                <a:cubicBezTo>
                  <a:pt x="55" y="67"/>
                  <a:pt x="75" y="86"/>
                  <a:pt x="99" y="86"/>
                </a:cubicBezTo>
                <a:close/>
                <a:moveTo>
                  <a:pt x="99" y="9"/>
                </a:moveTo>
                <a:cubicBezTo>
                  <a:pt x="117" y="9"/>
                  <a:pt x="132" y="24"/>
                  <a:pt x="132" y="43"/>
                </a:cubicBezTo>
                <a:cubicBezTo>
                  <a:pt x="132" y="62"/>
                  <a:pt x="117" y="77"/>
                  <a:pt x="99" y="77"/>
                </a:cubicBezTo>
                <a:cubicBezTo>
                  <a:pt x="80" y="77"/>
                  <a:pt x="65" y="62"/>
                  <a:pt x="65" y="43"/>
                </a:cubicBezTo>
                <a:cubicBezTo>
                  <a:pt x="65" y="24"/>
                  <a:pt x="80" y="9"/>
                  <a:pt x="99" y="9"/>
                </a:cubicBez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2075" name="Oval 8"/>
          <p:cNvSpPr>
            <a:spLocks noChangeArrowheads="1"/>
          </p:cNvSpPr>
          <p:nvPr/>
        </p:nvSpPr>
        <p:spPr bwMode="auto">
          <a:xfrm>
            <a:off x="10105564" y="1528549"/>
            <a:ext cx="1119124" cy="1119124"/>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213" name="Freeform 44"/>
          <p:cNvSpPr>
            <a:spLocks noEditPoints="1"/>
          </p:cNvSpPr>
          <p:nvPr/>
        </p:nvSpPr>
        <p:spPr bwMode="auto">
          <a:xfrm>
            <a:off x="10314238" y="1743869"/>
            <a:ext cx="701779" cy="689152"/>
          </a:xfrm>
          <a:custGeom>
            <a:avLst/>
            <a:gdLst>
              <a:gd name="T0" fmla="*/ 347 w 447"/>
              <a:gd name="T1" fmla="*/ 173 h 439"/>
              <a:gd name="T2" fmla="*/ 295 w 447"/>
              <a:gd name="T3" fmla="*/ 77 h 439"/>
              <a:gd name="T4" fmla="*/ 173 w 447"/>
              <a:gd name="T5" fmla="*/ 75 h 439"/>
              <a:gd name="T6" fmla="*/ 131 w 447"/>
              <a:gd name="T7" fmla="*/ 180 h 439"/>
              <a:gd name="T8" fmla="*/ 162 w 447"/>
              <a:gd name="T9" fmla="*/ 174 h 439"/>
              <a:gd name="T10" fmla="*/ 236 w 447"/>
              <a:gd name="T11" fmla="*/ 122 h 439"/>
              <a:gd name="T12" fmla="*/ 26 w 447"/>
              <a:gd name="T13" fmla="*/ 285 h 439"/>
              <a:gd name="T14" fmla="*/ 26 w 447"/>
              <a:gd name="T15" fmla="*/ 332 h 439"/>
              <a:gd name="T16" fmla="*/ 161 w 447"/>
              <a:gd name="T17" fmla="*/ 323 h 439"/>
              <a:gd name="T18" fmla="*/ 268 w 447"/>
              <a:gd name="T19" fmla="*/ 308 h 439"/>
              <a:gd name="T20" fmla="*/ 223 w 447"/>
              <a:gd name="T21" fmla="*/ 436 h 439"/>
              <a:gd name="T22" fmla="*/ 254 w 447"/>
              <a:gd name="T23" fmla="*/ 426 h 439"/>
              <a:gd name="T24" fmla="*/ 318 w 447"/>
              <a:gd name="T25" fmla="*/ 281 h 439"/>
              <a:gd name="T26" fmla="*/ 292 w 447"/>
              <a:gd name="T27" fmla="*/ 174 h 439"/>
              <a:gd name="T28" fmla="*/ 327 w 447"/>
              <a:gd name="T29" fmla="*/ 225 h 439"/>
              <a:gd name="T30" fmla="*/ 423 w 447"/>
              <a:gd name="T31" fmla="*/ 229 h 439"/>
              <a:gd name="T32" fmla="*/ 440 w 447"/>
              <a:gd name="T33" fmla="*/ 222 h 439"/>
              <a:gd name="T34" fmla="*/ 424 w 447"/>
              <a:gd name="T35" fmla="*/ 182 h 439"/>
              <a:gd name="T36" fmla="*/ 423 w 447"/>
              <a:gd name="T37" fmla="*/ 220 h 439"/>
              <a:gd name="T38" fmla="*/ 311 w 447"/>
              <a:gd name="T39" fmla="*/ 204 h 439"/>
              <a:gd name="T40" fmla="*/ 295 w 447"/>
              <a:gd name="T41" fmla="*/ 158 h 439"/>
              <a:gd name="T42" fmla="*/ 248 w 447"/>
              <a:gd name="T43" fmla="*/ 222 h 439"/>
              <a:gd name="T44" fmla="*/ 312 w 447"/>
              <a:gd name="T45" fmla="*/ 288 h 439"/>
              <a:gd name="T46" fmla="*/ 316 w 447"/>
              <a:gd name="T47" fmla="*/ 310 h 439"/>
              <a:gd name="T48" fmla="*/ 233 w 447"/>
              <a:gd name="T49" fmla="*/ 429 h 439"/>
              <a:gd name="T50" fmla="*/ 224 w 447"/>
              <a:gd name="T51" fmla="*/ 407 h 439"/>
              <a:gd name="T52" fmla="*/ 277 w 447"/>
              <a:gd name="T53" fmla="*/ 303 h 439"/>
              <a:gd name="T54" fmla="*/ 212 w 447"/>
              <a:gd name="T55" fmla="*/ 251 h 439"/>
              <a:gd name="T56" fmla="*/ 153 w 447"/>
              <a:gd name="T57" fmla="*/ 318 h 439"/>
              <a:gd name="T58" fmla="*/ 139 w 447"/>
              <a:gd name="T59" fmla="*/ 325 h 439"/>
              <a:gd name="T60" fmla="*/ 10 w 447"/>
              <a:gd name="T61" fmla="*/ 308 h 439"/>
              <a:gd name="T62" fmla="*/ 128 w 447"/>
              <a:gd name="T63" fmla="*/ 292 h 439"/>
              <a:gd name="T64" fmla="*/ 248 w 447"/>
              <a:gd name="T65" fmla="*/ 121 h 439"/>
              <a:gd name="T66" fmla="*/ 244 w 447"/>
              <a:gd name="T67" fmla="*/ 113 h 439"/>
              <a:gd name="T68" fmla="*/ 201 w 447"/>
              <a:gd name="T69" fmla="*/ 110 h 439"/>
              <a:gd name="T70" fmla="*/ 143 w 447"/>
              <a:gd name="T71" fmla="*/ 175 h 439"/>
              <a:gd name="T72" fmla="*/ 134 w 447"/>
              <a:gd name="T73" fmla="*/ 153 h 439"/>
              <a:gd name="T74" fmla="*/ 197 w 447"/>
              <a:gd name="T75" fmla="*/ 73 h 439"/>
              <a:gd name="T76" fmla="*/ 316 w 447"/>
              <a:gd name="T77" fmla="*/ 104 h 439"/>
              <a:gd name="T78" fmla="*/ 343 w 447"/>
              <a:gd name="T79" fmla="*/ 182 h 439"/>
              <a:gd name="T80" fmla="*/ 423 w 447"/>
              <a:gd name="T81" fmla="*/ 192 h 439"/>
              <a:gd name="T82" fmla="*/ 433 w 447"/>
              <a:gd name="T83" fmla="*/ 216 h 439"/>
              <a:gd name="T84" fmla="*/ 339 w 447"/>
              <a:gd name="T85" fmla="*/ 91 h 439"/>
              <a:gd name="T86" fmla="*/ 378 w 447"/>
              <a:gd name="T87" fmla="*/ 67 h 439"/>
              <a:gd name="T88" fmla="*/ 361 w 447"/>
              <a:gd name="T89" fmla="*/ 5 h 439"/>
              <a:gd name="T90" fmla="*/ 299 w 447"/>
              <a:gd name="T91" fmla="*/ 23 h 439"/>
              <a:gd name="T92" fmla="*/ 317 w 447"/>
              <a:gd name="T93" fmla="*/ 85 h 439"/>
              <a:gd name="T94" fmla="*/ 339 w 447"/>
              <a:gd name="T95" fmla="*/ 9 h 439"/>
              <a:gd name="T96" fmla="*/ 373 w 447"/>
              <a:gd name="T97" fmla="*/ 35 h 439"/>
              <a:gd name="T98" fmla="*/ 339 w 447"/>
              <a:gd name="T99" fmla="*/ 82 h 439"/>
              <a:gd name="T100" fmla="*/ 304 w 447"/>
              <a:gd name="T101" fmla="*/ 55 h 4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47" h="439">
                <a:moveTo>
                  <a:pt x="424" y="182"/>
                </a:moveTo>
                <a:cubicBezTo>
                  <a:pt x="347" y="173"/>
                  <a:pt x="347" y="173"/>
                  <a:pt x="347" y="173"/>
                </a:cubicBezTo>
                <a:cubicBezTo>
                  <a:pt x="325" y="102"/>
                  <a:pt x="325" y="102"/>
                  <a:pt x="325" y="102"/>
                </a:cubicBezTo>
                <a:cubicBezTo>
                  <a:pt x="321" y="90"/>
                  <a:pt x="308" y="79"/>
                  <a:pt x="295" y="77"/>
                </a:cubicBezTo>
                <a:cubicBezTo>
                  <a:pt x="198" y="64"/>
                  <a:pt x="198" y="64"/>
                  <a:pt x="198" y="64"/>
                </a:cubicBezTo>
                <a:cubicBezTo>
                  <a:pt x="188" y="62"/>
                  <a:pt x="179" y="67"/>
                  <a:pt x="173" y="75"/>
                </a:cubicBezTo>
                <a:cubicBezTo>
                  <a:pt x="126" y="148"/>
                  <a:pt x="126" y="148"/>
                  <a:pt x="126" y="148"/>
                </a:cubicBezTo>
                <a:cubicBezTo>
                  <a:pt x="118" y="158"/>
                  <a:pt x="120" y="171"/>
                  <a:pt x="131" y="180"/>
                </a:cubicBezTo>
                <a:cubicBezTo>
                  <a:pt x="135" y="183"/>
                  <a:pt x="138" y="185"/>
                  <a:pt x="143" y="185"/>
                </a:cubicBezTo>
                <a:cubicBezTo>
                  <a:pt x="151" y="185"/>
                  <a:pt x="159" y="179"/>
                  <a:pt x="162" y="174"/>
                </a:cubicBezTo>
                <a:cubicBezTo>
                  <a:pt x="206" y="118"/>
                  <a:pt x="206" y="118"/>
                  <a:pt x="206" y="118"/>
                </a:cubicBezTo>
                <a:cubicBezTo>
                  <a:pt x="236" y="122"/>
                  <a:pt x="236" y="122"/>
                  <a:pt x="236" y="122"/>
                </a:cubicBezTo>
                <a:cubicBezTo>
                  <a:pt x="125" y="282"/>
                  <a:pt x="125" y="282"/>
                  <a:pt x="125" y="282"/>
                </a:cubicBezTo>
                <a:cubicBezTo>
                  <a:pt x="26" y="285"/>
                  <a:pt x="26" y="285"/>
                  <a:pt x="26" y="285"/>
                </a:cubicBezTo>
                <a:cubicBezTo>
                  <a:pt x="12" y="285"/>
                  <a:pt x="0" y="295"/>
                  <a:pt x="0" y="308"/>
                </a:cubicBezTo>
                <a:cubicBezTo>
                  <a:pt x="0" y="322"/>
                  <a:pt x="12" y="332"/>
                  <a:pt x="26" y="332"/>
                </a:cubicBezTo>
                <a:cubicBezTo>
                  <a:pt x="139" y="335"/>
                  <a:pt x="139" y="335"/>
                  <a:pt x="139" y="335"/>
                </a:cubicBezTo>
                <a:cubicBezTo>
                  <a:pt x="148" y="335"/>
                  <a:pt x="156" y="330"/>
                  <a:pt x="161" y="323"/>
                </a:cubicBezTo>
                <a:cubicBezTo>
                  <a:pt x="213" y="263"/>
                  <a:pt x="213" y="263"/>
                  <a:pt x="213" y="263"/>
                </a:cubicBezTo>
                <a:cubicBezTo>
                  <a:pt x="268" y="308"/>
                  <a:pt x="268" y="308"/>
                  <a:pt x="268" y="308"/>
                </a:cubicBezTo>
                <a:cubicBezTo>
                  <a:pt x="215" y="403"/>
                  <a:pt x="215" y="403"/>
                  <a:pt x="215" y="403"/>
                </a:cubicBezTo>
                <a:cubicBezTo>
                  <a:pt x="208" y="415"/>
                  <a:pt x="211" y="429"/>
                  <a:pt x="223" y="436"/>
                </a:cubicBezTo>
                <a:cubicBezTo>
                  <a:pt x="226" y="438"/>
                  <a:pt x="229" y="439"/>
                  <a:pt x="233" y="439"/>
                </a:cubicBezTo>
                <a:cubicBezTo>
                  <a:pt x="242" y="439"/>
                  <a:pt x="251" y="432"/>
                  <a:pt x="254" y="426"/>
                </a:cubicBezTo>
                <a:cubicBezTo>
                  <a:pt x="324" y="315"/>
                  <a:pt x="324" y="315"/>
                  <a:pt x="324" y="315"/>
                </a:cubicBezTo>
                <a:cubicBezTo>
                  <a:pt x="331" y="303"/>
                  <a:pt x="328" y="289"/>
                  <a:pt x="318" y="281"/>
                </a:cubicBezTo>
                <a:cubicBezTo>
                  <a:pt x="258" y="224"/>
                  <a:pt x="258" y="224"/>
                  <a:pt x="258" y="224"/>
                </a:cubicBezTo>
                <a:cubicBezTo>
                  <a:pt x="292" y="174"/>
                  <a:pt x="292" y="174"/>
                  <a:pt x="292" y="174"/>
                </a:cubicBezTo>
                <a:cubicBezTo>
                  <a:pt x="302" y="207"/>
                  <a:pt x="302" y="207"/>
                  <a:pt x="302" y="207"/>
                </a:cubicBezTo>
                <a:cubicBezTo>
                  <a:pt x="306" y="218"/>
                  <a:pt x="316" y="225"/>
                  <a:pt x="327" y="225"/>
                </a:cubicBezTo>
                <a:cubicBezTo>
                  <a:pt x="327" y="225"/>
                  <a:pt x="327" y="225"/>
                  <a:pt x="327" y="225"/>
                </a:cubicBezTo>
                <a:cubicBezTo>
                  <a:pt x="423" y="229"/>
                  <a:pt x="423" y="229"/>
                  <a:pt x="423" y="229"/>
                </a:cubicBezTo>
                <a:cubicBezTo>
                  <a:pt x="423" y="229"/>
                  <a:pt x="423" y="229"/>
                  <a:pt x="423" y="229"/>
                </a:cubicBezTo>
                <a:cubicBezTo>
                  <a:pt x="430" y="229"/>
                  <a:pt x="435" y="227"/>
                  <a:pt x="440" y="222"/>
                </a:cubicBezTo>
                <a:cubicBezTo>
                  <a:pt x="444" y="218"/>
                  <a:pt x="447" y="212"/>
                  <a:pt x="447" y="206"/>
                </a:cubicBezTo>
                <a:cubicBezTo>
                  <a:pt x="447" y="193"/>
                  <a:pt x="436" y="183"/>
                  <a:pt x="424" y="182"/>
                </a:cubicBezTo>
                <a:close/>
                <a:moveTo>
                  <a:pt x="433" y="216"/>
                </a:moveTo>
                <a:cubicBezTo>
                  <a:pt x="431" y="218"/>
                  <a:pt x="427" y="220"/>
                  <a:pt x="423" y="220"/>
                </a:cubicBezTo>
                <a:cubicBezTo>
                  <a:pt x="327" y="216"/>
                  <a:pt x="327" y="216"/>
                  <a:pt x="327" y="216"/>
                </a:cubicBezTo>
                <a:cubicBezTo>
                  <a:pt x="320" y="216"/>
                  <a:pt x="313" y="211"/>
                  <a:pt x="311" y="204"/>
                </a:cubicBezTo>
                <a:cubicBezTo>
                  <a:pt x="298" y="162"/>
                  <a:pt x="298" y="162"/>
                  <a:pt x="298" y="162"/>
                </a:cubicBezTo>
                <a:cubicBezTo>
                  <a:pt x="298" y="160"/>
                  <a:pt x="296" y="159"/>
                  <a:pt x="295" y="158"/>
                </a:cubicBezTo>
                <a:cubicBezTo>
                  <a:pt x="293" y="158"/>
                  <a:pt x="291" y="159"/>
                  <a:pt x="290" y="160"/>
                </a:cubicBezTo>
                <a:cubicBezTo>
                  <a:pt x="248" y="222"/>
                  <a:pt x="248" y="222"/>
                  <a:pt x="248" y="222"/>
                </a:cubicBezTo>
                <a:cubicBezTo>
                  <a:pt x="246" y="224"/>
                  <a:pt x="247" y="226"/>
                  <a:pt x="248" y="228"/>
                </a:cubicBezTo>
                <a:cubicBezTo>
                  <a:pt x="312" y="288"/>
                  <a:pt x="312" y="288"/>
                  <a:pt x="312" y="288"/>
                </a:cubicBezTo>
                <a:cubicBezTo>
                  <a:pt x="312" y="288"/>
                  <a:pt x="312" y="288"/>
                  <a:pt x="312" y="288"/>
                </a:cubicBezTo>
                <a:cubicBezTo>
                  <a:pt x="319" y="294"/>
                  <a:pt x="321" y="303"/>
                  <a:pt x="316" y="310"/>
                </a:cubicBezTo>
                <a:cubicBezTo>
                  <a:pt x="246" y="421"/>
                  <a:pt x="246" y="421"/>
                  <a:pt x="246" y="421"/>
                </a:cubicBezTo>
                <a:cubicBezTo>
                  <a:pt x="244" y="425"/>
                  <a:pt x="239" y="429"/>
                  <a:pt x="233" y="429"/>
                </a:cubicBezTo>
                <a:cubicBezTo>
                  <a:pt x="231" y="429"/>
                  <a:pt x="229" y="429"/>
                  <a:pt x="227" y="428"/>
                </a:cubicBezTo>
                <a:cubicBezTo>
                  <a:pt x="220" y="423"/>
                  <a:pt x="219" y="416"/>
                  <a:pt x="224" y="407"/>
                </a:cubicBezTo>
                <a:cubicBezTo>
                  <a:pt x="278" y="309"/>
                  <a:pt x="278" y="309"/>
                  <a:pt x="278" y="309"/>
                </a:cubicBezTo>
                <a:cubicBezTo>
                  <a:pt x="279" y="307"/>
                  <a:pt x="279" y="304"/>
                  <a:pt x="277" y="303"/>
                </a:cubicBezTo>
                <a:cubicBezTo>
                  <a:pt x="215" y="252"/>
                  <a:pt x="215" y="252"/>
                  <a:pt x="215" y="252"/>
                </a:cubicBezTo>
                <a:cubicBezTo>
                  <a:pt x="214" y="252"/>
                  <a:pt x="213" y="251"/>
                  <a:pt x="212" y="251"/>
                </a:cubicBezTo>
                <a:cubicBezTo>
                  <a:pt x="211" y="251"/>
                  <a:pt x="209" y="252"/>
                  <a:pt x="208" y="253"/>
                </a:cubicBezTo>
                <a:cubicBezTo>
                  <a:pt x="153" y="318"/>
                  <a:pt x="153" y="318"/>
                  <a:pt x="153" y="318"/>
                </a:cubicBezTo>
                <a:cubicBezTo>
                  <a:pt x="153" y="318"/>
                  <a:pt x="153" y="318"/>
                  <a:pt x="153" y="318"/>
                </a:cubicBezTo>
                <a:cubicBezTo>
                  <a:pt x="150" y="323"/>
                  <a:pt x="145" y="325"/>
                  <a:pt x="139" y="325"/>
                </a:cubicBezTo>
                <a:cubicBezTo>
                  <a:pt x="26" y="323"/>
                  <a:pt x="26" y="323"/>
                  <a:pt x="26" y="323"/>
                </a:cubicBezTo>
                <a:cubicBezTo>
                  <a:pt x="17" y="323"/>
                  <a:pt x="10" y="316"/>
                  <a:pt x="10" y="308"/>
                </a:cubicBezTo>
                <a:cubicBezTo>
                  <a:pt x="10" y="301"/>
                  <a:pt x="17" y="295"/>
                  <a:pt x="27" y="295"/>
                </a:cubicBezTo>
                <a:cubicBezTo>
                  <a:pt x="128" y="292"/>
                  <a:pt x="128" y="292"/>
                  <a:pt x="128" y="292"/>
                </a:cubicBezTo>
                <a:cubicBezTo>
                  <a:pt x="130" y="292"/>
                  <a:pt x="131" y="291"/>
                  <a:pt x="132" y="290"/>
                </a:cubicBezTo>
                <a:cubicBezTo>
                  <a:pt x="248" y="121"/>
                  <a:pt x="248" y="121"/>
                  <a:pt x="248" y="121"/>
                </a:cubicBezTo>
                <a:cubicBezTo>
                  <a:pt x="249" y="119"/>
                  <a:pt x="249" y="118"/>
                  <a:pt x="248" y="116"/>
                </a:cubicBezTo>
                <a:cubicBezTo>
                  <a:pt x="247" y="115"/>
                  <a:pt x="246" y="114"/>
                  <a:pt x="244" y="113"/>
                </a:cubicBezTo>
                <a:cubicBezTo>
                  <a:pt x="205" y="108"/>
                  <a:pt x="205" y="108"/>
                  <a:pt x="205" y="108"/>
                </a:cubicBezTo>
                <a:cubicBezTo>
                  <a:pt x="203" y="108"/>
                  <a:pt x="202" y="108"/>
                  <a:pt x="201" y="110"/>
                </a:cubicBezTo>
                <a:cubicBezTo>
                  <a:pt x="155" y="169"/>
                  <a:pt x="155" y="169"/>
                  <a:pt x="155" y="169"/>
                </a:cubicBezTo>
                <a:cubicBezTo>
                  <a:pt x="152" y="172"/>
                  <a:pt x="147" y="175"/>
                  <a:pt x="143" y="175"/>
                </a:cubicBezTo>
                <a:cubicBezTo>
                  <a:pt x="141" y="175"/>
                  <a:pt x="139" y="175"/>
                  <a:pt x="138" y="173"/>
                </a:cubicBezTo>
                <a:cubicBezTo>
                  <a:pt x="133" y="170"/>
                  <a:pt x="127" y="162"/>
                  <a:pt x="134" y="153"/>
                </a:cubicBezTo>
                <a:cubicBezTo>
                  <a:pt x="181" y="80"/>
                  <a:pt x="181" y="80"/>
                  <a:pt x="181" y="80"/>
                </a:cubicBezTo>
                <a:cubicBezTo>
                  <a:pt x="184" y="75"/>
                  <a:pt x="191" y="72"/>
                  <a:pt x="197" y="73"/>
                </a:cubicBezTo>
                <a:cubicBezTo>
                  <a:pt x="294" y="86"/>
                  <a:pt x="294" y="86"/>
                  <a:pt x="294" y="86"/>
                </a:cubicBezTo>
                <a:cubicBezTo>
                  <a:pt x="303" y="88"/>
                  <a:pt x="314" y="96"/>
                  <a:pt x="316" y="104"/>
                </a:cubicBezTo>
                <a:cubicBezTo>
                  <a:pt x="339" y="179"/>
                  <a:pt x="339" y="179"/>
                  <a:pt x="339" y="179"/>
                </a:cubicBezTo>
                <a:cubicBezTo>
                  <a:pt x="339" y="181"/>
                  <a:pt x="341" y="182"/>
                  <a:pt x="343" y="182"/>
                </a:cubicBezTo>
                <a:cubicBezTo>
                  <a:pt x="423" y="192"/>
                  <a:pt x="423" y="192"/>
                  <a:pt x="423" y="192"/>
                </a:cubicBezTo>
                <a:cubicBezTo>
                  <a:pt x="423" y="192"/>
                  <a:pt x="423" y="192"/>
                  <a:pt x="423" y="192"/>
                </a:cubicBezTo>
                <a:cubicBezTo>
                  <a:pt x="431" y="192"/>
                  <a:pt x="437" y="198"/>
                  <a:pt x="437" y="206"/>
                </a:cubicBezTo>
                <a:cubicBezTo>
                  <a:pt x="437" y="210"/>
                  <a:pt x="436" y="213"/>
                  <a:pt x="433" y="216"/>
                </a:cubicBezTo>
                <a:close/>
                <a:moveTo>
                  <a:pt x="317" y="85"/>
                </a:moveTo>
                <a:cubicBezTo>
                  <a:pt x="323" y="89"/>
                  <a:pt x="331" y="91"/>
                  <a:pt x="339" y="91"/>
                </a:cubicBezTo>
                <a:cubicBezTo>
                  <a:pt x="339" y="91"/>
                  <a:pt x="339" y="91"/>
                  <a:pt x="339" y="91"/>
                </a:cubicBezTo>
                <a:cubicBezTo>
                  <a:pt x="355" y="91"/>
                  <a:pt x="370" y="82"/>
                  <a:pt x="378" y="67"/>
                </a:cubicBezTo>
                <a:cubicBezTo>
                  <a:pt x="384" y="57"/>
                  <a:pt x="386" y="44"/>
                  <a:pt x="382" y="33"/>
                </a:cubicBezTo>
                <a:cubicBezTo>
                  <a:pt x="379" y="21"/>
                  <a:pt x="371" y="11"/>
                  <a:pt x="361" y="5"/>
                </a:cubicBezTo>
                <a:cubicBezTo>
                  <a:pt x="354" y="2"/>
                  <a:pt x="346" y="0"/>
                  <a:pt x="339" y="0"/>
                </a:cubicBezTo>
                <a:cubicBezTo>
                  <a:pt x="322" y="0"/>
                  <a:pt x="307" y="9"/>
                  <a:pt x="299" y="23"/>
                </a:cubicBezTo>
                <a:cubicBezTo>
                  <a:pt x="293" y="34"/>
                  <a:pt x="291" y="46"/>
                  <a:pt x="295" y="58"/>
                </a:cubicBezTo>
                <a:cubicBezTo>
                  <a:pt x="298" y="70"/>
                  <a:pt x="306" y="79"/>
                  <a:pt x="317" y="85"/>
                </a:cubicBezTo>
                <a:close/>
                <a:moveTo>
                  <a:pt x="307" y="28"/>
                </a:moveTo>
                <a:cubicBezTo>
                  <a:pt x="313" y="16"/>
                  <a:pt x="325" y="9"/>
                  <a:pt x="339" y="9"/>
                </a:cubicBezTo>
                <a:cubicBezTo>
                  <a:pt x="345" y="9"/>
                  <a:pt x="351" y="11"/>
                  <a:pt x="356" y="14"/>
                </a:cubicBezTo>
                <a:cubicBezTo>
                  <a:pt x="365" y="18"/>
                  <a:pt x="371" y="26"/>
                  <a:pt x="373" y="35"/>
                </a:cubicBezTo>
                <a:cubicBezTo>
                  <a:pt x="376" y="45"/>
                  <a:pt x="375" y="54"/>
                  <a:pt x="370" y="63"/>
                </a:cubicBezTo>
                <a:cubicBezTo>
                  <a:pt x="364" y="74"/>
                  <a:pt x="352" y="82"/>
                  <a:pt x="339" y="82"/>
                </a:cubicBezTo>
                <a:cubicBezTo>
                  <a:pt x="332" y="82"/>
                  <a:pt x="326" y="80"/>
                  <a:pt x="321" y="77"/>
                </a:cubicBezTo>
                <a:cubicBezTo>
                  <a:pt x="313" y="72"/>
                  <a:pt x="306" y="65"/>
                  <a:pt x="304" y="55"/>
                </a:cubicBezTo>
                <a:cubicBezTo>
                  <a:pt x="301" y="46"/>
                  <a:pt x="302" y="36"/>
                  <a:pt x="307" y="28"/>
                </a:cubicBez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2079" name="Oval 12"/>
          <p:cNvSpPr>
            <a:spLocks noChangeArrowheads="1"/>
          </p:cNvSpPr>
          <p:nvPr/>
        </p:nvSpPr>
        <p:spPr bwMode="auto">
          <a:xfrm>
            <a:off x="6589621" y="4711628"/>
            <a:ext cx="1119124" cy="1119124"/>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214" name="Freeform 45"/>
          <p:cNvSpPr>
            <a:spLocks noEditPoints="1"/>
          </p:cNvSpPr>
          <p:nvPr/>
        </p:nvSpPr>
        <p:spPr bwMode="auto">
          <a:xfrm>
            <a:off x="6788635" y="5111695"/>
            <a:ext cx="721095" cy="425321"/>
          </a:xfrm>
          <a:custGeom>
            <a:avLst/>
            <a:gdLst>
              <a:gd name="T0" fmla="*/ 325 w 460"/>
              <a:gd name="T1" fmla="*/ 0 h 271"/>
              <a:gd name="T2" fmla="*/ 208 w 460"/>
              <a:gd name="T3" fmla="*/ 0 h 271"/>
              <a:gd name="T4" fmla="*/ 174 w 460"/>
              <a:gd name="T5" fmla="*/ 34 h 271"/>
              <a:gd name="T6" fmla="*/ 178 w 460"/>
              <a:gd name="T7" fmla="*/ 51 h 271"/>
              <a:gd name="T8" fmla="*/ 34 w 460"/>
              <a:gd name="T9" fmla="*/ 51 h 271"/>
              <a:gd name="T10" fmla="*/ 0 w 460"/>
              <a:gd name="T11" fmla="*/ 85 h 271"/>
              <a:gd name="T12" fmla="*/ 34 w 460"/>
              <a:gd name="T13" fmla="*/ 119 h 271"/>
              <a:gd name="T14" fmla="*/ 116 w 460"/>
              <a:gd name="T15" fmla="*/ 119 h 271"/>
              <a:gd name="T16" fmla="*/ 111 w 460"/>
              <a:gd name="T17" fmla="*/ 137 h 271"/>
              <a:gd name="T18" fmla="*/ 145 w 460"/>
              <a:gd name="T19" fmla="*/ 171 h 271"/>
              <a:gd name="T20" fmla="*/ 151 w 460"/>
              <a:gd name="T21" fmla="*/ 171 h 271"/>
              <a:gd name="T22" fmla="*/ 147 w 460"/>
              <a:gd name="T23" fmla="*/ 186 h 271"/>
              <a:gd name="T24" fmla="*/ 182 w 460"/>
              <a:gd name="T25" fmla="*/ 221 h 271"/>
              <a:gd name="T26" fmla="*/ 187 w 460"/>
              <a:gd name="T27" fmla="*/ 221 h 271"/>
              <a:gd name="T28" fmla="*/ 183 w 460"/>
              <a:gd name="T29" fmla="*/ 237 h 271"/>
              <a:gd name="T30" fmla="*/ 218 w 460"/>
              <a:gd name="T31" fmla="*/ 271 h 271"/>
              <a:gd name="T32" fmla="*/ 325 w 460"/>
              <a:gd name="T33" fmla="*/ 271 h 271"/>
              <a:gd name="T34" fmla="*/ 460 w 460"/>
              <a:gd name="T35" fmla="*/ 136 h 271"/>
              <a:gd name="T36" fmla="*/ 325 w 460"/>
              <a:gd name="T37" fmla="*/ 0 h 271"/>
              <a:gd name="T38" fmla="*/ 325 w 460"/>
              <a:gd name="T39" fmla="*/ 261 h 271"/>
              <a:gd name="T40" fmla="*/ 218 w 460"/>
              <a:gd name="T41" fmla="*/ 261 h 271"/>
              <a:gd name="T42" fmla="*/ 193 w 460"/>
              <a:gd name="T43" fmla="*/ 237 h 271"/>
              <a:gd name="T44" fmla="*/ 199 w 460"/>
              <a:gd name="T45" fmla="*/ 221 h 271"/>
              <a:gd name="T46" fmla="*/ 218 w 460"/>
              <a:gd name="T47" fmla="*/ 221 h 271"/>
              <a:gd name="T48" fmla="*/ 223 w 460"/>
              <a:gd name="T49" fmla="*/ 216 h 271"/>
              <a:gd name="T50" fmla="*/ 218 w 460"/>
              <a:gd name="T51" fmla="*/ 211 h 271"/>
              <a:gd name="T52" fmla="*/ 197 w 460"/>
              <a:gd name="T53" fmla="*/ 211 h 271"/>
              <a:gd name="T54" fmla="*/ 197 w 460"/>
              <a:gd name="T55" fmla="*/ 211 h 271"/>
              <a:gd name="T56" fmla="*/ 182 w 460"/>
              <a:gd name="T57" fmla="*/ 211 h 271"/>
              <a:gd name="T58" fmla="*/ 157 w 460"/>
              <a:gd name="T59" fmla="*/ 186 h 271"/>
              <a:gd name="T60" fmla="*/ 162 w 460"/>
              <a:gd name="T61" fmla="*/ 171 h 271"/>
              <a:gd name="T62" fmla="*/ 202 w 460"/>
              <a:gd name="T63" fmla="*/ 171 h 271"/>
              <a:gd name="T64" fmla="*/ 207 w 460"/>
              <a:gd name="T65" fmla="*/ 166 h 271"/>
              <a:gd name="T66" fmla="*/ 202 w 460"/>
              <a:gd name="T67" fmla="*/ 162 h 271"/>
              <a:gd name="T68" fmla="*/ 160 w 460"/>
              <a:gd name="T69" fmla="*/ 162 h 271"/>
              <a:gd name="T70" fmla="*/ 160 w 460"/>
              <a:gd name="T71" fmla="*/ 162 h 271"/>
              <a:gd name="T72" fmla="*/ 145 w 460"/>
              <a:gd name="T73" fmla="*/ 162 h 271"/>
              <a:gd name="T74" fmla="*/ 121 w 460"/>
              <a:gd name="T75" fmla="*/ 137 h 271"/>
              <a:gd name="T76" fmla="*/ 128 w 460"/>
              <a:gd name="T77" fmla="*/ 119 h 271"/>
              <a:gd name="T78" fmla="*/ 186 w 460"/>
              <a:gd name="T79" fmla="*/ 119 h 271"/>
              <a:gd name="T80" fmla="*/ 191 w 460"/>
              <a:gd name="T81" fmla="*/ 115 h 271"/>
              <a:gd name="T82" fmla="*/ 186 w 460"/>
              <a:gd name="T83" fmla="*/ 110 h 271"/>
              <a:gd name="T84" fmla="*/ 34 w 460"/>
              <a:gd name="T85" fmla="*/ 110 h 271"/>
              <a:gd name="T86" fmla="*/ 9 w 460"/>
              <a:gd name="T87" fmla="*/ 85 h 271"/>
              <a:gd name="T88" fmla="*/ 34 w 460"/>
              <a:gd name="T89" fmla="*/ 60 h 271"/>
              <a:gd name="T90" fmla="*/ 289 w 460"/>
              <a:gd name="T91" fmla="*/ 60 h 271"/>
              <a:gd name="T92" fmla="*/ 294 w 460"/>
              <a:gd name="T93" fmla="*/ 56 h 271"/>
              <a:gd name="T94" fmla="*/ 289 w 460"/>
              <a:gd name="T95" fmla="*/ 51 h 271"/>
              <a:gd name="T96" fmla="*/ 189 w 460"/>
              <a:gd name="T97" fmla="*/ 51 h 271"/>
              <a:gd name="T98" fmla="*/ 183 w 460"/>
              <a:gd name="T99" fmla="*/ 34 h 271"/>
              <a:gd name="T100" fmla="*/ 208 w 460"/>
              <a:gd name="T101" fmla="*/ 10 h 271"/>
              <a:gd name="T102" fmla="*/ 325 w 460"/>
              <a:gd name="T103" fmla="*/ 10 h 271"/>
              <a:gd name="T104" fmla="*/ 451 w 460"/>
              <a:gd name="T105" fmla="*/ 136 h 271"/>
              <a:gd name="T106" fmla="*/ 325 w 460"/>
              <a:gd name="T107" fmla="*/ 261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60" h="271">
                <a:moveTo>
                  <a:pt x="325" y="0"/>
                </a:moveTo>
                <a:cubicBezTo>
                  <a:pt x="208" y="0"/>
                  <a:pt x="208" y="0"/>
                  <a:pt x="208" y="0"/>
                </a:cubicBezTo>
                <a:cubicBezTo>
                  <a:pt x="189" y="0"/>
                  <a:pt x="174" y="16"/>
                  <a:pt x="174" y="34"/>
                </a:cubicBezTo>
                <a:cubicBezTo>
                  <a:pt x="174" y="40"/>
                  <a:pt x="175" y="46"/>
                  <a:pt x="178" y="51"/>
                </a:cubicBezTo>
                <a:cubicBezTo>
                  <a:pt x="34" y="51"/>
                  <a:pt x="34" y="51"/>
                  <a:pt x="34" y="51"/>
                </a:cubicBezTo>
                <a:cubicBezTo>
                  <a:pt x="15" y="51"/>
                  <a:pt x="0" y="66"/>
                  <a:pt x="0" y="85"/>
                </a:cubicBezTo>
                <a:cubicBezTo>
                  <a:pt x="0" y="104"/>
                  <a:pt x="15" y="119"/>
                  <a:pt x="34" y="119"/>
                </a:cubicBezTo>
                <a:cubicBezTo>
                  <a:pt x="116" y="119"/>
                  <a:pt x="116" y="119"/>
                  <a:pt x="116" y="119"/>
                </a:cubicBezTo>
                <a:cubicBezTo>
                  <a:pt x="113" y="125"/>
                  <a:pt x="111" y="131"/>
                  <a:pt x="111" y="137"/>
                </a:cubicBezTo>
                <a:cubicBezTo>
                  <a:pt x="111" y="156"/>
                  <a:pt x="127" y="171"/>
                  <a:pt x="145" y="171"/>
                </a:cubicBezTo>
                <a:cubicBezTo>
                  <a:pt x="151" y="171"/>
                  <a:pt x="151" y="171"/>
                  <a:pt x="151" y="171"/>
                </a:cubicBezTo>
                <a:cubicBezTo>
                  <a:pt x="149" y="176"/>
                  <a:pt x="147" y="181"/>
                  <a:pt x="147" y="186"/>
                </a:cubicBezTo>
                <a:cubicBezTo>
                  <a:pt x="147" y="205"/>
                  <a:pt x="163" y="221"/>
                  <a:pt x="182" y="221"/>
                </a:cubicBezTo>
                <a:cubicBezTo>
                  <a:pt x="187" y="221"/>
                  <a:pt x="187" y="221"/>
                  <a:pt x="187" y="221"/>
                </a:cubicBezTo>
                <a:cubicBezTo>
                  <a:pt x="185" y="226"/>
                  <a:pt x="183" y="231"/>
                  <a:pt x="183" y="237"/>
                </a:cubicBezTo>
                <a:cubicBezTo>
                  <a:pt x="183" y="256"/>
                  <a:pt x="199" y="271"/>
                  <a:pt x="218" y="271"/>
                </a:cubicBezTo>
                <a:cubicBezTo>
                  <a:pt x="325" y="271"/>
                  <a:pt x="325" y="271"/>
                  <a:pt x="325" y="271"/>
                </a:cubicBezTo>
                <a:cubicBezTo>
                  <a:pt x="400" y="271"/>
                  <a:pt x="460" y="210"/>
                  <a:pt x="460" y="136"/>
                </a:cubicBezTo>
                <a:cubicBezTo>
                  <a:pt x="460" y="61"/>
                  <a:pt x="400" y="0"/>
                  <a:pt x="325" y="0"/>
                </a:cubicBezTo>
                <a:close/>
                <a:moveTo>
                  <a:pt x="325" y="261"/>
                </a:moveTo>
                <a:cubicBezTo>
                  <a:pt x="218" y="261"/>
                  <a:pt x="218" y="261"/>
                  <a:pt x="218" y="261"/>
                </a:cubicBezTo>
                <a:cubicBezTo>
                  <a:pt x="204" y="261"/>
                  <a:pt x="193" y="250"/>
                  <a:pt x="193" y="237"/>
                </a:cubicBezTo>
                <a:cubicBezTo>
                  <a:pt x="193" y="231"/>
                  <a:pt x="195" y="225"/>
                  <a:pt x="199" y="221"/>
                </a:cubicBezTo>
                <a:cubicBezTo>
                  <a:pt x="218" y="221"/>
                  <a:pt x="218" y="221"/>
                  <a:pt x="218" y="221"/>
                </a:cubicBezTo>
                <a:cubicBezTo>
                  <a:pt x="221" y="221"/>
                  <a:pt x="223" y="219"/>
                  <a:pt x="223" y="216"/>
                </a:cubicBezTo>
                <a:cubicBezTo>
                  <a:pt x="223" y="213"/>
                  <a:pt x="221" y="211"/>
                  <a:pt x="218" y="211"/>
                </a:cubicBezTo>
                <a:cubicBezTo>
                  <a:pt x="197" y="211"/>
                  <a:pt x="197" y="211"/>
                  <a:pt x="197" y="211"/>
                </a:cubicBezTo>
                <a:cubicBezTo>
                  <a:pt x="197" y="211"/>
                  <a:pt x="197" y="211"/>
                  <a:pt x="197" y="211"/>
                </a:cubicBezTo>
                <a:cubicBezTo>
                  <a:pt x="182" y="211"/>
                  <a:pt x="182" y="211"/>
                  <a:pt x="182" y="211"/>
                </a:cubicBezTo>
                <a:cubicBezTo>
                  <a:pt x="168" y="211"/>
                  <a:pt x="157" y="200"/>
                  <a:pt x="157" y="186"/>
                </a:cubicBezTo>
                <a:cubicBezTo>
                  <a:pt x="157" y="181"/>
                  <a:pt x="159" y="175"/>
                  <a:pt x="162" y="171"/>
                </a:cubicBezTo>
                <a:cubicBezTo>
                  <a:pt x="202" y="171"/>
                  <a:pt x="202" y="171"/>
                  <a:pt x="202" y="171"/>
                </a:cubicBezTo>
                <a:cubicBezTo>
                  <a:pt x="204" y="171"/>
                  <a:pt x="207" y="169"/>
                  <a:pt x="207" y="166"/>
                </a:cubicBezTo>
                <a:cubicBezTo>
                  <a:pt x="207" y="164"/>
                  <a:pt x="204" y="162"/>
                  <a:pt x="202" y="162"/>
                </a:cubicBezTo>
                <a:cubicBezTo>
                  <a:pt x="160" y="162"/>
                  <a:pt x="160" y="162"/>
                  <a:pt x="160" y="162"/>
                </a:cubicBezTo>
                <a:cubicBezTo>
                  <a:pt x="160" y="162"/>
                  <a:pt x="160" y="161"/>
                  <a:pt x="160" y="162"/>
                </a:cubicBezTo>
                <a:cubicBezTo>
                  <a:pt x="145" y="162"/>
                  <a:pt x="145" y="162"/>
                  <a:pt x="145" y="162"/>
                </a:cubicBezTo>
                <a:cubicBezTo>
                  <a:pt x="132" y="162"/>
                  <a:pt x="121" y="150"/>
                  <a:pt x="121" y="137"/>
                </a:cubicBezTo>
                <a:cubicBezTo>
                  <a:pt x="121" y="130"/>
                  <a:pt x="123" y="124"/>
                  <a:pt x="128" y="119"/>
                </a:cubicBezTo>
                <a:cubicBezTo>
                  <a:pt x="186" y="119"/>
                  <a:pt x="186" y="119"/>
                  <a:pt x="186" y="119"/>
                </a:cubicBezTo>
                <a:cubicBezTo>
                  <a:pt x="189" y="119"/>
                  <a:pt x="191" y="117"/>
                  <a:pt x="191" y="115"/>
                </a:cubicBezTo>
                <a:cubicBezTo>
                  <a:pt x="191" y="112"/>
                  <a:pt x="189" y="110"/>
                  <a:pt x="186" y="110"/>
                </a:cubicBezTo>
                <a:cubicBezTo>
                  <a:pt x="34" y="110"/>
                  <a:pt x="34" y="110"/>
                  <a:pt x="34" y="110"/>
                </a:cubicBezTo>
                <a:cubicBezTo>
                  <a:pt x="20" y="110"/>
                  <a:pt x="9" y="99"/>
                  <a:pt x="9" y="85"/>
                </a:cubicBezTo>
                <a:cubicBezTo>
                  <a:pt x="9" y="72"/>
                  <a:pt x="20" y="60"/>
                  <a:pt x="34" y="60"/>
                </a:cubicBezTo>
                <a:cubicBezTo>
                  <a:pt x="289" y="60"/>
                  <a:pt x="289" y="60"/>
                  <a:pt x="289" y="60"/>
                </a:cubicBezTo>
                <a:cubicBezTo>
                  <a:pt x="292" y="60"/>
                  <a:pt x="294" y="58"/>
                  <a:pt x="294" y="56"/>
                </a:cubicBezTo>
                <a:cubicBezTo>
                  <a:pt x="294" y="53"/>
                  <a:pt x="292" y="51"/>
                  <a:pt x="289" y="51"/>
                </a:cubicBezTo>
                <a:cubicBezTo>
                  <a:pt x="189" y="51"/>
                  <a:pt x="189" y="51"/>
                  <a:pt x="189" y="51"/>
                </a:cubicBezTo>
                <a:cubicBezTo>
                  <a:pt x="185" y="46"/>
                  <a:pt x="183" y="41"/>
                  <a:pt x="183" y="34"/>
                </a:cubicBezTo>
                <a:cubicBezTo>
                  <a:pt x="183" y="21"/>
                  <a:pt x="194" y="10"/>
                  <a:pt x="208" y="10"/>
                </a:cubicBezTo>
                <a:cubicBezTo>
                  <a:pt x="325" y="10"/>
                  <a:pt x="325" y="10"/>
                  <a:pt x="325" y="10"/>
                </a:cubicBezTo>
                <a:cubicBezTo>
                  <a:pt x="394" y="10"/>
                  <a:pt x="451" y="66"/>
                  <a:pt x="451" y="136"/>
                </a:cubicBezTo>
                <a:cubicBezTo>
                  <a:pt x="451" y="205"/>
                  <a:pt x="394" y="261"/>
                  <a:pt x="325" y="261"/>
                </a:cubicBez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1176" name="Oval 13"/>
          <p:cNvSpPr>
            <a:spLocks noChangeArrowheads="1"/>
          </p:cNvSpPr>
          <p:nvPr/>
        </p:nvSpPr>
        <p:spPr bwMode="auto">
          <a:xfrm>
            <a:off x="10105564" y="4711628"/>
            <a:ext cx="1119124" cy="1119124"/>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215" name="Freeform 46"/>
          <p:cNvSpPr>
            <a:spLocks noEditPoints="1"/>
          </p:cNvSpPr>
          <p:nvPr/>
        </p:nvSpPr>
        <p:spPr bwMode="auto">
          <a:xfrm>
            <a:off x="10303604" y="5136949"/>
            <a:ext cx="723709" cy="423991"/>
          </a:xfrm>
          <a:custGeom>
            <a:avLst/>
            <a:gdLst>
              <a:gd name="T0" fmla="*/ 427 w 461"/>
              <a:gd name="T1" fmla="*/ 51 h 270"/>
              <a:gd name="T2" fmla="*/ 282 w 461"/>
              <a:gd name="T3" fmla="*/ 51 h 270"/>
              <a:gd name="T4" fmla="*/ 287 w 461"/>
              <a:gd name="T5" fmla="*/ 34 h 270"/>
              <a:gd name="T6" fmla="*/ 253 w 461"/>
              <a:gd name="T7" fmla="*/ 0 h 270"/>
              <a:gd name="T8" fmla="*/ 135 w 461"/>
              <a:gd name="T9" fmla="*/ 0 h 270"/>
              <a:gd name="T10" fmla="*/ 0 w 461"/>
              <a:gd name="T11" fmla="*/ 135 h 270"/>
              <a:gd name="T12" fmla="*/ 135 w 461"/>
              <a:gd name="T13" fmla="*/ 270 h 270"/>
              <a:gd name="T14" fmla="*/ 243 w 461"/>
              <a:gd name="T15" fmla="*/ 270 h 270"/>
              <a:gd name="T16" fmla="*/ 277 w 461"/>
              <a:gd name="T17" fmla="*/ 236 h 270"/>
              <a:gd name="T18" fmla="*/ 273 w 461"/>
              <a:gd name="T19" fmla="*/ 220 h 270"/>
              <a:gd name="T20" fmla="*/ 279 w 461"/>
              <a:gd name="T21" fmla="*/ 220 h 270"/>
              <a:gd name="T22" fmla="*/ 313 w 461"/>
              <a:gd name="T23" fmla="*/ 186 h 270"/>
              <a:gd name="T24" fmla="*/ 309 w 461"/>
              <a:gd name="T25" fmla="*/ 170 h 270"/>
              <a:gd name="T26" fmla="*/ 315 w 461"/>
              <a:gd name="T27" fmla="*/ 170 h 270"/>
              <a:gd name="T28" fmla="*/ 349 w 461"/>
              <a:gd name="T29" fmla="*/ 136 h 270"/>
              <a:gd name="T30" fmla="*/ 344 w 461"/>
              <a:gd name="T31" fmla="*/ 119 h 270"/>
              <a:gd name="T32" fmla="*/ 427 w 461"/>
              <a:gd name="T33" fmla="*/ 119 h 270"/>
              <a:gd name="T34" fmla="*/ 461 w 461"/>
              <a:gd name="T35" fmla="*/ 85 h 270"/>
              <a:gd name="T36" fmla="*/ 427 w 461"/>
              <a:gd name="T37" fmla="*/ 51 h 270"/>
              <a:gd name="T38" fmla="*/ 427 w 461"/>
              <a:gd name="T39" fmla="*/ 109 h 270"/>
              <a:gd name="T40" fmla="*/ 274 w 461"/>
              <a:gd name="T41" fmla="*/ 109 h 270"/>
              <a:gd name="T42" fmla="*/ 269 w 461"/>
              <a:gd name="T43" fmla="*/ 114 h 270"/>
              <a:gd name="T44" fmla="*/ 274 w 461"/>
              <a:gd name="T45" fmla="*/ 119 h 270"/>
              <a:gd name="T46" fmla="*/ 332 w 461"/>
              <a:gd name="T47" fmla="*/ 119 h 270"/>
              <a:gd name="T48" fmla="*/ 340 w 461"/>
              <a:gd name="T49" fmla="*/ 136 h 270"/>
              <a:gd name="T50" fmla="*/ 315 w 461"/>
              <a:gd name="T51" fmla="*/ 161 h 270"/>
              <a:gd name="T52" fmla="*/ 300 w 461"/>
              <a:gd name="T53" fmla="*/ 161 h 270"/>
              <a:gd name="T54" fmla="*/ 300 w 461"/>
              <a:gd name="T55" fmla="*/ 161 h 270"/>
              <a:gd name="T56" fmla="*/ 259 w 461"/>
              <a:gd name="T57" fmla="*/ 161 h 270"/>
              <a:gd name="T58" fmla="*/ 254 w 461"/>
              <a:gd name="T59" fmla="*/ 166 h 270"/>
              <a:gd name="T60" fmla="*/ 259 w 461"/>
              <a:gd name="T61" fmla="*/ 170 h 270"/>
              <a:gd name="T62" fmla="*/ 298 w 461"/>
              <a:gd name="T63" fmla="*/ 170 h 270"/>
              <a:gd name="T64" fmla="*/ 304 w 461"/>
              <a:gd name="T65" fmla="*/ 186 h 270"/>
              <a:gd name="T66" fmla="*/ 279 w 461"/>
              <a:gd name="T67" fmla="*/ 211 h 270"/>
              <a:gd name="T68" fmla="*/ 264 w 461"/>
              <a:gd name="T69" fmla="*/ 211 h 270"/>
              <a:gd name="T70" fmla="*/ 264 w 461"/>
              <a:gd name="T71" fmla="*/ 211 h 270"/>
              <a:gd name="T72" fmla="*/ 242 w 461"/>
              <a:gd name="T73" fmla="*/ 211 h 270"/>
              <a:gd name="T74" fmla="*/ 237 w 461"/>
              <a:gd name="T75" fmla="*/ 215 h 270"/>
              <a:gd name="T76" fmla="*/ 242 w 461"/>
              <a:gd name="T77" fmla="*/ 220 h 270"/>
              <a:gd name="T78" fmla="*/ 262 w 461"/>
              <a:gd name="T79" fmla="*/ 220 h 270"/>
              <a:gd name="T80" fmla="*/ 268 w 461"/>
              <a:gd name="T81" fmla="*/ 236 h 270"/>
              <a:gd name="T82" fmla="*/ 243 w 461"/>
              <a:gd name="T83" fmla="*/ 261 h 270"/>
              <a:gd name="T84" fmla="*/ 135 w 461"/>
              <a:gd name="T85" fmla="*/ 261 h 270"/>
              <a:gd name="T86" fmla="*/ 10 w 461"/>
              <a:gd name="T87" fmla="*/ 135 h 270"/>
              <a:gd name="T88" fmla="*/ 135 w 461"/>
              <a:gd name="T89" fmla="*/ 9 h 270"/>
              <a:gd name="T90" fmla="*/ 253 w 461"/>
              <a:gd name="T91" fmla="*/ 9 h 270"/>
              <a:gd name="T92" fmla="*/ 277 w 461"/>
              <a:gd name="T93" fmla="*/ 34 h 270"/>
              <a:gd name="T94" fmla="*/ 271 w 461"/>
              <a:gd name="T95" fmla="*/ 51 h 270"/>
              <a:gd name="T96" fmla="*/ 171 w 461"/>
              <a:gd name="T97" fmla="*/ 51 h 270"/>
              <a:gd name="T98" fmla="*/ 166 w 461"/>
              <a:gd name="T99" fmla="*/ 55 h 270"/>
              <a:gd name="T100" fmla="*/ 171 w 461"/>
              <a:gd name="T101" fmla="*/ 60 h 270"/>
              <a:gd name="T102" fmla="*/ 427 w 461"/>
              <a:gd name="T103" fmla="*/ 60 h 270"/>
              <a:gd name="T104" fmla="*/ 451 w 461"/>
              <a:gd name="T105" fmla="*/ 85 h 270"/>
              <a:gd name="T106" fmla="*/ 427 w 461"/>
              <a:gd name="T107" fmla="*/ 109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61" h="270">
                <a:moveTo>
                  <a:pt x="427" y="51"/>
                </a:moveTo>
                <a:cubicBezTo>
                  <a:pt x="282" y="51"/>
                  <a:pt x="282" y="51"/>
                  <a:pt x="282" y="51"/>
                </a:cubicBezTo>
                <a:cubicBezTo>
                  <a:pt x="285" y="46"/>
                  <a:pt x="287" y="40"/>
                  <a:pt x="287" y="34"/>
                </a:cubicBezTo>
                <a:cubicBezTo>
                  <a:pt x="287" y="15"/>
                  <a:pt x="271" y="0"/>
                  <a:pt x="253" y="0"/>
                </a:cubicBezTo>
                <a:cubicBezTo>
                  <a:pt x="135" y="0"/>
                  <a:pt x="135" y="0"/>
                  <a:pt x="135" y="0"/>
                </a:cubicBezTo>
                <a:cubicBezTo>
                  <a:pt x="61" y="0"/>
                  <a:pt x="0" y="61"/>
                  <a:pt x="0" y="135"/>
                </a:cubicBezTo>
                <a:cubicBezTo>
                  <a:pt x="0" y="210"/>
                  <a:pt x="61" y="270"/>
                  <a:pt x="135" y="270"/>
                </a:cubicBezTo>
                <a:cubicBezTo>
                  <a:pt x="243" y="270"/>
                  <a:pt x="243" y="270"/>
                  <a:pt x="243" y="270"/>
                </a:cubicBezTo>
                <a:cubicBezTo>
                  <a:pt x="262" y="270"/>
                  <a:pt x="277" y="255"/>
                  <a:pt x="277" y="236"/>
                </a:cubicBezTo>
                <a:cubicBezTo>
                  <a:pt x="277" y="231"/>
                  <a:pt x="276" y="225"/>
                  <a:pt x="273" y="220"/>
                </a:cubicBezTo>
                <a:cubicBezTo>
                  <a:pt x="279" y="220"/>
                  <a:pt x="279" y="220"/>
                  <a:pt x="279" y="220"/>
                </a:cubicBezTo>
                <a:cubicBezTo>
                  <a:pt x="298" y="220"/>
                  <a:pt x="313" y="205"/>
                  <a:pt x="313" y="186"/>
                </a:cubicBezTo>
                <a:cubicBezTo>
                  <a:pt x="313" y="181"/>
                  <a:pt x="312" y="175"/>
                  <a:pt x="309" y="170"/>
                </a:cubicBezTo>
                <a:cubicBezTo>
                  <a:pt x="315" y="170"/>
                  <a:pt x="315" y="170"/>
                  <a:pt x="315" y="170"/>
                </a:cubicBezTo>
                <a:cubicBezTo>
                  <a:pt x="334" y="170"/>
                  <a:pt x="349" y="155"/>
                  <a:pt x="349" y="136"/>
                </a:cubicBezTo>
                <a:cubicBezTo>
                  <a:pt x="349" y="130"/>
                  <a:pt x="347" y="124"/>
                  <a:pt x="344" y="119"/>
                </a:cubicBezTo>
                <a:cubicBezTo>
                  <a:pt x="427" y="119"/>
                  <a:pt x="427" y="119"/>
                  <a:pt x="427" y="119"/>
                </a:cubicBezTo>
                <a:cubicBezTo>
                  <a:pt x="446" y="119"/>
                  <a:pt x="461" y="104"/>
                  <a:pt x="461" y="85"/>
                </a:cubicBezTo>
                <a:cubicBezTo>
                  <a:pt x="461" y="66"/>
                  <a:pt x="446" y="51"/>
                  <a:pt x="427" y="51"/>
                </a:cubicBezTo>
                <a:close/>
                <a:moveTo>
                  <a:pt x="427" y="109"/>
                </a:moveTo>
                <a:cubicBezTo>
                  <a:pt x="274" y="109"/>
                  <a:pt x="274" y="109"/>
                  <a:pt x="274" y="109"/>
                </a:cubicBezTo>
                <a:cubicBezTo>
                  <a:pt x="271" y="109"/>
                  <a:pt x="269" y="112"/>
                  <a:pt x="269" y="114"/>
                </a:cubicBezTo>
                <a:cubicBezTo>
                  <a:pt x="269" y="117"/>
                  <a:pt x="271" y="119"/>
                  <a:pt x="274" y="119"/>
                </a:cubicBezTo>
                <a:cubicBezTo>
                  <a:pt x="332" y="119"/>
                  <a:pt x="332" y="119"/>
                  <a:pt x="332" y="119"/>
                </a:cubicBezTo>
                <a:cubicBezTo>
                  <a:pt x="337" y="123"/>
                  <a:pt x="340" y="130"/>
                  <a:pt x="340" y="136"/>
                </a:cubicBezTo>
                <a:cubicBezTo>
                  <a:pt x="340" y="150"/>
                  <a:pt x="329" y="161"/>
                  <a:pt x="315" y="161"/>
                </a:cubicBezTo>
                <a:cubicBezTo>
                  <a:pt x="300" y="161"/>
                  <a:pt x="300" y="161"/>
                  <a:pt x="300" y="161"/>
                </a:cubicBezTo>
                <a:cubicBezTo>
                  <a:pt x="300" y="161"/>
                  <a:pt x="300" y="161"/>
                  <a:pt x="300" y="161"/>
                </a:cubicBezTo>
                <a:cubicBezTo>
                  <a:pt x="259" y="161"/>
                  <a:pt x="259" y="161"/>
                  <a:pt x="259" y="161"/>
                </a:cubicBezTo>
                <a:cubicBezTo>
                  <a:pt x="256" y="161"/>
                  <a:pt x="254" y="163"/>
                  <a:pt x="254" y="166"/>
                </a:cubicBezTo>
                <a:cubicBezTo>
                  <a:pt x="254" y="168"/>
                  <a:pt x="256" y="170"/>
                  <a:pt x="259" y="170"/>
                </a:cubicBezTo>
                <a:cubicBezTo>
                  <a:pt x="298" y="170"/>
                  <a:pt x="298" y="170"/>
                  <a:pt x="298" y="170"/>
                </a:cubicBezTo>
                <a:cubicBezTo>
                  <a:pt x="302" y="175"/>
                  <a:pt x="304" y="180"/>
                  <a:pt x="304" y="186"/>
                </a:cubicBezTo>
                <a:cubicBezTo>
                  <a:pt x="304" y="200"/>
                  <a:pt x="293" y="211"/>
                  <a:pt x="279" y="211"/>
                </a:cubicBezTo>
                <a:cubicBezTo>
                  <a:pt x="264" y="211"/>
                  <a:pt x="264" y="211"/>
                  <a:pt x="264" y="211"/>
                </a:cubicBezTo>
                <a:cubicBezTo>
                  <a:pt x="264" y="211"/>
                  <a:pt x="264" y="211"/>
                  <a:pt x="264" y="211"/>
                </a:cubicBezTo>
                <a:cubicBezTo>
                  <a:pt x="242" y="211"/>
                  <a:pt x="242" y="211"/>
                  <a:pt x="242" y="211"/>
                </a:cubicBezTo>
                <a:cubicBezTo>
                  <a:pt x="239" y="211"/>
                  <a:pt x="237" y="213"/>
                  <a:pt x="237" y="215"/>
                </a:cubicBezTo>
                <a:cubicBezTo>
                  <a:pt x="237" y="218"/>
                  <a:pt x="239" y="220"/>
                  <a:pt x="242" y="220"/>
                </a:cubicBezTo>
                <a:cubicBezTo>
                  <a:pt x="262" y="220"/>
                  <a:pt x="262" y="220"/>
                  <a:pt x="262" y="220"/>
                </a:cubicBezTo>
                <a:cubicBezTo>
                  <a:pt x="265" y="225"/>
                  <a:pt x="268" y="230"/>
                  <a:pt x="268" y="236"/>
                </a:cubicBezTo>
                <a:cubicBezTo>
                  <a:pt x="268" y="250"/>
                  <a:pt x="257" y="261"/>
                  <a:pt x="243" y="261"/>
                </a:cubicBezTo>
                <a:cubicBezTo>
                  <a:pt x="135" y="261"/>
                  <a:pt x="135" y="261"/>
                  <a:pt x="135" y="261"/>
                </a:cubicBezTo>
                <a:cubicBezTo>
                  <a:pt x="66" y="261"/>
                  <a:pt x="10" y="205"/>
                  <a:pt x="10" y="135"/>
                </a:cubicBezTo>
                <a:cubicBezTo>
                  <a:pt x="10" y="66"/>
                  <a:pt x="66" y="9"/>
                  <a:pt x="135" y="9"/>
                </a:cubicBezTo>
                <a:cubicBezTo>
                  <a:pt x="253" y="9"/>
                  <a:pt x="253" y="9"/>
                  <a:pt x="253" y="9"/>
                </a:cubicBezTo>
                <a:cubicBezTo>
                  <a:pt x="266" y="9"/>
                  <a:pt x="277" y="20"/>
                  <a:pt x="277" y="34"/>
                </a:cubicBezTo>
                <a:cubicBezTo>
                  <a:pt x="277" y="40"/>
                  <a:pt x="275" y="46"/>
                  <a:pt x="271" y="51"/>
                </a:cubicBezTo>
                <a:cubicBezTo>
                  <a:pt x="171" y="51"/>
                  <a:pt x="171" y="51"/>
                  <a:pt x="171" y="51"/>
                </a:cubicBezTo>
                <a:cubicBezTo>
                  <a:pt x="168" y="51"/>
                  <a:pt x="166" y="53"/>
                  <a:pt x="166" y="55"/>
                </a:cubicBezTo>
                <a:cubicBezTo>
                  <a:pt x="166" y="58"/>
                  <a:pt x="168" y="60"/>
                  <a:pt x="171" y="60"/>
                </a:cubicBezTo>
                <a:cubicBezTo>
                  <a:pt x="427" y="60"/>
                  <a:pt x="427" y="60"/>
                  <a:pt x="427" y="60"/>
                </a:cubicBezTo>
                <a:cubicBezTo>
                  <a:pt x="440" y="60"/>
                  <a:pt x="451" y="71"/>
                  <a:pt x="451" y="85"/>
                </a:cubicBezTo>
                <a:cubicBezTo>
                  <a:pt x="451" y="98"/>
                  <a:pt x="440" y="109"/>
                  <a:pt x="427" y="109"/>
                </a:cubicBez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2078" name="Oval 11"/>
          <p:cNvSpPr>
            <a:spLocks noChangeArrowheads="1"/>
          </p:cNvSpPr>
          <p:nvPr/>
        </p:nvSpPr>
        <p:spPr bwMode="auto">
          <a:xfrm>
            <a:off x="8347593" y="4711628"/>
            <a:ext cx="1119124" cy="1119124"/>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216" name="Freeform 47"/>
          <p:cNvSpPr>
            <a:spLocks noEditPoints="1"/>
          </p:cNvSpPr>
          <p:nvPr/>
        </p:nvSpPr>
        <p:spPr bwMode="auto">
          <a:xfrm>
            <a:off x="8717754" y="4952200"/>
            <a:ext cx="425985" cy="723044"/>
          </a:xfrm>
          <a:custGeom>
            <a:avLst/>
            <a:gdLst>
              <a:gd name="T0" fmla="*/ 237 w 271"/>
              <a:gd name="T1" fmla="*/ 184 h 461"/>
              <a:gd name="T2" fmla="*/ 221 w 271"/>
              <a:gd name="T3" fmla="*/ 188 h 461"/>
              <a:gd name="T4" fmla="*/ 221 w 271"/>
              <a:gd name="T5" fmla="*/ 182 h 461"/>
              <a:gd name="T6" fmla="*/ 187 w 271"/>
              <a:gd name="T7" fmla="*/ 148 h 461"/>
              <a:gd name="T8" fmla="*/ 171 w 271"/>
              <a:gd name="T9" fmla="*/ 152 h 461"/>
              <a:gd name="T10" fmla="*/ 171 w 271"/>
              <a:gd name="T11" fmla="*/ 146 h 461"/>
              <a:gd name="T12" fmla="*/ 137 w 271"/>
              <a:gd name="T13" fmla="*/ 112 h 461"/>
              <a:gd name="T14" fmla="*/ 119 w 271"/>
              <a:gd name="T15" fmla="*/ 117 h 461"/>
              <a:gd name="T16" fmla="*/ 119 w 271"/>
              <a:gd name="T17" fmla="*/ 34 h 461"/>
              <a:gd name="T18" fmla="*/ 85 w 271"/>
              <a:gd name="T19" fmla="*/ 0 h 461"/>
              <a:gd name="T20" fmla="*/ 51 w 271"/>
              <a:gd name="T21" fmla="*/ 34 h 461"/>
              <a:gd name="T22" fmla="*/ 51 w 271"/>
              <a:gd name="T23" fmla="*/ 178 h 461"/>
              <a:gd name="T24" fmla="*/ 34 w 271"/>
              <a:gd name="T25" fmla="*/ 174 h 461"/>
              <a:gd name="T26" fmla="*/ 0 w 271"/>
              <a:gd name="T27" fmla="*/ 208 h 461"/>
              <a:gd name="T28" fmla="*/ 0 w 271"/>
              <a:gd name="T29" fmla="*/ 325 h 461"/>
              <a:gd name="T30" fmla="*/ 136 w 271"/>
              <a:gd name="T31" fmla="*/ 461 h 461"/>
              <a:gd name="T32" fmla="*/ 271 w 271"/>
              <a:gd name="T33" fmla="*/ 325 h 461"/>
              <a:gd name="T34" fmla="*/ 271 w 271"/>
              <a:gd name="T35" fmla="*/ 218 h 461"/>
              <a:gd name="T36" fmla="*/ 237 w 271"/>
              <a:gd name="T37" fmla="*/ 184 h 461"/>
              <a:gd name="T38" fmla="*/ 262 w 271"/>
              <a:gd name="T39" fmla="*/ 325 h 461"/>
              <a:gd name="T40" fmla="*/ 136 w 271"/>
              <a:gd name="T41" fmla="*/ 451 h 461"/>
              <a:gd name="T42" fmla="*/ 10 w 271"/>
              <a:gd name="T43" fmla="*/ 325 h 461"/>
              <a:gd name="T44" fmla="*/ 10 w 271"/>
              <a:gd name="T45" fmla="*/ 208 h 461"/>
              <a:gd name="T46" fmla="*/ 34 w 271"/>
              <a:gd name="T47" fmla="*/ 183 h 461"/>
              <a:gd name="T48" fmla="*/ 51 w 271"/>
              <a:gd name="T49" fmla="*/ 190 h 461"/>
              <a:gd name="T50" fmla="*/ 51 w 271"/>
              <a:gd name="T51" fmla="*/ 290 h 461"/>
              <a:gd name="T52" fmla="*/ 56 w 271"/>
              <a:gd name="T53" fmla="*/ 295 h 461"/>
              <a:gd name="T54" fmla="*/ 60 w 271"/>
              <a:gd name="T55" fmla="*/ 290 h 461"/>
              <a:gd name="T56" fmla="*/ 60 w 271"/>
              <a:gd name="T57" fmla="*/ 34 h 461"/>
              <a:gd name="T58" fmla="*/ 85 w 271"/>
              <a:gd name="T59" fmla="*/ 9 h 461"/>
              <a:gd name="T60" fmla="*/ 110 w 271"/>
              <a:gd name="T61" fmla="*/ 34 h 461"/>
              <a:gd name="T62" fmla="*/ 110 w 271"/>
              <a:gd name="T63" fmla="*/ 187 h 461"/>
              <a:gd name="T64" fmla="*/ 115 w 271"/>
              <a:gd name="T65" fmla="*/ 191 h 461"/>
              <a:gd name="T66" fmla="*/ 119 w 271"/>
              <a:gd name="T67" fmla="*/ 187 h 461"/>
              <a:gd name="T68" fmla="*/ 119 w 271"/>
              <a:gd name="T69" fmla="*/ 128 h 461"/>
              <a:gd name="T70" fmla="*/ 137 w 271"/>
              <a:gd name="T71" fmla="*/ 121 h 461"/>
              <a:gd name="T72" fmla="*/ 162 w 271"/>
              <a:gd name="T73" fmla="*/ 146 h 461"/>
              <a:gd name="T74" fmla="*/ 162 w 271"/>
              <a:gd name="T75" fmla="*/ 160 h 461"/>
              <a:gd name="T76" fmla="*/ 162 w 271"/>
              <a:gd name="T77" fmla="*/ 161 h 461"/>
              <a:gd name="T78" fmla="*/ 162 w 271"/>
              <a:gd name="T79" fmla="*/ 202 h 461"/>
              <a:gd name="T80" fmla="*/ 166 w 271"/>
              <a:gd name="T81" fmla="*/ 207 h 461"/>
              <a:gd name="T82" fmla="*/ 171 w 271"/>
              <a:gd name="T83" fmla="*/ 202 h 461"/>
              <a:gd name="T84" fmla="*/ 171 w 271"/>
              <a:gd name="T85" fmla="*/ 163 h 461"/>
              <a:gd name="T86" fmla="*/ 187 w 271"/>
              <a:gd name="T87" fmla="*/ 157 h 461"/>
              <a:gd name="T88" fmla="*/ 211 w 271"/>
              <a:gd name="T89" fmla="*/ 182 h 461"/>
              <a:gd name="T90" fmla="*/ 211 w 271"/>
              <a:gd name="T91" fmla="*/ 197 h 461"/>
              <a:gd name="T92" fmla="*/ 211 w 271"/>
              <a:gd name="T93" fmla="*/ 197 h 461"/>
              <a:gd name="T94" fmla="*/ 211 w 271"/>
              <a:gd name="T95" fmla="*/ 219 h 461"/>
              <a:gd name="T96" fmla="*/ 216 w 271"/>
              <a:gd name="T97" fmla="*/ 224 h 461"/>
              <a:gd name="T98" fmla="*/ 221 w 271"/>
              <a:gd name="T99" fmla="*/ 219 h 461"/>
              <a:gd name="T100" fmla="*/ 221 w 271"/>
              <a:gd name="T101" fmla="*/ 199 h 461"/>
              <a:gd name="T102" fmla="*/ 237 w 271"/>
              <a:gd name="T103" fmla="*/ 193 h 461"/>
              <a:gd name="T104" fmla="*/ 262 w 271"/>
              <a:gd name="T105" fmla="*/ 218 h 461"/>
              <a:gd name="T106" fmla="*/ 262 w 271"/>
              <a:gd name="T107" fmla="*/ 325 h 4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71" h="461">
                <a:moveTo>
                  <a:pt x="237" y="184"/>
                </a:moveTo>
                <a:cubicBezTo>
                  <a:pt x="231" y="184"/>
                  <a:pt x="226" y="185"/>
                  <a:pt x="221" y="188"/>
                </a:cubicBezTo>
                <a:cubicBezTo>
                  <a:pt x="221" y="182"/>
                  <a:pt x="221" y="182"/>
                  <a:pt x="221" y="182"/>
                </a:cubicBezTo>
                <a:cubicBezTo>
                  <a:pt x="221" y="163"/>
                  <a:pt x="205" y="148"/>
                  <a:pt x="187" y="148"/>
                </a:cubicBezTo>
                <a:cubicBezTo>
                  <a:pt x="181" y="148"/>
                  <a:pt x="176" y="149"/>
                  <a:pt x="171" y="152"/>
                </a:cubicBezTo>
                <a:cubicBezTo>
                  <a:pt x="171" y="146"/>
                  <a:pt x="171" y="146"/>
                  <a:pt x="171" y="146"/>
                </a:cubicBezTo>
                <a:cubicBezTo>
                  <a:pt x="171" y="127"/>
                  <a:pt x="156" y="112"/>
                  <a:pt x="137" y="112"/>
                </a:cubicBezTo>
                <a:cubicBezTo>
                  <a:pt x="131" y="112"/>
                  <a:pt x="125" y="113"/>
                  <a:pt x="119" y="117"/>
                </a:cubicBezTo>
                <a:cubicBezTo>
                  <a:pt x="119" y="34"/>
                  <a:pt x="119" y="34"/>
                  <a:pt x="119" y="34"/>
                </a:cubicBezTo>
                <a:cubicBezTo>
                  <a:pt x="119" y="15"/>
                  <a:pt x="104" y="0"/>
                  <a:pt x="85" y="0"/>
                </a:cubicBezTo>
                <a:cubicBezTo>
                  <a:pt x="66" y="0"/>
                  <a:pt x="51" y="15"/>
                  <a:pt x="51" y="34"/>
                </a:cubicBezTo>
                <a:cubicBezTo>
                  <a:pt x="51" y="178"/>
                  <a:pt x="51" y="178"/>
                  <a:pt x="51" y="178"/>
                </a:cubicBezTo>
                <a:cubicBezTo>
                  <a:pt x="46" y="176"/>
                  <a:pt x="40" y="174"/>
                  <a:pt x="34" y="174"/>
                </a:cubicBezTo>
                <a:cubicBezTo>
                  <a:pt x="16" y="174"/>
                  <a:pt x="0" y="189"/>
                  <a:pt x="0" y="208"/>
                </a:cubicBezTo>
                <a:cubicBezTo>
                  <a:pt x="0" y="325"/>
                  <a:pt x="0" y="325"/>
                  <a:pt x="0" y="325"/>
                </a:cubicBezTo>
                <a:cubicBezTo>
                  <a:pt x="0" y="400"/>
                  <a:pt x="61" y="461"/>
                  <a:pt x="136" y="461"/>
                </a:cubicBezTo>
                <a:cubicBezTo>
                  <a:pt x="210" y="461"/>
                  <a:pt x="271" y="400"/>
                  <a:pt x="271" y="325"/>
                </a:cubicBezTo>
                <a:cubicBezTo>
                  <a:pt x="271" y="218"/>
                  <a:pt x="271" y="218"/>
                  <a:pt x="271" y="218"/>
                </a:cubicBezTo>
                <a:cubicBezTo>
                  <a:pt x="271" y="199"/>
                  <a:pt x="256" y="184"/>
                  <a:pt x="237" y="184"/>
                </a:cubicBezTo>
                <a:close/>
                <a:moveTo>
                  <a:pt x="262" y="325"/>
                </a:moveTo>
                <a:cubicBezTo>
                  <a:pt x="262" y="395"/>
                  <a:pt x="205" y="451"/>
                  <a:pt x="136" y="451"/>
                </a:cubicBezTo>
                <a:cubicBezTo>
                  <a:pt x="66" y="451"/>
                  <a:pt x="10" y="395"/>
                  <a:pt x="10" y="325"/>
                </a:cubicBezTo>
                <a:cubicBezTo>
                  <a:pt x="10" y="208"/>
                  <a:pt x="10" y="208"/>
                  <a:pt x="10" y="208"/>
                </a:cubicBezTo>
                <a:cubicBezTo>
                  <a:pt x="10" y="195"/>
                  <a:pt x="21" y="183"/>
                  <a:pt x="34" y="183"/>
                </a:cubicBezTo>
                <a:cubicBezTo>
                  <a:pt x="41" y="183"/>
                  <a:pt x="47" y="186"/>
                  <a:pt x="51" y="190"/>
                </a:cubicBezTo>
                <a:cubicBezTo>
                  <a:pt x="51" y="290"/>
                  <a:pt x="51" y="290"/>
                  <a:pt x="51" y="290"/>
                </a:cubicBezTo>
                <a:cubicBezTo>
                  <a:pt x="51" y="292"/>
                  <a:pt x="53" y="295"/>
                  <a:pt x="56" y="295"/>
                </a:cubicBezTo>
                <a:cubicBezTo>
                  <a:pt x="58" y="295"/>
                  <a:pt x="60" y="292"/>
                  <a:pt x="60" y="290"/>
                </a:cubicBezTo>
                <a:cubicBezTo>
                  <a:pt x="60" y="34"/>
                  <a:pt x="60" y="34"/>
                  <a:pt x="60" y="34"/>
                </a:cubicBezTo>
                <a:cubicBezTo>
                  <a:pt x="60" y="20"/>
                  <a:pt x="72" y="9"/>
                  <a:pt x="85" y="9"/>
                </a:cubicBezTo>
                <a:cubicBezTo>
                  <a:pt x="99" y="9"/>
                  <a:pt x="110" y="20"/>
                  <a:pt x="110" y="34"/>
                </a:cubicBezTo>
                <a:cubicBezTo>
                  <a:pt x="110" y="187"/>
                  <a:pt x="110" y="187"/>
                  <a:pt x="110" y="187"/>
                </a:cubicBezTo>
                <a:cubicBezTo>
                  <a:pt x="110" y="189"/>
                  <a:pt x="112" y="191"/>
                  <a:pt x="115" y="191"/>
                </a:cubicBezTo>
                <a:cubicBezTo>
                  <a:pt x="117" y="191"/>
                  <a:pt x="119" y="189"/>
                  <a:pt x="119" y="187"/>
                </a:cubicBezTo>
                <a:cubicBezTo>
                  <a:pt x="119" y="128"/>
                  <a:pt x="119" y="128"/>
                  <a:pt x="119" y="128"/>
                </a:cubicBezTo>
                <a:cubicBezTo>
                  <a:pt x="124" y="124"/>
                  <a:pt x="130" y="121"/>
                  <a:pt x="137" y="121"/>
                </a:cubicBezTo>
                <a:cubicBezTo>
                  <a:pt x="150" y="121"/>
                  <a:pt x="162" y="132"/>
                  <a:pt x="162" y="146"/>
                </a:cubicBezTo>
                <a:cubicBezTo>
                  <a:pt x="162" y="160"/>
                  <a:pt x="162" y="160"/>
                  <a:pt x="162" y="160"/>
                </a:cubicBezTo>
                <a:cubicBezTo>
                  <a:pt x="162" y="160"/>
                  <a:pt x="162" y="161"/>
                  <a:pt x="162" y="161"/>
                </a:cubicBezTo>
                <a:cubicBezTo>
                  <a:pt x="162" y="202"/>
                  <a:pt x="162" y="202"/>
                  <a:pt x="162" y="202"/>
                </a:cubicBezTo>
                <a:cubicBezTo>
                  <a:pt x="162" y="205"/>
                  <a:pt x="164" y="207"/>
                  <a:pt x="166" y="207"/>
                </a:cubicBezTo>
                <a:cubicBezTo>
                  <a:pt x="169" y="207"/>
                  <a:pt x="171" y="205"/>
                  <a:pt x="171" y="202"/>
                </a:cubicBezTo>
                <a:cubicBezTo>
                  <a:pt x="171" y="163"/>
                  <a:pt x="171" y="163"/>
                  <a:pt x="171" y="163"/>
                </a:cubicBezTo>
                <a:cubicBezTo>
                  <a:pt x="175" y="159"/>
                  <a:pt x="181" y="157"/>
                  <a:pt x="187" y="157"/>
                </a:cubicBezTo>
                <a:cubicBezTo>
                  <a:pt x="200" y="157"/>
                  <a:pt x="211" y="168"/>
                  <a:pt x="211" y="182"/>
                </a:cubicBezTo>
                <a:cubicBezTo>
                  <a:pt x="211" y="197"/>
                  <a:pt x="211" y="197"/>
                  <a:pt x="211" y="197"/>
                </a:cubicBezTo>
                <a:cubicBezTo>
                  <a:pt x="211" y="197"/>
                  <a:pt x="211" y="197"/>
                  <a:pt x="211" y="197"/>
                </a:cubicBezTo>
                <a:cubicBezTo>
                  <a:pt x="211" y="219"/>
                  <a:pt x="211" y="219"/>
                  <a:pt x="211" y="219"/>
                </a:cubicBezTo>
                <a:cubicBezTo>
                  <a:pt x="211" y="221"/>
                  <a:pt x="213" y="224"/>
                  <a:pt x="216" y="224"/>
                </a:cubicBezTo>
                <a:cubicBezTo>
                  <a:pt x="219" y="224"/>
                  <a:pt x="221" y="221"/>
                  <a:pt x="221" y="219"/>
                </a:cubicBezTo>
                <a:cubicBezTo>
                  <a:pt x="221" y="199"/>
                  <a:pt x="221" y="199"/>
                  <a:pt x="221" y="199"/>
                </a:cubicBezTo>
                <a:cubicBezTo>
                  <a:pt x="225" y="195"/>
                  <a:pt x="231" y="193"/>
                  <a:pt x="237" y="193"/>
                </a:cubicBezTo>
                <a:cubicBezTo>
                  <a:pt x="250" y="193"/>
                  <a:pt x="262" y="204"/>
                  <a:pt x="262" y="218"/>
                </a:cubicBezTo>
                <a:lnTo>
                  <a:pt x="262" y="325"/>
                </a:ln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endParaRPr lang="en-US" sz="1836"/>
          </a:p>
        </p:txBody>
      </p:sp>
    </p:spTree>
    <p:extLst>
      <p:ext uri="{BB962C8B-B14F-4D97-AF65-F5344CB8AC3E}">
        <p14:creationId xmlns:p14="http://schemas.microsoft.com/office/powerpoint/2010/main" val="272923332"/>
      </p:ext>
    </p:extLst>
  </p:cSld>
  <p:clrMapOvr>
    <a:masterClrMapping/>
  </p:clrMapOvr>
  <p:transition>
    <p:fade/>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eople</a:t>
            </a:r>
          </a:p>
        </p:txBody>
      </p:sp>
      <p:grpSp>
        <p:nvGrpSpPr>
          <p:cNvPr id="5140" name="Group 5139"/>
          <p:cNvGrpSpPr/>
          <p:nvPr/>
        </p:nvGrpSpPr>
        <p:grpSpPr>
          <a:xfrm>
            <a:off x="4831649" y="1528549"/>
            <a:ext cx="1119124" cy="1119124"/>
            <a:chOff x="12077700" y="6272213"/>
            <a:chExt cx="2678113" cy="2673350"/>
          </a:xfrm>
        </p:grpSpPr>
        <p:sp>
          <p:nvSpPr>
            <p:cNvPr id="137" name="Oval 27"/>
            <p:cNvSpPr>
              <a:spLocks noChangeArrowheads="1"/>
            </p:cNvSpPr>
            <p:nvPr/>
          </p:nvSpPr>
          <p:spPr bwMode="auto">
            <a:xfrm>
              <a:off x="12077700" y="6272213"/>
              <a:ext cx="2678113" cy="2673350"/>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217" name="Freeform 48"/>
            <p:cNvSpPr>
              <a:spLocks noEditPoints="1"/>
            </p:cNvSpPr>
            <p:nvPr/>
          </p:nvSpPr>
          <p:spPr bwMode="auto">
            <a:xfrm>
              <a:off x="12955588" y="6691313"/>
              <a:ext cx="996950" cy="1833563"/>
            </a:xfrm>
            <a:custGeom>
              <a:avLst/>
              <a:gdLst>
                <a:gd name="T0" fmla="*/ 169 w 266"/>
                <a:gd name="T1" fmla="*/ 47 h 489"/>
                <a:gd name="T2" fmla="*/ 77 w 266"/>
                <a:gd name="T3" fmla="*/ 47 h 489"/>
                <a:gd name="T4" fmla="*/ 123 w 266"/>
                <a:gd name="T5" fmla="*/ 10 h 489"/>
                <a:gd name="T6" fmla="*/ 123 w 266"/>
                <a:gd name="T7" fmla="*/ 84 h 489"/>
                <a:gd name="T8" fmla="*/ 123 w 266"/>
                <a:gd name="T9" fmla="*/ 10 h 489"/>
                <a:gd name="T10" fmla="*/ 244 w 266"/>
                <a:gd name="T11" fmla="*/ 313 h 489"/>
                <a:gd name="T12" fmla="*/ 239 w 266"/>
                <a:gd name="T13" fmla="*/ 293 h 489"/>
                <a:gd name="T14" fmla="*/ 234 w 266"/>
                <a:gd name="T15" fmla="*/ 313 h 489"/>
                <a:gd name="T16" fmla="*/ 212 w 266"/>
                <a:gd name="T17" fmla="*/ 329 h 489"/>
                <a:gd name="T18" fmla="*/ 229 w 266"/>
                <a:gd name="T19" fmla="*/ 432 h 489"/>
                <a:gd name="T20" fmla="*/ 266 w 266"/>
                <a:gd name="T21" fmla="*/ 415 h 489"/>
                <a:gd name="T22" fmla="*/ 249 w 266"/>
                <a:gd name="T23" fmla="*/ 313 h 489"/>
                <a:gd name="T24" fmla="*/ 249 w 266"/>
                <a:gd name="T25" fmla="*/ 421 h 489"/>
                <a:gd name="T26" fmla="*/ 223 w 266"/>
                <a:gd name="T27" fmla="*/ 415 h 489"/>
                <a:gd name="T28" fmla="*/ 229 w 266"/>
                <a:gd name="T29" fmla="*/ 323 h 489"/>
                <a:gd name="T30" fmla="*/ 255 w 266"/>
                <a:gd name="T31" fmla="*/ 329 h 489"/>
                <a:gd name="T32" fmla="*/ 225 w 266"/>
                <a:gd name="T33" fmla="*/ 296 h 489"/>
                <a:gd name="T34" fmla="*/ 244 w 266"/>
                <a:gd name="T35" fmla="*/ 274 h 489"/>
                <a:gd name="T36" fmla="*/ 238 w 266"/>
                <a:gd name="T37" fmla="*/ 256 h 489"/>
                <a:gd name="T38" fmla="*/ 123 w 266"/>
                <a:gd name="T39" fmla="*/ 103 h 489"/>
                <a:gd name="T40" fmla="*/ 8 w 266"/>
                <a:gd name="T41" fmla="*/ 256 h 489"/>
                <a:gd name="T42" fmla="*/ 2 w 266"/>
                <a:gd name="T43" fmla="*/ 274 h 489"/>
                <a:gd name="T44" fmla="*/ 21 w 266"/>
                <a:gd name="T45" fmla="*/ 296 h 489"/>
                <a:gd name="T46" fmla="*/ 62 w 266"/>
                <a:gd name="T47" fmla="*/ 227 h 489"/>
                <a:gd name="T48" fmla="*/ 41 w 266"/>
                <a:gd name="T49" fmla="*/ 361 h 489"/>
                <a:gd name="T50" fmla="*/ 67 w 266"/>
                <a:gd name="T51" fmla="*/ 362 h 489"/>
                <a:gd name="T52" fmla="*/ 64 w 266"/>
                <a:gd name="T53" fmla="*/ 470 h 489"/>
                <a:gd name="T54" fmla="*/ 108 w 266"/>
                <a:gd name="T55" fmla="*/ 470 h 489"/>
                <a:gd name="T56" fmla="*/ 125 w 266"/>
                <a:gd name="T57" fmla="*/ 362 h 489"/>
                <a:gd name="T58" fmla="*/ 160 w 266"/>
                <a:gd name="T59" fmla="*/ 489 h 489"/>
                <a:gd name="T60" fmla="*/ 182 w 266"/>
                <a:gd name="T61" fmla="*/ 470 h 489"/>
                <a:gd name="T62" fmla="*/ 179 w 266"/>
                <a:gd name="T63" fmla="*/ 362 h 489"/>
                <a:gd name="T64" fmla="*/ 206 w 266"/>
                <a:gd name="T65" fmla="*/ 358 h 489"/>
                <a:gd name="T66" fmla="*/ 184 w 266"/>
                <a:gd name="T67" fmla="*/ 227 h 489"/>
                <a:gd name="T68" fmla="*/ 225 w 266"/>
                <a:gd name="T69" fmla="*/ 296 h 489"/>
                <a:gd name="T70" fmla="*/ 177 w 266"/>
                <a:gd name="T71" fmla="*/ 187 h 489"/>
                <a:gd name="T72" fmla="*/ 168 w 266"/>
                <a:gd name="T73" fmla="*/ 189 h 489"/>
                <a:gd name="T74" fmla="*/ 174 w 266"/>
                <a:gd name="T75" fmla="*/ 353 h 489"/>
                <a:gd name="T76" fmla="*/ 170 w 266"/>
                <a:gd name="T77" fmla="*/ 358 h 489"/>
                <a:gd name="T78" fmla="*/ 172 w 266"/>
                <a:gd name="T79" fmla="*/ 452 h 489"/>
                <a:gd name="T80" fmla="*/ 173 w 266"/>
                <a:gd name="T81" fmla="*/ 469 h 489"/>
                <a:gd name="T82" fmla="*/ 160 w 266"/>
                <a:gd name="T83" fmla="*/ 484 h 489"/>
                <a:gd name="T84" fmla="*/ 147 w 266"/>
                <a:gd name="T85" fmla="*/ 469 h 489"/>
                <a:gd name="T86" fmla="*/ 129 w 266"/>
                <a:gd name="T87" fmla="*/ 353 h 489"/>
                <a:gd name="T88" fmla="*/ 112 w 266"/>
                <a:gd name="T89" fmla="*/ 357 h 489"/>
                <a:gd name="T90" fmla="*/ 86 w 266"/>
                <a:gd name="T91" fmla="*/ 480 h 489"/>
                <a:gd name="T92" fmla="*/ 73 w 266"/>
                <a:gd name="T93" fmla="*/ 469 h 489"/>
                <a:gd name="T94" fmla="*/ 74 w 266"/>
                <a:gd name="T95" fmla="*/ 452 h 489"/>
                <a:gd name="T96" fmla="*/ 76 w 266"/>
                <a:gd name="T97" fmla="*/ 358 h 489"/>
                <a:gd name="T98" fmla="*/ 72 w 266"/>
                <a:gd name="T99" fmla="*/ 353 h 489"/>
                <a:gd name="T100" fmla="*/ 77 w 266"/>
                <a:gd name="T101" fmla="*/ 189 h 489"/>
                <a:gd name="T102" fmla="*/ 68 w 266"/>
                <a:gd name="T103" fmla="*/ 187 h 489"/>
                <a:gd name="T104" fmla="*/ 21 w 266"/>
                <a:gd name="T105" fmla="*/ 286 h 489"/>
                <a:gd name="T106" fmla="*/ 11 w 266"/>
                <a:gd name="T107" fmla="*/ 276 h 489"/>
                <a:gd name="T108" fmla="*/ 13 w 266"/>
                <a:gd name="T109" fmla="*/ 272 h 489"/>
                <a:gd name="T110" fmla="*/ 59 w 266"/>
                <a:gd name="T111" fmla="*/ 137 h 489"/>
                <a:gd name="T112" fmla="*/ 187 w 266"/>
                <a:gd name="T113" fmla="*/ 137 h 489"/>
                <a:gd name="T114" fmla="*/ 233 w 266"/>
                <a:gd name="T115" fmla="*/ 272 h 489"/>
                <a:gd name="T116" fmla="*/ 234 w 266"/>
                <a:gd name="T117" fmla="*/ 276 h 489"/>
                <a:gd name="T118" fmla="*/ 225 w 266"/>
                <a:gd name="T119" fmla="*/ 286 h 489"/>
                <a:gd name="T120" fmla="*/ 218 w 266"/>
                <a:gd name="T121" fmla="*/ 282 h 4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66" h="489">
                  <a:moveTo>
                    <a:pt x="123" y="93"/>
                  </a:moveTo>
                  <a:cubicBezTo>
                    <a:pt x="148" y="93"/>
                    <a:pt x="169" y="72"/>
                    <a:pt x="169" y="47"/>
                  </a:cubicBezTo>
                  <a:cubicBezTo>
                    <a:pt x="169" y="21"/>
                    <a:pt x="148" y="0"/>
                    <a:pt x="123" y="0"/>
                  </a:cubicBezTo>
                  <a:cubicBezTo>
                    <a:pt x="97" y="0"/>
                    <a:pt x="77" y="21"/>
                    <a:pt x="77" y="47"/>
                  </a:cubicBezTo>
                  <a:cubicBezTo>
                    <a:pt x="77" y="72"/>
                    <a:pt x="97" y="93"/>
                    <a:pt x="123" y="93"/>
                  </a:cubicBezTo>
                  <a:close/>
                  <a:moveTo>
                    <a:pt x="123" y="10"/>
                  </a:moveTo>
                  <a:cubicBezTo>
                    <a:pt x="143" y="10"/>
                    <a:pt x="160" y="26"/>
                    <a:pt x="160" y="47"/>
                  </a:cubicBezTo>
                  <a:cubicBezTo>
                    <a:pt x="160" y="67"/>
                    <a:pt x="143" y="84"/>
                    <a:pt x="123" y="84"/>
                  </a:cubicBezTo>
                  <a:cubicBezTo>
                    <a:pt x="103" y="84"/>
                    <a:pt x="86" y="67"/>
                    <a:pt x="86" y="47"/>
                  </a:cubicBezTo>
                  <a:cubicBezTo>
                    <a:pt x="86" y="26"/>
                    <a:pt x="103" y="10"/>
                    <a:pt x="123" y="10"/>
                  </a:cubicBezTo>
                  <a:close/>
                  <a:moveTo>
                    <a:pt x="249" y="313"/>
                  </a:moveTo>
                  <a:cubicBezTo>
                    <a:pt x="244" y="313"/>
                    <a:pt x="244" y="313"/>
                    <a:pt x="244" y="313"/>
                  </a:cubicBezTo>
                  <a:cubicBezTo>
                    <a:pt x="244" y="299"/>
                    <a:pt x="244" y="299"/>
                    <a:pt x="244" y="299"/>
                  </a:cubicBezTo>
                  <a:cubicBezTo>
                    <a:pt x="244" y="296"/>
                    <a:pt x="242" y="293"/>
                    <a:pt x="239" y="293"/>
                  </a:cubicBezTo>
                  <a:cubicBezTo>
                    <a:pt x="236" y="293"/>
                    <a:pt x="234" y="296"/>
                    <a:pt x="234" y="299"/>
                  </a:cubicBezTo>
                  <a:cubicBezTo>
                    <a:pt x="234" y="313"/>
                    <a:pt x="234" y="313"/>
                    <a:pt x="234" y="313"/>
                  </a:cubicBezTo>
                  <a:cubicBezTo>
                    <a:pt x="229" y="313"/>
                    <a:pt x="229" y="313"/>
                    <a:pt x="229" y="313"/>
                  </a:cubicBezTo>
                  <a:cubicBezTo>
                    <a:pt x="220" y="313"/>
                    <a:pt x="212" y="320"/>
                    <a:pt x="212" y="329"/>
                  </a:cubicBezTo>
                  <a:cubicBezTo>
                    <a:pt x="212" y="415"/>
                    <a:pt x="212" y="415"/>
                    <a:pt x="212" y="415"/>
                  </a:cubicBezTo>
                  <a:cubicBezTo>
                    <a:pt x="212" y="424"/>
                    <a:pt x="220" y="432"/>
                    <a:pt x="229" y="432"/>
                  </a:cubicBezTo>
                  <a:cubicBezTo>
                    <a:pt x="249" y="432"/>
                    <a:pt x="249" y="432"/>
                    <a:pt x="249" y="432"/>
                  </a:cubicBezTo>
                  <a:cubicBezTo>
                    <a:pt x="258" y="432"/>
                    <a:pt x="266" y="424"/>
                    <a:pt x="266" y="415"/>
                  </a:cubicBezTo>
                  <a:cubicBezTo>
                    <a:pt x="266" y="329"/>
                    <a:pt x="266" y="329"/>
                    <a:pt x="266" y="329"/>
                  </a:cubicBezTo>
                  <a:cubicBezTo>
                    <a:pt x="266" y="320"/>
                    <a:pt x="258" y="313"/>
                    <a:pt x="249" y="313"/>
                  </a:cubicBezTo>
                  <a:close/>
                  <a:moveTo>
                    <a:pt x="255" y="415"/>
                  </a:moveTo>
                  <a:cubicBezTo>
                    <a:pt x="255" y="418"/>
                    <a:pt x="252" y="421"/>
                    <a:pt x="249" y="421"/>
                  </a:cubicBezTo>
                  <a:cubicBezTo>
                    <a:pt x="229" y="421"/>
                    <a:pt x="229" y="421"/>
                    <a:pt x="229" y="421"/>
                  </a:cubicBezTo>
                  <a:cubicBezTo>
                    <a:pt x="225" y="421"/>
                    <a:pt x="223" y="418"/>
                    <a:pt x="223" y="415"/>
                  </a:cubicBezTo>
                  <a:cubicBezTo>
                    <a:pt x="223" y="329"/>
                    <a:pt x="223" y="329"/>
                    <a:pt x="223" y="329"/>
                  </a:cubicBezTo>
                  <a:cubicBezTo>
                    <a:pt x="223" y="326"/>
                    <a:pt x="225" y="323"/>
                    <a:pt x="229" y="323"/>
                  </a:cubicBezTo>
                  <a:cubicBezTo>
                    <a:pt x="249" y="323"/>
                    <a:pt x="249" y="323"/>
                    <a:pt x="249" y="323"/>
                  </a:cubicBezTo>
                  <a:cubicBezTo>
                    <a:pt x="252" y="323"/>
                    <a:pt x="255" y="326"/>
                    <a:pt x="255" y="329"/>
                  </a:cubicBezTo>
                  <a:lnTo>
                    <a:pt x="255" y="415"/>
                  </a:lnTo>
                  <a:close/>
                  <a:moveTo>
                    <a:pt x="225" y="296"/>
                  </a:moveTo>
                  <a:cubicBezTo>
                    <a:pt x="227" y="296"/>
                    <a:pt x="229" y="295"/>
                    <a:pt x="231" y="295"/>
                  </a:cubicBezTo>
                  <a:cubicBezTo>
                    <a:pt x="240" y="291"/>
                    <a:pt x="246" y="282"/>
                    <a:pt x="244" y="274"/>
                  </a:cubicBezTo>
                  <a:cubicBezTo>
                    <a:pt x="243" y="274"/>
                    <a:pt x="243" y="274"/>
                    <a:pt x="243" y="273"/>
                  </a:cubicBezTo>
                  <a:cubicBezTo>
                    <a:pt x="243" y="272"/>
                    <a:pt x="241" y="265"/>
                    <a:pt x="238" y="256"/>
                  </a:cubicBezTo>
                  <a:cubicBezTo>
                    <a:pt x="226" y="220"/>
                    <a:pt x="202" y="146"/>
                    <a:pt x="196" y="133"/>
                  </a:cubicBezTo>
                  <a:cubicBezTo>
                    <a:pt x="185" y="112"/>
                    <a:pt x="164" y="103"/>
                    <a:pt x="123" y="103"/>
                  </a:cubicBezTo>
                  <a:cubicBezTo>
                    <a:pt x="82" y="103"/>
                    <a:pt x="60" y="112"/>
                    <a:pt x="50" y="133"/>
                  </a:cubicBezTo>
                  <a:cubicBezTo>
                    <a:pt x="44" y="146"/>
                    <a:pt x="20" y="220"/>
                    <a:pt x="8" y="256"/>
                  </a:cubicBezTo>
                  <a:cubicBezTo>
                    <a:pt x="5" y="265"/>
                    <a:pt x="3" y="272"/>
                    <a:pt x="3" y="273"/>
                  </a:cubicBezTo>
                  <a:cubicBezTo>
                    <a:pt x="3" y="274"/>
                    <a:pt x="2" y="274"/>
                    <a:pt x="2" y="274"/>
                  </a:cubicBezTo>
                  <a:cubicBezTo>
                    <a:pt x="0" y="282"/>
                    <a:pt x="6" y="291"/>
                    <a:pt x="15" y="295"/>
                  </a:cubicBezTo>
                  <a:cubicBezTo>
                    <a:pt x="17" y="295"/>
                    <a:pt x="19" y="296"/>
                    <a:pt x="21" y="296"/>
                  </a:cubicBezTo>
                  <a:cubicBezTo>
                    <a:pt x="28" y="296"/>
                    <a:pt x="34" y="292"/>
                    <a:pt x="37" y="286"/>
                  </a:cubicBezTo>
                  <a:cubicBezTo>
                    <a:pt x="62" y="227"/>
                    <a:pt x="62" y="227"/>
                    <a:pt x="62" y="227"/>
                  </a:cubicBezTo>
                  <a:cubicBezTo>
                    <a:pt x="40" y="357"/>
                    <a:pt x="40" y="357"/>
                    <a:pt x="40" y="357"/>
                  </a:cubicBezTo>
                  <a:cubicBezTo>
                    <a:pt x="40" y="358"/>
                    <a:pt x="40" y="360"/>
                    <a:pt x="41" y="361"/>
                  </a:cubicBezTo>
                  <a:cubicBezTo>
                    <a:pt x="42" y="362"/>
                    <a:pt x="43" y="362"/>
                    <a:pt x="44" y="362"/>
                  </a:cubicBezTo>
                  <a:cubicBezTo>
                    <a:pt x="67" y="362"/>
                    <a:pt x="67" y="362"/>
                    <a:pt x="67" y="362"/>
                  </a:cubicBezTo>
                  <a:cubicBezTo>
                    <a:pt x="66" y="395"/>
                    <a:pt x="64" y="466"/>
                    <a:pt x="64" y="469"/>
                  </a:cubicBezTo>
                  <a:cubicBezTo>
                    <a:pt x="64" y="470"/>
                    <a:pt x="64" y="470"/>
                    <a:pt x="64" y="470"/>
                  </a:cubicBezTo>
                  <a:cubicBezTo>
                    <a:pt x="65" y="481"/>
                    <a:pt x="74" y="489"/>
                    <a:pt x="86" y="489"/>
                  </a:cubicBezTo>
                  <a:cubicBezTo>
                    <a:pt x="98" y="489"/>
                    <a:pt x="107" y="481"/>
                    <a:pt x="108" y="470"/>
                  </a:cubicBezTo>
                  <a:cubicBezTo>
                    <a:pt x="121" y="362"/>
                    <a:pt x="121" y="362"/>
                    <a:pt x="121" y="362"/>
                  </a:cubicBezTo>
                  <a:cubicBezTo>
                    <a:pt x="125" y="362"/>
                    <a:pt x="125" y="362"/>
                    <a:pt x="125" y="362"/>
                  </a:cubicBezTo>
                  <a:cubicBezTo>
                    <a:pt x="138" y="470"/>
                    <a:pt x="138" y="470"/>
                    <a:pt x="138" y="470"/>
                  </a:cubicBezTo>
                  <a:cubicBezTo>
                    <a:pt x="139" y="481"/>
                    <a:pt x="148" y="489"/>
                    <a:pt x="160" y="489"/>
                  </a:cubicBezTo>
                  <a:cubicBezTo>
                    <a:pt x="160" y="489"/>
                    <a:pt x="160" y="489"/>
                    <a:pt x="160" y="489"/>
                  </a:cubicBezTo>
                  <a:cubicBezTo>
                    <a:pt x="171" y="489"/>
                    <a:pt x="181" y="481"/>
                    <a:pt x="182" y="470"/>
                  </a:cubicBezTo>
                  <a:cubicBezTo>
                    <a:pt x="182" y="470"/>
                    <a:pt x="182" y="470"/>
                    <a:pt x="182" y="469"/>
                  </a:cubicBezTo>
                  <a:cubicBezTo>
                    <a:pt x="182" y="466"/>
                    <a:pt x="180" y="395"/>
                    <a:pt x="179" y="362"/>
                  </a:cubicBezTo>
                  <a:cubicBezTo>
                    <a:pt x="201" y="362"/>
                    <a:pt x="201" y="362"/>
                    <a:pt x="201" y="362"/>
                  </a:cubicBezTo>
                  <a:cubicBezTo>
                    <a:pt x="204" y="362"/>
                    <a:pt x="206" y="360"/>
                    <a:pt x="206" y="358"/>
                  </a:cubicBezTo>
                  <a:cubicBezTo>
                    <a:pt x="206" y="357"/>
                    <a:pt x="206" y="357"/>
                    <a:pt x="206" y="356"/>
                  </a:cubicBezTo>
                  <a:cubicBezTo>
                    <a:pt x="184" y="227"/>
                    <a:pt x="184" y="227"/>
                    <a:pt x="184" y="227"/>
                  </a:cubicBezTo>
                  <a:cubicBezTo>
                    <a:pt x="209" y="286"/>
                    <a:pt x="209" y="286"/>
                    <a:pt x="209" y="286"/>
                  </a:cubicBezTo>
                  <a:cubicBezTo>
                    <a:pt x="212" y="292"/>
                    <a:pt x="218" y="296"/>
                    <a:pt x="225" y="296"/>
                  </a:cubicBezTo>
                  <a:close/>
                  <a:moveTo>
                    <a:pt x="218" y="282"/>
                  </a:moveTo>
                  <a:cubicBezTo>
                    <a:pt x="177" y="187"/>
                    <a:pt x="177" y="187"/>
                    <a:pt x="177" y="187"/>
                  </a:cubicBezTo>
                  <a:cubicBezTo>
                    <a:pt x="176" y="185"/>
                    <a:pt x="174" y="183"/>
                    <a:pt x="172" y="184"/>
                  </a:cubicBezTo>
                  <a:cubicBezTo>
                    <a:pt x="169" y="185"/>
                    <a:pt x="168" y="187"/>
                    <a:pt x="168" y="189"/>
                  </a:cubicBezTo>
                  <a:cubicBezTo>
                    <a:pt x="196" y="353"/>
                    <a:pt x="196" y="353"/>
                    <a:pt x="196" y="353"/>
                  </a:cubicBezTo>
                  <a:cubicBezTo>
                    <a:pt x="174" y="353"/>
                    <a:pt x="174" y="353"/>
                    <a:pt x="174" y="353"/>
                  </a:cubicBezTo>
                  <a:cubicBezTo>
                    <a:pt x="173" y="353"/>
                    <a:pt x="172" y="354"/>
                    <a:pt x="171" y="354"/>
                  </a:cubicBezTo>
                  <a:cubicBezTo>
                    <a:pt x="170" y="355"/>
                    <a:pt x="169" y="357"/>
                    <a:pt x="170" y="358"/>
                  </a:cubicBezTo>
                  <a:cubicBezTo>
                    <a:pt x="170" y="358"/>
                    <a:pt x="170" y="386"/>
                    <a:pt x="171" y="414"/>
                  </a:cubicBezTo>
                  <a:cubicBezTo>
                    <a:pt x="171" y="428"/>
                    <a:pt x="172" y="442"/>
                    <a:pt x="172" y="452"/>
                  </a:cubicBezTo>
                  <a:cubicBezTo>
                    <a:pt x="172" y="462"/>
                    <a:pt x="172" y="467"/>
                    <a:pt x="173" y="469"/>
                  </a:cubicBezTo>
                  <a:cubicBezTo>
                    <a:pt x="173" y="469"/>
                    <a:pt x="173" y="469"/>
                    <a:pt x="173" y="469"/>
                  </a:cubicBezTo>
                  <a:cubicBezTo>
                    <a:pt x="172" y="475"/>
                    <a:pt x="167" y="480"/>
                    <a:pt x="160" y="480"/>
                  </a:cubicBezTo>
                  <a:cubicBezTo>
                    <a:pt x="160" y="484"/>
                    <a:pt x="160" y="484"/>
                    <a:pt x="160" y="484"/>
                  </a:cubicBezTo>
                  <a:cubicBezTo>
                    <a:pt x="160" y="480"/>
                    <a:pt x="160" y="480"/>
                    <a:pt x="160" y="480"/>
                  </a:cubicBezTo>
                  <a:cubicBezTo>
                    <a:pt x="153" y="480"/>
                    <a:pt x="148" y="475"/>
                    <a:pt x="147" y="469"/>
                  </a:cubicBezTo>
                  <a:cubicBezTo>
                    <a:pt x="134" y="357"/>
                    <a:pt x="134" y="357"/>
                    <a:pt x="134" y="357"/>
                  </a:cubicBezTo>
                  <a:cubicBezTo>
                    <a:pt x="134" y="355"/>
                    <a:pt x="132" y="353"/>
                    <a:pt x="129" y="353"/>
                  </a:cubicBezTo>
                  <a:cubicBezTo>
                    <a:pt x="117" y="353"/>
                    <a:pt x="117" y="353"/>
                    <a:pt x="117" y="353"/>
                  </a:cubicBezTo>
                  <a:cubicBezTo>
                    <a:pt x="114" y="353"/>
                    <a:pt x="112" y="355"/>
                    <a:pt x="112" y="357"/>
                  </a:cubicBezTo>
                  <a:cubicBezTo>
                    <a:pt x="99" y="470"/>
                    <a:pt x="99" y="470"/>
                    <a:pt x="99" y="470"/>
                  </a:cubicBezTo>
                  <a:cubicBezTo>
                    <a:pt x="98" y="475"/>
                    <a:pt x="93" y="480"/>
                    <a:pt x="86" y="480"/>
                  </a:cubicBezTo>
                  <a:cubicBezTo>
                    <a:pt x="79" y="480"/>
                    <a:pt x="74" y="475"/>
                    <a:pt x="73" y="469"/>
                  </a:cubicBezTo>
                  <a:cubicBezTo>
                    <a:pt x="73" y="469"/>
                    <a:pt x="73" y="469"/>
                    <a:pt x="73" y="469"/>
                  </a:cubicBezTo>
                  <a:cubicBezTo>
                    <a:pt x="73" y="468"/>
                    <a:pt x="73" y="467"/>
                    <a:pt x="73" y="465"/>
                  </a:cubicBezTo>
                  <a:cubicBezTo>
                    <a:pt x="74" y="462"/>
                    <a:pt x="74" y="458"/>
                    <a:pt x="74" y="452"/>
                  </a:cubicBezTo>
                  <a:cubicBezTo>
                    <a:pt x="74" y="442"/>
                    <a:pt x="74" y="428"/>
                    <a:pt x="75" y="414"/>
                  </a:cubicBezTo>
                  <a:cubicBezTo>
                    <a:pt x="76" y="386"/>
                    <a:pt x="76" y="358"/>
                    <a:pt x="76" y="358"/>
                  </a:cubicBezTo>
                  <a:cubicBezTo>
                    <a:pt x="76" y="357"/>
                    <a:pt x="76" y="355"/>
                    <a:pt x="75" y="354"/>
                  </a:cubicBezTo>
                  <a:cubicBezTo>
                    <a:pt x="74" y="354"/>
                    <a:pt x="73" y="353"/>
                    <a:pt x="72" y="353"/>
                  </a:cubicBezTo>
                  <a:cubicBezTo>
                    <a:pt x="50" y="353"/>
                    <a:pt x="50" y="353"/>
                    <a:pt x="50" y="353"/>
                  </a:cubicBezTo>
                  <a:cubicBezTo>
                    <a:pt x="77" y="189"/>
                    <a:pt x="77" y="189"/>
                    <a:pt x="77" y="189"/>
                  </a:cubicBezTo>
                  <a:cubicBezTo>
                    <a:pt x="78" y="187"/>
                    <a:pt x="76" y="185"/>
                    <a:pt x="74" y="184"/>
                  </a:cubicBezTo>
                  <a:cubicBezTo>
                    <a:pt x="72" y="183"/>
                    <a:pt x="69" y="185"/>
                    <a:pt x="68" y="187"/>
                  </a:cubicBezTo>
                  <a:cubicBezTo>
                    <a:pt x="28" y="282"/>
                    <a:pt x="28" y="282"/>
                    <a:pt x="28" y="282"/>
                  </a:cubicBezTo>
                  <a:cubicBezTo>
                    <a:pt x="27" y="285"/>
                    <a:pt x="24" y="286"/>
                    <a:pt x="21" y="286"/>
                  </a:cubicBezTo>
                  <a:cubicBezTo>
                    <a:pt x="20" y="286"/>
                    <a:pt x="19" y="286"/>
                    <a:pt x="18" y="286"/>
                  </a:cubicBezTo>
                  <a:cubicBezTo>
                    <a:pt x="13" y="284"/>
                    <a:pt x="11" y="280"/>
                    <a:pt x="11" y="276"/>
                  </a:cubicBezTo>
                  <a:cubicBezTo>
                    <a:pt x="11" y="276"/>
                    <a:pt x="11" y="276"/>
                    <a:pt x="11" y="276"/>
                  </a:cubicBezTo>
                  <a:cubicBezTo>
                    <a:pt x="12" y="275"/>
                    <a:pt x="12" y="274"/>
                    <a:pt x="13" y="272"/>
                  </a:cubicBezTo>
                  <a:cubicBezTo>
                    <a:pt x="14" y="269"/>
                    <a:pt x="15" y="264"/>
                    <a:pt x="17" y="259"/>
                  </a:cubicBezTo>
                  <a:cubicBezTo>
                    <a:pt x="28" y="226"/>
                    <a:pt x="53" y="149"/>
                    <a:pt x="59" y="137"/>
                  </a:cubicBezTo>
                  <a:cubicBezTo>
                    <a:pt x="65" y="125"/>
                    <a:pt x="77" y="113"/>
                    <a:pt x="123" y="113"/>
                  </a:cubicBezTo>
                  <a:cubicBezTo>
                    <a:pt x="169" y="113"/>
                    <a:pt x="181" y="125"/>
                    <a:pt x="187" y="137"/>
                  </a:cubicBezTo>
                  <a:cubicBezTo>
                    <a:pt x="193" y="149"/>
                    <a:pt x="218" y="226"/>
                    <a:pt x="229" y="259"/>
                  </a:cubicBezTo>
                  <a:cubicBezTo>
                    <a:pt x="230" y="264"/>
                    <a:pt x="232" y="269"/>
                    <a:pt x="233" y="272"/>
                  </a:cubicBezTo>
                  <a:cubicBezTo>
                    <a:pt x="234" y="274"/>
                    <a:pt x="234" y="275"/>
                    <a:pt x="234" y="276"/>
                  </a:cubicBezTo>
                  <a:cubicBezTo>
                    <a:pt x="234" y="276"/>
                    <a:pt x="234" y="276"/>
                    <a:pt x="234" y="276"/>
                  </a:cubicBezTo>
                  <a:cubicBezTo>
                    <a:pt x="235" y="280"/>
                    <a:pt x="233" y="284"/>
                    <a:pt x="228" y="286"/>
                  </a:cubicBezTo>
                  <a:cubicBezTo>
                    <a:pt x="227" y="286"/>
                    <a:pt x="226" y="286"/>
                    <a:pt x="225" y="286"/>
                  </a:cubicBezTo>
                  <a:cubicBezTo>
                    <a:pt x="225" y="286"/>
                    <a:pt x="225" y="286"/>
                    <a:pt x="225" y="286"/>
                  </a:cubicBezTo>
                  <a:cubicBezTo>
                    <a:pt x="222" y="286"/>
                    <a:pt x="219" y="285"/>
                    <a:pt x="218" y="282"/>
                  </a:cubicBez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endParaRPr lang="en-US" sz="1836"/>
            </a:p>
          </p:txBody>
        </p:sp>
      </p:grpSp>
      <p:grpSp>
        <p:nvGrpSpPr>
          <p:cNvPr id="5139" name="Group 5138"/>
          <p:cNvGrpSpPr/>
          <p:nvPr/>
        </p:nvGrpSpPr>
        <p:grpSpPr>
          <a:xfrm>
            <a:off x="10105564" y="1528549"/>
            <a:ext cx="1119124" cy="1119124"/>
            <a:chOff x="15182850" y="6272213"/>
            <a:chExt cx="2673350" cy="2673350"/>
          </a:xfrm>
        </p:grpSpPr>
        <p:sp>
          <p:nvSpPr>
            <p:cNvPr id="136" name="Oval 26"/>
            <p:cNvSpPr>
              <a:spLocks noChangeArrowheads="1"/>
            </p:cNvSpPr>
            <p:nvPr/>
          </p:nvSpPr>
          <p:spPr bwMode="auto">
            <a:xfrm>
              <a:off x="15182850" y="6272213"/>
              <a:ext cx="2673350" cy="2673350"/>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218" name="Freeform 49"/>
            <p:cNvSpPr>
              <a:spLocks noEditPoints="1"/>
            </p:cNvSpPr>
            <p:nvPr/>
          </p:nvSpPr>
          <p:spPr bwMode="auto">
            <a:xfrm>
              <a:off x="16055975" y="6691313"/>
              <a:ext cx="976313" cy="1833563"/>
            </a:xfrm>
            <a:custGeom>
              <a:avLst/>
              <a:gdLst>
                <a:gd name="T0" fmla="*/ 169 w 260"/>
                <a:gd name="T1" fmla="*/ 46 h 489"/>
                <a:gd name="T2" fmla="*/ 77 w 260"/>
                <a:gd name="T3" fmla="*/ 46 h 489"/>
                <a:gd name="T4" fmla="*/ 123 w 260"/>
                <a:gd name="T5" fmla="*/ 10 h 489"/>
                <a:gd name="T6" fmla="*/ 123 w 260"/>
                <a:gd name="T7" fmla="*/ 83 h 489"/>
                <a:gd name="T8" fmla="*/ 123 w 260"/>
                <a:gd name="T9" fmla="*/ 10 h 489"/>
                <a:gd name="T10" fmla="*/ 209 w 260"/>
                <a:gd name="T11" fmla="*/ 286 h 489"/>
                <a:gd name="T12" fmla="*/ 232 w 260"/>
                <a:gd name="T13" fmla="*/ 295 h 489"/>
                <a:gd name="T14" fmla="*/ 244 w 260"/>
                <a:gd name="T15" fmla="*/ 274 h 489"/>
                <a:gd name="T16" fmla="*/ 196 w 260"/>
                <a:gd name="T17" fmla="*/ 133 h 489"/>
                <a:gd name="T18" fmla="*/ 51 w 260"/>
                <a:gd name="T19" fmla="*/ 133 h 489"/>
                <a:gd name="T20" fmla="*/ 3 w 260"/>
                <a:gd name="T21" fmla="*/ 274 h 489"/>
                <a:gd name="T22" fmla="*/ 15 w 260"/>
                <a:gd name="T23" fmla="*/ 295 h 489"/>
                <a:gd name="T24" fmla="*/ 37 w 260"/>
                <a:gd name="T25" fmla="*/ 286 h 489"/>
                <a:gd name="T26" fmla="*/ 64 w 260"/>
                <a:gd name="T27" fmla="*/ 470 h 489"/>
                <a:gd name="T28" fmla="*/ 86 w 260"/>
                <a:gd name="T29" fmla="*/ 489 h 489"/>
                <a:gd name="T30" fmla="*/ 123 w 260"/>
                <a:gd name="T31" fmla="*/ 345 h 489"/>
                <a:gd name="T32" fmla="*/ 160 w 260"/>
                <a:gd name="T33" fmla="*/ 489 h 489"/>
                <a:gd name="T34" fmla="*/ 182 w 260"/>
                <a:gd name="T35" fmla="*/ 471 h 489"/>
                <a:gd name="T36" fmla="*/ 176 w 260"/>
                <a:gd name="T37" fmla="*/ 212 h 489"/>
                <a:gd name="T38" fmla="*/ 169 w 260"/>
                <a:gd name="T39" fmla="*/ 184 h 489"/>
                <a:gd name="T40" fmla="*/ 169 w 260"/>
                <a:gd name="T41" fmla="*/ 330 h 489"/>
                <a:gd name="T42" fmla="*/ 172 w 260"/>
                <a:gd name="T43" fmla="*/ 458 h 489"/>
                <a:gd name="T44" fmla="*/ 173 w 260"/>
                <a:gd name="T45" fmla="*/ 470 h 489"/>
                <a:gd name="T46" fmla="*/ 160 w 260"/>
                <a:gd name="T47" fmla="*/ 485 h 489"/>
                <a:gd name="T48" fmla="*/ 147 w 260"/>
                <a:gd name="T49" fmla="*/ 470 h 489"/>
                <a:gd name="T50" fmla="*/ 123 w 260"/>
                <a:gd name="T51" fmla="*/ 300 h 489"/>
                <a:gd name="T52" fmla="*/ 99 w 260"/>
                <a:gd name="T53" fmla="*/ 470 h 489"/>
                <a:gd name="T54" fmla="*/ 74 w 260"/>
                <a:gd name="T55" fmla="*/ 470 h 489"/>
                <a:gd name="T56" fmla="*/ 74 w 260"/>
                <a:gd name="T57" fmla="*/ 458 h 489"/>
                <a:gd name="T58" fmla="*/ 77 w 260"/>
                <a:gd name="T59" fmla="*/ 330 h 489"/>
                <a:gd name="T60" fmla="*/ 77 w 260"/>
                <a:gd name="T61" fmla="*/ 184 h 489"/>
                <a:gd name="T62" fmla="*/ 28 w 260"/>
                <a:gd name="T63" fmla="*/ 282 h 489"/>
                <a:gd name="T64" fmla="*/ 18 w 260"/>
                <a:gd name="T65" fmla="*/ 286 h 489"/>
                <a:gd name="T66" fmla="*/ 12 w 260"/>
                <a:gd name="T67" fmla="*/ 277 h 489"/>
                <a:gd name="T68" fmla="*/ 17 w 260"/>
                <a:gd name="T69" fmla="*/ 260 h 489"/>
                <a:gd name="T70" fmla="*/ 123 w 260"/>
                <a:gd name="T71" fmla="*/ 113 h 489"/>
                <a:gd name="T72" fmla="*/ 229 w 260"/>
                <a:gd name="T73" fmla="*/ 260 h 489"/>
                <a:gd name="T74" fmla="*/ 235 w 260"/>
                <a:gd name="T75" fmla="*/ 277 h 489"/>
                <a:gd name="T76" fmla="*/ 229 w 260"/>
                <a:gd name="T77" fmla="*/ 286 h 489"/>
                <a:gd name="T78" fmla="*/ 218 w 260"/>
                <a:gd name="T79" fmla="*/ 282 h 489"/>
                <a:gd name="T80" fmla="*/ 244 w 260"/>
                <a:gd name="T81" fmla="*/ 322 h 489"/>
                <a:gd name="T82" fmla="*/ 239 w 260"/>
                <a:gd name="T83" fmla="*/ 308 h 489"/>
                <a:gd name="T84" fmla="*/ 228 w 260"/>
                <a:gd name="T85" fmla="*/ 308 h 489"/>
                <a:gd name="T86" fmla="*/ 223 w 260"/>
                <a:gd name="T87" fmla="*/ 322 h 489"/>
                <a:gd name="T88" fmla="*/ 206 w 260"/>
                <a:gd name="T89" fmla="*/ 424 h 489"/>
                <a:gd name="T90" fmla="*/ 244 w 260"/>
                <a:gd name="T91" fmla="*/ 441 h 489"/>
                <a:gd name="T92" fmla="*/ 260 w 260"/>
                <a:gd name="T93" fmla="*/ 338 h 489"/>
                <a:gd name="T94" fmla="*/ 249 w 260"/>
                <a:gd name="T95" fmla="*/ 424 h 489"/>
                <a:gd name="T96" fmla="*/ 223 w 260"/>
                <a:gd name="T97" fmla="*/ 430 h 489"/>
                <a:gd name="T98" fmla="*/ 217 w 260"/>
                <a:gd name="T99" fmla="*/ 338 h 489"/>
                <a:gd name="T100" fmla="*/ 244 w 260"/>
                <a:gd name="T101" fmla="*/ 332 h 489"/>
                <a:gd name="T102" fmla="*/ 249 w 260"/>
                <a:gd name="T103" fmla="*/ 424 h 4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60" h="489">
                  <a:moveTo>
                    <a:pt x="123" y="93"/>
                  </a:moveTo>
                  <a:cubicBezTo>
                    <a:pt x="149" y="93"/>
                    <a:pt x="169" y="72"/>
                    <a:pt x="169" y="46"/>
                  </a:cubicBezTo>
                  <a:cubicBezTo>
                    <a:pt x="169" y="21"/>
                    <a:pt x="149" y="0"/>
                    <a:pt x="123" y="0"/>
                  </a:cubicBezTo>
                  <a:cubicBezTo>
                    <a:pt x="98" y="0"/>
                    <a:pt x="77" y="21"/>
                    <a:pt x="77" y="46"/>
                  </a:cubicBezTo>
                  <a:cubicBezTo>
                    <a:pt x="77" y="72"/>
                    <a:pt x="98" y="93"/>
                    <a:pt x="123" y="93"/>
                  </a:cubicBezTo>
                  <a:close/>
                  <a:moveTo>
                    <a:pt x="123" y="10"/>
                  </a:moveTo>
                  <a:cubicBezTo>
                    <a:pt x="144" y="10"/>
                    <a:pt x="160" y="26"/>
                    <a:pt x="160" y="46"/>
                  </a:cubicBezTo>
                  <a:cubicBezTo>
                    <a:pt x="160" y="67"/>
                    <a:pt x="144" y="83"/>
                    <a:pt x="123" y="83"/>
                  </a:cubicBezTo>
                  <a:cubicBezTo>
                    <a:pt x="103" y="83"/>
                    <a:pt x="86" y="67"/>
                    <a:pt x="86" y="46"/>
                  </a:cubicBezTo>
                  <a:cubicBezTo>
                    <a:pt x="86" y="26"/>
                    <a:pt x="103" y="10"/>
                    <a:pt x="123" y="10"/>
                  </a:cubicBezTo>
                  <a:close/>
                  <a:moveTo>
                    <a:pt x="176" y="212"/>
                  </a:moveTo>
                  <a:cubicBezTo>
                    <a:pt x="209" y="286"/>
                    <a:pt x="209" y="286"/>
                    <a:pt x="209" y="286"/>
                  </a:cubicBezTo>
                  <a:cubicBezTo>
                    <a:pt x="212" y="292"/>
                    <a:pt x="218" y="296"/>
                    <a:pt x="225" y="296"/>
                  </a:cubicBezTo>
                  <a:cubicBezTo>
                    <a:pt x="227" y="296"/>
                    <a:pt x="230" y="296"/>
                    <a:pt x="232" y="295"/>
                  </a:cubicBezTo>
                  <a:cubicBezTo>
                    <a:pt x="241" y="292"/>
                    <a:pt x="246" y="283"/>
                    <a:pt x="244" y="274"/>
                  </a:cubicBezTo>
                  <a:cubicBezTo>
                    <a:pt x="244" y="274"/>
                    <a:pt x="244" y="274"/>
                    <a:pt x="244" y="274"/>
                  </a:cubicBezTo>
                  <a:cubicBezTo>
                    <a:pt x="243" y="273"/>
                    <a:pt x="241" y="266"/>
                    <a:pt x="238" y="257"/>
                  </a:cubicBezTo>
                  <a:cubicBezTo>
                    <a:pt x="226" y="221"/>
                    <a:pt x="202" y="146"/>
                    <a:pt x="196" y="133"/>
                  </a:cubicBezTo>
                  <a:cubicBezTo>
                    <a:pt x="186" y="112"/>
                    <a:pt x="164" y="104"/>
                    <a:pt x="123" y="104"/>
                  </a:cubicBezTo>
                  <a:cubicBezTo>
                    <a:pt x="82" y="104"/>
                    <a:pt x="61" y="112"/>
                    <a:pt x="51" y="133"/>
                  </a:cubicBezTo>
                  <a:cubicBezTo>
                    <a:pt x="44" y="146"/>
                    <a:pt x="20" y="221"/>
                    <a:pt x="8" y="257"/>
                  </a:cubicBezTo>
                  <a:cubicBezTo>
                    <a:pt x="6" y="265"/>
                    <a:pt x="3" y="273"/>
                    <a:pt x="3" y="274"/>
                  </a:cubicBezTo>
                  <a:cubicBezTo>
                    <a:pt x="3" y="274"/>
                    <a:pt x="3" y="274"/>
                    <a:pt x="3" y="274"/>
                  </a:cubicBezTo>
                  <a:cubicBezTo>
                    <a:pt x="0" y="283"/>
                    <a:pt x="6" y="292"/>
                    <a:pt x="15" y="295"/>
                  </a:cubicBezTo>
                  <a:cubicBezTo>
                    <a:pt x="17" y="296"/>
                    <a:pt x="19" y="296"/>
                    <a:pt x="21" y="296"/>
                  </a:cubicBezTo>
                  <a:cubicBezTo>
                    <a:pt x="28" y="296"/>
                    <a:pt x="34" y="292"/>
                    <a:pt x="37" y="286"/>
                  </a:cubicBezTo>
                  <a:cubicBezTo>
                    <a:pt x="71" y="212"/>
                    <a:pt x="71" y="212"/>
                    <a:pt x="71" y="212"/>
                  </a:cubicBezTo>
                  <a:cubicBezTo>
                    <a:pt x="68" y="310"/>
                    <a:pt x="65" y="463"/>
                    <a:pt x="64" y="470"/>
                  </a:cubicBezTo>
                  <a:cubicBezTo>
                    <a:pt x="64" y="470"/>
                    <a:pt x="64" y="470"/>
                    <a:pt x="64" y="471"/>
                  </a:cubicBezTo>
                  <a:cubicBezTo>
                    <a:pt x="65" y="481"/>
                    <a:pt x="75" y="489"/>
                    <a:pt x="86" y="489"/>
                  </a:cubicBezTo>
                  <a:cubicBezTo>
                    <a:pt x="98" y="489"/>
                    <a:pt x="108" y="481"/>
                    <a:pt x="108" y="471"/>
                  </a:cubicBezTo>
                  <a:cubicBezTo>
                    <a:pt x="123" y="345"/>
                    <a:pt x="123" y="345"/>
                    <a:pt x="123" y="345"/>
                  </a:cubicBezTo>
                  <a:cubicBezTo>
                    <a:pt x="138" y="471"/>
                    <a:pt x="138" y="471"/>
                    <a:pt x="138" y="471"/>
                  </a:cubicBezTo>
                  <a:cubicBezTo>
                    <a:pt x="139" y="481"/>
                    <a:pt x="149" y="489"/>
                    <a:pt x="160" y="489"/>
                  </a:cubicBezTo>
                  <a:cubicBezTo>
                    <a:pt x="160" y="489"/>
                    <a:pt x="160" y="489"/>
                    <a:pt x="160" y="489"/>
                  </a:cubicBezTo>
                  <a:cubicBezTo>
                    <a:pt x="172" y="489"/>
                    <a:pt x="181" y="481"/>
                    <a:pt x="182" y="471"/>
                  </a:cubicBezTo>
                  <a:cubicBezTo>
                    <a:pt x="182" y="470"/>
                    <a:pt x="182" y="470"/>
                    <a:pt x="182" y="470"/>
                  </a:cubicBezTo>
                  <a:cubicBezTo>
                    <a:pt x="182" y="463"/>
                    <a:pt x="178" y="310"/>
                    <a:pt x="176" y="212"/>
                  </a:cubicBezTo>
                  <a:close/>
                  <a:moveTo>
                    <a:pt x="175" y="187"/>
                  </a:moveTo>
                  <a:cubicBezTo>
                    <a:pt x="174" y="185"/>
                    <a:pt x="172" y="184"/>
                    <a:pt x="169" y="184"/>
                  </a:cubicBezTo>
                  <a:cubicBezTo>
                    <a:pt x="167" y="185"/>
                    <a:pt x="166" y="187"/>
                    <a:pt x="166" y="189"/>
                  </a:cubicBezTo>
                  <a:cubicBezTo>
                    <a:pt x="166" y="189"/>
                    <a:pt x="167" y="259"/>
                    <a:pt x="169" y="330"/>
                  </a:cubicBezTo>
                  <a:cubicBezTo>
                    <a:pt x="170" y="365"/>
                    <a:pt x="171" y="400"/>
                    <a:pt x="172" y="426"/>
                  </a:cubicBezTo>
                  <a:cubicBezTo>
                    <a:pt x="172" y="439"/>
                    <a:pt x="172" y="450"/>
                    <a:pt x="172" y="458"/>
                  </a:cubicBezTo>
                  <a:cubicBezTo>
                    <a:pt x="173" y="464"/>
                    <a:pt x="173" y="468"/>
                    <a:pt x="173" y="470"/>
                  </a:cubicBezTo>
                  <a:cubicBezTo>
                    <a:pt x="173" y="470"/>
                    <a:pt x="173" y="470"/>
                    <a:pt x="173" y="470"/>
                  </a:cubicBezTo>
                  <a:cubicBezTo>
                    <a:pt x="172" y="475"/>
                    <a:pt x="167" y="480"/>
                    <a:pt x="160" y="480"/>
                  </a:cubicBezTo>
                  <a:cubicBezTo>
                    <a:pt x="160" y="485"/>
                    <a:pt x="160" y="485"/>
                    <a:pt x="160" y="485"/>
                  </a:cubicBezTo>
                  <a:cubicBezTo>
                    <a:pt x="160" y="480"/>
                    <a:pt x="160" y="480"/>
                    <a:pt x="160" y="480"/>
                  </a:cubicBezTo>
                  <a:cubicBezTo>
                    <a:pt x="153" y="480"/>
                    <a:pt x="148" y="476"/>
                    <a:pt x="147" y="470"/>
                  </a:cubicBezTo>
                  <a:cubicBezTo>
                    <a:pt x="128" y="305"/>
                    <a:pt x="128" y="305"/>
                    <a:pt x="128" y="305"/>
                  </a:cubicBezTo>
                  <a:cubicBezTo>
                    <a:pt x="128" y="302"/>
                    <a:pt x="126" y="300"/>
                    <a:pt x="123" y="300"/>
                  </a:cubicBezTo>
                  <a:cubicBezTo>
                    <a:pt x="121" y="300"/>
                    <a:pt x="119" y="302"/>
                    <a:pt x="119" y="305"/>
                  </a:cubicBezTo>
                  <a:cubicBezTo>
                    <a:pt x="99" y="470"/>
                    <a:pt x="99" y="470"/>
                    <a:pt x="99" y="470"/>
                  </a:cubicBezTo>
                  <a:cubicBezTo>
                    <a:pt x="99" y="476"/>
                    <a:pt x="93" y="480"/>
                    <a:pt x="86" y="480"/>
                  </a:cubicBezTo>
                  <a:cubicBezTo>
                    <a:pt x="80" y="480"/>
                    <a:pt x="74" y="475"/>
                    <a:pt x="74" y="470"/>
                  </a:cubicBezTo>
                  <a:cubicBezTo>
                    <a:pt x="74" y="469"/>
                    <a:pt x="74" y="468"/>
                    <a:pt x="74" y="467"/>
                  </a:cubicBezTo>
                  <a:cubicBezTo>
                    <a:pt x="74" y="465"/>
                    <a:pt x="74" y="462"/>
                    <a:pt x="74" y="458"/>
                  </a:cubicBezTo>
                  <a:cubicBezTo>
                    <a:pt x="74" y="451"/>
                    <a:pt x="74" y="440"/>
                    <a:pt x="75" y="426"/>
                  </a:cubicBezTo>
                  <a:cubicBezTo>
                    <a:pt x="75" y="400"/>
                    <a:pt x="76" y="365"/>
                    <a:pt x="77" y="330"/>
                  </a:cubicBezTo>
                  <a:cubicBezTo>
                    <a:pt x="79" y="259"/>
                    <a:pt x="81" y="189"/>
                    <a:pt x="81" y="189"/>
                  </a:cubicBezTo>
                  <a:cubicBezTo>
                    <a:pt x="81" y="187"/>
                    <a:pt x="79" y="185"/>
                    <a:pt x="77" y="184"/>
                  </a:cubicBezTo>
                  <a:cubicBezTo>
                    <a:pt x="75" y="184"/>
                    <a:pt x="73" y="185"/>
                    <a:pt x="72" y="187"/>
                  </a:cubicBezTo>
                  <a:cubicBezTo>
                    <a:pt x="28" y="282"/>
                    <a:pt x="28" y="282"/>
                    <a:pt x="28" y="282"/>
                  </a:cubicBezTo>
                  <a:cubicBezTo>
                    <a:pt x="27" y="285"/>
                    <a:pt x="25" y="287"/>
                    <a:pt x="21" y="287"/>
                  </a:cubicBezTo>
                  <a:cubicBezTo>
                    <a:pt x="20" y="287"/>
                    <a:pt x="19" y="286"/>
                    <a:pt x="18" y="286"/>
                  </a:cubicBezTo>
                  <a:cubicBezTo>
                    <a:pt x="14" y="285"/>
                    <a:pt x="11" y="280"/>
                    <a:pt x="12" y="277"/>
                  </a:cubicBezTo>
                  <a:cubicBezTo>
                    <a:pt x="12" y="277"/>
                    <a:pt x="12" y="277"/>
                    <a:pt x="12" y="277"/>
                  </a:cubicBezTo>
                  <a:cubicBezTo>
                    <a:pt x="12" y="276"/>
                    <a:pt x="13" y="274"/>
                    <a:pt x="13" y="272"/>
                  </a:cubicBezTo>
                  <a:cubicBezTo>
                    <a:pt x="14" y="269"/>
                    <a:pt x="16" y="265"/>
                    <a:pt x="17" y="260"/>
                  </a:cubicBezTo>
                  <a:cubicBezTo>
                    <a:pt x="28" y="227"/>
                    <a:pt x="53" y="150"/>
                    <a:pt x="59" y="137"/>
                  </a:cubicBezTo>
                  <a:cubicBezTo>
                    <a:pt x="65" y="125"/>
                    <a:pt x="77" y="113"/>
                    <a:pt x="123" y="113"/>
                  </a:cubicBezTo>
                  <a:cubicBezTo>
                    <a:pt x="169" y="113"/>
                    <a:pt x="182" y="125"/>
                    <a:pt x="187" y="137"/>
                  </a:cubicBezTo>
                  <a:cubicBezTo>
                    <a:pt x="193" y="150"/>
                    <a:pt x="218" y="227"/>
                    <a:pt x="229" y="260"/>
                  </a:cubicBezTo>
                  <a:cubicBezTo>
                    <a:pt x="231" y="265"/>
                    <a:pt x="232" y="269"/>
                    <a:pt x="233" y="272"/>
                  </a:cubicBezTo>
                  <a:cubicBezTo>
                    <a:pt x="234" y="274"/>
                    <a:pt x="234" y="276"/>
                    <a:pt x="235" y="277"/>
                  </a:cubicBezTo>
                  <a:cubicBezTo>
                    <a:pt x="235" y="277"/>
                    <a:pt x="235" y="277"/>
                    <a:pt x="235" y="277"/>
                  </a:cubicBezTo>
                  <a:cubicBezTo>
                    <a:pt x="236" y="280"/>
                    <a:pt x="233" y="285"/>
                    <a:pt x="229" y="286"/>
                  </a:cubicBezTo>
                  <a:cubicBezTo>
                    <a:pt x="227" y="286"/>
                    <a:pt x="226" y="287"/>
                    <a:pt x="225" y="287"/>
                  </a:cubicBezTo>
                  <a:cubicBezTo>
                    <a:pt x="222" y="287"/>
                    <a:pt x="219" y="285"/>
                    <a:pt x="218" y="282"/>
                  </a:cubicBezTo>
                  <a:lnTo>
                    <a:pt x="175" y="187"/>
                  </a:lnTo>
                  <a:close/>
                  <a:moveTo>
                    <a:pt x="244" y="322"/>
                  </a:moveTo>
                  <a:cubicBezTo>
                    <a:pt x="239" y="322"/>
                    <a:pt x="239" y="322"/>
                    <a:pt x="239" y="322"/>
                  </a:cubicBezTo>
                  <a:cubicBezTo>
                    <a:pt x="239" y="308"/>
                    <a:pt x="239" y="308"/>
                    <a:pt x="239" y="308"/>
                  </a:cubicBezTo>
                  <a:cubicBezTo>
                    <a:pt x="239" y="305"/>
                    <a:pt x="236" y="302"/>
                    <a:pt x="233" y="302"/>
                  </a:cubicBezTo>
                  <a:cubicBezTo>
                    <a:pt x="230" y="302"/>
                    <a:pt x="228" y="305"/>
                    <a:pt x="228" y="308"/>
                  </a:cubicBezTo>
                  <a:cubicBezTo>
                    <a:pt x="228" y="322"/>
                    <a:pt x="228" y="322"/>
                    <a:pt x="228" y="322"/>
                  </a:cubicBezTo>
                  <a:cubicBezTo>
                    <a:pt x="223" y="322"/>
                    <a:pt x="223" y="322"/>
                    <a:pt x="223" y="322"/>
                  </a:cubicBezTo>
                  <a:cubicBezTo>
                    <a:pt x="214" y="322"/>
                    <a:pt x="206" y="329"/>
                    <a:pt x="206" y="338"/>
                  </a:cubicBezTo>
                  <a:cubicBezTo>
                    <a:pt x="206" y="424"/>
                    <a:pt x="206" y="424"/>
                    <a:pt x="206" y="424"/>
                  </a:cubicBezTo>
                  <a:cubicBezTo>
                    <a:pt x="206" y="433"/>
                    <a:pt x="214" y="441"/>
                    <a:pt x="223" y="441"/>
                  </a:cubicBezTo>
                  <a:cubicBezTo>
                    <a:pt x="244" y="441"/>
                    <a:pt x="244" y="441"/>
                    <a:pt x="244" y="441"/>
                  </a:cubicBezTo>
                  <a:cubicBezTo>
                    <a:pt x="253" y="441"/>
                    <a:pt x="260" y="433"/>
                    <a:pt x="260" y="424"/>
                  </a:cubicBezTo>
                  <a:cubicBezTo>
                    <a:pt x="260" y="338"/>
                    <a:pt x="260" y="338"/>
                    <a:pt x="260" y="338"/>
                  </a:cubicBezTo>
                  <a:cubicBezTo>
                    <a:pt x="260" y="329"/>
                    <a:pt x="253" y="322"/>
                    <a:pt x="244" y="322"/>
                  </a:cubicBezTo>
                  <a:close/>
                  <a:moveTo>
                    <a:pt x="249" y="424"/>
                  </a:moveTo>
                  <a:cubicBezTo>
                    <a:pt x="249" y="427"/>
                    <a:pt x="247" y="430"/>
                    <a:pt x="244" y="430"/>
                  </a:cubicBezTo>
                  <a:cubicBezTo>
                    <a:pt x="223" y="430"/>
                    <a:pt x="223" y="430"/>
                    <a:pt x="223" y="430"/>
                  </a:cubicBezTo>
                  <a:cubicBezTo>
                    <a:pt x="220" y="430"/>
                    <a:pt x="217" y="427"/>
                    <a:pt x="217" y="424"/>
                  </a:cubicBezTo>
                  <a:cubicBezTo>
                    <a:pt x="217" y="338"/>
                    <a:pt x="217" y="338"/>
                    <a:pt x="217" y="338"/>
                  </a:cubicBezTo>
                  <a:cubicBezTo>
                    <a:pt x="217" y="335"/>
                    <a:pt x="220" y="332"/>
                    <a:pt x="223" y="332"/>
                  </a:cubicBezTo>
                  <a:cubicBezTo>
                    <a:pt x="244" y="332"/>
                    <a:pt x="244" y="332"/>
                    <a:pt x="244" y="332"/>
                  </a:cubicBezTo>
                  <a:cubicBezTo>
                    <a:pt x="247" y="332"/>
                    <a:pt x="249" y="335"/>
                    <a:pt x="249" y="338"/>
                  </a:cubicBezTo>
                  <a:lnTo>
                    <a:pt x="249" y="424"/>
                  </a:ln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endParaRPr lang="en-US" sz="1836"/>
            </a:p>
          </p:txBody>
        </p:sp>
      </p:grpSp>
      <p:grpSp>
        <p:nvGrpSpPr>
          <p:cNvPr id="5137" name="Group 5136"/>
          <p:cNvGrpSpPr/>
          <p:nvPr/>
        </p:nvGrpSpPr>
        <p:grpSpPr>
          <a:xfrm>
            <a:off x="6589621" y="1528549"/>
            <a:ext cx="1119124" cy="1119124"/>
            <a:chOff x="12190413" y="9193213"/>
            <a:chExt cx="2678113" cy="2673350"/>
          </a:xfrm>
        </p:grpSpPr>
        <p:sp>
          <p:nvSpPr>
            <p:cNvPr id="139" name="Oval 29"/>
            <p:cNvSpPr>
              <a:spLocks noChangeArrowheads="1"/>
            </p:cNvSpPr>
            <p:nvPr/>
          </p:nvSpPr>
          <p:spPr bwMode="auto">
            <a:xfrm>
              <a:off x="12190413" y="9193213"/>
              <a:ext cx="2678113" cy="2673350"/>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219" name="Freeform 50"/>
            <p:cNvSpPr>
              <a:spLocks noEditPoints="1"/>
            </p:cNvSpPr>
            <p:nvPr/>
          </p:nvSpPr>
          <p:spPr bwMode="auto">
            <a:xfrm>
              <a:off x="13068300" y="9612313"/>
              <a:ext cx="922338" cy="1833563"/>
            </a:xfrm>
            <a:custGeom>
              <a:avLst/>
              <a:gdLst>
                <a:gd name="T0" fmla="*/ 238 w 246"/>
                <a:gd name="T1" fmla="*/ 256 h 489"/>
                <a:gd name="T2" fmla="*/ 50 w 246"/>
                <a:gd name="T3" fmla="*/ 133 h 489"/>
                <a:gd name="T4" fmla="*/ 2 w 246"/>
                <a:gd name="T5" fmla="*/ 274 h 489"/>
                <a:gd name="T6" fmla="*/ 37 w 246"/>
                <a:gd name="T7" fmla="*/ 286 h 489"/>
                <a:gd name="T8" fmla="*/ 41 w 246"/>
                <a:gd name="T9" fmla="*/ 360 h 489"/>
                <a:gd name="T10" fmla="*/ 64 w 246"/>
                <a:gd name="T11" fmla="*/ 469 h 489"/>
                <a:gd name="T12" fmla="*/ 108 w 246"/>
                <a:gd name="T13" fmla="*/ 470 h 489"/>
                <a:gd name="T14" fmla="*/ 138 w 246"/>
                <a:gd name="T15" fmla="*/ 470 h 489"/>
                <a:gd name="T16" fmla="*/ 182 w 246"/>
                <a:gd name="T17" fmla="*/ 470 h 489"/>
                <a:gd name="T18" fmla="*/ 202 w 246"/>
                <a:gd name="T19" fmla="*/ 362 h 489"/>
                <a:gd name="T20" fmla="*/ 184 w 246"/>
                <a:gd name="T21" fmla="*/ 227 h 489"/>
                <a:gd name="T22" fmla="*/ 225 w 246"/>
                <a:gd name="T23" fmla="*/ 295 h 489"/>
                <a:gd name="T24" fmla="*/ 228 w 246"/>
                <a:gd name="T25" fmla="*/ 285 h 489"/>
                <a:gd name="T26" fmla="*/ 218 w 246"/>
                <a:gd name="T27" fmla="*/ 282 h 489"/>
                <a:gd name="T28" fmla="*/ 169 w 246"/>
                <a:gd name="T29" fmla="*/ 189 h 489"/>
                <a:gd name="T30" fmla="*/ 171 w 246"/>
                <a:gd name="T31" fmla="*/ 354 h 489"/>
                <a:gd name="T32" fmla="*/ 172 w 246"/>
                <a:gd name="T33" fmla="*/ 452 h 489"/>
                <a:gd name="T34" fmla="*/ 160 w 246"/>
                <a:gd name="T35" fmla="*/ 479 h 489"/>
                <a:gd name="T36" fmla="*/ 147 w 246"/>
                <a:gd name="T37" fmla="*/ 469 h 489"/>
                <a:gd name="T38" fmla="*/ 117 w 246"/>
                <a:gd name="T39" fmla="*/ 353 h 489"/>
                <a:gd name="T40" fmla="*/ 86 w 246"/>
                <a:gd name="T41" fmla="*/ 479 h 489"/>
                <a:gd name="T42" fmla="*/ 74 w 246"/>
                <a:gd name="T43" fmla="*/ 465 h 489"/>
                <a:gd name="T44" fmla="*/ 76 w 246"/>
                <a:gd name="T45" fmla="*/ 358 h 489"/>
                <a:gd name="T46" fmla="*/ 50 w 246"/>
                <a:gd name="T47" fmla="*/ 353 h 489"/>
                <a:gd name="T48" fmla="*/ 69 w 246"/>
                <a:gd name="T49" fmla="*/ 187 h 489"/>
                <a:gd name="T50" fmla="*/ 18 w 246"/>
                <a:gd name="T51" fmla="*/ 285 h 489"/>
                <a:gd name="T52" fmla="*/ 13 w 246"/>
                <a:gd name="T53" fmla="*/ 272 h 489"/>
                <a:gd name="T54" fmla="*/ 123 w 246"/>
                <a:gd name="T55" fmla="*/ 112 h 489"/>
                <a:gd name="T56" fmla="*/ 233 w 246"/>
                <a:gd name="T57" fmla="*/ 272 h 489"/>
                <a:gd name="T58" fmla="*/ 228 w 246"/>
                <a:gd name="T59" fmla="*/ 285 h 489"/>
                <a:gd name="T60" fmla="*/ 139 w 246"/>
                <a:gd name="T61" fmla="*/ 153 h 489"/>
                <a:gd name="T62" fmla="*/ 115 w 246"/>
                <a:gd name="T63" fmla="*/ 142 h 489"/>
                <a:gd name="T64" fmla="*/ 98 w 246"/>
                <a:gd name="T65" fmla="*/ 153 h 489"/>
                <a:gd name="T66" fmla="*/ 111 w 246"/>
                <a:gd name="T67" fmla="*/ 216 h 489"/>
                <a:gd name="T68" fmla="*/ 128 w 246"/>
                <a:gd name="T69" fmla="*/ 205 h 489"/>
                <a:gd name="T70" fmla="*/ 156 w 246"/>
                <a:gd name="T71" fmla="*/ 142 h 489"/>
                <a:gd name="T72" fmla="*/ 100 w 246"/>
                <a:gd name="T73" fmla="*/ 142 h 489"/>
                <a:gd name="T74" fmla="*/ 102 w 246"/>
                <a:gd name="T75" fmla="*/ 145 h 489"/>
                <a:gd name="T76" fmla="*/ 123 w 246"/>
                <a:gd name="T77" fmla="*/ 213 h 489"/>
                <a:gd name="T78" fmla="*/ 144 w 246"/>
                <a:gd name="T79" fmla="*/ 145 h 489"/>
                <a:gd name="T80" fmla="*/ 146 w 246"/>
                <a:gd name="T81" fmla="*/ 142 h 489"/>
                <a:gd name="T82" fmla="*/ 169 w 246"/>
                <a:gd name="T83" fmla="*/ 46 h 489"/>
                <a:gd name="T84" fmla="*/ 123 w 246"/>
                <a:gd name="T85" fmla="*/ 93 h 489"/>
                <a:gd name="T86" fmla="*/ 123 w 246"/>
                <a:gd name="T87" fmla="*/ 83 h 4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46" h="489">
                  <a:moveTo>
                    <a:pt x="244" y="274"/>
                  </a:moveTo>
                  <a:cubicBezTo>
                    <a:pt x="244" y="274"/>
                    <a:pt x="243" y="273"/>
                    <a:pt x="243" y="273"/>
                  </a:cubicBezTo>
                  <a:cubicBezTo>
                    <a:pt x="243" y="272"/>
                    <a:pt x="241" y="265"/>
                    <a:pt x="238" y="256"/>
                  </a:cubicBezTo>
                  <a:cubicBezTo>
                    <a:pt x="226" y="220"/>
                    <a:pt x="202" y="146"/>
                    <a:pt x="196" y="133"/>
                  </a:cubicBezTo>
                  <a:cubicBezTo>
                    <a:pt x="186" y="112"/>
                    <a:pt x="164" y="103"/>
                    <a:pt x="123" y="103"/>
                  </a:cubicBezTo>
                  <a:cubicBezTo>
                    <a:pt x="82" y="103"/>
                    <a:pt x="60" y="112"/>
                    <a:pt x="50" y="133"/>
                  </a:cubicBezTo>
                  <a:cubicBezTo>
                    <a:pt x="44" y="146"/>
                    <a:pt x="20" y="220"/>
                    <a:pt x="8" y="256"/>
                  </a:cubicBezTo>
                  <a:cubicBezTo>
                    <a:pt x="5" y="265"/>
                    <a:pt x="3" y="272"/>
                    <a:pt x="3" y="273"/>
                  </a:cubicBezTo>
                  <a:cubicBezTo>
                    <a:pt x="3" y="273"/>
                    <a:pt x="3" y="274"/>
                    <a:pt x="2" y="274"/>
                  </a:cubicBezTo>
                  <a:cubicBezTo>
                    <a:pt x="0" y="282"/>
                    <a:pt x="6" y="291"/>
                    <a:pt x="15" y="294"/>
                  </a:cubicBezTo>
                  <a:cubicBezTo>
                    <a:pt x="17" y="295"/>
                    <a:pt x="19" y="295"/>
                    <a:pt x="21" y="295"/>
                  </a:cubicBezTo>
                  <a:cubicBezTo>
                    <a:pt x="28" y="295"/>
                    <a:pt x="34" y="292"/>
                    <a:pt x="37" y="286"/>
                  </a:cubicBezTo>
                  <a:cubicBezTo>
                    <a:pt x="62" y="227"/>
                    <a:pt x="62" y="227"/>
                    <a:pt x="62" y="227"/>
                  </a:cubicBezTo>
                  <a:cubicBezTo>
                    <a:pt x="40" y="357"/>
                    <a:pt x="40" y="357"/>
                    <a:pt x="40" y="357"/>
                  </a:cubicBezTo>
                  <a:cubicBezTo>
                    <a:pt x="40" y="358"/>
                    <a:pt x="40" y="359"/>
                    <a:pt x="41" y="360"/>
                  </a:cubicBezTo>
                  <a:cubicBezTo>
                    <a:pt x="42" y="361"/>
                    <a:pt x="43" y="362"/>
                    <a:pt x="45" y="362"/>
                  </a:cubicBezTo>
                  <a:cubicBezTo>
                    <a:pt x="67" y="362"/>
                    <a:pt x="67" y="362"/>
                    <a:pt x="67" y="362"/>
                  </a:cubicBezTo>
                  <a:cubicBezTo>
                    <a:pt x="66" y="395"/>
                    <a:pt x="64" y="465"/>
                    <a:pt x="64" y="469"/>
                  </a:cubicBezTo>
                  <a:cubicBezTo>
                    <a:pt x="64" y="469"/>
                    <a:pt x="64" y="470"/>
                    <a:pt x="64" y="470"/>
                  </a:cubicBezTo>
                  <a:cubicBezTo>
                    <a:pt x="65" y="480"/>
                    <a:pt x="75" y="489"/>
                    <a:pt x="86" y="489"/>
                  </a:cubicBezTo>
                  <a:cubicBezTo>
                    <a:pt x="98" y="489"/>
                    <a:pt x="107" y="480"/>
                    <a:pt x="108" y="470"/>
                  </a:cubicBezTo>
                  <a:cubicBezTo>
                    <a:pt x="121" y="362"/>
                    <a:pt x="121" y="362"/>
                    <a:pt x="121" y="362"/>
                  </a:cubicBezTo>
                  <a:cubicBezTo>
                    <a:pt x="125" y="362"/>
                    <a:pt x="125" y="362"/>
                    <a:pt x="125" y="362"/>
                  </a:cubicBezTo>
                  <a:cubicBezTo>
                    <a:pt x="138" y="470"/>
                    <a:pt x="138" y="470"/>
                    <a:pt x="138" y="470"/>
                  </a:cubicBezTo>
                  <a:cubicBezTo>
                    <a:pt x="139" y="480"/>
                    <a:pt x="148" y="489"/>
                    <a:pt x="160" y="489"/>
                  </a:cubicBezTo>
                  <a:cubicBezTo>
                    <a:pt x="160" y="489"/>
                    <a:pt x="160" y="489"/>
                    <a:pt x="160" y="489"/>
                  </a:cubicBezTo>
                  <a:cubicBezTo>
                    <a:pt x="172" y="489"/>
                    <a:pt x="181" y="480"/>
                    <a:pt x="182" y="470"/>
                  </a:cubicBezTo>
                  <a:cubicBezTo>
                    <a:pt x="182" y="470"/>
                    <a:pt x="182" y="469"/>
                    <a:pt x="182" y="469"/>
                  </a:cubicBezTo>
                  <a:cubicBezTo>
                    <a:pt x="182" y="465"/>
                    <a:pt x="180" y="395"/>
                    <a:pt x="179" y="362"/>
                  </a:cubicBezTo>
                  <a:cubicBezTo>
                    <a:pt x="202" y="362"/>
                    <a:pt x="202" y="362"/>
                    <a:pt x="202" y="362"/>
                  </a:cubicBezTo>
                  <a:cubicBezTo>
                    <a:pt x="204" y="362"/>
                    <a:pt x="206" y="360"/>
                    <a:pt x="206" y="357"/>
                  </a:cubicBezTo>
                  <a:cubicBezTo>
                    <a:pt x="206" y="357"/>
                    <a:pt x="206" y="356"/>
                    <a:pt x="206" y="356"/>
                  </a:cubicBezTo>
                  <a:cubicBezTo>
                    <a:pt x="184" y="227"/>
                    <a:pt x="184" y="227"/>
                    <a:pt x="184" y="227"/>
                  </a:cubicBezTo>
                  <a:cubicBezTo>
                    <a:pt x="209" y="286"/>
                    <a:pt x="209" y="286"/>
                    <a:pt x="209" y="286"/>
                  </a:cubicBezTo>
                  <a:cubicBezTo>
                    <a:pt x="212" y="292"/>
                    <a:pt x="218" y="295"/>
                    <a:pt x="225" y="295"/>
                  </a:cubicBezTo>
                  <a:cubicBezTo>
                    <a:pt x="225" y="295"/>
                    <a:pt x="225" y="295"/>
                    <a:pt x="225" y="295"/>
                  </a:cubicBezTo>
                  <a:cubicBezTo>
                    <a:pt x="227" y="295"/>
                    <a:pt x="229" y="295"/>
                    <a:pt x="231" y="294"/>
                  </a:cubicBezTo>
                  <a:cubicBezTo>
                    <a:pt x="240" y="291"/>
                    <a:pt x="246" y="282"/>
                    <a:pt x="244" y="274"/>
                  </a:cubicBezTo>
                  <a:close/>
                  <a:moveTo>
                    <a:pt x="228" y="285"/>
                  </a:moveTo>
                  <a:cubicBezTo>
                    <a:pt x="227" y="286"/>
                    <a:pt x="226" y="286"/>
                    <a:pt x="225" y="286"/>
                  </a:cubicBezTo>
                  <a:cubicBezTo>
                    <a:pt x="225" y="286"/>
                    <a:pt x="225" y="286"/>
                    <a:pt x="225" y="286"/>
                  </a:cubicBezTo>
                  <a:cubicBezTo>
                    <a:pt x="222" y="286"/>
                    <a:pt x="219" y="284"/>
                    <a:pt x="218" y="282"/>
                  </a:cubicBezTo>
                  <a:cubicBezTo>
                    <a:pt x="177" y="187"/>
                    <a:pt x="177" y="187"/>
                    <a:pt x="177" y="187"/>
                  </a:cubicBezTo>
                  <a:cubicBezTo>
                    <a:pt x="177" y="184"/>
                    <a:pt x="174" y="183"/>
                    <a:pt x="172" y="184"/>
                  </a:cubicBezTo>
                  <a:cubicBezTo>
                    <a:pt x="170" y="185"/>
                    <a:pt x="168" y="187"/>
                    <a:pt x="169" y="189"/>
                  </a:cubicBezTo>
                  <a:cubicBezTo>
                    <a:pt x="196" y="353"/>
                    <a:pt x="196" y="353"/>
                    <a:pt x="196" y="353"/>
                  </a:cubicBezTo>
                  <a:cubicBezTo>
                    <a:pt x="174" y="353"/>
                    <a:pt x="174" y="353"/>
                    <a:pt x="174" y="353"/>
                  </a:cubicBezTo>
                  <a:cubicBezTo>
                    <a:pt x="173" y="353"/>
                    <a:pt x="172" y="353"/>
                    <a:pt x="171" y="354"/>
                  </a:cubicBezTo>
                  <a:cubicBezTo>
                    <a:pt x="170" y="355"/>
                    <a:pt x="170" y="356"/>
                    <a:pt x="170" y="358"/>
                  </a:cubicBezTo>
                  <a:cubicBezTo>
                    <a:pt x="170" y="358"/>
                    <a:pt x="170" y="386"/>
                    <a:pt x="171" y="414"/>
                  </a:cubicBezTo>
                  <a:cubicBezTo>
                    <a:pt x="171" y="428"/>
                    <a:pt x="172" y="442"/>
                    <a:pt x="172" y="452"/>
                  </a:cubicBezTo>
                  <a:cubicBezTo>
                    <a:pt x="172" y="462"/>
                    <a:pt x="173" y="467"/>
                    <a:pt x="173" y="469"/>
                  </a:cubicBezTo>
                  <a:cubicBezTo>
                    <a:pt x="173" y="469"/>
                    <a:pt x="173" y="469"/>
                    <a:pt x="173" y="469"/>
                  </a:cubicBezTo>
                  <a:cubicBezTo>
                    <a:pt x="172" y="475"/>
                    <a:pt x="167" y="479"/>
                    <a:pt x="160" y="479"/>
                  </a:cubicBezTo>
                  <a:cubicBezTo>
                    <a:pt x="160" y="484"/>
                    <a:pt x="160" y="484"/>
                    <a:pt x="160" y="484"/>
                  </a:cubicBezTo>
                  <a:cubicBezTo>
                    <a:pt x="160" y="479"/>
                    <a:pt x="160" y="479"/>
                    <a:pt x="160" y="479"/>
                  </a:cubicBezTo>
                  <a:cubicBezTo>
                    <a:pt x="153" y="479"/>
                    <a:pt x="148" y="475"/>
                    <a:pt x="147" y="469"/>
                  </a:cubicBezTo>
                  <a:cubicBezTo>
                    <a:pt x="134" y="357"/>
                    <a:pt x="134" y="357"/>
                    <a:pt x="134" y="357"/>
                  </a:cubicBezTo>
                  <a:cubicBezTo>
                    <a:pt x="134" y="354"/>
                    <a:pt x="132" y="353"/>
                    <a:pt x="129" y="353"/>
                  </a:cubicBezTo>
                  <a:cubicBezTo>
                    <a:pt x="117" y="353"/>
                    <a:pt x="117" y="353"/>
                    <a:pt x="117" y="353"/>
                  </a:cubicBezTo>
                  <a:cubicBezTo>
                    <a:pt x="114" y="353"/>
                    <a:pt x="112" y="354"/>
                    <a:pt x="112" y="357"/>
                  </a:cubicBezTo>
                  <a:cubicBezTo>
                    <a:pt x="99" y="469"/>
                    <a:pt x="99" y="469"/>
                    <a:pt x="99" y="469"/>
                  </a:cubicBezTo>
                  <a:cubicBezTo>
                    <a:pt x="98" y="475"/>
                    <a:pt x="93" y="479"/>
                    <a:pt x="86" y="479"/>
                  </a:cubicBezTo>
                  <a:cubicBezTo>
                    <a:pt x="79" y="479"/>
                    <a:pt x="74" y="475"/>
                    <a:pt x="73" y="469"/>
                  </a:cubicBezTo>
                  <a:cubicBezTo>
                    <a:pt x="73" y="469"/>
                    <a:pt x="73" y="469"/>
                    <a:pt x="73" y="469"/>
                  </a:cubicBezTo>
                  <a:cubicBezTo>
                    <a:pt x="73" y="468"/>
                    <a:pt x="73" y="467"/>
                    <a:pt x="74" y="465"/>
                  </a:cubicBezTo>
                  <a:cubicBezTo>
                    <a:pt x="74" y="462"/>
                    <a:pt x="74" y="457"/>
                    <a:pt x="74" y="452"/>
                  </a:cubicBezTo>
                  <a:cubicBezTo>
                    <a:pt x="74" y="442"/>
                    <a:pt x="75" y="428"/>
                    <a:pt x="75" y="414"/>
                  </a:cubicBezTo>
                  <a:cubicBezTo>
                    <a:pt x="76" y="386"/>
                    <a:pt x="76" y="358"/>
                    <a:pt x="76" y="358"/>
                  </a:cubicBezTo>
                  <a:cubicBezTo>
                    <a:pt x="77" y="356"/>
                    <a:pt x="76" y="355"/>
                    <a:pt x="75" y="354"/>
                  </a:cubicBezTo>
                  <a:cubicBezTo>
                    <a:pt x="74" y="353"/>
                    <a:pt x="73" y="353"/>
                    <a:pt x="72" y="353"/>
                  </a:cubicBezTo>
                  <a:cubicBezTo>
                    <a:pt x="50" y="353"/>
                    <a:pt x="50" y="353"/>
                    <a:pt x="50" y="353"/>
                  </a:cubicBezTo>
                  <a:cubicBezTo>
                    <a:pt x="78" y="189"/>
                    <a:pt x="78" y="189"/>
                    <a:pt x="78" y="189"/>
                  </a:cubicBezTo>
                  <a:cubicBezTo>
                    <a:pt x="78" y="187"/>
                    <a:pt x="77" y="185"/>
                    <a:pt x="74" y="184"/>
                  </a:cubicBezTo>
                  <a:cubicBezTo>
                    <a:pt x="72" y="183"/>
                    <a:pt x="70" y="184"/>
                    <a:pt x="69" y="187"/>
                  </a:cubicBezTo>
                  <a:cubicBezTo>
                    <a:pt x="28" y="282"/>
                    <a:pt x="28" y="282"/>
                    <a:pt x="28" y="282"/>
                  </a:cubicBezTo>
                  <a:cubicBezTo>
                    <a:pt x="27" y="284"/>
                    <a:pt x="24" y="286"/>
                    <a:pt x="21" y="286"/>
                  </a:cubicBezTo>
                  <a:cubicBezTo>
                    <a:pt x="20" y="286"/>
                    <a:pt x="19" y="286"/>
                    <a:pt x="18" y="285"/>
                  </a:cubicBezTo>
                  <a:cubicBezTo>
                    <a:pt x="13" y="284"/>
                    <a:pt x="11" y="280"/>
                    <a:pt x="12" y="276"/>
                  </a:cubicBezTo>
                  <a:cubicBezTo>
                    <a:pt x="12" y="276"/>
                    <a:pt x="12" y="276"/>
                    <a:pt x="12" y="276"/>
                  </a:cubicBezTo>
                  <a:cubicBezTo>
                    <a:pt x="12" y="275"/>
                    <a:pt x="12" y="273"/>
                    <a:pt x="13" y="272"/>
                  </a:cubicBezTo>
                  <a:cubicBezTo>
                    <a:pt x="14" y="269"/>
                    <a:pt x="15" y="264"/>
                    <a:pt x="17" y="259"/>
                  </a:cubicBezTo>
                  <a:cubicBezTo>
                    <a:pt x="28" y="226"/>
                    <a:pt x="53" y="149"/>
                    <a:pt x="59" y="137"/>
                  </a:cubicBezTo>
                  <a:cubicBezTo>
                    <a:pt x="65" y="125"/>
                    <a:pt x="77" y="112"/>
                    <a:pt x="123" y="112"/>
                  </a:cubicBezTo>
                  <a:cubicBezTo>
                    <a:pt x="169" y="112"/>
                    <a:pt x="181" y="125"/>
                    <a:pt x="187" y="137"/>
                  </a:cubicBezTo>
                  <a:cubicBezTo>
                    <a:pt x="193" y="149"/>
                    <a:pt x="218" y="226"/>
                    <a:pt x="229" y="259"/>
                  </a:cubicBezTo>
                  <a:cubicBezTo>
                    <a:pt x="231" y="264"/>
                    <a:pt x="232" y="269"/>
                    <a:pt x="233" y="272"/>
                  </a:cubicBezTo>
                  <a:cubicBezTo>
                    <a:pt x="234" y="273"/>
                    <a:pt x="234" y="275"/>
                    <a:pt x="235" y="276"/>
                  </a:cubicBezTo>
                  <a:cubicBezTo>
                    <a:pt x="234" y="276"/>
                    <a:pt x="234" y="276"/>
                    <a:pt x="234" y="276"/>
                  </a:cubicBezTo>
                  <a:cubicBezTo>
                    <a:pt x="235" y="280"/>
                    <a:pt x="233" y="284"/>
                    <a:pt x="228" y="285"/>
                  </a:cubicBezTo>
                  <a:close/>
                  <a:moveTo>
                    <a:pt x="144" y="130"/>
                  </a:moveTo>
                  <a:cubicBezTo>
                    <a:pt x="137" y="130"/>
                    <a:pt x="131" y="135"/>
                    <a:pt x="131" y="142"/>
                  </a:cubicBezTo>
                  <a:cubicBezTo>
                    <a:pt x="131" y="147"/>
                    <a:pt x="135" y="151"/>
                    <a:pt x="139" y="153"/>
                  </a:cubicBezTo>
                  <a:cubicBezTo>
                    <a:pt x="138" y="165"/>
                    <a:pt x="131" y="174"/>
                    <a:pt x="123" y="174"/>
                  </a:cubicBezTo>
                  <a:cubicBezTo>
                    <a:pt x="115" y="174"/>
                    <a:pt x="108" y="165"/>
                    <a:pt x="107" y="153"/>
                  </a:cubicBezTo>
                  <a:cubicBezTo>
                    <a:pt x="112" y="151"/>
                    <a:pt x="115" y="147"/>
                    <a:pt x="115" y="142"/>
                  </a:cubicBezTo>
                  <a:cubicBezTo>
                    <a:pt x="115" y="135"/>
                    <a:pt x="109" y="130"/>
                    <a:pt x="102" y="130"/>
                  </a:cubicBezTo>
                  <a:cubicBezTo>
                    <a:pt x="96" y="130"/>
                    <a:pt x="90" y="135"/>
                    <a:pt x="90" y="142"/>
                  </a:cubicBezTo>
                  <a:cubicBezTo>
                    <a:pt x="90" y="147"/>
                    <a:pt x="93" y="151"/>
                    <a:pt x="98" y="153"/>
                  </a:cubicBezTo>
                  <a:cubicBezTo>
                    <a:pt x="99" y="168"/>
                    <a:pt x="107" y="180"/>
                    <a:pt x="118" y="183"/>
                  </a:cubicBezTo>
                  <a:cubicBezTo>
                    <a:pt x="118" y="205"/>
                    <a:pt x="118" y="205"/>
                    <a:pt x="118" y="205"/>
                  </a:cubicBezTo>
                  <a:cubicBezTo>
                    <a:pt x="114" y="206"/>
                    <a:pt x="111" y="211"/>
                    <a:pt x="111" y="216"/>
                  </a:cubicBezTo>
                  <a:cubicBezTo>
                    <a:pt x="111" y="222"/>
                    <a:pt x="116" y="228"/>
                    <a:pt x="123" y="228"/>
                  </a:cubicBezTo>
                  <a:cubicBezTo>
                    <a:pt x="130" y="228"/>
                    <a:pt x="135" y="222"/>
                    <a:pt x="135" y="216"/>
                  </a:cubicBezTo>
                  <a:cubicBezTo>
                    <a:pt x="135" y="211"/>
                    <a:pt x="132" y="206"/>
                    <a:pt x="128" y="205"/>
                  </a:cubicBezTo>
                  <a:cubicBezTo>
                    <a:pt x="128" y="183"/>
                    <a:pt x="128" y="183"/>
                    <a:pt x="128" y="183"/>
                  </a:cubicBezTo>
                  <a:cubicBezTo>
                    <a:pt x="139" y="180"/>
                    <a:pt x="147" y="168"/>
                    <a:pt x="148" y="153"/>
                  </a:cubicBezTo>
                  <a:cubicBezTo>
                    <a:pt x="153" y="151"/>
                    <a:pt x="156" y="147"/>
                    <a:pt x="156" y="142"/>
                  </a:cubicBezTo>
                  <a:cubicBezTo>
                    <a:pt x="156" y="135"/>
                    <a:pt x="150" y="130"/>
                    <a:pt x="144" y="130"/>
                  </a:cubicBezTo>
                  <a:close/>
                  <a:moveTo>
                    <a:pt x="102" y="145"/>
                  </a:moveTo>
                  <a:cubicBezTo>
                    <a:pt x="101" y="145"/>
                    <a:pt x="100" y="143"/>
                    <a:pt x="100" y="142"/>
                  </a:cubicBezTo>
                  <a:cubicBezTo>
                    <a:pt x="100" y="140"/>
                    <a:pt x="101" y="139"/>
                    <a:pt x="102" y="139"/>
                  </a:cubicBezTo>
                  <a:cubicBezTo>
                    <a:pt x="104" y="139"/>
                    <a:pt x="105" y="140"/>
                    <a:pt x="105" y="142"/>
                  </a:cubicBezTo>
                  <a:cubicBezTo>
                    <a:pt x="105" y="143"/>
                    <a:pt x="104" y="145"/>
                    <a:pt x="102" y="145"/>
                  </a:cubicBezTo>
                  <a:close/>
                  <a:moveTo>
                    <a:pt x="123" y="218"/>
                  </a:moveTo>
                  <a:cubicBezTo>
                    <a:pt x="122" y="218"/>
                    <a:pt x="120" y="217"/>
                    <a:pt x="120" y="216"/>
                  </a:cubicBezTo>
                  <a:cubicBezTo>
                    <a:pt x="120" y="214"/>
                    <a:pt x="122" y="213"/>
                    <a:pt x="123" y="213"/>
                  </a:cubicBezTo>
                  <a:cubicBezTo>
                    <a:pt x="125" y="213"/>
                    <a:pt x="126" y="214"/>
                    <a:pt x="126" y="216"/>
                  </a:cubicBezTo>
                  <a:cubicBezTo>
                    <a:pt x="126" y="217"/>
                    <a:pt x="125" y="218"/>
                    <a:pt x="123" y="218"/>
                  </a:cubicBezTo>
                  <a:close/>
                  <a:moveTo>
                    <a:pt x="144" y="145"/>
                  </a:moveTo>
                  <a:cubicBezTo>
                    <a:pt x="142" y="145"/>
                    <a:pt x="141" y="143"/>
                    <a:pt x="141" y="142"/>
                  </a:cubicBezTo>
                  <a:cubicBezTo>
                    <a:pt x="141" y="140"/>
                    <a:pt x="142" y="139"/>
                    <a:pt x="144" y="139"/>
                  </a:cubicBezTo>
                  <a:cubicBezTo>
                    <a:pt x="145" y="139"/>
                    <a:pt x="146" y="140"/>
                    <a:pt x="146" y="142"/>
                  </a:cubicBezTo>
                  <a:cubicBezTo>
                    <a:pt x="146" y="143"/>
                    <a:pt x="145" y="145"/>
                    <a:pt x="144" y="145"/>
                  </a:cubicBezTo>
                  <a:close/>
                  <a:moveTo>
                    <a:pt x="123" y="93"/>
                  </a:moveTo>
                  <a:cubicBezTo>
                    <a:pt x="149" y="93"/>
                    <a:pt x="169" y="72"/>
                    <a:pt x="169" y="46"/>
                  </a:cubicBezTo>
                  <a:cubicBezTo>
                    <a:pt x="169" y="21"/>
                    <a:pt x="149" y="0"/>
                    <a:pt x="123" y="0"/>
                  </a:cubicBezTo>
                  <a:cubicBezTo>
                    <a:pt x="98" y="0"/>
                    <a:pt x="77" y="21"/>
                    <a:pt x="77" y="46"/>
                  </a:cubicBezTo>
                  <a:cubicBezTo>
                    <a:pt x="77" y="72"/>
                    <a:pt x="98" y="93"/>
                    <a:pt x="123" y="93"/>
                  </a:cubicBezTo>
                  <a:close/>
                  <a:moveTo>
                    <a:pt x="123" y="10"/>
                  </a:moveTo>
                  <a:cubicBezTo>
                    <a:pt x="143" y="10"/>
                    <a:pt x="160" y="26"/>
                    <a:pt x="160" y="46"/>
                  </a:cubicBezTo>
                  <a:cubicBezTo>
                    <a:pt x="160" y="67"/>
                    <a:pt x="143" y="83"/>
                    <a:pt x="123" y="83"/>
                  </a:cubicBezTo>
                  <a:cubicBezTo>
                    <a:pt x="103" y="83"/>
                    <a:pt x="86" y="67"/>
                    <a:pt x="86" y="46"/>
                  </a:cubicBezTo>
                  <a:cubicBezTo>
                    <a:pt x="86" y="26"/>
                    <a:pt x="103" y="10"/>
                    <a:pt x="123" y="10"/>
                  </a:cubicBez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endParaRPr lang="en-US" sz="1836"/>
            </a:p>
          </p:txBody>
        </p:sp>
      </p:grpSp>
      <p:grpSp>
        <p:nvGrpSpPr>
          <p:cNvPr id="5138" name="Group 5137"/>
          <p:cNvGrpSpPr/>
          <p:nvPr/>
        </p:nvGrpSpPr>
        <p:grpSpPr>
          <a:xfrm>
            <a:off x="8347593" y="1528549"/>
            <a:ext cx="1119124" cy="1119124"/>
            <a:chOff x="15295563" y="9193213"/>
            <a:chExt cx="2673350" cy="2673350"/>
          </a:xfrm>
        </p:grpSpPr>
        <p:sp>
          <p:nvSpPr>
            <p:cNvPr id="138" name="Oval 28"/>
            <p:cNvSpPr>
              <a:spLocks noChangeArrowheads="1"/>
            </p:cNvSpPr>
            <p:nvPr/>
          </p:nvSpPr>
          <p:spPr bwMode="auto">
            <a:xfrm>
              <a:off x="15295563" y="9193213"/>
              <a:ext cx="2673350" cy="2673350"/>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220" name="Freeform 51"/>
            <p:cNvSpPr>
              <a:spLocks noEditPoints="1"/>
            </p:cNvSpPr>
            <p:nvPr/>
          </p:nvSpPr>
          <p:spPr bwMode="auto">
            <a:xfrm>
              <a:off x="16173450" y="9612313"/>
              <a:ext cx="917575" cy="1833563"/>
            </a:xfrm>
            <a:custGeom>
              <a:avLst/>
              <a:gdLst>
                <a:gd name="T0" fmla="*/ 134 w 245"/>
                <a:gd name="T1" fmla="*/ 142 h 489"/>
                <a:gd name="T2" fmla="*/ 125 w 245"/>
                <a:gd name="T3" fmla="*/ 174 h 489"/>
                <a:gd name="T4" fmla="*/ 117 w 245"/>
                <a:gd name="T5" fmla="*/ 142 h 489"/>
                <a:gd name="T6" fmla="*/ 92 w 245"/>
                <a:gd name="T7" fmla="*/ 142 h 489"/>
                <a:gd name="T8" fmla="*/ 120 w 245"/>
                <a:gd name="T9" fmla="*/ 183 h 489"/>
                <a:gd name="T10" fmla="*/ 113 w 245"/>
                <a:gd name="T11" fmla="*/ 216 h 489"/>
                <a:gd name="T12" fmla="*/ 137 w 245"/>
                <a:gd name="T13" fmla="*/ 216 h 489"/>
                <a:gd name="T14" fmla="*/ 130 w 245"/>
                <a:gd name="T15" fmla="*/ 183 h 489"/>
                <a:gd name="T16" fmla="*/ 158 w 245"/>
                <a:gd name="T17" fmla="*/ 142 h 489"/>
                <a:gd name="T18" fmla="*/ 105 w 245"/>
                <a:gd name="T19" fmla="*/ 145 h 489"/>
                <a:gd name="T20" fmla="*/ 105 w 245"/>
                <a:gd name="T21" fmla="*/ 139 h 489"/>
                <a:gd name="T22" fmla="*/ 105 w 245"/>
                <a:gd name="T23" fmla="*/ 145 h 489"/>
                <a:gd name="T24" fmla="*/ 122 w 245"/>
                <a:gd name="T25" fmla="*/ 216 h 489"/>
                <a:gd name="T26" fmla="*/ 128 w 245"/>
                <a:gd name="T27" fmla="*/ 216 h 489"/>
                <a:gd name="T28" fmla="*/ 146 w 245"/>
                <a:gd name="T29" fmla="*/ 145 h 489"/>
                <a:gd name="T30" fmla="*/ 146 w 245"/>
                <a:gd name="T31" fmla="*/ 139 h 489"/>
                <a:gd name="T32" fmla="*/ 146 w 245"/>
                <a:gd name="T33" fmla="*/ 145 h 489"/>
                <a:gd name="T34" fmla="*/ 169 w 245"/>
                <a:gd name="T35" fmla="*/ 46 h 489"/>
                <a:gd name="T36" fmla="*/ 76 w 245"/>
                <a:gd name="T37" fmla="*/ 46 h 489"/>
                <a:gd name="T38" fmla="*/ 122 w 245"/>
                <a:gd name="T39" fmla="*/ 9 h 489"/>
                <a:gd name="T40" fmla="*/ 122 w 245"/>
                <a:gd name="T41" fmla="*/ 83 h 489"/>
                <a:gd name="T42" fmla="*/ 122 w 245"/>
                <a:gd name="T43" fmla="*/ 9 h 489"/>
                <a:gd name="T44" fmla="*/ 243 w 245"/>
                <a:gd name="T45" fmla="*/ 273 h 489"/>
                <a:gd name="T46" fmla="*/ 195 w 245"/>
                <a:gd name="T47" fmla="*/ 133 h 489"/>
                <a:gd name="T48" fmla="*/ 50 w 245"/>
                <a:gd name="T49" fmla="*/ 133 h 489"/>
                <a:gd name="T50" fmla="*/ 2 w 245"/>
                <a:gd name="T51" fmla="*/ 273 h 489"/>
                <a:gd name="T52" fmla="*/ 14 w 245"/>
                <a:gd name="T53" fmla="*/ 295 h 489"/>
                <a:gd name="T54" fmla="*/ 36 w 245"/>
                <a:gd name="T55" fmla="*/ 286 h 489"/>
                <a:gd name="T56" fmla="*/ 63 w 245"/>
                <a:gd name="T57" fmla="*/ 469 h 489"/>
                <a:gd name="T58" fmla="*/ 85 w 245"/>
                <a:gd name="T59" fmla="*/ 489 h 489"/>
                <a:gd name="T60" fmla="*/ 122 w 245"/>
                <a:gd name="T61" fmla="*/ 345 h 489"/>
                <a:gd name="T62" fmla="*/ 159 w 245"/>
                <a:gd name="T63" fmla="*/ 489 h 489"/>
                <a:gd name="T64" fmla="*/ 181 w 245"/>
                <a:gd name="T65" fmla="*/ 470 h 489"/>
                <a:gd name="T66" fmla="*/ 175 w 245"/>
                <a:gd name="T67" fmla="*/ 212 h 489"/>
                <a:gd name="T68" fmla="*/ 224 w 245"/>
                <a:gd name="T69" fmla="*/ 296 h 489"/>
                <a:gd name="T70" fmla="*/ 243 w 245"/>
                <a:gd name="T71" fmla="*/ 274 h 489"/>
                <a:gd name="T72" fmla="*/ 224 w 245"/>
                <a:gd name="T73" fmla="*/ 286 h 489"/>
                <a:gd name="T74" fmla="*/ 174 w 245"/>
                <a:gd name="T75" fmla="*/ 187 h 489"/>
                <a:gd name="T76" fmla="*/ 165 w 245"/>
                <a:gd name="T77" fmla="*/ 189 h 489"/>
                <a:gd name="T78" fmla="*/ 171 w 245"/>
                <a:gd name="T79" fmla="*/ 426 h 489"/>
                <a:gd name="T80" fmla="*/ 172 w 245"/>
                <a:gd name="T81" fmla="*/ 470 h 489"/>
                <a:gd name="T82" fmla="*/ 159 w 245"/>
                <a:gd name="T83" fmla="*/ 480 h 489"/>
                <a:gd name="T84" fmla="*/ 159 w 245"/>
                <a:gd name="T85" fmla="*/ 480 h 489"/>
                <a:gd name="T86" fmla="*/ 127 w 245"/>
                <a:gd name="T87" fmla="*/ 304 h 489"/>
                <a:gd name="T88" fmla="*/ 118 w 245"/>
                <a:gd name="T89" fmla="*/ 304 h 489"/>
                <a:gd name="T90" fmla="*/ 85 w 245"/>
                <a:gd name="T91" fmla="*/ 480 h 489"/>
                <a:gd name="T92" fmla="*/ 73 w 245"/>
                <a:gd name="T93" fmla="*/ 467 h 489"/>
                <a:gd name="T94" fmla="*/ 74 w 245"/>
                <a:gd name="T95" fmla="*/ 426 h 489"/>
                <a:gd name="T96" fmla="*/ 80 w 245"/>
                <a:gd name="T97" fmla="*/ 189 h 489"/>
                <a:gd name="T98" fmla="*/ 71 w 245"/>
                <a:gd name="T99" fmla="*/ 187 h 489"/>
                <a:gd name="T100" fmla="*/ 20 w 245"/>
                <a:gd name="T101" fmla="*/ 286 h 489"/>
                <a:gd name="T102" fmla="*/ 11 w 245"/>
                <a:gd name="T103" fmla="*/ 276 h 489"/>
                <a:gd name="T104" fmla="*/ 12 w 245"/>
                <a:gd name="T105" fmla="*/ 272 h 489"/>
                <a:gd name="T106" fmla="*/ 58 w 245"/>
                <a:gd name="T107" fmla="*/ 137 h 489"/>
                <a:gd name="T108" fmla="*/ 186 w 245"/>
                <a:gd name="T109" fmla="*/ 137 h 489"/>
                <a:gd name="T110" fmla="*/ 232 w 245"/>
                <a:gd name="T111" fmla="*/ 272 h 489"/>
                <a:gd name="T112" fmla="*/ 234 w 245"/>
                <a:gd name="T113" fmla="*/ 276 h 4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45" h="489">
                  <a:moveTo>
                    <a:pt x="146" y="130"/>
                  </a:moveTo>
                  <a:cubicBezTo>
                    <a:pt x="139" y="130"/>
                    <a:pt x="134" y="135"/>
                    <a:pt x="134" y="142"/>
                  </a:cubicBezTo>
                  <a:cubicBezTo>
                    <a:pt x="134" y="147"/>
                    <a:pt x="137" y="151"/>
                    <a:pt x="141" y="153"/>
                  </a:cubicBezTo>
                  <a:cubicBezTo>
                    <a:pt x="140" y="165"/>
                    <a:pt x="133" y="174"/>
                    <a:pt x="125" y="174"/>
                  </a:cubicBezTo>
                  <a:cubicBezTo>
                    <a:pt x="117" y="174"/>
                    <a:pt x="110" y="165"/>
                    <a:pt x="109" y="153"/>
                  </a:cubicBezTo>
                  <a:cubicBezTo>
                    <a:pt x="114" y="151"/>
                    <a:pt x="117" y="147"/>
                    <a:pt x="117" y="142"/>
                  </a:cubicBezTo>
                  <a:cubicBezTo>
                    <a:pt x="117" y="135"/>
                    <a:pt x="111" y="130"/>
                    <a:pt x="105" y="130"/>
                  </a:cubicBezTo>
                  <a:cubicBezTo>
                    <a:pt x="98" y="130"/>
                    <a:pt x="92" y="135"/>
                    <a:pt x="92" y="142"/>
                  </a:cubicBezTo>
                  <a:cubicBezTo>
                    <a:pt x="92" y="147"/>
                    <a:pt x="96" y="151"/>
                    <a:pt x="100" y="153"/>
                  </a:cubicBezTo>
                  <a:cubicBezTo>
                    <a:pt x="101" y="168"/>
                    <a:pt x="109" y="180"/>
                    <a:pt x="120" y="183"/>
                  </a:cubicBezTo>
                  <a:cubicBezTo>
                    <a:pt x="120" y="205"/>
                    <a:pt x="120" y="205"/>
                    <a:pt x="120" y="205"/>
                  </a:cubicBezTo>
                  <a:cubicBezTo>
                    <a:pt x="116" y="206"/>
                    <a:pt x="113" y="211"/>
                    <a:pt x="113" y="216"/>
                  </a:cubicBezTo>
                  <a:cubicBezTo>
                    <a:pt x="113" y="222"/>
                    <a:pt x="118" y="228"/>
                    <a:pt x="125" y="228"/>
                  </a:cubicBezTo>
                  <a:cubicBezTo>
                    <a:pt x="132" y="228"/>
                    <a:pt x="137" y="222"/>
                    <a:pt x="137" y="216"/>
                  </a:cubicBezTo>
                  <a:cubicBezTo>
                    <a:pt x="137" y="211"/>
                    <a:pt x="134" y="206"/>
                    <a:pt x="130" y="205"/>
                  </a:cubicBezTo>
                  <a:cubicBezTo>
                    <a:pt x="130" y="183"/>
                    <a:pt x="130" y="183"/>
                    <a:pt x="130" y="183"/>
                  </a:cubicBezTo>
                  <a:cubicBezTo>
                    <a:pt x="141" y="180"/>
                    <a:pt x="150" y="168"/>
                    <a:pt x="150" y="153"/>
                  </a:cubicBezTo>
                  <a:cubicBezTo>
                    <a:pt x="155" y="151"/>
                    <a:pt x="158" y="147"/>
                    <a:pt x="158" y="142"/>
                  </a:cubicBezTo>
                  <a:cubicBezTo>
                    <a:pt x="158" y="135"/>
                    <a:pt x="152" y="130"/>
                    <a:pt x="146" y="130"/>
                  </a:cubicBezTo>
                  <a:close/>
                  <a:moveTo>
                    <a:pt x="105" y="145"/>
                  </a:moveTo>
                  <a:cubicBezTo>
                    <a:pt x="103" y="145"/>
                    <a:pt x="102" y="143"/>
                    <a:pt x="102" y="142"/>
                  </a:cubicBezTo>
                  <a:cubicBezTo>
                    <a:pt x="102" y="140"/>
                    <a:pt x="103" y="139"/>
                    <a:pt x="105" y="139"/>
                  </a:cubicBezTo>
                  <a:cubicBezTo>
                    <a:pt x="106" y="139"/>
                    <a:pt x="107" y="140"/>
                    <a:pt x="107" y="142"/>
                  </a:cubicBezTo>
                  <a:cubicBezTo>
                    <a:pt x="107" y="143"/>
                    <a:pt x="106" y="145"/>
                    <a:pt x="105" y="145"/>
                  </a:cubicBezTo>
                  <a:close/>
                  <a:moveTo>
                    <a:pt x="125" y="218"/>
                  </a:moveTo>
                  <a:cubicBezTo>
                    <a:pt x="124" y="218"/>
                    <a:pt x="122" y="217"/>
                    <a:pt x="122" y="216"/>
                  </a:cubicBezTo>
                  <a:cubicBezTo>
                    <a:pt x="122" y="214"/>
                    <a:pt x="124" y="213"/>
                    <a:pt x="125" y="213"/>
                  </a:cubicBezTo>
                  <a:cubicBezTo>
                    <a:pt x="127" y="213"/>
                    <a:pt x="128" y="214"/>
                    <a:pt x="128" y="216"/>
                  </a:cubicBezTo>
                  <a:cubicBezTo>
                    <a:pt x="128" y="217"/>
                    <a:pt x="127" y="218"/>
                    <a:pt x="125" y="218"/>
                  </a:cubicBezTo>
                  <a:close/>
                  <a:moveTo>
                    <a:pt x="146" y="145"/>
                  </a:moveTo>
                  <a:cubicBezTo>
                    <a:pt x="144" y="145"/>
                    <a:pt x="143" y="143"/>
                    <a:pt x="143" y="142"/>
                  </a:cubicBezTo>
                  <a:cubicBezTo>
                    <a:pt x="143" y="140"/>
                    <a:pt x="144" y="139"/>
                    <a:pt x="146" y="139"/>
                  </a:cubicBezTo>
                  <a:cubicBezTo>
                    <a:pt x="147" y="139"/>
                    <a:pt x="148" y="140"/>
                    <a:pt x="148" y="142"/>
                  </a:cubicBezTo>
                  <a:cubicBezTo>
                    <a:pt x="148" y="143"/>
                    <a:pt x="147" y="145"/>
                    <a:pt x="146" y="145"/>
                  </a:cubicBezTo>
                  <a:close/>
                  <a:moveTo>
                    <a:pt x="122" y="92"/>
                  </a:moveTo>
                  <a:cubicBezTo>
                    <a:pt x="148" y="92"/>
                    <a:pt x="169" y="72"/>
                    <a:pt x="169" y="46"/>
                  </a:cubicBezTo>
                  <a:cubicBezTo>
                    <a:pt x="169" y="21"/>
                    <a:pt x="148" y="0"/>
                    <a:pt x="122" y="0"/>
                  </a:cubicBezTo>
                  <a:cubicBezTo>
                    <a:pt x="97" y="0"/>
                    <a:pt x="76" y="21"/>
                    <a:pt x="76" y="46"/>
                  </a:cubicBezTo>
                  <a:cubicBezTo>
                    <a:pt x="76" y="72"/>
                    <a:pt x="97" y="92"/>
                    <a:pt x="122" y="92"/>
                  </a:cubicBezTo>
                  <a:close/>
                  <a:moveTo>
                    <a:pt x="122" y="9"/>
                  </a:moveTo>
                  <a:cubicBezTo>
                    <a:pt x="143" y="9"/>
                    <a:pt x="159" y="26"/>
                    <a:pt x="159" y="46"/>
                  </a:cubicBezTo>
                  <a:cubicBezTo>
                    <a:pt x="159" y="66"/>
                    <a:pt x="143" y="83"/>
                    <a:pt x="122" y="83"/>
                  </a:cubicBezTo>
                  <a:cubicBezTo>
                    <a:pt x="102" y="83"/>
                    <a:pt x="85" y="66"/>
                    <a:pt x="85" y="46"/>
                  </a:cubicBezTo>
                  <a:cubicBezTo>
                    <a:pt x="85" y="26"/>
                    <a:pt x="102" y="9"/>
                    <a:pt x="122" y="9"/>
                  </a:cubicBezTo>
                  <a:close/>
                  <a:moveTo>
                    <a:pt x="243" y="274"/>
                  </a:moveTo>
                  <a:cubicBezTo>
                    <a:pt x="243" y="274"/>
                    <a:pt x="243" y="274"/>
                    <a:pt x="243" y="273"/>
                  </a:cubicBezTo>
                  <a:cubicBezTo>
                    <a:pt x="242" y="272"/>
                    <a:pt x="240" y="265"/>
                    <a:pt x="237" y="256"/>
                  </a:cubicBezTo>
                  <a:cubicBezTo>
                    <a:pt x="225" y="221"/>
                    <a:pt x="201" y="146"/>
                    <a:pt x="195" y="133"/>
                  </a:cubicBezTo>
                  <a:cubicBezTo>
                    <a:pt x="185" y="112"/>
                    <a:pt x="163" y="103"/>
                    <a:pt x="122" y="103"/>
                  </a:cubicBezTo>
                  <a:cubicBezTo>
                    <a:pt x="81" y="103"/>
                    <a:pt x="60" y="112"/>
                    <a:pt x="50" y="133"/>
                  </a:cubicBezTo>
                  <a:cubicBezTo>
                    <a:pt x="43" y="146"/>
                    <a:pt x="19" y="221"/>
                    <a:pt x="8" y="256"/>
                  </a:cubicBezTo>
                  <a:cubicBezTo>
                    <a:pt x="5" y="265"/>
                    <a:pt x="2" y="272"/>
                    <a:pt x="2" y="273"/>
                  </a:cubicBezTo>
                  <a:cubicBezTo>
                    <a:pt x="2" y="274"/>
                    <a:pt x="2" y="274"/>
                    <a:pt x="2" y="274"/>
                  </a:cubicBezTo>
                  <a:cubicBezTo>
                    <a:pt x="0" y="283"/>
                    <a:pt x="5" y="292"/>
                    <a:pt x="14" y="295"/>
                  </a:cubicBezTo>
                  <a:cubicBezTo>
                    <a:pt x="16" y="295"/>
                    <a:pt x="18" y="296"/>
                    <a:pt x="20" y="296"/>
                  </a:cubicBezTo>
                  <a:cubicBezTo>
                    <a:pt x="27" y="296"/>
                    <a:pt x="34" y="292"/>
                    <a:pt x="36" y="286"/>
                  </a:cubicBezTo>
                  <a:cubicBezTo>
                    <a:pt x="70" y="212"/>
                    <a:pt x="70" y="212"/>
                    <a:pt x="70" y="212"/>
                  </a:cubicBezTo>
                  <a:cubicBezTo>
                    <a:pt x="67" y="310"/>
                    <a:pt x="64" y="463"/>
                    <a:pt x="63" y="469"/>
                  </a:cubicBezTo>
                  <a:cubicBezTo>
                    <a:pt x="63" y="470"/>
                    <a:pt x="63" y="470"/>
                    <a:pt x="63" y="470"/>
                  </a:cubicBezTo>
                  <a:cubicBezTo>
                    <a:pt x="64" y="481"/>
                    <a:pt x="74" y="489"/>
                    <a:pt x="85" y="489"/>
                  </a:cubicBezTo>
                  <a:cubicBezTo>
                    <a:pt x="97" y="489"/>
                    <a:pt x="107" y="481"/>
                    <a:pt x="108" y="471"/>
                  </a:cubicBezTo>
                  <a:cubicBezTo>
                    <a:pt x="122" y="345"/>
                    <a:pt x="122" y="345"/>
                    <a:pt x="122" y="345"/>
                  </a:cubicBezTo>
                  <a:cubicBezTo>
                    <a:pt x="137" y="470"/>
                    <a:pt x="137" y="470"/>
                    <a:pt x="137" y="470"/>
                  </a:cubicBezTo>
                  <a:cubicBezTo>
                    <a:pt x="138" y="481"/>
                    <a:pt x="148" y="489"/>
                    <a:pt x="159" y="489"/>
                  </a:cubicBezTo>
                  <a:cubicBezTo>
                    <a:pt x="159" y="489"/>
                    <a:pt x="159" y="489"/>
                    <a:pt x="159" y="489"/>
                  </a:cubicBezTo>
                  <a:cubicBezTo>
                    <a:pt x="171" y="489"/>
                    <a:pt x="181" y="481"/>
                    <a:pt x="181" y="470"/>
                  </a:cubicBezTo>
                  <a:cubicBezTo>
                    <a:pt x="181" y="470"/>
                    <a:pt x="181" y="470"/>
                    <a:pt x="181" y="469"/>
                  </a:cubicBezTo>
                  <a:cubicBezTo>
                    <a:pt x="181" y="463"/>
                    <a:pt x="177" y="310"/>
                    <a:pt x="175" y="212"/>
                  </a:cubicBezTo>
                  <a:cubicBezTo>
                    <a:pt x="208" y="286"/>
                    <a:pt x="208" y="286"/>
                    <a:pt x="208" y="286"/>
                  </a:cubicBezTo>
                  <a:cubicBezTo>
                    <a:pt x="211" y="292"/>
                    <a:pt x="217" y="296"/>
                    <a:pt x="224" y="296"/>
                  </a:cubicBezTo>
                  <a:cubicBezTo>
                    <a:pt x="226" y="296"/>
                    <a:pt x="229" y="295"/>
                    <a:pt x="231" y="295"/>
                  </a:cubicBezTo>
                  <a:cubicBezTo>
                    <a:pt x="240" y="292"/>
                    <a:pt x="245" y="283"/>
                    <a:pt x="243" y="274"/>
                  </a:cubicBezTo>
                  <a:close/>
                  <a:moveTo>
                    <a:pt x="228" y="286"/>
                  </a:moveTo>
                  <a:cubicBezTo>
                    <a:pt x="227" y="286"/>
                    <a:pt x="225" y="286"/>
                    <a:pt x="224" y="286"/>
                  </a:cubicBezTo>
                  <a:cubicBezTo>
                    <a:pt x="221" y="286"/>
                    <a:pt x="218" y="285"/>
                    <a:pt x="217" y="282"/>
                  </a:cubicBezTo>
                  <a:cubicBezTo>
                    <a:pt x="174" y="187"/>
                    <a:pt x="174" y="187"/>
                    <a:pt x="174" y="187"/>
                  </a:cubicBezTo>
                  <a:cubicBezTo>
                    <a:pt x="173" y="185"/>
                    <a:pt x="171" y="184"/>
                    <a:pt x="168" y="184"/>
                  </a:cubicBezTo>
                  <a:cubicBezTo>
                    <a:pt x="166" y="185"/>
                    <a:pt x="165" y="187"/>
                    <a:pt x="165" y="189"/>
                  </a:cubicBezTo>
                  <a:cubicBezTo>
                    <a:pt x="165" y="189"/>
                    <a:pt x="167" y="259"/>
                    <a:pt x="168" y="329"/>
                  </a:cubicBezTo>
                  <a:cubicBezTo>
                    <a:pt x="169" y="364"/>
                    <a:pt x="170" y="400"/>
                    <a:pt x="171" y="426"/>
                  </a:cubicBezTo>
                  <a:cubicBezTo>
                    <a:pt x="171" y="439"/>
                    <a:pt x="171" y="450"/>
                    <a:pt x="172" y="458"/>
                  </a:cubicBezTo>
                  <a:cubicBezTo>
                    <a:pt x="172" y="464"/>
                    <a:pt x="172" y="467"/>
                    <a:pt x="172" y="470"/>
                  </a:cubicBezTo>
                  <a:cubicBezTo>
                    <a:pt x="172" y="470"/>
                    <a:pt x="172" y="470"/>
                    <a:pt x="172" y="470"/>
                  </a:cubicBezTo>
                  <a:cubicBezTo>
                    <a:pt x="172" y="475"/>
                    <a:pt x="166" y="480"/>
                    <a:pt x="159" y="480"/>
                  </a:cubicBezTo>
                  <a:cubicBezTo>
                    <a:pt x="159" y="484"/>
                    <a:pt x="159" y="484"/>
                    <a:pt x="159" y="484"/>
                  </a:cubicBezTo>
                  <a:cubicBezTo>
                    <a:pt x="159" y="480"/>
                    <a:pt x="159" y="480"/>
                    <a:pt x="159" y="480"/>
                  </a:cubicBezTo>
                  <a:cubicBezTo>
                    <a:pt x="152" y="480"/>
                    <a:pt x="147" y="475"/>
                    <a:pt x="146" y="469"/>
                  </a:cubicBezTo>
                  <a:cubicBezTo>
                    <a:pt x="127" y="304"/>
                    <a:pt x="127" y="304"/>
                    <a:pt x="127" y="304"/>
                  </a:cubicBezTo>
                  <a:cubicBezTo>
                    <a:pt x="127" y="302"/>
                    <a:pt x="125" y="300"/>
                    <a:pt x="122" y="300"/>
                  </a:cubicBezTo>
                  <a:cubicBezTo>
                    <a:pt x="120" y="300"/>
                    <a:pt x="118" y="302"/>
                    <a:pt x="118" y="304"/>
                  </a:cubicBezTo>
                  <a:cubicBezTo>
                    <a:pt x="98" y="470"/>
                    <a:pt x="98" y="470"/>
                    <a:pt x="98" y="470"/>
                  </a:cubicBezTo>
                  <a:cubicBezTo>
                    <a:pt x="98" y="475"/>
                    <a:pt x="92" y="480"/>
                    <a:pt x="85" y="480"/>
                  </a:cubicBezTo>
                  <a:cubicBezTo>
                    <a:pt x="79" y="480"/>
                    <a:pt x="73" y="475"/>
                    <a:pt x="73" y="470"/>
                  </a:cubicBezTo>
                  <a:cubicBezTo>
                    <a:pt x="73" y="469"/>
                    <a:pt x="73" y="468"/>
                    <a:pt x="73" y="467"/>
                  </a:cubicBezTo>
                  <a:cubicBezTo>
                    <a:pt x="73" y="465"/>
                    <a:pt x="73" y="462"/>
                    <a:pt x="73" y="458"/>
                  </a:cubicBezTo>
                  <a:cubicBezTo>
                    <a:pt x="73" y="450"/>
                    <a:pt x="74" y="439"/>
                    <a:pt x="74" y="426"/>
                  </a:cubicBezTo>
                  <a:cubicBezTo>
                    <a:pt x="75" y="400"/>
                    <a:pt x="75" y="365"/>
                    <a:pt x="76" y="329"/>
                  </a:cubicBezTo>
                  <a:cubicBezTo>
                    <a:pt x="78" y="259"/>
                    <a:pt x="80" y="189"/>
                    <a:pt x="80" y="189"/>
                  </a:cubicBezTo>
                  <a:cubicBezTo>
                    <a:pt x="80" y="187"/>
                    <a:pt x="78" y="185"/>
                    <a:pt x="76" y="184"/>
                  </a:cubicBezTo>
                  <a:cubicBezTo>
                    <a:pt x="74" y="184"/>
                    <a:pt x="72" y="185"/>
                    <a:pt x="71" y="187"/>
                  </a:cubicBezTo>
                  <a:cubicBezTo>
                    <a:pt x="28" y="282"/>
                    <a:pt x="28" y="282"/>
                    <a:pt x="28" y="282"/>
                  </a:cubicBezTo>
                  <a:cubicBezTo>
                    <a:pt x="26" y="285"/>
                    <a:pt x="24" y="286"/>
                    <a:pt x="20" y="286"/>
                  </a:cubicBezTo>
                  <a:cubicBezTo>
                    <a:pt x="19" y="286"/>
                    <a:pt x="18" y="286"/>
                    <a:pt x="17" y="286"/>
                  </a:cubicBezTo>
                  <a:cubicBezTo>
                    <a:pt x="13" y="284"/>
                    <a:pt x="10" y="280"/>
                    <a:pt x="11" y="276"/>
                  </a:cubicBezTo>
                  <a:cubicBezTo>
                    <a:pt x="11" y="276"/>
                    <a:pt x="11" y="276"/>
                    <a:pt x="11" y="276"/>
                  </a:cubicBezTo>
                  <a:cubicBezTo>
                    <a:pt x="11" y="275"/>
                    <a:pt x="12" y="274"/>
                    <a:pt x="12" y="272"/>
                  </a:cubicBezTo>
                  <a:cubicBezTo>
                    <a:pt x="13" y="269"/>
                    <a:pt x="15" y="265"/>
                    <a:pt x="16" y="259"/>
                  </a:cubicBezTo>
                  <a:cubicBezTo>
                    <a:pt x="27" y="226"/>
                    <a:pt x="52" y="150"/>
                    <a:pt x="58" y="137"/>
                  </a:cubicBezTo>
                  <a:cubicBezTo>
                    <a:pt x="64" y="125"/>
                    <a:pt x="76" y="113"/>
                    <a:pt x="122" y="113"/>
                  </a:cubicBezTo>
                  <a:cubicBezTo>
                    <a:pt x="168" y="113"/>
                    <a:pt x="181" y="125"/>
                    <a:pt x="186" y="137"/>
                  </a:cubicBezTo>
                  <a:cubicBezTo>
                    <a:pt x="192" y="150"/>
                    <a:pt x="217" y="226"/>
                    <a:pt x="228" y="259"/>
                  </a:cubicBezTo>
                  <a:cubicBezTo>
                    <a:pt x="230" y="265"/>
                    <a:pt x="231" y="269"/>
                    <a:pt x="232" y="272"/>
                  </a:cubicBezTo>
                  <a:cubicBezTo>
                    <a:pt x="233" y="274"/>
                    <a:pt x="233" y="275"/>
                    <a:pt x="234" y="276"/>
                  </a:cubicBezTo>
                  <a:cubicBezTo>
                    <a:pt x="234" y="276"/>
                    <a:pt x="234" y="276"/>
                    <a:pt x="234" y="276"/>
                  </a:cubicBezTo>
                  <a:cubicBezTo>
                    <a:pt x="235" y="280"/>
                    <a:pt x="232" y="284"/>
                    <a:pt x="228" y="286"/>
                  </a:cubicBez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endParaRPr lang="en-US" sz="1836"/>
            </a:p>
          </p:txBody>
        </p:sp>
      </p:grpSp>
      <p:grpSp>
        <p:nvGrpSpPr>
          <p:cNvPr id="5129" name="Group 5128"/>
          <p:cNvGrpSpPr/>
          <p:nvPr/>
        </p:nvGrpSpPr>
        <p:grpSpPr>
          <a:xfrm>
            <a:off x="3073678" y="1528549"/>
            <a:ext cx="1119124" cy="1119124"/>
            <a:chOff x="3481387" y="15082838"/>
            <a:chExt cx="2674938" cy="2674938"/>
          </a:xfrm>
        </p:grpSpPr>
        <p:sp>
          <p:nvSpPr>
            <p:cNvPr id="221" name="Oval 52"/>
            <p:cNvSpPr>
              <a:spLocks noChangeArrowheads="1"/>
            </p:cNvSpPr>
            <p:nvPr/>
          </p:nvSpPr>
          <p:spPr bwMode="auto">
            <a:xfrm>
              <a:off x="3481387" y="15082838"/>
              <a:ext cx="2674938" cy="2674938"/>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223" name="Freeform 54"/>
            <p:cNvSpPr>
              <a:spLocks noEditPoints="1"/>
            </p:cNvSpPr>
            <p:nvPr/>
          </p:nvSpPr>
          <p:spPr bwMode="auto">
            <a:xfrm>
              <a:off x="4364037" y="15503525"/>
              <a:ext cx="914400" cy="1833563"/>
            </a:xfrm>
            <a:custGeom>
              <a:avLst/>
              <a:gdLst>
                <a:gd name="T0" fmla="*/ 108 w 244"/>
                <a:gd name="T1" fmla="*/ 90 h 489"/>
                <a:gd name="T2" fmla="*/ 151 w 244"/>
                <a:gd name="T3" fmla="*/ 82 h 489"/>
                <a:gd name="T4" fmla="*/ 151 w 244"/>
                <a:gd name="T5" fmla="*/ 10 h 489"/>
                <a:gd name="T6" fmla="*/ 108 w 244"/>
                <a:gd name="T7" fmla="*/ 2 h 489"/>
                <a:gd name="T8" fmla="*/ 77 w 244"/>
                <a:gd name="T9" fmla="*/ 32 h 489"/>
                <a:gd name="T10" fmla="*/ 77 w 244"/>
                <a:gd name="T11" fmla="*/ 60 h 489"/>
                <a:gd name="T12" fmla="*/ 242 w 244"/>
                <a:gd name="T13" fmla="*/ 274 h 489"/>
                <a:gd name="T14" fmla="*/ 241 w 244"/>
                <a:gd name="T15" fmla="*/ 271 h 489"/>
                <a:gd name="T16" fmla="*/ 233 w 244"/>
                <a:gd name="T17" fmla="*/ 245 h 489"/>
                <a:gd name="T18" fmla="*/ 229 w 244"/>
                <a:gd name="T19" fmla="*/ 233 h 489"/>
                <a:gd name="T20" fmla="*/ 216 w 244"/>
                <a:gd name="T21" fmla="*/ 195 h 489"/>
                <a:gd name="T22" fmla="*/ 204 w 244"/>
                <a:gd name="T23" fmla="*/ 160 h 489"/>
                <a:gd name="T24" fmla="*/ 196 w 244"/>
                <a:gd name="T25" fmla="*/ 138 h 489"/>
                <a:gd name="T26" fmla="*/ 190 w 244"/>
                <a:gd name="T27" fmla="*/ 126 h 489"/>
                <a:gd name="T28" fmla="*/ 177 w 244"/>
                <a:gd name="T29" fmla="*/ 114 h 489"/>
                <a:gd name="T30" fmla="*/ 149 w 244"/>
                <a:gd name="T31" fmla="*/ 105 h 489"/>
                <a:gd name="T32" fmla="*/ 122 w 244"/>
                <a:gd name="T33" fmla="*/ 103 h 489"/>
                <a:gd name="T34" fmla="*/ 83 w 244"/>
                <a:gd name="T35" fmla="*/ 107 h 489"/>
                <a:gd name="T36" fmla="*/ 47 w 244"/>
                <a:gd name="T37" fmla="*/ 138 h 489"/>
                <a:gd name="T38" fmla="*/ 39 w 244"/>
                <a:gd name="T39" fmla="*/ 160 h 489"/>
                <a:gd name="T40" fmla="*/ 25 w 244"/>
                <a:gd name="T41" fmla="*/ 200 h 489"/>
                <a:gd name="T42" fmla="*/ 16 w 244"/>
                <a:gd name="T43" fmla="*/ 228 h 489"/>
                <a:gd name="T44" fmla="*/ 7 w 244"/>
                <a:gd name="T45" fmla="*/ 256 h 489"/>
                <a:gd name="T46" fmla="*/ 2 w 244"/>
                <a:gd name="T47" fmla="*/ 270 h 489"/>
                <a:gd name="T48" fmla="*/ 1 w 244"/>
                <a:gd name="T49" fmla="*/ 274 h 489"/>
                <a:gd name="T50" fmla="*/ 10 w 244"/>
                <a:gd name="T51" fmla="*/ 293 h 489"/>
                <a:gd name="T52" fmla="*/ 16 w 244"/>
                <a:gd name="T53" fmla="*/ 295 h 489"/>
                <a:gd name="T54" fmla="*/ 35 w 244"/>
                <a:gd name="T55" fmla="*/ 286 h 489"/>
                <a:gd name="T56" fmla="*/ 68 w 244"/>
                <a:gd name="T57" fmla="*/ 240 h 489"/>
                <a:gd name="T58" fmla="*/ 68 w 244"/>
                <a:gd name="T59" fmla="*/ 271 h 489"/>
                <a:gd name="T60" fmla="*/ 67 w 244"/>
                <a:gd name="T61" fmla="*/ 303 h 489"/>
                <a:gd name="T62" fmla="*/ 65 w 244"/>
                <a:gd name="T63" fmla="*/ 365 h 489"/>
                <a:gd name="T64" fmla="*/ 63 w 244"/>
                <a:gd name="T65" fmla="*/ 446 h 489"/>
                <a:gd name="T66" fmla="*/ 62 w 244"/>
                <a:gd name="T67" fmla="*/ 469 h 489"/>
                <a:gd name="T68" fmla="*/ 63 w 244"/>
                <a:gd name="T69" fmla="*/ 474 h 489"/>
                <a:gd name="T70" fmla="*/ 70 w 244"/>
                <a:gd name="T71" fmla="*/ 483 h 489"/>
                <a:gd name="T72" fmla="*/ 85 w 244"/>
                <a:gd name="T73" fmla="*/ 489 h 489"/>
                <a:gd name="T74" fmla="*/ 96 w 244"/>
                <a:gd name="T75" fmla="*/ 486 h 489"/>
                <a:gd name="T76" fmla="*/ 105 w 244"/>
                <a:gd name="T77" fmla="*/ 478 h 489"/>
                <a:gd name="T78" fmla="*/ 122 w 244"/>
                <a:gd name="T79" fmla="*/ 345 h 489"/>
                <a:gd name="T80" fmla="*/ 137 w 244"/>
                <a:gd name="T81" fmla="*/ 474 h 489"/>
                <a:gd name="T82" fmla="*/ 147 w 244"/>
                <a:gd name="T83" fmla="*/ 486 h 489"/>
                <a:gd name="T84" fmla="*/ 158 w 244"/>
                <a:gd name="T85" fmla="*/ 489 h 489"/>
                <a:gd name="T86" fmla="*/ 181 w 244"/>
                <a:gd name="T87" fmla="*/ 470 h 489"/>
                <a:gd name="T88" fmla="*/ 181 w 244"/>
                <a:gd name="T89" fmla="*/ 468 h 489"/>
                <a:gd name="T90" fmla="*/ 180 w 244"/>
                <a:gd name="T91" fmla="*/ 440 h 489"/>
                <a:gd name="T92" fmla="*/ 177 w 244"/>
                <a:gd name="T93" fmla="*/ 345 h 489"/>
                <a:gd name="T94" fmla="*/ 176 w 244"/>
                <a:gd name="T95" fmla="*/ 303 h 489"/>
                <a:gd name="T96" fmla="*/ 174 w 244"/>
                <a:gd name="T97" fmla="*/ 212 h 489"/>
                <a:gd name="T98" fmla="*/ 212 w 244"/>
                <a:gd name="T99" fmla="*/ 292 h 489"/>
                <a:gd name="T100" fmla="*/ 227 w 244"/>
                <a:gd name="T101" fmla="*/ 295 h 489"/>
                <a:gd name="T102" fmla="*/ 242 w 244"/>
                <a:gd name="T103" fmla="*/ 274 h 4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4" h="489">
                  <a:moveTo>
                    <a:pt x="81" y="68"/>
                  </a:moveTo>
                  <a:cubicBezTo>
                    <a:pt x="87" y="78"/>
                    <a:pt x="96" y="86"/>
                    <a:pt x="108" y="90"/>
                  </a:cubicBezTo>
                  <a:cubicBezTo>
                    <a:pt x="112" y="91"/>
                    <a:pt x="117" y="92"/>
                    <a:pt x="122" y="92"/>
                  </a:cubicBezTo>
                  <a:cubicBezTo>
                    <a:pt x="133" y="92"/>
                    <a:pt x="143" y="88"/>
                    <a:pt x="151" y="82"/>
                  </a:cubicBezTo>
                  <a:cubicBezTo>
                    <a:pt x="161" y="73"/>
                    <a:pt x="168" y="60"/>
                    <a:pt x="168" y="46"/>
                  </a:cubicBezTo>
                  <a:cubicBezTo>
                    <a:pt x="168" y="32"/>
                    <a:pt x="161" y="19"/>
                    <a:pt x="151" y="10"/>
                  </a:cubicBezTo>
                  <a:cubicBezTo>
                    <a:pt x="143" y="4"/>
                    <a:pt x="133" y="0"/>
                    <a:pt x="122" y="0"/>
                  </a:cubicBezTo>
                  <a:cubicBezTo>
                    <a:pt x="117" y="0"/>
                    <a:pt x="112" y="0"/>
                    <a:pt x="108" y="2"/>
                  </a:cubicBezTo>
                  <a:cubicBezTo>
                    <a:pt x="96" y="5"/>
                    <a:pt x="87" y="13"/>
                    <a:pt x="81" y="24"/>
                  </a:cubicBezTo>
                  <a:cubicBezTo>
                    <a:pt x="79" y="27"/>
                    <a:pt x="78" y="29"/>
                    <a:pt x="77" y="32"/>
                  </a:cubicBezTo>
                  <a:cubicBezTo>
                    <a:pt x="76" y="37"/>
                    <a:pt x="75" y="41"/>
                    <a:pt x="75" y="46"/>
                  </a:cubicBezTo>
                  <a:cubicBezTo>
                    <a:pt x="75" y="51"/>
                    <a:pt x="76" y="55"/>
                    <a:pt x="77" y="60"/>
                  </a:cubicBezTo>
                  <a:cubicBezTo>
                    <a:pt x="78" y="63"/>
                    <a:pt x="79" y="65"/>
                    <a:pt x="81" y="68"/>
                  </a:cubicBezTo>
                  <a:close/>
                  <a:moveTo>
                    <a:pt x="242" y="274"/>
                  </a:moveTo>
                  <a:cubicBezTo>
                    <a:pt x="242" y="274"/>
                    <a:pt x="242" y="274"/>
                    <a:pt x="242" y="273"/>
                  </a:cubicBezTo>
                  <a:cubicBezTo>
                    <a:pt x="242" y="273"/>
                    <a:pt x="242" y="272"/>
                    <a:pt x="241" y="271"/>
                  </a:cubicBezTo>
                  <a:cubicBezTo>
                    <a:pt x="240" y="269"/>
                    <a:pt x="238" y="263"/>
                    <a:pt x="236" y="256"/>
                  </a:cubicBezTo>
                  <a:cubicBezTo>
                    <a:pt x="235" y="253"/>
                    <a:pt x="234" y="249"/>
                    <a:pt x="233" y="245"/>
                  </a:cubicBezTo>
                  <a:cubicBezTo>
                    <a:pt x="232" y="243"/>
                    <a:pt x="231" y="240"/>
                    <a:pt x="230" y="237"/>
                  </a:cubicBezTo>
                  <a:cubicBezTo>
                    <a:pt x="230" y="236"/>
                    <a:pt x="229" y="234"/>
                    <a:pt x="229" y="233"/>
                  </a:cubicBezTo>
                  <a:cubicBezTo>
                    <a:pt x="226" y="225"/>
                    <a:pt x="224" y="218"/>
                    <a:pt x="221" y="210"/>
                  </a:cubicBezTo>
                  <a:cubicBezTo>
                    <a:pt x="220" y="205"/>
                    <a:pt x="218" y="200"/>
                    <a:pt x="216" y="195"/>
                  </a:cubicBezTo>
                  <a:cubicBezTo>
                    <a:pt x="215" y="191"/>
                    <a:pt x="213" y="186"/>
                    <a:pt x="212" y="181"/>
                  </a:cubicBezTo>
                  <a:cubicBezTo>
                    <a:pt x="209" y="174"/>
                    <a:pt x="207" y="167"/>
                    <a:pt x="204" y="160"/>
                  </a:cubicBezTo>
                  <a:cubicBezTo>
                    <a:pt x="202" y="152"/>
                    <a:pt x="199" y="145"/>
                    <a:pt x="197" y="140"/>
                  </a:cubicBezTo>
                  <a:cubicBezTo>
                    <a:pt x="197" y="140"/>
                    <a:pt x="197" y="139"/>
                    <a:pt x="196" y="138"/>
                  </a:cubicBezTo>
                  <a:cubicBezTo>
                    <a:pt x="195" y="136"/>
                    <a:pt x="195" y="134"/>
                    <a:pt x="194" y="133"/>
                  </a:cubicBezTo>
                  <a:cubicBezTo>
                    <a:pt x="193" y="130"/>
                    <a:pt x="191" y="128"/>
                    <a:pt x="190" y="126"/>
                  </a:cubicBezTo>
                  <a:cubicBezTo>
                    <a:pt x="188" y="123"/>
                    <a:pt x="186" y="121"/>
                    <a:pt x="184" y="119"/>
                  </a:cubicBezTo>
                  <a:cubicBezTo>
                    <a:pt x="182" y="117"/>
                    <a:pt x="180" y="116"/>
                    <a:pt x="177" y="114"/>
                  </a:cubicBezTo>
                  <a:cubicBezTo>
                    <a:pt x="174" y="112"/>
                    <a:pt x="170" y="110"/>
                    <a:pt x="165" y="108"/>
                  </a:cubicBezTo>
                  <a:cubicBezTo>
                    <a:pt x="160" y="107"/>
                    <a:pt x="155" y="106"/>
                    <a:pt x="149" y="105"/>
                  </a:cubicBezTo>
                  <a:cubicBezTo>
                    <a:pt x="147" y="105"/>
                    <a:pt x="145" y="104"/>
                    <a:pt x="143" y="104"/>
                  </a:cubicBezTo>
                  <a:cubicBezTo>
                    <a:pt x="136" y="103"/>
                    <a:pt x="129" y="103"/>
                    <a:pt x="122" y="103"/>
                  </a:cubicBezTo>
                  <a:cubicBezTo>
                    <a:pt x="109" y="103"/>
                    <a:pt x="98" y="104"/>
                    <a:pt x="89" y="106"/>
                  </a:cubicBezTo>
                  <a:cubicBezTo>
                    <a:pt x="87" y="106"/>
                    <a:pt x="85" y="107"/>
                    <a:pt x="83" y="107"/>
                  </a:cubicBezTo>
                  <a:cubicBezTo>
                    <a:pt x="66" y="111"/>
                    <a:pt x="55" y="120"/>
                    <a:pt x="49" y="133"/>
                  </a:cubicBezTo>
                  <a:cubicBezTo>
                    <a:pt x="48" y="134"/>
                    <a:pt x="48" y="136"/>
                    <a:pt x="47" y="138"/>
                  </a:cubicBezTo>
                  <a:cubicBezTo>
                    <a:pt x="45" y="142"/>
                    <a:pt x="43" y="147"/>
                    <a:pt x="41" y="153"/>
                  </a:cubicBezTo>
                  <a:cubicBezTo>
                    <a:pt x="41" y="155"/>
                    <a:pt x="40" y="157"/>
                    <a:pt x="39" y="160"/>
                  </a:cubicBezTo>
                  <a:cubicBezTo>
                    <a:pt x="36" y="168"/>
                    <a:pt x="33" y="177"/>
                    <a:pt x="30" y="186"/>
                  </a:cubicBezTo>
                  <a:cubicBezTo>
                    <a:pt x="28" y="191"/>
                    <a:pt x="27" y="195"/>
                    <a:pt x="25" y="200"/>
                  </a:cubicBezTo>
                  <a:cubicBezTo>
                    <a:pt x="24" y="203"/>
                    <a:pt x="23" y="206"/>
                    <a:pt x="22" y="210"/>
                  </a:cubicBezTo>
                  <a:cubicBezTo>
                    <a:pt x="20" y="216"/>
                    <a:pt x="18" y="222"/>
                    <a:pt x="16" y="228"/>
                  </a:cubicBezTo>
                  <a:cubicBezTo>
                    <a:pt x="15" y="231"/>
                    <a:pt x="14" y="234"/>
                    <a:pt x="13" y="237"/>
                  </a:cubicBezTo>
                  <a:cubicBezTo>
                    <a:pt x="11" y="244"/>
                    <a:pt x="9" y="251"/>
                    <a:pt x="7" y="256"/>
                  </a:cubicBezTo>
                  <a:cubicBezTo>
                    <a:pt x="6" y="257"/>
                    <a:pt x="6" y="258"/>
                    <a:pt x="6" y="259"/>
                  </a:cubicBezTo>
                  <a:cubicBezTo>
                    <a:pt x="4" y="264"/>
                    <a:pt x="3" y="267"/>
                    <a:pt x="2" y="270"/>
                  </a:cubicBezTo>
                  <a:cubicBezTo>
                    <a:pt x="2" y="272"/>
                    <a:pt x="1" y="273"/>
                    <a:pt x="1" y="273"/>
                  </a:cubicBezTo>
                  <a:cubicBezTo>
                    <a:pt x="1" y="274"/>
                    <a:pt x="1" y="274"/>
                    <a:pt x="1" y="274"/>
                  </a:cubicBezTo>
                  <a:cubicBezTo>
                    <a:pt x="0" y="277"/>
                    <a:pt x="0" y="280"/>
                    <a:pt x="2" y="283"/>
                  </a:cubicBezTo>
                  <a:cubicBezTo>
                    <a:pt x="3" y="287"/>
                    <a:pt x="6" y="291"/>
                    <a:pt x="10" y="293"/>
                  </a:cubicBezTo>
                  <a:cubicBezTo>
                    <a:pt x="11" y="294"/>
                    <a:pt x="12" y="294"/>
                    <a:pt x="13" y="295"/>
                  </a:cubicBezTo>
                  <a:cubicBezTo>
                    <a:pt x="14" y="295"/>
                    <a:pt x="15" y="295"/>
                    <a:pt x="16" y="295"/>
                  </a:cubicBezTo>
                  <a:cubicBezTo>
                    <a:pt x="17" y="296"/>
                    <a:pt x="18" y="296"/>
                    <a:pt x="20" y="296"/>
                  </a:cubicBezTo>
                  <a:cubicBezTo>
                    <a:pt x="27" y="296"/>
                    <a:pt x="33" y="292"/>
                    <a:pt x="35" y="286"/>
                  </a:cubicBezTo>
                  <a:cubicBezTo>
                    <a:pt x="69" y="212"/>
                    <a:pt x="69" y="212"/>
                    <a:pt x="69" y="212"/>
                  </a:cubicBezTo>
                  <a:cubicBezTo>
                    <a:pt x="69" y="221"/>
                    <a:pt x="69" y="230"/>
                    <a:pt x="68" y="240"/>
                  </a:cubicBezTo>
                  <a:cubicBezTo>
                    <a:pt x="68" y="247"/>
                    <a:pt x="68" y="254"/>
                    <a:pt x="68" y="261"/>
                  </a:cubicBezTo>
                  <a:cubicBezTo>
                    <a:pt x="68" y="264"/>
                    <a:pt x="68" y="268"/>
                    <a:pt x="68" y="271"/>
                  </a:cubicBezTo>
                  <a:cubicBezTo>
                    <a:pt x="67" y="278"/>
                    <a:pt x="67" y="285"/>
                    <a:pt x="67" y="292"/>
                  </a:cubicBezTo>
                  <a:cubicBezTo>
                    <a:pt x="67" y="296"/>
                    <a:pt x="67" y="299"/>
                    <a:pt x="67" y="303"/>
                  </a:cubicBezTo>
                  <a:cubicBezTo>
                    <a:pt x="66" y="317"/>
                    <a:pt x="66" y="331"/>
                    <a:pt x="66" y="345"/>
                  </a:cubicBezTo>
                  <a:cubicBezTo>
                    <a:pt x="66" y="352"/>
                    <a:pt x="65" y="358"/>
                    <a:pt x="65" y="365"/>
                  </a:cubicBezTo>
                  <a:cubicBezTo>
                    <a:pt x="65" y="385"/>
                    <a:pt x="64" y="403"/>
                    <a:pt x="64" y="419"/>
                  </a:cubicBezTo>
                  <a:cubicBezTo>
                    <a:pt x="64" y="429"/>
                    <a:pt x="63" y="438"/>
                    <a:pt x="63" y="446"/>
                  </a:cubicBezTo>
                  <a:cubicBezTo>
                    <a:pt x="63" y="448"/>
                    <a:pt x="63" y="450"/>
                    <a:pt x="63" y="451"/>
                  </a:cubicBezTo>
                  <a:cubicBezTo>
                    <a:pt x="63" y="462"/>
                    <a:pt x="63" y="468"/>
                    <a:pt x="62" y="469"/>
                  </a:cubicBezTo>
                  <a:cubicBezTo>
                    <a:pt x="62" y="470"/>
                    <a:pt x="62" y="470"/>
                    <a:pt x="62" y="470"/>
                  </a:cubicBezTo>
                  <a:cubicBezTo>
                    <a:pt x="63" y="471"/>
                    <a:pt x="63" y="473"/>
                    <a:pt x="63" y="474"/>
                  </a:cubicBezTo>
                  <a:cubicBezTo>
                    <a:pt x="64" y="475"/>
                    <a:pt x="64" y="476"/>
                    <a:pt x="65" y="478"/>
                  </a:cubicBezTo>
                  <a:cubicBezTo>
                    <a:pt x="66" y="480"/>
                    <a:pt x="68" y="482"/>
                    <a:pt x="70" y="483"/>
                  </a:cubicBezTo>
                  <a:cubicBezTo>
                    <a:pt x="71" y="484"/>
                    <a:pt x="72" y="485"/>
                    <a:pt x="73" y="486"/>
                  </a:cubicBezTo>
                  <a:cubicBezTo>
                    <a:pt x="76" y="488"/>
                    <a:pt x="80" y="489"/>
                    <a:pt x="85" y="489"/>
                  </a:cubicBezTo>
                  <a:cubicBezTo>
                    <a:pt x="86" y="489"/>
                    <a:pt x="88" y="489"/>
                    <a:pt x="89" y="489"/>
                  </a:cubicBezTo>
                  <a:cubicBezTo>
                    <a:pt x="92" y="488"/>
                    <a:pt x="94" y="487"/>
                    <a:pt x="96" y="486"/>
                  </a:cubicBezTo>
                  <a:cubicBezTo>
                    <a:pt x="99" y="484"/>
                    <a:pt x="101" y="483"/>
                    <a:pt x="102" y="481"/>
                  </a:cubicBezTo>
                  <a:cubicBezTo>
                    <a:pt x="103" y="480"/>
                    <a:pt x="104" y="479"/>
                    <a:pt x="105" y="478"/>
                  </a:cubicBezTo>
                  <a:cubicBezTo>
                    <a:pt x="106" y="475"/>
                    <a:pt x="107" y="473"/>
                    <a:pt x="107" y="470"/>
                  </a:cubicBezTo>
                  <a:cubicBezTo>
                    <a:pt x="122" y="345"/>
                    <a:pt x="122" y="345"/>
                    <a:pt x="122" y="345"/>
                  </a:cubicBezTo>
                  <a:cubicBezTo>
                    <a:pt x="136" y="470"/>
                    <a:pt x="136" y="470"/>
                    <a:pt x="136" y="470"/>
                  </a:cubicBezTo>
                  <a:cubicBezTo>
                    <a:pt x="136" y="472"/>
                    <a:pt x="137" y="473"/>
                    <a:pt x="137" y="474"/>
                  </a:cubicBezTo>
                  <a:cubicBezTo>
                    <a:pt x="138" y="478"/>
                    <a:pt x="140" y="481"/>
                    <a:pt x="143" y="484"/>
                  </a:cubicBezTo>
                  <a:cubicBezTo>
                    <a:pt x="144" y="484"/>
                    <a:pt x="145" y="485"/>
                    <a:pt x="147" y="486"/>
                  </a:cubicBezTo>
                  <a:cubicBezTo>
                    <a:pt x="150" y="488"/>
                    <a:pt x="154" y="489"/>
                    <a:pt x="158" y="489"/>
                  </a:cubicBezTo>
                  <a:cubicBezTo>
                    <a:pt x="158" y="489"/>
                    <a:pt x="158" y="489"/>
                    <a:pt x="158" y="489"/>
                  </a:cubicBezTo>
                  <a:cubicBezTo>
                    <a:pt x="160" y="489"/>
                    <a:pt x="161" y="489"/>
                    <a:pt x="163" y="489"/>
                  </a:cubicBezTo>
                  <a:cubicBezTo>
                    <a:pt x="172" y="487"/>
                    <a:pt x="180" y="479"/>
                    <a:pt x="181" y="470"/>
                  </a:cubicBezTo>
                  <a:cubicBezTo>
                    <a:pt x="181" y="470"/>
                    <a:pt x="181" y="470"/>
                    <a:pt x="181" y="469"/>
                  </a:cubicBezTo>
                  <a:cubicBezTo>
                    <a:pt x="181" y="469"/>
                    <a:pt x="181" y="469"/>
                    <a:pt x="181" y="468"/>
                  </a:cubicBezTo>
                  <a:cubicBezTo>
                    <a:pt x="181" y="468"/>
                    <a:pt x="180" y="467"/>
                    <a:pt x="180" y="466"/>
                  </a:cubicBezTo>
                  <a:cubicBezTo>
                    <a:pt x="180" y="462"/>
                    <a:pt x="180" y="453"/>
                    <a:pt x="180" y="440"/>
                  </a:cubicBezTo>
                  <a:cubicBezTo>
                    <a:pt x="180" y="434"/>
                    <a:pt x="179" y="427"/>
                    <a:pt x="179" y="419"/>
                  </a:cubicBezTo>
                  <a:cubicBezTo>
                    <a:pt x="179" y="398"/>
                    <a:pt x="178" y="372"/>
                    <a:pt x="177" y="345"/>
                  </a:cubicBezTo>
                  <a:cubicBezTo>
                    <a:pt x="177" y="341"/>
                    <a:pt x="177" y="338"/>
                    <a:pt x="177" y="334"/>
                  </a:cubicBezTo>
                  <a:cubicBezTo>
                    <a:pt x="177" y="324"/>
                    <a:pt x="177" y="313"/>
                    <a:pt x="176" y="303"/>
                  </a:cubicBezTo>
                  <a:cubicBezTo>
                    <a:pt x="176" y="299"/>
                    <a:pt x="176" y="296"/>
                    <a:pt x="176" y="292"/>
                  </a:cubicBezTo>
                  <a:cubicBezTo>
                    <a:pt x="175" y="264"/>
                    <a:pt x="175" y="236"/>
                    <a:pt x="174" y="212"/>
                  </a:cubicBezTo>
                  <a:cubicBezTo>
                    <a:pt x="208" y="286"/>
                    <a:pt x="208" y="286"/>
                    <a:pt x="208" y="286"/>
                  </a:cubicBezTo>
                  <a:cubicBezTo>
                    <a:pt x="209" y="288"/>
                    <a:pt x="210" y="290"/>
                    <a:pt x="212" y="292"/>
                  </a:cubicBezTo>
                  <a:cubicBezTo>
                    <a:pt x="215" y="294"/>
                    <a:pt x="219" y="296"/>
                    <a:pt x="224" y="296"/>
                  </a:cubicBezTo>
                  <a:cubicBezTo>
                    <a:pt x="225" y="296"/>
                    <a:pt x="226" y="296"/>
                    <a:pt x="227" y="295"/>
                  </a:cubicBezTo>
                  <a:cubicBezTo>
                    <a:pt x="228" y="295"/>
                    <a:pt x="229" y="295"/>
                    <a:pt x="230" y="295"/>
                  </a:cubicBezTo>
                  <a:cubicBezTo>
                    <a:pt x="239" y="291"/>
                    <a:pt x="244" y="282"/>
                    <a:pt x="242" y="274"/>
                  </a:cubicBez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endParaRPr lang="en-US" sz="1836"/>
            </a:p>
          </p:txBody>
        </p:sp>
      </p:grpSp>
      <p:grpSp>
        <p:nvGrpSpPr>
          <p:cNvPr id="5128" name="Group 5127"/>
          <p:cNvGrpSpPr/>
          <p:nvPr/>
        </p:nvGrpSpPr>
        <p:grpSpPr>
          <a:xfrm>
            <a:off x="1315706" y="1528549"/>
            <a:ext cx="1119124" cy="1119124"/>
            <a:chOff x="381000" y="15082838"/>
            <a:chExt cx="2673350" cy="2674938"/>
          </a:xfrm>
        </p:grpSpPr>
        <p:sp>
          <p:nvSpPr>
            <p:cNvPr id="222" name="Oval 53"/>
            <p:cNvSpPr>
              <a:spLocks noChangeArrowheads="1"/>
            </p:cNvSpPr>
            <p:nvPr/>
          </p:nvSpPr>
          <p:spPr bwMode="auto">
            <a:xfrm>
              <a:off x="381000" y="15082838"/>
              <a:ext cx="2673350" cy="2674938"/>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5120" name="Freeform 55"/>
            <p:cNvSpPr>
              <a:spLocks noEditPoints="1"/>
            </p:cNvSpPr>
            <p:nvPr/>
          </p:nvSpPr>
          <p:spPr bwMode="auto">
            <a:xfrm>
              <a:off x="1262062" y="15503525"/>
              <a:ext cx="911225" cy="1833563"/>
            </a:xfrm>
            <a:custGeom>
              <a:avLst/>
              <a:gdLst>
                <a:gd name="T0" fmla="*/ 95 w 243"/>
                <a:gd name="T1" fmla="*/ 85 h 489"/>
                <a:gd name="T2" fmla="*/ 121 w 243"/>
                <a:gd name="T3" fmla="*/ 93 h 489"/>
                <a:gd name="T4" fmla="*/ 168 w 243"/>
                <a:gd name="T5" fmla="*/ 46 h 489"/>
                <a:gd name="T6" fmla="*/ 121 w 243"/>
                <a:gd name="T7" fmla="*/ 0 h 489"/>
                <a:gd name="T8" fmla="*/ 95 w 243"/>
                <a:gd name="T9" fmla="*/ 8 h 489"/>
                <a:gd name="T10" fmla="*/ 86 w 243"/>
                <a:gd name="T11" fmla="*/ 17 h 489"/>
                <a:gd name="T12" fmla="*/ 86 w 243"/>
                <a:gd name="T13" fmla="*/ 76 h 489"/>
                <a:gd name="T14" fmla="*/ 242 w 243"/>
                <a:gd name="T15" fmla="*/ 274 h 489"/>
                <a:gd name="T16" fmla="*/ 242 w 243"/>
                <a:gd name="T17" fmla="*/ 273 h 489"/>
                <a:gd name="T18" fmla="*/ 240 w 243"/>
                <a:gd name="T19" fmla="*/ 269 h 489"/>
                <a:gd name="T20" fmla="*/ 237 w 243"/>
                <a:gd name="T21" fmla="*/ 259 h 489"/>
                <a:gd name="T22" fmla="*/ 194 w 243"/>
                <a:gd name="T23" fmla="*/ 132 h 489"/>
                <a:gd name="T24" fmla="*/ 177 w 243"/>
                <a:gd name="T25" fmla="*/ 114 h 489"/>
                <a:gd name="T26" fmla="*/ 142 w 243"/>
                <a:gd name="T27" fmla="*/ 104 h 489"/>
                <a:gd name="T28" fmla="*/ 94 w 243"/>
                <a:gd name="T29" fmla="*/ 104 h 489"/>
                <a:gd name="T30" fmla="*/ 49 w 243"/>
                <a:gd name="T31" fmla="*/ 132 h 489"/>
                <a:gd name="T32" fmla="*/ 33 w 243"/>
                <a:gd name="T33" fmla="*/ 176 h 489"/>
                <a:gd name="T34" fmla="*/ 14 w 243"/>
                <a:gd name="T35" fmla="*/ 232 h 489"/>
                <a:gd name="T36" fmla="*/ 4 w 243"/>
                <a:gd name="T37" fmla="*/ 265 h 489"/>
                <a:gd name="T38" fmla="*/ 1 w 243"/>
                <a:gd name="T39" fmla="*/ 274 h 489"/>
                <a:gd name="T40" fmla="*/ 13 w 243"/>
                <a:gd name="T41" fmla="*/ 294 h 489"/>
                <a:gd name="T42" fmla="*/ 24 w 243"/>
                <a:gd name="T43" fmla="*/ 295 h 489"/>
                <a:gd name="T44" fmla="*/ 60 w 243"/>
                <a:gd name="T45" fmla="*/ 227 h 489"/>
                <a:gd name="T46" fmla="*/ 38 w 243"/>
                <a:gd name="T47" fmla="*/ 359 h 489"/>
                <a:gd name="T48" fmla="*/ 42 w 243"/>
                <a:gd name="T49" fmla="*/ 362 h 489"/>
                <a:gd name="T50" fmla="*/ 65 w 243"/>
                <a:gd name="T51" fmla="*/ 362 h 489"/>
                <a:gd name="T52" fmla="*/ 65 w 243"/>
                <a:gd name="T53" fmla="*/ 388 h 489"/>
                <a:gd name="T54" fmla="*/ 63 w 243"/>
                <a:gd name="T55" fmla="*/ 438 h 489"/>
                <a:gd name="T56" fmla="*/ 63 w 243"/>
                <a:gd name="T57" fmla="*/ 455 h 489"/>
                <a:gd name="T58" fmla="*/ 62 w 243"/>
                <a:gd name="T59" fmla="*/ 469 h 489"/>
                <a:gd name="T60" fmla="*/ 62 w 243"/>
                <a:gd name="T61" fmla="*/ 470 h 489"/>
                <a:gd name="T62" fmla="*/ 76 w 243"/>
                <a:gd name="T63" fmla="*/ 487 h 489"/>
                <a:gd name="T64" fmla="*/ 96 w 243"/>
                <a:gd name="T65" fmla="*/ 485 h 489"/>
                <a:gd name="T66" fmla="*/ 107 w 243"/>
                <a:gd name="T67" fmla="*/ 470 h 489"/>
                <a:gd name="T68" fmla="*/ 123 w 243"/>
                <a:gd name="T69" fmla="*/ 362 h 489"/>
                <a:gd name="T70" fmla="*/ 143 w 243"/>
                <a:gd name="T71" fmla="*/ 483 h 489"/>
                <a:gd name="T72" fmla="*/ 158 w 243"/>
                <a:gd name="T73" fmla="*/ 489 h 489"/>
                <a:gd name="T74" fmla="*/ 166 w 243"/>
                <a:gd name="T75" fmla="*/ 487 h 489"/>
                <a:gd name="T76" fmla="*/ 180 w 243"/>
                <a:gd name="T77" fmla="*/ 469 h 489"/>
                <a:gd name="T78" fmla="*/ 180 w 243"/>
                <a:gd name="T79" fmla="*/ 442 h 489"/>
                <a:gd name="T80" fmla="*/ 177 w 243"/>
                <a:gd name="T81" fmla="*/ 362 h 489"/>
                <a:gd name="T82" fmla="*/ 203 w 243"/>
                <a:gd name="T83" fmla="*/ 361 h 489"/>
                <a:gd name="T84" fmla="*/ 204 w 243"/>
                <a:gd name="T85" fmla="*/ 356 h 489"/>
                <a:gd name="T86" fmla="*/ 195 w 243"/>
                <a:gd name="T87" fmla="*/ 256 h 489"/>
                <a:gd name="T88" fmla="*/ 223 w 243"/>
                <a:gd name="T89" fmla="*/ 295 h 489"/>
                <a:gd name="T90" fmla="*/ 226 w 243"/>
                <a:gd name="T91" fmla="*/ 295 h 489"/>
                <a:gd name="T92" fmla="*/ 238 w 243"/>
                <a:gd name="T93" fmla="*/ 289 h 489"/>
                <a:gd name="T94" fmla="*/ 242 w 243"/>
                <a:gd name="T95" fmla="*/ 274 h 4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43" h="489">
                  <a:moveTo>
                    <a:pt x="89" y="79"/>
                  </a:moveTo>
                  <a:cubicBezTo>
                    <a:pt x="91" y="81"/>
                    <a:pt x="93" y="83"/>
                    <a:pt x="95" y="85"/>
                  </a:cubicBezTo>
                  <a:cubicBezTo>
                    <a:pt x="98" y="86"/>
                    <a:pt x="101" y="88"/>
                    <a:pt x="103" y="89"/>
                  </a:cubicBezTo>
                  <a:cubicBezTo>
                    <a:pt x="109" y="91"/>
                    <a:pt x="115" y="93"/>
                    <a:pt x="121" y="93"/>
                  </a:cubicBezTo>
                  <a:cubicBezTo>
                    <a:pt x="126" y="93"/>
                    <a:pt x="131" y="92"/>
                    <a:pt x="135" y="90"/>
                  </a:cubicBezTo>
                  <a:cubicBezTo>
                    <a:pt x="154" y="85"/>
                    <a:pt x="168" y="67"/>
                    <a:pt x="168" y="46"/>
                  </a:cubicBezTo>
                  <a:cubicBezTo>
                    <a:pt x="168" y="26"/>
                    <a:pt x="154" y="8"/>
                    <a:pt x="135" y="2"/>
                  </a:cubicBezTo>
                  <a:cubicBezTo>
                    <a:pt x="131" y="1"/>
                    <a:pt x="126" y="0"/>
                    <a:pt x="121" y="0"/>
                  </a:cubicBezTo>
                  <a:cubicBezTo>
                    <a:pt x="115" y="0"/>
                    <a:pt x="109" y="1"/>
                    <a:pt x="103" y="4"/>
                  </a:cubicBezTo>
                  <a:cubicBezTo>
                    <a:pt x="101" y="5"/>
                    <a:pt x="98" y="6"/>
                    <a:pt x="95" y="8"/>
                  </a:cubicBezTo>
                  <a:cubicBezTo>
                    <a:pt x="93" y="10"/>
                    <a:pt x="91" y="12"/>
                    <a:pt x="89" y="14"/>
                  </a:cubicBezTo>
                  <a:cubicBezTo>
                    <a:pt x="88" y="15"/>
                    <a:pt x="87" y="16"/>
                    <a:pt x="86" y="17"/>
                  </a:cubicBezTo>
                  <a:cubicBezTo>
                    <a:pt x="79" y="25"/>
                    <a:pt x="75" y="35"/>
                    <a:pt x="75" y="46"/>
                  </a:cubicBezTo>
                  <a:cubicBezTo>
                    <a:pt x="75" y="57"/>
                    <a:pt x="79" y="68"/>
                    <a:pt x="86" y="76"/>
                  </a:cubicBezTo>
                  <a:cubicBezTo>
                    <a:pt x="87" y="77"/>
                    <a:pt x="88" y="78"/>
                    <a:pt x="89" y="79"/>
                  </a:cubicBezTo>
                  <a:close/>
                  <a:moveTo>
                    <a:pt x="242" y="274"/>
                  </a:moveTo>
                  <a:cubicBezTo>
                    <a:pt x="242" y="274"/>
                    <a:pt x="242" y="273"/>
                    <a:pt x="242" y="273"/>
                  </a:cubicBezTo>
                  <a:cubicBezTo>
                    <a:pt x="242" y="273"/>
                    <a:pt x="242" y="273"/>
                    <a:pt x="242" y="273"/>
                  </a:cubicBezTo>
                  <a:cubicBezTo>
                    <a:pt x="242" y="273"/>
                    <a:pt x="241" y="273"/>
                    <a:pt x="241" y="272"/>
                  </a:cubicBezTo>
                  <a:cubicBezTo>
                    <a:pt x="241" y="272"/>
                    <a:pt x="241" y="271"/>
                    <a:pt x="240" y="269"/>
                  </a:cubicBezTo>
                  <a:cubicBezTo>
                    <a:pt x="240" y="268"/>
                    <a:pt x="240" y="267"/>
                    <a:pt x="239" y="265"/>
                  </a:cubicBezTo>
                  <a:cubicBezTo>
                    <a:pt x="238" y="263"/>
                    <a:pt x="238" y="261"/>
                    <a:pt x="237" y="259"/>
                  </a:cubicBezTo>
                  <a:cubicBezTo>
                    <a:pt x="237" y="258"/>
                    <a:pt x="236" y="257"/>
                    <a:pt x="236" y="256"/>
                  </a:cubicBezTo>
                  <a:cubicBezTo>
                    <a:pt x="224" y="220"/>
                    <a:pt x="200" y="146"/>
                    <a:pt x="194" y="132"/>
                  </a:cubicBezTo>
                  <a:cubicBezTo>
                    <a:pt x="193" y="130"/>
                    <a:pt x="191" y="127"/>
                    <a:pt x="190" y="125"/>
                  </a:cubicBezTo>
                  <a:cubicBezTo>
                    <a:pt x="186" y="121"/>
                    <a:pt x="182" y="117"/>
                    <a:pt x="177" y="114"/>
                  </a:cubicBezTo>
                  <a:cubicBezTo>
                    <a:pt x="174" y="112"/>
                    <a:pt x="169" y="110"/>
                    <a:pt x="165" y="108"/>
                  </a:cubicBezTo>
                  <a:cubicBezTo>
                    <a:pt x="158" y="106"/>
                    <a:pt x="151" y="105"/>
                    <a:pt x="142" y="104"/>
                  </a:cubicBezTo>
                  <a:cubicBezTo>
                    <a:pt x="136" y="103"/>
                    <a:pt x="129" y="103"/>
                    <a:pt x="121" y="103"/>
                  </a:cubicBezTo>
                  <a:cubicBezTo>
                    <a:pt x="111" y="103"/>
                    <a:pt x="102" y="103"/>
                    <a:pt x="94" y="104"/>
                  </a:cubicBezTo>
                  <a:cubicBezTo>
                    <a:pt x="74" y="107"/>
                    <a:pt x="61" y="114"/>
                    <a:pt x="53" y="125"/>
                  </a:cubicBezTo>
                  <a:cubicBezTo>
                    <a:pt x="51" y="127"/>
                    <a:pt x="50" y="130"/>
                    <a:pt x="49" y="132"/>
                  </a:cubicBezTo>
                  <a:cubicBezTo>
                    <a:pt x="46" y="138"/>
                    <a:pt x="41" y="153"/>
                    <a:pt x="34" y="172"/>
                  </a:cubicBezTo>
                  <a:cubicBezTo>
                    <a:pt x="34" y="174"/>
                    <a:pt x="33" y="175"/>
                    <a:pt x="33" y="176"/>
                  </a:cubicBezTo>
                  <a:cubicBezTo>
                    <a:pt x="30" y="184"/>
                    <a:pt x="28" y="192"/>
                    <a:pt x="25" y="200"/>
                  </a:cubicBezTo>
                  <a:cubicBezTo>
                    <a:pt x="21" y="211"/>
                    <a:pt x="18" y="222"/>
                    <a:pt x="14" y="232"/>
                  </a:cubicBezTo>
                  <a:cubicBezTo>
                    <a:pt x="11" y="241"/>
                    <a:pt x="9" y="249"/>
                    <a:pt x="7" y="256"/>
                  </a:cubicBezTo>
                  <a:cubicBezTo>
                    <a:pt x="5" y="259"/>
                    <a:pt x="4" y="262"/>
                    <a:pt x="4" y="265"/>
                  </a:cubicBezTo>
                  <a:cubicBezTo>
                    <a:pt x="2" y="269"/>
                    <a:pt x="1" y="272"/>
                    <a:pt x="1" y="273"/>
                  </a:cubicBezTo>
                  <a:cubicBezTo>
                    <a:pt x="1" y="273"/>
                    <a:pt x="1" y="273"/>
                    <a:pt x="1" y="274"/>
                  </a:cubicBezTo>
                  <a:cubicBezTo>
                    <a:pt x="0" y="276"/>
                    <a:pt x="0" y="278"/>
                    <a:pt x="0" y="280"/>
                  </a:cubicBezTo>
                  <a:cubicBezTo>
                    <a:pt x="1" y="286"/>
                    <a:pt x="6" y="292"/>
                    <a:pt x="13" y="294"/>
                  </a:cubicBezTo>
                  <a:cubicBezTo>
                    <a:pt x="15" y="295"/>
                    <a:pt x="17" y="295"/>
                    <a:pt x="19" y="295"/>
                  </a:cubicBezTo>
                  <a:cubicBezTo>
                    <a:pt x="21" y="295"/>
                    <a:pt x="23" y="295"/>
                    <a:pt x="24" y="295"/>
                  </a:cubicBezTo>
                  <a:cubicBezTo>
                    <a:pt x="29" y="293"/>
                    <a:pt x="33" y="290"/>
                    <a:pt x="35" y="285"/>
                  </a:cubicBezTo>
                  <a:cubicBezTo>
                    <a:pt x="60" y="227"/>
                    <a:pt x="60" y="227"/>
                    <a:pt x="60" y="227"/>
                  </a:cubicBezTo>
                  <a:cubicBezTo>
                    <a:pt x="38" y="357"/>
                    <a:pt x="38" y="357"/>
                    <a:pt x="38" y="357"/>
                  </a:cubicBezTo>
                  <a:cubicBezTo>
                    <a:pt x="38" y="357"/>
                    <a:pt x="38" y="358"/>
                    <a:pt x="38" y="359"/>
                  </a:cubicBezTo>
                  <a:cubicBezTo>
                    <a:pt x="38" y="359"/>
                    <a:pt x="39" y="360"/>
                    <a:pt x="39" y="360"/>
                  </a:cubicBezTo>
                  <a:cubicBezTo>
                    <a:pt x="40" y="361"/>
                    <a:pt x="41" y="362"/>
                    <a:pt x="42" y="362"/>
                  </a:cubicBezTo>
                  <a:cubicBezTo>
                    <a:pt x="42" y="362"/>
                    <a:pt x="42" y="362"/>
                    <a:pt x="43" y="362"/>
                  </a:cubicBezTo>
                  <a:cubicBezTo>
                    <a:pt x="65" y="362"/>
                    <a:pt x="65" y="362"/>
                    <a:pt x="65" y="362"/>
                  </a:cubicBezTo>
                  <a:cubicBezTo>
                    <a:pt x="65" y="367"/>
                    <a:pt x="65" y="373"/>
                    <a:pt x="65" y="380"/>
                  </a:cubicBezTo>
                  <a:cubicBezTo>
                    <a:pt x="65" y="382"/>
                    <a:pt x="65" y="385"/>
                    <a:pt x="65" y="388"/>
                  </a:cubicBezTo>
                  <a:cubicBezTo>
                    <a:pt x="64" y="399"/>
                    <a:pt x="64" y="411"/>
                    <a:pt x="64" y="422"/>
                  </a:cubicBezTo>
                  <a:cubicBezTo>
                    <a:pt x="63" y="428"/>
                    <a:pt x="63" y="433"/>
                    <a:pt x="63" y="438"/>
                  </a:cubicBezTo>
                  <a:cubicBezTo>
                    <a:pt x="63" y="442"/>
                    <a:pt x="63" y="446"/>
                    <a:pt x="63" y="449"/>
                  </a:cubicBezTo>
                  <a:cubicBezTo>
                    <a:pt x="63" y="451"/>
                    <a:pt x="63" y="453"/>
                    <a:pt x="63" y="455"/>
                  </a:cubicBezTo>
                  <a:cubicBezTo>
                    <a:pt x="63" y="460"/>
                    <a:pt x="62" y="464"/>
                    <a:pt x="62" y="466"/>
                  </a:cubicBezTo>
                  <a:cubicBezTo>
                    <a:pt x="62" y="468"/>
                    <a:pt x="62" y="469"/>
                    <a:pt x="62" y="469"/>
                  </a:cubicBezTo>
                  <a:cubicBezTo>
                    <a:pt x="62" y="469"/>
                    <a:pt x="62" y="469"/>
                    <a:pt x="62" y="469"/>
                  </a:cubicBezTo>
                  <a:cubicBezTo>
                    <a:pt x="62" y="470"/>
                    <a:pt x="62" y="470"/>
                    <a:pt x="62" y="470"/>
                  </a:cubicBezTo>
                  <a:cubicBezTo>
                    <a:pt x="63" y="476"/>
                    <a:pt x="67" y="482"/>
                    <a:pt x="72" y="485"/>
                  </a:cubicBezTo>
                  <a:cubicBezTo>
                    <a:pt x="74" y="486"/>
                    <a:pt x="75" y="487"/>
                    <a:pt x="76" y="487"/>
                  </a:cubicBezTo>
                  <a:cubicBezTo>
                    <a:pt x="79" y="488"/>
                    <a:pt x="81" y="489"/>
                    <a:pt x="84" y="489"/>
                  </a:cubicBezTo>
                  <a:cubicBezTo>
                    <a:pt x="89" y="489"/>
                    <a:pt x="93" y="487"/>
                    <a:pt x="96" y="485"/>
                  </a:cubicBezTo>
                  <a:cubicBezTo>
                    <a:pt x="99" y="484"/>
                    <a:pt x="101" y="482"/>
                    <a:pt x="102" y="480"/>
                  </a:cubicBezTo>
                  <a:cubicBezTo>
                    <a:pt x="105" y="477"/>
                    <a:pt x="106" y="474"/>
                    <a:pt x="107" y="470"/>
                  </a:cubicBezTo>
                  <a:cubicBezTo>
                    <a:pt x="119" y="362"/>
                    <a:pt x="119" y="362"/>
                    <a:pt x="119" y="362"/>
                  </a:cubicBezTo>
                  <a:cubicBezTo>
                    <a:pt x="123" y="362"/>
                    <a:pt x="123" y="362"/>
                    <a:pt x="123" y="362"/>
                  </a:cubicBezTo>
                  <a:cubicBezTo>
                    <a:pt x="136" y="470"/>
                    <a:pt x="136" y="470"/>
                    <a:pt x="136" y="470"/>
                  </a:cubicBezTo>
                  <a:cubicBezTo>
                    <a:pt x="136" y="475"/>
                    <a:pt x="139" y="480"/>
                    <a:pt x="143" y="483"/>
                  </a:cubicBezTo>
                  <a:cubicBezTo>
                    <a:pt x="145" y="485"/>
                    <a:pt x="147" y="486"/>
                    <a:pt x="150" y="487"/>
                  </a:cubicBezTo>
                  <a:cubicBezTo>
                    <a:pt x="153" y="488"/>
                    <a:pt x="155" y="489"/>
                    <a:pt x="158" y="489"/>
                  </a:cubicBezTo>
                  <a:cubicBezTo>
                    <a:pt x="158" y="489"/>
                    <a:pt x="158" y="489"/>
                    <a:pt x="158" y="489"/>
                  </a:cubicBezTo>
                  <a:cubicBezTo>
                    <a:pt x="161" y="489"/>
                    <a:pt x="164" y="488"/>
                    <a:pt x="166" y="487"/>
                  </a:cubicBezTo>
                  <a:cubicBezTo>
                    <a:pt x="174" y="484"/>
                    <a:pt x="180" y="478"/>
                    <a:pt x="180" y="470"/>
                  </a:cubicBezTo>
                  <a:cubicBezTo>
                    <a:pt x="180" y="470"/>
                    <a:pt x="180" y="469"/>
                    <a:pt x="180" y="469"/>
                  </a:cubicBezTo>
                  <a:cubicBezTo>
                    <a:pt x="180" y="468"/>
                    <a:pt x="180" y="462"/>
                    <a:pt x="180" y="452"/>
                  </a:cubicBezTo>
                  <a:cubicBezTo>
                    <a:pt x="180" y="449"/>
                    <a:pt x="180" y="446"/>
                    <a:pt x="180" y="442"/>
                  </a:cubicBezTo>
                  <a:cubicBezTo>
                    <a:pt x="179" y="440"/>
                    <a:pt x="179" y="437"/>
                    <a:pt x="179" y="434"/>
                  </a:cubicBezTo>
                  <a:cubicBezTo>
                    <a:pt x="179" y="411"/>
                    <a:pt x="178" y="380"/>
                    <a:pt x="177" y="362"/>
                  </a:cubicBezTo>
                  <a:cubicBezTo>
                    <a:pt x="200" y="362"/>
                    <a:pt x="200" y="362"/>
                    <a:pt x="200" y="362"/>
                  </a:cubicBezTo>
                  <a:cubicBezTo>
                    <a:pt x="201" y="362"/>
                    <a:pt x="202" y="361"/>
                    <a:pt x="203" y="361"/>
                  </a:cubicBezTo>
                  <a:cubicBezTo>
                    <a:pt x="204" y="360"/>
                    <a:pt x="204" y="359"/>
                    <a:pt x="204" y="357"/>
                  </a:cubicBezTo>
                  <a:cubicBezTo>
                    <a:pt x="204" y="357"/>
                    <a:pt x="204" y="356"/>
                    <a:pt x="204" y="356"/>
                  </a:cubicBezTo>
                  <a:cubicBezTo>
                    <a:pt x="183" y="227"/>
                    <a:pt x="183" y="227"/>
                    <a:pt x="183" y="227"/>
                  </a:cubicBezTo>
                  <a:cubicBezTo>
                    <a:pt x="195" y="256"/>
                    <a:pt x="195" y="256"/>
                    <a:pt x="195" y="256"/>
                  </a:cubicBezTo>
                  <a:cubicBezTo>
                    <a:pt x="207" y="286"/>
                    <a:pt x="207" y="286"/>
                    <a:pt x="207" y="286"/>
                  </a:cubicBezTo>
                  <a:cubicBezTo>
                    <a:pt x="210" y="291"/>
                    <a:pt x="216" y="295"/>
                    <a:pt x="223" y="295"/>
                  </a:cubicBezTo>
                  <a:cubicBezTo>
                    <a:pt x="223" y="295"/>
                    <a:pt x="223" y="295"/>
                    <a:pt x="223" y="295"/>
                  </a:cubicBezTo>
                  <a:cubicBezTo>
                    <a:pt x="224" y="295"/>
                    <a:pt x="225" y="295"/>
                    <a:pt x="226" y="295"/>
                  </a:cubicBezTo>
                  <a:cubicBezTo>
                    <a:pt x="228" y="295"/>
                    <a:pt x="229" y="295"/>
                    <a:pt x="230" y="294"/>
                  </a:cubicBezTo>
                  <a:cubicBezTo>
                    <a:pt x="233" y="293"/>
                    <a:pt x="236" y="291"/>
                    <a:pt x="238" y="289"/>
                  </a:cubicBezTo>
                  <a:cubicBezTo>
                    <a:pt x="239" y="288"/>
                    <a:pt x="239" y="287"/>
                    <a:pt x="240" y="286"/>
                  </a:cubicBezTo>
                  <a:cubicBezTo>
                    <a:pt x="242" y="282"/>
                    <a:pt x="243" y="278"/>
                    <a:pt x="242" y="274"/>
                  </a:cubicBez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704708515"/>
      </p:ext>
    </p:extLst>
  </p:cSld>
  <p:clrMapOvr>
    <a:masterClrMapping/>
  </p:clrMapOvr>
  <p:transition>
    <p:fade/>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ransportation</a:t>
            </a:r>
          </a:p>
        </p:txBody>
      </p:sp>
      <p:sp>
        <p:nvSpPr>
          <p:cNvPr id="8" name="Oval 8"/>
          <p:cNvSpPr>
            <a:spLocks noChangeArrowheads="1"/>
          </p:cNvSpPr>
          <p:nvPr/>
        </p:nvSpPr>
        <p:spPr bwMode="auto">
          <a:xfrm>
            <a:off x="4831649" y="1528549"/>
            <a:ext cx="1119124" cy="1119124"/>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17" name="Freeform 17"/>
          <p:cNvSpPr>
            <a:spLocks noEditPoints="1"/>
          </p:cNvSpPr>
          <p:nvPr/>
        </p:nvSpPr>
        <p:spPr bwMode="auto">
          <a:xfrm>
            <a:off x="4991652" y="1815573"/>
            <a:ext cx="797783" cy="545523"/>
          </a:xfrm>
          <a:custGeom>
            <a:avLst/>
            <a:gdLst>
              <a:gd name="T0" fmla="*/ 605 w 758"/>
              <a:gd name="T1" fmla="*/ 489 h 518"/>
              <a:gd name="T2" fmla="*/ 528 w 758"/>
              <a:gd name="T3" fmla="*/ 504 h 518"/>
              <a:gd name="T4" fmla="*/ 450 w 758"/>
              <a:gd name="T5" fmla="*/ 489 h 518"/>
              <a:gd name="T6" fmla="*/ 308 w 758"/>
              <a:gd name="T7" fmla="*/ 489 h 518"/>
              <a:gd name="T8" fmla="*/ 231 w 758"/>
              <a:gd name="T9" fmla="*/ 504 h 518"/>
              <a:gd name="T10" fmla="*/ 153 w 758"/>
              <a:gd name="T11" fmla="*/ 489 h 518"/>
              <a:gd name="T12" fmla="*/ 75 w 758"/>
              <a:gd name="T13" fmla="*/ 511 h 518"/>
              <a:gd name="T14" fmla="*/ 156 w 758"/>
              <a:gd name="T15" fmla="*/ 503 h 518"/>
              <a:gd name="T16" fmla="*/ 305 w 758"/>
              <a:gd name="T17" fmla="*/ 503 h 518"/>
              <a:gd name="T18" fmla="*/ 453 w 758"/>
              <a:gd name="T19" fmla="*/ 503 h 518"/>
              <a:gd name="T20" fmla="*/ 602 w 758"/>
              <a:gd name="T21" fmla="*/ 503 h 518"/>
              <a:gd name="T22" fmla="*/ 683 w 758"/>
              <a:gd name="T23" fmla="*/ 511 h 518"/>
              <a:gd name="T24" fmla="*/ 756 w 758"/>
              <a:gd name="T25" fmla="*/ 424 h 518"/>
              <a:gd name="T26" fmla="*/ 676 w 758"/>
              <a:gd name="T27" fmla="*/ 449 h 518"/>
              <a:gd name="T28" fmla="*/ 600 w 758"/>
              <a:gd name="T29" fmla="*/ 423 h 518"/>
              <a:gd name="T30" fmla="*/ 704 w 758"/>
              <a:gd name="T31" fmla="*/ 177 h 518"/>
              <a:gd name="T32" fmla="*/ 483 w 758"/>
              <a:gd name="T33" fmla="*/ 168 h 518"/>
              <a:gd name="T34" fmla="*/ 422 w 758"/>
              <a:gd name="T35" fmla="*/ 242 h 518"/>
              <a:gd name="T36" fmla="*/ 228 w 758"/>
              <a:gd name="T37" fmla="*/ 172 h 518"/>
              <a:gd name="T38" fmla="*/ 259 w 758"/>
              <a:gd name="T39" fmla="*/ 167 h 518"/>
              <a:gd name="T40" fmla="*/ 279 w 758"/>
              <a:gd name="T41" fmla="*/ 68 h 518"/>
              <a:gd name="T42" fmla="*/ 226 w 758"/>
              <a:gd name="T43" fmla="*/ 65 h 518"/>
              <a:gd name="T44" fmla="*/ 219 w 758"/>
              <a:gd name="T45" fmla="*/ 0 h 518"/>
              <a:gd name="T46" fmla="*/ 212 w 758"/>
              <a:gd name="T47" fmla="*/ 65 h 518"/>
              <a:gd name="T48" fmla="*/ 65 w 758"/>
              <a:gd name="T49" fmla="*/ 72 h 518"/>
              <a:gd name="T50" fmla="*/ 72 w 758"/>
              <a:gd name="T51" fmla="*/ 176 h 518"/>
              <a:gd name="T52" fmla="*/ 86 w 758"/>
              <a:gd name="T53" fmla="*/ 242 h 518"/>
              <a:gd name="T54" fmla="*/ 24 w 758"/>
              <a:gd name="T55" fmla="*/ 255 h 518"/>
              <a:gd name="T56" fmla="*/ 96 w 758"/>
              <a:gd name="T57" fmla="*/ 448 h 518"/>
              <a:gd name="T58" fmla="*/ 13 w 758"/>
              <a:gd name="T59" fmla="*/ 424 h 518"/>
              <a:gd name="T60" fmla="*/ 3 w 758"/>
              <a:gd name="T61" fmla="*/ 434 h 518"/>
              <a:gd name="T62" fmla="*/ 114 w 758"/>
              <a:gd name="T63" fmla="*/ 459 h 518"/>
              <a:gd name="T64" fmla="*/ 156 w 758"/>
              <a:gd name="T65" fmla="*/ 439 h 518"/>
              <a:gd name="T66" fmla="*/ 305 w 758"/>
              <a:gd name="T67" fmla="*/ 439 h 518"/>
              <a:gd name="T68" fmla="*/ 453 w 758"/>
              <a:gd name="T69" fmla="*/ 439 h 518"/>
              <a:gd name="T70" fmla="*/ 602 w 758"/>
              <a:gd name="T71" fmla="*/ 439 h 518"/>
              <a:gd name="T72" fmla="*/ 755 w 758"/>
              <a:gd name="T73" fmla="*/ 434 h 518"/>
              <a:gd name="T74" fmla="*/ 79 w 758"/>
              <a:gd name="T75" fmla="*/ 162 h 518"/>
              <a:gd name="T76" fmla="*/ 265 w 758"/>
              <a:gd name="T77" fmla="*/ 79 h 518"/>
              <a:gd name="T78" fmla="*/ 221 w 758"/>
              <a:gd name="T79" fmla="*/ 158 h 518"/>
              <a:gd name="T80" fmla="*/ 214 w 758"/>
              <a:gd name="T81" fmla="*/ 242 h 518"/>
              <a:gd name="T82" fmla="*/ 100 w 758"/>
              <a:gd name="T83" fmla="*/ 169 h 518"/>
              <a:gd name="T84" fmla="*/ 79 w 758"/>
              <a:gd name="T85" fmla="*/ 162 h 518"/>
              <a:gd name="T86" fmla="*/ 528 w 758"/>
              <a:gd name="T87" fmla="*/ 449 h 518"/>
              <a:gd name="T88" fmla="*/ 449 w 758"/>
              <a:gd name="T89" fmla="*/ 424 h 518"/>
              <a:gd name="T90" fmla="*/ 310 w 758"/>
              <a:gd name="T91" fmla="*/ 424 h 518"/>
              <a:gd name="T92" fmla="*/ 231 w 758"/>
              <a:gd name="T93" fmla="*/ 449 h 518"/>
              <a:gd name="T94" fmla="*/ 151 w 758"/>
              <a:gd name="T95" fmla="*/ 424 h 518"/>
              <a:gd name="T96" fmla="*/ 30 w 758"/>
              <a:gd name="T97" fmla="*/ 324 h 518"/>
              <a:gd name="T98" fmla="*/ 52 w 758"/>
              <a:gd name="T99" fmla="*/ 256 h 518"/>
              <a:gd name="T100" fmla="*/ 455 w 758"/>
              <a:gd name="T101" fmla="*/ 218 h 518"/>
              <a:gd name="T102" fmla="*/ 688 w 758"/>
              <a:gd name="T103" fmla="*/ 182 h 518"/>
              <a:gd name="T104" fmla="*/ 646 w 758"/>
              <a:gd name="T105" fmla="*/ 341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58" h="518">
                <a:moveTo>
                  <a:pt x="676" y="504"/>
                </a:moveTo>
                <a:cubicBezTo>
                  <a:pt x="651" y="504"/>
                  <a:pt x="626" y="499"/>
                  <a:pt x="605" y="489"/>
                </a:cubicBezTo>
                <a:cubicBezTo>
                  <a:pt x="603" y="488"/>
                  <a:pt x="601" y="488"/>
                  <a:pt x="599" y="489"/>
                </a:cubicBezTo>
                <a:cubicBezTo>
                  <a:pt x="578" y="499"/>
                  <a:pt x="553" y="504"/>
                  <a:pt x="528" y="504"/>
                </a:cubicBezTo>
                <a:cubicBezTo>
                  <a:pt x="502" y="504"/>
                  <a:pt x="478" y="499"/>
                  <a:pt x="456" y="489"/>
                </a:cubicBezTo>
                <a:cubicBezTo>
                  <a:pt x="455" y="488"/>
                  <a:pt x="452" y="488"/>
                  <a:pt x="450" y="489"/>
                </a:cubicBezTo>
                <a:cubicBezTo>
                  <a:pt x="429" y="499"/>
                  <a:pt x="404" y="504"/>
                  <a:pt x="379" y="504"/>
                </a:cubicBezTo>
                <a:cubicBezTo>
                  <a:pt x="354" y="504"/>
                  <a:pt x="329" y="499"/>
                  <a:pt x="308" y="489"/>
                </a:cubicBezTo>
                <a:cubicBezTo>
                  <a:pt x="306" y="488"/>
                  <a:pt x="304" y="488"/>
                  <a:pt x="302" y="489"/>
                </a:cubicBezTo>
                <a:cubicBezTo>
                  <a:pt x="281" y="499"/>
                  <a:pt x="256" y="504"/>
                  <a:pt x="231" y="504"/>
                </a:cubicBezTo>
                <a:cubicBezTo>
                  <a:pt x="205" y="504"/>
                  <a:pt x="181" y="499"/>
                  <a:pt x="159" y="489"/>
                </a:cubicBezTo>
                <a:cubicBezTo>
                  <a:pt x="157" y="488"/>
                  <a:pt x="155" y="488"/>
                  <a:pt x="153" y="489"/>
                </a:cubicBezTo>
                <a:cubicBezTo>
                  <a:pt x="132" y="499"/>
                  <a:pt x="107" y="504"/>
                  <a:pt x="82" y="504"/>
                </a:cubicBezTo>
                <a:cubicBezTo>
                  <a:pt x="78" y="504"/>
                  <a:pt x="75" y="507"/>
                  <a:pt x="75" y="511"/>
                </a:cubicBezTo>
                <a:cubicBezTo>
                  <a:pt x="75" y="515"/>
                  <a:pt x="78" y="518"/>
                  <a:pt x="82" y="518"/>
                </a:cubicBezTo>
                <a:cubicBezTo>
                  <a:pt x="108" y="518"/>
                  <a:pt x="134" y="513"/>
                  <a:pt x="156" y="503"/>
                </a:cubicBezTo>
                <a:cubicBezTo>
                  <a:pt x="179" y="513"/>
                  <a:pt x="204" y="518"/>
                  <a:pt x="231" y="518"/>
                </a:cubicBezTo>
                <a:cubicBezTo>
                  <a:pt x="257" y="518"/>
                  <a:pt x="282" y="513"/>
                  <a:pt x="305" y="503"/>
                </a:cubicBezTo>
                <a:cubicBezTo>
                  <a:pt x="327" y="513"/>
                  <a:pt x="353" y="518"/>
                  <a:pt x="379" y="518"/>
                </a:cubicBezTo>
                <a:cubicBezTo>
                  <a:pt x="405" y="518"/>
                  <a:pt x="431" y="513"/>
                  <a:pt x="453" y="503"/>
                </a:cubicBezTo>
                <a:cubicBezTo>
                  <a:pt x="476" y="513"/>
                  <a:pt x="502" y="518"/>
                  <a:pt x="528" y="518"/>
                </a:cubicBezTo>
                <a:cubicBezTo>
                  <a:pt x="554" y="518"/>
                  <a:pt x="579" y="513"/>
                  <a:pt x="602" y="503"/>
                </a:cubicBezTo>
                <a:cubicBezTo>
                  <a:pt x="625" y="513"/>
                  <a:pt x="650" y="518"/>
                  <a:pt x="676" y="518"/>
                </a:cubicBezTo>
                <a:cubicBezTo>
                  <a:pt x="680" y="518"/>
                  <a:pt x="683" y="515"/>
                  <a:pt x="683" y="511"/>
                </a:cubicBezTo>
                <a:cubicBezTo>
                  <a:pt x="683" y="507"/>
                  <a:pt x="680" y="504"/>
                  <a:pt x="676" y="504"/>
                </a:cubicBezTo>
                <a:close/>
                <a:moveTo>
                  <a:pt x="756" y="424"/>
                </a:moveTo>
                <a:cubicBezTo>
                  <a:pt x="753" y="422"/>
                  <a:pt x="748" y="422"/>
                  <a:pt x="746" y="424"/>
                </a:cubicBezTo>
                <a:cubicBezTo>
                  <a:pt x="730" y="440"/>
                  <a:pt x="704" y="449"/>
                  <a:pt x="676" y="449"/>
                </a:cubicBezTo>
                <a:cubicBezTo>
                  <a:pt x="649" y="449"/>
                  <a:pt x="623" y="440"/>
                  <a:pt x="607" y="424"/>
                </a:cubicBezTo>
                <a:cubicBezTo>
                  <a:pt x="605" y="422"/>
                  <a:pt x="602" y="422"/>
                  <a:pt x="600" y="423"/>
                </a:cubicBezTo>
                <a:cubicBezTo>
                  <a:pt x="622" y="402"/>
                  <a:pt x="644" y="377"/>
                  <a:pt x="658" y="347"/>
                </a:cubicBezTo>
                <a:cubicBezTo>
                  <a:pt x="700" y="262"/>
                  <a:pt x="717" y="199"/>
                  <a:pt x="704" y="177"/>
                </a:cubicBezTo>
                <a:cubicBezTo>
                  <a:pt x="700" y="171"/>
                  <a:pt x="695" y="168"/>
                  <a:pt x="688" y="168"/>
                </a:cubicBezTo>
                <a:cubicBezTo>
                  <a:pt x="483" y="168"/>
                  <a:pt x="483" y="168"/>
                  <a:pt x="483" y="168"/>
                </a:cubicBezTo>
                <a:cubicBezTo>
                  <a:pt x="459" y="168"/>
                  <a:pt x="450" y="192"/>
                  <a:pt x="442" y="213"/>
                </a:cubicBezTo>
                <a:cubicBezTo>
                  <a:pt x="436" y="227"/>
                  <a:pt x="430" y="242"/>
                  <a:pt x="422" y="242"/>
                </a:cubicBezTo>
                <a:cubicBezTo>
                  <a:pt x="228" y="242"/>
                  <a:pt x="228" y="242"/>
                  <a:pt x="228" y="242"/>
                </a:cubicBezTo>
                <a:cubicBezTo>
                  <a:pt x="228" y="172"/>
                  <a:pt x="228" y="172"/>
                  <a:pt x="228" y="172"/>
                </a:cubicBezTo>
                <a:cubicBezTo>
                  <a:pt x="252" y="172"/>
                  <a:pt x="252" y="172"/>
                  <a:pt x="252" y="172"/>
                </a:cubicBezTo>
                <a:cubicBezTo>
                  <a:pt x="256" y="172"/>
                  <a:pt x="258" y="170"/>
                  <a:pt x="259" y="167"/>
                </a:cubicBezTo>
                <a:cubicBezTo>
                  <a:pt x="281" y="74"/>
                  <a:pt x="281" y="74"/>
                  <a:pt x="281" y="74"/>
                </a:cubicBezTo>
                <a:cubicBezTo>
                  <a:pt x="281" y="71"/>
                  <a:pt x="281" y="69"/>
                  <a:pt x="279" y="68"/>
                </a:cubicBezTo>
                <a:cubicBezTo>
                  <a:pt x="278" y="66"/>
                  <a:pt x="276" y="65"/>
                  <a:pt x="274" y="65"/>
                </a:cubicBezTo>
                <a:cubicBezTo>
                  <a:pt x="226" y="65"/>
                  <a:pt x="226" y="65"/>
                  <a:pt x="226" y="65"/>
                </a:cubicBezTo>
                <a:cubicBezTo>
                  <a:pt x="226" y="7"/>
                  <a:pt x="226" y="7"/>
                  <a:pt x="226" y="7"/>
                </a:cubicBezTo>
                <a:cubicBezTo>
                  <a:pt x="226" y="3"/>
                  <a:pt x="223" y="0"/>
                  <a:pt x="219" y="0"/>
                </a:cubicBezTo>
                <a:cubicBezTo>
                  <a:pt x="216" y="0"/>
                  <a:pt x="212" y="3"/>
                  <a:pt x="212" y="7"/>
                </a:cubicBezTo>
                <a:cubicBezTo>
                  <a:pt x="212" y="65"/>
                  <a:pt x="212" y="65"/>
                  <a:pt x="212" y="65"/>
                </a:cubicBezTo>
                <a:cubicBezTo>
                  <a:pt x="72" y="65"/>
                  <a:pt x="72" y="65"/>
                  <a:pt x="72" y="65"/>
                </a:cubicBezTo>
                <a:cubicBezTo>
                  <a:pt x="68" y="65"/>
                  <a:pt x="65" y="68"/>
                  <a:pt x="65" y="72"/>
                </a:cubicBezTo>
                <a:cubicBezTo>
                  <a:pt x="65" y="169"/>
                  <a:pt x="65" y="169"/>
                  <a:pt x="65" y="169"/>
                </a:cubicBezTo>
                <a:cubicBezTo>
                  <a:pt x="65" y="172"/>
                  <a:pt x="68" y="176"/>
                  <a:pt x="72" y="176"/>
                </a:cubicBezTo>
                <a:cubicBezTo>
                  <a:pt x="86" y="176"/>
                  <a:pt x="86" y="176"/>
                  <a:pt x="86" y="176"/>
                </a:cubicBezTo>
                <a:cubicBezTo>
                  <a:pt x="86" y="242"/>
                  <a:pt x="86" y="242"/>
                  <a:pt x="86" y="242"/>
                </a:cubicBezTo>
                <a:cubicBezTo>
                  <a:pt x="52" y="242"/>
                  <a:pt x="52" y="242"/>
                  <a:pt x="52" y="242"/>
                </a:cubicBezTo>
                <a:cubicBezTo>
                  <a:pt x="40" y="242"/>
                  <a:pt x="30" y="246"/>
                  <a:pt x="24" y="255"/>
                </a:cubicBezTo>
                <a:cubicBezTo>
                  <a:pt x="9" y="275"/>
                  <a:pt x="12" y="309"/>
                  <a:pt x="17" y="328"/>
                </a:cubicBezTo>
                <a:cubicBezTo>
                  <a:pt x="23" y="348"/>
                  <a:pt x="48" y="409"/>
                  <a:pt x="96" y="448"/>
                </a:cubicBezTo>
                <a:cubicBezTo>
                  <a:pt x="91" y="449"/>
                  <a:pt x="87" y="449"/>
                  <a:pt x="82" y="449"/>
                </a:cubicBezTo>
                <a:cubicBezTo>
                  <a:pt x="54" y="449"/>
                  <a:pt x="29" y="440"/>
                  <a:pt x="13" y="424"/>
                </a:cubicBezTo>
                <a:cubicBezTo>
                  <a:pt x="10" y="422"/>
                  <a:pt x="6" y="422"/>
                  <a:pt x="3" y="424"/>
                </a:cubicBezTo>
                <a:cubicBezTo>
                  <a:pt x="0" y="427"/>
                  <a:pt x="0" y="431"/>
                  <a:pt x="3" y="434"/>
                </a:cubicBezTo>
                <a:cubicBezTo>
                  <a:pt x="21" y="452"/>
                  <a:pt x="51" y="463"/>
                  <a:pt x="82" y="463"/>
                </a:cubicBezTo>
                <a:cubicBezTo>
                  <a:pt x="93" y="463"/>
                  <a:pt x="104" y="462"/>
                  <a:pt x="114" y="459"/>
                </a:cubicBezTo>
                <a:cubicBezTo>
                  <a:pt x="114" y="459"/>
                  <a:pt x="115" y="459"/>
                  <a:pt x="116" y="459"/>
                </a:cubicBezTo>
                <a:cubicBezTo>
                  <a:pt x="131" y="455"/>
                  <a:pt x="145" y="448"/>
                  <a:pt x="156" y="439"/>
                </a:cubicBezTo>
                <a:cubicBezTo>
                  <a:pt x="175" y="454"/>
                  <a:pt x="202" y="463"/>
                  <a:pt x="231" y="463"/>
                </a:cubicBezTo>
                <a:cubicBezTo>
                  <a:pt x="259" y="463"/>
                  <a:pt x="286" y="454"/>
                  <a:pt x="305" y="439"/>
                </a:cubicBezTo>
                <a:cubicBezTo>
                  <a:pt x="323" y="454"/>
                  <a:pt x="351" y="463"/>
                  <a:pt x="379" y="463"/>
                </a:cubicBezTo>
                <a:cubicBezTo>
                  <a:pt x="408" y="463"/>
                  <a:pt x="435" y="454"/>
                  <a:pt x="453" y="439"/>
                </a:cubicBezTo>
                <a:cubicBezTo>
                  <a:pt x="472" y="454"/>
                  <a:pt x="499" y="463"/>
                  <a:pt x="528" y="463"/>
                </a:cubicBezTo>
                <a:cubicBezTo>
                  <a:pt x="556" y="463"/>
                  <a:pt x="583" y="454"/>
                  <a:pt x="602" y="439"/>
                </a:cubicBezTo>
                <a:cubicBezTo>
                  <a:pt x="620" y="454"/>
                  <a:pt x="648" y="463"/>
                  <a:pt x="676" y="463"/>
                </a:cubicBezTo>
                <a:cubicBezTo>
                  <a:pt x="707" y="463"/>
                  <a:pt x="737" y="452"/>
                  <a:pt x="755" y="434"/>
                </a:cubicBezTo>
                <a:cubicBezTo>
                  <a:pt x="758" y="431"/>
                  <a:pt x="758" y="427"/>
                  <a:pt x="756" y="424"/>
                </a:cubicBezTo>
                <a:close/>
                <a:moveTo>
                  <a:pt x="79" y="162"/>
                </a:moveTo>
                <a:cubicBezTo>
                  <a:pt x="79" y="79"/>
                  <a:pt x="79" y="79"/>
                  <a:pt x="79" y="79"/>
                </a:cubicBezTo>
                <a:cubicBezTo>
                  <a:pt x="265" y="79"/>
                  <a:pt x="265" y="79"/>
                  <a:pt x="265" y="79"/>
                </a:cubicBezTo>
                <a:cubicBezTo>
                  <a:pt x="247" y="158"/>
                  <a:pt x="247" y="158"/>
                  <a:pt x="247" y="158"/>
                </a:cubicBezTo>
                <a:cubicBezTo>
                  <a:pt x="221" y="158"/>
                  <a:pt x="221" y="158"/>
                  <a:pt x="221" y="158"/>
                </a:cubicBezTo>
                <a:cubicBezTo>
                  <a:pt x="217" y="158"/>
                  <a:pt x="214" y="162"/>
                  <a:pt x="214" y="165"/>
                </a:cubicBezTo>
                <a:cubicBezTo>
                  <a:pt x="214" y="242"/>
                  <a:pt x="214" y="242"/>
                  <a:pt x="214" y="242"/>
                </a:cubicBezTo>
                <a:cubicBezTo>
                  <a:pt x="100" y="242"/>
                  <a:pt x="100" y="242"/>
                  <a:pt x="100" y="242"/>
                </a:cubicBezTo>
                <a:cubicBezTo>
                  <a:pt x="100" y="169"/>
                  <a:pt x="100" y="169"/>
                  <a:pt x="100" y="169"/>
                </a:cubicBezTo>
                <a:cubicBezTo>
                  <a:pt x="100" y="165"/>
                  <a:pt x="97" y="162"/>
                  <a:pt x="93" y="162"/>
                </a:cubicBezTo>
                <a:lnTo>
                  <a:pt x="79" y="162"/>
                </a:lnTo>
                <a:close/>
                <a:moveTo>
                  <a:pt x="545" y="448"/>
                </a:moveTo>
                <a:cubicBezTo>
                  <a:pt x="539" y="449"/>
                  <a:pt x="534" y="449"/>
                  <a:pt x="528" y="449"/>
                </a:cubicBezTo>
                <a:cubicBezTo>
                  <a:pt x="500" y="449"/>
                  <a:pt x="474" y="440"/>
                  <a:pt x="458" y="424"/>
                </a:cubicBezTo>
                <a:cubicBezTo>
                  <a:pt x="456" y="422"/>
                  <a:pt x="451" y="422"/>
                  <a:pt x="449" y="424"/>
                </a:cubicBezTo>
                <a:cubicBezTo>
                  <a:pt x="433" y="440"/>
                  <a:pt x="407" y="449"/>
                  <a:pt x="379" y="449"/>
                </a:cubicBezTo>
                <a:cubicBezTo>
                  <a:pt x="352" y="449"/>
                  <a:pt x="326" y="440"/>
                  <a:pt x="310" y="424"/>
                </a:cubicBezTo>
                <a:cubicBezTo>
                  <a:pt x="307" y="422"/>
                  <a:pt x="303" y="422"/>
                  <a:pt x="300" y="424"/>
                </a:cubicBezTo>
                <a:cubicBezTo>
                  <a:pt x="284" y="440"/>
                  <a:pt x="258" y="449"/>
                  <a:pt x="231" y="449"/>
                </a:cubicBezTo>
                <a:cubicBezTo>
                  <a:pt x="203" y="449"/>
                  <a:pt x="177" y="440"/>
                  <a:pt x="161" y="424"/>
                </a:cubicBezTo>
                <a:cubicBezTo>
                  <a:pt x="159" y="422"/>
                  <a:pt x="154" y="422"/>
                  <a:pt x="151" y="424"/>
                </a:cubicBezTo>
                <a:cubicBezTo>
                  <a:pt x="142" y="434"/>
                  <a:pt x="129" y="441"/>
                  <a:pt x="114" y="445"/>
                </a:cubicBezTo>
                <a:cubicBezTo>
                  <a:pt x="64" y="409"/>
                  <a:pt x="36" y="344"/>
                  <a:pt x="30" y="324"/>
                </a:cubicBezTo>
                <a:cubicBezTo>
                  <a:pt x="26" y="308"/>
                  <a:pt x="24" y="278"/>
                  <a:pt x="35" y="264"/>
                </a:cubicBezTo>
                <a:cubicBezTo>
                  <a:pt x="39" y="258"/>
                  <a:pt x="45" y="256"/>
                  <a:pt x="52" y="256"/>
                </a:cubicBezTo>
                <a:cubicBezTo>
                  <a:pt x="422" y="256"/>
                  <a:pt x="422" y="256"/>
                  <a:pt x="422" y="256"/>
                </a:cubicBezTo>
                <a:cubicBezTo>
                  <a:pt x="440" y="256"/>
                  <a:pt x="448" y="236"/>
                  <a:pt x="455" y="218"/>
                </a:cubicBezTo>
                <a:cubicBezTo>
                  <a:pt x="463" y="197"/>
                  <a:pt x="470" y="182"/>
                  <a:pt x="483" y="182"/>
                </a:cubicBezTo>
                <a:cubicBezTo>
                  <a:pt x="688" y="182"/>
                  <a:pt x="688" y="182"/>
                  <a:pt x="688" y="182"/>
                </a:cubicBezTo>
                <a:cubicBezTo>
                  <a:pt x="690" y="182"/>
                  <a:pt x="691" y="182"/>
                  <a:pt x="692" y="184"/>
                </a:cubicBezTo>
                <a:cubicBezTo>
                  <a:pt x="700" y="198"/>
                  <a:pt x="690" y="253"/>
                  <a:pt x="646" y="341"/>
                </a:cubicBezTo>
                <a:cubicBezTo>
                  <a:pt x="622" y="388"/>
                  <a:pt x="578" y="425"/>
                  <a:pt x="545" y="448"/>
                </a:cubicBez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6" name="Oval 6"/>
          <p:cNvSpPr>
            <a:spLocks noChangeArrowheads="1"/>
          </p:cNvSpPr>
          <p:nvPr/>
        </p:nvSpPr>
        <p:spPr bwMode="auto">
          <a:xfrm>
            <a:off x="8347593" y="1528549"/>
            <a:ext cx="1119124" cy="1119124"/>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18" name="Freeform 18"/>
          <p:cNvSpPr>
            <a:spLocks noEditPoints="1"/>
          </p:cNvSpPr>
          <p:nvPr/>
        </p:nvSpPr>
        <p:spPr bwMode="auto">
          <a:xfrm>
            <a:off x="8511737" y="1701923"/>
            <a:ext cx="790389" cy="677001"/>
          </a:xfrm>
          <a:custGeom>
            <a:avLst/>
            <a:gdLst>
              <a:gd name="T0" fmla="*/ 699 w 750"/>
              <a:gd name="T1" fmla="*/ 563 h 643"/>
              <a:gd name="T2" fmla="*/ 675 w 750"/>
              <a:gd name="T3" fmla="*/ 595 h 643"/>
              <a:gd name="T4" fmla="*/ 669 w 750"/>
              <a:gd name="T5" fmla="*/ 584 h 643"/>
              <a:gd name="T6" fmla="*/ 633 w 750"/>
              <a:gd name="T7" fmla="*/ 532 h 643"/>
              <a:gd name="T8" fmla="*/ 640 w 750"/>
              <a:gd name="T9" fmla="*/ 520 h 643"/>
              <a:gd name="T10" fmla="*/ 736 w 750"/>
              <a:gd name="T11" fmla="*/ 382 h 643"/>
              <a:gd name="T12" fmla="*/ 670 w 750"/>
              <a:gd name="T13" fmla="*/ 375 h 643"/>
              <a:gd name="T14" fmla="*/ 736 w 750"/>
              <a:gd name="T15" fmla="*/ 368 h 643"/>
              <a:gd name="T16" fmla="*/ 640 w 750"/>
              <a:gd name="T17" fmla="*/ 230 h 643"/>
              <a:gd name="T18" fmla="*/ 631 w 750"/>
              <a:gd name="T19" fmla="*/ 228 h 643"/>
              <a:gd name="T20" fmla="*/ 684 w 750"/>
              <a:gd name="T21" fmla="*/ 189 h 643"/>
              <a:gd name="T22" fmla="*/ 532 w 750"/>
              <a:gd name="T23" fmla="*/ 117 h 643"/>
              <a:gd name="T24" fmla="*/ 523 w 750"/>
              <a:gd name="T25" fmla="*/ 119 h 643"/>
              <a:gd name="T26" fmla="*/ 549 w 750"/>
              <a:gd name="T27" fmla="*/ 59 h 643"/>
              <a:gd name="T28" fmla="*/ 382 w 750"/>
              <a:gd name="T29" fmla="*/ 73 h 643"/>
              <a:gd name="T30" fmla="*/ 368 w 750"/>
              <a:gd name="T31" fmla="*/ 73 h 643"/>
              <a:gd name="T32" fmla="*/ 201 w 750"/>
              <a:gd name="T33" fmla="*/ 59 h 643"/>
              <a:gd name="T34" fmla="*/ 227 w 750"/>
              <a:gd name="T35" fmla="*/ 119 h 643"/>
              <a:gd name="T36" fmla="*/ 218 w 750"/>
              <a:gd name="T37" fmla="*/ 117 h 643"/>
              <a:gd name="T38" fmla="*/ 66 w 750"/>
              <a:gd name="T39" fmla="*/ 189 h 643"/>
              <a:gd name="T40" fmla="*/ 119 w 750"/>
              <a:gd name="T41" fmla="*/ 228 h 643"/>
              <a:gd name="T42" fmla="*/ 110 w 750"/>
              <a:gd name="T43" fmla="*/ 230 h 643"/>
              <a:gd name="T44" fmla="*/ 14 w 750"/>
              <a:gd name="T45" fmla="*/ 368 h 643"/>
              <a:gd name="T46" fmla="*/ 80 w 750"/>
              <a:gd name="T47" fmla="*/ 375 h 643"/>
              <a:gd name="T48" fmla="*/ 14 w 750"/>
              <a:gd name="T49" fmla="*/ 382 h 643"/>
              <a:gd name="T50" fmla="*/ 110 w 750"/>
              <a:gd name="T51" fmla="*/ 520 h 643"/>
              <a:gd name="T52" fmla="*/ 117 w 750"/>
              <a:gd name="T53" fmla="*/ 532 h 643"/>
              <a:gd name="T54" fmla="*/ 81 w 750"/>
              <a:gd name="T55" fmla="*/ 584 h 643"/>
              <a:gd name="T56" fmla="*/ 69 w 750"/>
              <a:gd name="T57" fmla="*/ 592 h 643"/>
              <a:gd name="T58" fmla="*/ 50 w 750"/>
              <a:gd name="T59" fmla="*/ 563 h 643"/>
              <a:gd name="T60" fmla="*/ 0 w 750"/>
              <a:gd name="T61" fmla="*/ 375 h 643"/>
              <a:gd name="T62" fmla="*/ 50 w 750"/>
              <a:gd name="T63" fmla="*/ 188 h 643"/>
              <a:gd name="T64" fmla="*/ 186 w 750"/>
              <a:gd name="T65" fmla="*/ 51 h 643"/>
              <a:gd name="T66" fmla="*/ 189 w 750"/>
              <a:gd name="T67" fmla="*/ 50 h 643"/>
              <a:gd name="T68" fmla="*/ 561 w 750"/>
              <a:gd name="T69" fmla="*/ 50 h 643"/>
              <a:gd name="T70" fmla="*/ 564 w 750"/>
              <a:gd name="T71" fmla="*/ 51 h 643"/>
              <a:gd name="T72" fmla="*/ 700 w 750"/>
              <a:gd name="T73" fmla="*/ 188 h 643"/>
              <a:gd name="T74" fmla="*/ 750 w 750"/>
              <a:gd name="T75" fmla="*/ 375 h 643"/>
              <a:gd name="T76" fmla="*/ 700 w 750"/>
              <a:gd name="T77" fmla="*/ 563 h 643"/>
              <a:gd name="T78" fmla="*/ 533 w 750"/>
              <a:gd name="T79" fmla="*/ 636 h 643"/>
              <a:gd name="T80" fmla="*/ 224 w 750"/>
              <a:gd name="T81" fmla="*/ 643 h 643"/>
              <a:gd name="T82" fmla="*/ 217 w 750"/>
              <a:gd name="T83" fmla="*/ 560 h 643"/>
              <a:gd name="T84" fmla="*/ 526 w 750"/>
              <a:gd name="T85" fmla="*/ 553 h 643"/>
              <a:gd name="T86" fmla="*/ 519 w 750"/>
              <a:gd name="T87" fmla="*/ 567 h 643"/>
              <a:gd name="T88" fmla="*/ 231 w 750"/>
              <a:gd name="T89" fmla="*/ 629 h 643"/>
              <a:gd name="T90" fmla="*/ 519 w 750"/>
              <a:gd name="T91" fmla="*/ 567 h 643"/>
              <a:gd name="T92" fmla="*/ 577 w 750"/>
              <a:gd name="T93" fmla="*/ 267 h 643"/>
              <a:gd name="T94" fmla="*/ 449 w 750"/>
              <a:gd name="T95" fmla="*/ 375 h 643"/>
              <a:gd name="T96" fmla="*/ 301 w 750"/>
              <a:gd name="T97" fmla="*/ 375 h 643"/>
              <a:gd name="T98" fmla="*/ 435 w 750"/>
              <a:gd name="T99" fmla="*/ 332 h 643"/>
              <a:gd name="T100" fmla="*/ 579 w 750"/>
              <a:gd name="T101" fmla="*/ 257 h 643"/>
              <a:gd name="T102" fmla="*/ 375 w 750"/>
              <a:gd name="T103" fmla="*/ 315 h 643"/>
              <a:gd name="T104" fmla="*/ 375 w 750"/>
              <a:gd name="T105" fmla="*/ 435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50" h="643">
                <a:moveTo>
                  <a:pt x="700" y="563"/>
                </a:moveTo>
                <a:cubicBezTo>
                  <a:pt x="699" y="563"/>
                  <a:pt x="699" y="563"/>
                  <a:pt x="699" y="563"/>
                </a:cubicBezTo>
                <a:cubicBezTo>
                  <a:pt x="693" y="573"/>
                  <a:pt x="687" y="583"/>
                  <a:pt x="680" y="592"/>
                </a:cubicBezTo>
                <a:cubicBezTo>
                  <a:pt x="679" y="594"/>
                  <a:pt x="677" y="595"/>
                  <a:pt x="675" y="595"/>
                </a:cubicBezTo>
                <a:cubicBezTo>
                  <a:pt x="673" y="595"/>
                  <a:pt x="672" y="595"/>
                  <a:pt x="671" y="594"/>
                </a:cubicBezTo>
                <a:cubicBezTo>
                  <a:pt x="667" y="592"/>
                  <a:pt x="667" y="587"/>
                  <a:pt x="669" y="584"/>
                </a:cubicBezTo>
                <a:cubicBezTo>
                  <a:pt x="674" y="577"/>
                  <a:pt x="679" y="569"/>
                  <a:pt x="684" y="562"/>
                </a:cubicBezTo>
                <a:cubicBezTo>
                  <a:pt x="633" y="532"/>
                  <a:pt x="633" y="532"/>
                  <a:pt x="633" y="532"/>
                </a:cubicBezTo>
                <a:cubicBezTo>
                  <a:pt x="630" y="530"/>
                  <a:pt x="629" y="526"/>
                  <a:pt x="631" y="523"/>
                </a:cubicBezTo>
                <a:cubicBezTo>
                  <a:pt x="633" y="520"/>
                  <a:pt x="637" y="518"/>
                  <a:pt x="640" y="520"/>
                </a:cubicBezTo>
                <a:cubicBezTo>
                  <a:pt x="691" y="550"/>
                  <a:pt x="691" y="550"/>
                  <a:pt x="691" y="550"/>
                </a:cubicBezTo>
                <a:cubicBezTo>
                  <a:pt x="719" y="498"/>
                  <a:pt x="734" y="441"/>
                  <a:pt x="736" y="382"/>
                </a:cubicBezTo>
                <a:cubicBezTo>
                  <a:pt x="677" y="382"/>
                  <a:pt x="677" y="382"/>
                  <a:pt x="677" y="382"/>
                </a:cubicBezTo>
                <a:cubicBezTo>
                  <a:pt x="673" y="382"/>
                  <a:pt x="670" y="379"/>
                  <a:pt x="670" y="375"/>
                </a:cubicBezTo>
                <a:cubicBezTo>
                  <a:pt x="670" y="371"/>
                  <a:pt x="673" y="368"/>
                  <a:pt x="677" y="368"/>
                </a:cubicBezTo>
                <a:cubicBezTo>
                  <a:pt x="736" y="368"/>
                  <a:pt x="736" y="368"/>
                  <a:pt x="736" y="368"/>
                </a:cubicBezTo>
                <a:cubicBezTo>
                  <a:pt x="735" y="308"/>
                  <a:pt x="718" y="251"/>
                  <a:pt x="691" y="201"/>
                </a:cubicBezTo>
                <a:cubicBezTo>
                  <a:pt x="640" y="230"/>
                  <a:pt x="640" y="230"/>
                  <a:pt x="640" y="230"/>
                </a:cubicBezTo>
                <a:cubicBezTo>
                  <a:pt x="639" y="231"/>
                  <a:pt x="638" y="231"/>
                  <a:pt x="637" y="231"/>
                </a:cubicBezTo>
                <a:cubicBezTo>
                  <a:pt x="634" y="231"/>
                  <a:pt x="632" y="230"/>
                  <a:pt x="631" y="228"/>
                </a:cubicBezTo>
                <a:cubicBezTo>
                  <a:pt x="629" y="224"/>
                  <a:pt x="630" y="220"/>
                  <a:pt x="633" y="218"/>
                </a:cubicBezTo>
                <a:cubicBezTo>
                  <a:pt x="684" y="189"/>
                  <a:pt x="684" y="189"/>
                  <a:pt x="684" y="189"/>
                </a:cubicBezTo>
                <a:cubicBezTo>
                  <a:pt x="653" y="139"/>
                  <a:pt x="611" y="97"/>
                  <a:pt x="561" y="66"/>
                </a:cubicBezTo>
                <a:cubicBezTo>
                  <a:pt x="532" y="117"/>
                  <a:pt x="532" y="117"/>
                  <a:pt x="532" y="117"/>
                </a:cubicBezTo>
                <a:cubicBezTo>
                  <a:pt x="531" y="119"/>
                  <a:pt x="528" y="120"/>
                  <a:pt x="526" y="120"/>
                </a:cubicBezTo>
                <a:cubicBezTo>
                  <a:pt x="525" y="120"/>
                  <a:pt x="524" y="120"/>
                  <a:pt x="523" y="119"/>
                </a:cubicBezTo>
                <a:cubicBezTo>
                  <a:pt x="519" y="118"/>
                  <a:pt x="518" y="113"/>
                  <a:pt x="520" y="110"/>
                </a:cubicBezTo>
                <a:cubicBezTo>
                  <a:pt x="549" y="59"/>
                  <a:pt x="549" y="59"/>
                  <a:pt x="549" y="59"/>
                </a:cubicBezTo>
                <a:cubicBezTo>
                  <a:pt x="499" y="32"/>
                  <a:pt x="442" y="16"/>
                  <a:pt x="382" y="14"/>
                </a:cubicBezTo>
                <a:cubicBezTo>
                  <a:pt x="382" y="73"/>
                  <a:pt x="382" y="73"/>
                  <a:pt x="382" y="73"/>
                </a:cubicBezTo>
                <a:cubicBezTo>
                  <a:pt x="382" y="77"/>
                  <a:pt x="379" y="80"/>
                  <a:pt x="375" y="80"/>
                </a:cubicBezTo>
                <a:cubicBezTo>
                  <a:pt x="371" y="80"/>
                  <a:pt x="368" y="77"/>
                  <a:pt x="368" y="73"/>
                </a:cubicBezTo>
                <a:cubicBezTo>
                  <a:pt x="368" y="14"/>
                  <a:pt x="368" y="14"/>
                  <a:pt x="368" y="14"/>
                </a:cubicBezTo>
                <a:cubicBezTo>
                  <a:pt x="307" y="16"/>
                  <a:pt x="250" y="32"/>
                  <a:pt x="201" y="59"/>
                </a:cubicBezTo>
                <a:cubicBezTo>
                  <a:pt x="230" y="110"/>
                  <a:pt x="230" y="110"/>
                  <a:pt x="230" y="110"/>
                </a:cubicBezTo>
                <a:cubicBezTo>
                  <a:pt x="232" y="113"/>
                  <a:pt x="231" y="118"/>
                  <a:pt x="227" y="119"/>
                </a:cubicBezTo>
                <a:cubicBezTo>
                  <a:pt x="226" y="120"/>
                  <a:pt x="225" y="120"/>
                  <a:pt x="224" y="120"/>
                </a:cubicBezTo>
                <a:cubicBezTo>
                  <a:pt x="221" y="120"/>
                  <a:pt x="219" y="119"/>
                  <a:pt x="218" y="117"/>
                </a:cubicBezTo>
                <a:cubicBezTo>
                  <a:pt x="189" y="66"/>
                  <a:pt x="189" y="66"/>
                  <a:pt x="189" y="66"/>
                </a:cubicBezTo>
                <a:cubicBezTo>
                  <a:pt x="139" y="97"/>
                  <a:pt x="96" y="139"/>
                  <a:pt x="66" y="189"/>
                </a:cubicBezTo>
                <a:cubicBezTo>
                  <a:pt x="117" y="218"/>
                  <a:pt x="117" y="218"/>
                  <a:pt x="117" y="218"/>
                </a:cubicBezTo>
                <a:cubicBezTo>
                  <a:pt x="120" y="220"/>
                  <a:pt x="121" y="224"/>
                  <a:pt x="119" y="228"/>
                </a:cubicBezTo>
                <a:cubicBezTo>
                  <a:pt x="118" y="230"/>
                  <a:pt x="116" y="231"/>
                  <a:pt x="113" y="231"/>
                </a:cubicBezTo>
                <a:cubicBezTo>
                  <a:pt x="112" y="231"/>
                  <a:pt x="111" y="231"/>
                  <a:pt x="110" y="230"/>
                </a:cubicBezTo>
                <a:cubicBezTo>
                  <a:pt x="59" y="201"/>
                  <a:pt x="59" y="201"/>
                  <a:pt x="59" y="201"/>
                </a:cubicBezTo>
                <a:cubicBezTo>
                  <a:pt x="32" y="251"/>
                  <a:pt x="15" y="308"/>
                  <a:pt x="14" y="368"/>
                </a:cubicBezTo>
                <a:cubicBezTo>
                  <a:pt x="73" y="368"/>
                  <a:pt x="73" y="368"/>
                  <a:pt x="73" y="368"/>
                </a:cubicBezTo>
                <a:cubicBezTo>
                  <a:pt x="76" y="368"/>
                  <a:pt x="80" y="371"/>
                  <a:pt x="80" y="375"/>
                </a:cubicBezTo>
                <a:cubicBezTo>
                  <a:pt x="80" y="379"/>
                  <a:pt x="76" y="382"/>
                  <a:pt x="73" y="382"/>
                </a:cubicBezTo>
                <a:cubicBezTo>
                  <a:pt x="14" y="382"/>
                  <a:pt x="14" y="382"/>
                  <a:pt x="14" y="382"/>
                </a:cubicBezTo>
                <a:cubicBezTo>
                  <a:pt x="15" y="441"/>
                  <a:pt x="31" y="498"/>
                  <a:pt x="59" y="550"/>
                </a:cubicBezTo>
                <a:cubicBezTo>
                  <a:pt x="110" y="520"/>
                  <a:pt x="110" y="520"/>
                  <a:pt x="110" y="520"/>
                </a:cubicBezTo>
                <a:cubicBezTo>
                  <a:pt x="113" y="518"/>
                  <a:pt x="117" y="520"/>
                  <a:pt x="119" y="523"/>
                </a:cubicBezTo>
                <a:cubicBezTo>
                  <a:pt x="121" y="526"/>
                  <a:pt x="120" y="530"/>
                  <a:pt x="117" y="532"/>
                </a:cubicBezTo>
                <a:cubicBezTo>
                  <a:pt x="66" y="562"/>
                  <a:pt x="66" y="562"/>
                  <a:pt x="66" y="562"/>
                </a:cubicBezTo>
                <a:cubicBezTo>
                  <a:pt x="71" y="569"/>
                  <a:pt x="76" y="577"/>
                  <a:pt x="81" y="584"/>
                </a:cubicBezTo>
                <a:cubicBezTo>
                  <a:pt x="83" y="587"/>
                  <a:pt x="82" y="592"/>
                  <a:pt x="79" y="594"/>
                </a:cubicBezTo>
                <a:cubicBezTo>
                  <a:pt x="76" y="596"/>
                  <a:pt x="72" y="595"/>
                  <a:pt x="69" y="592"/>
                </a:cubicBezTo>
                <a:cubicBezTo>
                  <a:pt x="63" y="583"/>
                  <a:pt x="56" y="573"/>
                  <a:pt x="51" y="563"/>
                </a:cubicBezTo>
                <a:cubicBezTo>
                  <a:pt x="51" y="563"/>
                  <a:pt x="50" y="563"/>
                  <a:pt x="50" y="563"/>
                </a:cubicBezTo>
                <a:cubicBezTo>
                  <a:pt x="50" y="562"/>
                  <a:pt x="50" y="562"/>
                  <a:pt x="50" y="562"/>
                </a:cubicBezTo>
                <a:cubicBezTo>
                  <a:pt x="17" y="505"/>
                  <a:pt x="0" y="441"/>
                  <a:pt x="0" y="375"/>
                </a:cubicBezTo>
                <a:cubicBezTo>
                  <a:pt x="0" y="307"/>
                  <a:pt x="18" y="244"/>
                  <a:pt x="50" y="189"/>
                </a:cubicBezTo>
                <a:cubicBezTo>
                  <a:pt x="50" y="189"/>
                  <a:pt x="50" y="188"/>
                  <a:pt x="50" y="188"/>
                </a:cubicBezTo>
                <a:cubicBezTo>
                  <a:pt x="51" y="187"/>
                  <a:pt x="51" y="187"/>
                  <a:pt x="51" y="187"/>
                </a:cubicBezTo>
                <a:cubicBezTo>
                  <a:pt x="84" y="131"/>
                  <a:pt x="130" y="84"/>
                  <a:pt x="186" y="51"/>
                </a:cubicBezTo>
                <a:cubicBezTo>
                  <a:pt x="187" y="51"/>
                  <a:pt x="187" y="51"/>
                  <a:pt x="187" y="51"/>
                </a:cubicBezTo>
                <a:cubicBezTo>
                  <a:pt x="188" y="50"/>
                  <a:pt x="188" y="50"/>
                  <a:pt x="189" y="50"/>
                </a:cubicBezTo>
                <a:cubicBezTo>
                  <a:pt x="244" y="18"/>
                  <a:pt x="307" y="0"/>
                  <a:pt x="375" y="0"/>
                </a:cubicBezTo>
                <a:cubicBezTo>
                  <a:pt x="443" y="0"/>
                  <a:pt x="506" y="18"/>
                  <a:pt x="561" y="50"/>
                </a:cubicBezTo>
                <a:cubicBezTo>
                  <a:pt x="562" y="50"/>
                  <a:pt x="562" y="50"/>
                  <a:pt x="562" y="51"/>
                </a:cubicBezTo>
                <a:cubicBezTo>
                  <a:pt x="563" y="51"/>
                  <a:pt x="563" y="51"/>
                  <a:pt x="564" y="51"/>
                </a:cubicBezTo>
                <a:cubicBezTo>
                  <a:pt x="619" y="84"/>
                  <a:pt x="666" y="131"/>
                  <a:pt x="699" y="187"/>
                </a:cubicBezTo>
                <a:cubicBezTo>
                  <a:pt x="699" y="187"/>
                  <a:pt x="699" y="187"/>
                  <a:pt x="700" y="188"/>
                </a:cubicBezTo>
                <a:cubicBezTo>
                  <a:pt x="700" y="188"/>
                  <a:pt x="700" y="189"/>
                  <a:pt x="700" y="189"/>
                </a:cubicBezTo>
                <a:cubicBezTo>
                  <a:pt x="732" y="244"/>
                  <a:pt x="750" y="307"/>
                  <a:pt x="750" y="375"/>
                </a:cubicBezTo>
                <a:cubicBezTo>
                  <a:pt x="750" y="441"/>
                  <a:pt x="733" y="505"/>
                  <a:pt x="700" y="562"/>
                </a:cubicBezTo>
                <a:cubicBezTo>
                  <a:pt x="700" y="562"/>
                  <a:pt x="700" y="562"/>
                  <a:pt x="700" y="563"/>
                </a:cubicBezTo>
                <a:close/>
                <a:moveTo>
                  <a:pt x="533" y="560"/>
                </a:moveTo>
                <a:cubicBezTo>
                  <a:pt x="533" y="636"/>
                  <a:pt x="533" y="636"/>
                  <a:pt x="533" y="636"/>
                </a:cubicBezTo>
                <a:cubicBezTo>
                  <a:pt x="533" y="640"/>
                  <a:pt x="530" y="643"/>
                  <a:pt x="526" y="643"/>
                </a:cubicBezTo>
                <a:cubicBezTo>
                  <a:pt x="224" y="643"/>
                  <a:pt x="224" y="643"/>
                  <a:pt x="224" y="643"/>
                </a:cubicBezTo>
                <a:cubicBezTo>
                  <a:pt x="220" y="643"/>
                  <a:pt x="217" y="640"/>
                  <a:pt x="217" y="636"/>
                </a:cubicBezTo>
                <a:cubicBezTo>
                  <a:pt x="217" y="560"/>
                  <a:pt x="217" y="560"/>
                  <a:pt x="217" y="560"/>
                </a:cubicBezTo>
                <a:cubicBezTo>
                  <a:pt x="217" y="556"/>
                  <a:pt x="220" y="553"/>
                  <a:pt x="224" y="553"/>
                </a:cubicBezTo>
                <a:cubicBezTo>
                  <a:pt x="526" y="553"/>
                  <a:pt x="526" y="553"/>
                  <a:pt x="526" y="553"/>
                </a:cubicBezTo>
                <a:cubicBezTo>
                  <a:pt x="530" y="553"/>
                  <a:pt x="533" y="556"/>
                  <a:pt x="533" y="560"/>
                </a:cubicBezTo>
                <a:close/>
                <a:moveTo>
                  <a:pt x="519" y="567"/>
                </a:moveTo>
                <a:cubicBezTo>
                  <a:pt x="231" y="567"/>
                  <a:pt x="231" y="567"/>
                  <a:pt x="231" y="567"/>
                </a:cubicBezTo>
                <a:cubicBezTo>
                  <a:pt x="231" y="629"/>
                  <a:pt x="231" y="629"/>
                  <a:pt x="231" y="629"/>
                </a:cubicBezTo>
                <a:cubicBezTo>
                  <a:pt x="519" y="629"/>
                  <a:pt x="519" y="629"/>
                  <a:pt x="519" y="629"/>
                </a:cubicBezTo>
                <a:lnTo>
                  <a:pt x="519" y="567"/>
                </a:lnTo>
                <a:close/>
                <a:moveTo>
                  <a:pt x="579" y="257"/>
                </a:moveTo>
                <a:cubicBezTo>
                  <a:pt x="581" y="261"/>
                  <a:pt x="580" y="265"/>
                  <a:pt x="577" y="267"/>
                </a:cubicBezTo>
                <a:cubicBezTo>
                  <a:pt x="442" y="344"/>
                  <a:pt x="442" y="344"/>
                  <a:pt x="442" y="344"/>
                </a:cubicBezTo>
                <a:cubicBezTo>
                  <a:pt x="447" y="354"/>
                  <a:pt x="449" y="364"/>
                  <a:pt x="449" y="375"/>
                </a:cubicBezTo>
                <a:cubicBezTo>
                  <a:pt x="449" y="416"/>
                  <a:pt x="416" y="449"/>
                  <a:pt x="375" y="449"/>
                </a:cubicBezTo>
                <a:cubicBezTo>
                  <a:pt x="334" y="449"/>
                  <a:pt x="301" y="416"/>
                  <a:pt x="301" y="375"/>
                </a:cubicBezTo>
                <a:cubicBezTo>
                  <a:pt x="301" y="334"/>
                  <a:pt x="334" y="301"/>
                  <a:pt x="375" y="301"/>
                </a:cubicBezTo>
                <a:cubicBezTo>
                  <a:pt x="400" y="301"/>
                  <a:pt x="422" y="313"/>
                  <a:pt x="435" y="332"/>
                </a:cubicBezTo>
                <a:cubicBezTo>
                  <a:pt x="570" y="255"/>
                  <a:pt x="570" y="255"/>
                  <a:pt x="570" y="255"/>
                </a:cubicBezTo>
                <a:cubicBezTo>
                  <a:pt x="573" y="253"/>
                  <a:pt x="577" y="254"/>
                  <a:pt x="579" y="257"/>
                </a:cubicBezTo>
                <a:close/>
                <a:moveTo>
                  <a:pt x="435" y="375"/>
                </a:moveTo>
                <a:cubicBezTo>
                  <a:pt x="435" y="342"/>
                  <a:pt x="408" y="315"/>
                  <a:pt x="375" y="315"/>
                </a:cubicBezTo>
                <a:cubicBezTo>
                  <a:pt x="342" y="315"/>
                  <a:pt x="315" y="342"/>
                  <a:pt x="315" y="375"/>
                </a:cubicBezTo>
                <a:cubicBezTo>
                  <a:pt x="315" y="408"/>
                  <a:pt x="342" y="435"/>
                  <a:pt x="375" y="435"/>
                </a:cubicBezTo>
                <a:cubicBezTo>
                  <a:pt x="408" y="435"/>
                  <a:pt x="435" y="408"/>
                  <a:pt x="435" y="375"/>
                </a:cubicBez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9" name="Oval 9"/>
          <p:cNvSpPr>
            <a:spLocks noChangeArrowheads="1"/>
          </p:cNvSpPr>
          <p:nvPr/>
        </p:nvSpPr>
        <p:spPr bwMode="auto">
          <a:xfrm>
            <a:off x="3073678" y="1528549"/>
            <a:ext cx="1119124" cy="1119124"/>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19" name="Freeform 19"/>
          <p:cNvSpPr>
            <a:spLocks noEditPoints="1"/>
          </p:cNvSpPr>
          <p:nvPr/>
        </p:nvSpPr>
        <p:spPr bwMode="auto">
          <a:xfrm>
            <a:off x="3329503" y="1786158"/>
            <a:ext cx="607473" cy="604353"/>
          </a:xfrm>
          <a:custGeom>
            <a:avLst/>
            <a:gdLst>
              <a:gd name="T0" fmla="*/ 546 w 577"/>
              <a:gd name="T1" fmla="*/ 127 h 574"/>
              <a:gd name="T2" fmla="*/ 531 w 577"/>
              <a:gd name="T3" fmla="*/ 50 h 574"/>
              <a:gd name="T4" fmla="*/ 96 w 577"/>
              <a:gd name="T5" fmla="*/ 0 h 574"/>
              <a:gd name="T6" fmla="*/ 45 w 577"/>
              <a:gd name="T7" fmla="*/ 127 h 574"/>
              <a:gd name="T8" fmla="*/ 0 w 577"/>
              <a:gd name="T9" fmla="*/ 158 h 574"/>
              <a:gd name="T10" fmla="*/ 31 w 577"/>
              <a:gd name="T11" fmla="*/ 270 h 574"/>
              <a:gd name="T12" fmla="*/ 45 w 577"/>
              <a:gd name="T13" fmla="*/ 462 h 574"/>
              <a:gd name="T14" fmla="*/ 94 w 577"/>
              <a:gd name="T15" fmla="*/ 543 h 574"/>
              <a:gd name="T16" fmla="*/ 165 w 577"/>
              <a:gd name="T17" fmla="*/ 574 h 574"/>
              <a:gd name="T18" fmla="*/ 196 w 577"/>
              <a:gd name="T19" fmla="*/ 512 h 574"/>
              <a:gd name="T20" fmla="*/ 380 w 577"/>
              <a:gd name="T21" fmla="*/ 543 h 574"/>
              <a:gd name="T22" fmla="*/ 451 w 577"/>
              <a:gd name="T23" fmla="*/ 574 h 574"/>
              <a:gd name="T24" fmla="*/ 482 w 577"/>
              <a:gd name="T25" fmla="*/ 512 h 574"/>
              <a:gd name="T26" fmla="*/ 531 w 577"/>
              <a:gd name="T27" fmla="*/ 270 h 574"/>
              <a:gd name="T28" fmla="*/ 568 w 577"/>
              <a:gd name="T29" fmla="*/ 261 h 574"/>
              <a:gd name="T30" fmla="*/ 577 w 577"/>
              <a:gd name="T31" fmla="*/ 158 h 574"/>
              <a:gd name="T32" fmla="*/ 31 w 577"/>
              <a:gd name="T33" fmla="*/ 256 h 574"/>
              <a:gd name="T34" fmla="*/ 14 w 577"/>
              <a:gd name="T35" fmla="*/ 158 h 574"/>
              <a:gd name="T36" fmla="*/ 45 w 577"/>
              <a:gd name="T37" fmla="*/ 141 h 574"/>
              <a:gd name="T38" fmla="*/ 182 w 577"/>
              <a:gd name="T39" fmla="*/ 543 h 574"/>
              <a:gd name="T40" fmla="*/ 125 w 577"/>
              <a:gd name="T41" fmla="*/ 560 h 574"/>
              <a:gd name="T42" fmla="*/ 108 w 577"/>
              <a:gd name="T43" fmla="*/ 512 h 574"/>
              <a:gd name="T44" fmla="*/ 182 w 577"/>
              <a:gd name="T45" fmla="*/ 543 h 574"/>
              <a:gd name="T46" fmla="*/ 451 w 577"/>
              <a:gd name="T47" fmla="*/ 560 h 574"/>
              <a:gd name="T48" fmla="*/ 394 w 577"/>
              <a:gd name="T49" fmla="*/ 543 h 574"/>
              <a:gd name="T50" fmla="*/ 468 w 577"/>
              <a:gd name="T51" fmla="*/ 512 h 574"/>
              <a:gd name="T52" fmla="*/ 517 w 577"/>
              <a:gd name="T53" fmla="*/ 134 h 574"/>
              <a:gd name="T54" fmla="*/ 517 w 577"/>
              <a:gd name="T55" fmla="*/ 134 h 574"/>
              <a:gd name="T56" fmla="*/ 481 w 577"/>
              <a:gd name="T57" fmla="*/ 498 h 574"/>
              <a:gd name="T58" fmla="*/ 59 w 577"/>
              <a:gd name="T59" fmla="*/ 462 h 574"/>
              <a:gd name="T60" fmla="*/ 96 w 577"/>
              <a:gd name="T61" fmla="*/ 14 h 574"/>
              <a:gd name="T62" fmla="*/ 517 w 577"/>
              <a:gd name="T63" fmla="*/ 50 h 574"/>
              <a:gd name="T64" fmla="*/ 558 w 577"/>
              <a:gd name="T65" fmla="*/ 251 h 574"/>
              <a:gd name="T66" fmla="*/ 531 w 577"/>
              <a:gd name="T67" fmla="*/ 256 h 574"/>
              <a:gd name="T68" fmla="*/ 546 w 577"/>
              <a:gd name="T69" fmla="*/ 141 h 574"/>
              <a:gd name="T70" fmla="*/ 563 w 577"/>
              <a:gd name="T71" fmla="*/ 239 h 574"/>
              <a:gd name="T72" fmla="*/ 138 w 577"/>
              <a:gd name="T73" fmla="*/ 364 h 574"/>
              <a:gd name="T74" fmla="*/ 138 w 577"/>
              <a:gd name="T75" fmla="*/ 452 h 574"/>
              <a:gd name="T76" fmla="*/ 138 w 577"/>
              <a:gd name="T77" fmla="*/ 364 h 574"/>
              <a:gd name="T78" fmla="*/ 108 w 577"/>
              <a:gd name="T79" fmla="*/ 408 h 574"/>
              <a:gd name="T80" fmla="*/ 168 w 577"/>
              <a:gd name="T81" fmla="*/ 408 h 574"/>
              <a:gd name="T82" fmla="*/ 179 w 577"/>
              <a:gd name="T83" fmla="*/ 107 h 574"/>
              <a:gd name="T84" fmla="*/ 429 w 577"/>
              <a:gd name="T85" fmla="*/ 75 h 574"/>
              <a:gd name="T86" fmla="*/ 179 w 577"/>
              <a:gd name="T87" fmla="*/ 43 h 574"/>
              <a:gd name="T88" fmla="*/ 179 w 577"/>
              <a:gd name="T89" fmla="*/ 107 h 574"/>
              <a:gd name="T90" fmla="*/ 397 w 577"/>
              <a:gd name="T91" fmla="*/ 57 h 574"/>
              <a:gd name="T92" fmla="*/ 397 w 577"/>
              <a:gd name="T93" fmla="*/ 93 h 574"/>
              <a:gd name="T94" fmla="*/ 161 w 577"/>
              <a:gd name="T95" fmla="*/ 75 h 574"/>
              <a:gd name="T96" fmla="*/ 131 w 577"/>
              <a:gd name="T97" fmla="*/ 326 h 574"/>
              <a:gd name="T98" fmla="*/ 477 w 577"/>
              <a:gd name="T99" fmla="*/ 295 h 574"/>
              <a:gd name="T100" fmla="*/ 446 w 577"/>
              <a:gd name="T101" fmla="*/ 143 h 574"/>
              <a:gd name="T102" fmla="*/ 99 w 577"/>
              <a:gd name="T103" fmla="*/ 174 h 574"/>
              <a:gd name="T104" fmla="*/ 131 w 577"/>
              <a:gd name="T105" fmla="*/ 326 h 574"/>
              <a:gd name="T106" fmla="*/ 131 w 577"/>
              <a:gd name="T107" fmla="*/ 157 h 574"/>
              <a:gd name="T108" fmla="*/ 463 w 577"/>
              <a:gd name="T109" fmla="*/ 174 h 574"/>
              <a:gd name="T110" fmla="*/ 446 w 577"/>
              <a:gd name="T111" fmla="*/ 312 h 574"/>
              <a:gd name="T112" fmla="*/ 113 w 577"/>
              <a:gd name="T113" fmla="*/ 295 h 574"/>
              <a:gd name="T114" fmla="*/ 439 w 577"/>
              <a:gd name="T115" fmla="*/ 364 h 574"/>
              <a:gd name="T116" fmla="*/ 439 w 577"/>
              <a:gd name="T117" fmla="*/ 452 h 574"/>
              <a:gd name="T118" fmla="*/ 439 w 577"/>
              <a:gd name="T119" fmla="*/ 364 h 574"/>
              <a:gd name="T120" fmla="*/ 409 w 577"/>
              <a:gd name="T121" fmla="*/ 408 h 574"/>
              <a:gd name="T122" fmla="*/ 469 w 577"/>
              <a:gd name="T123" fmla="*/ 408 h 5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77" h="574">
                <a:moveTo>
                  <a:pt x="577" y="158"/>
                </a:moveTo>
                <a:cubicBezTo>
                  <a:pt x="577" y="141"/>
                  <a:pt x="563" y="127"/>
                  <a:pt x="546" y="127"/>
                </a:cubicBezTo>
                <a:cubicBezTo>
                  <a:pt x="531" y="127"/>
                  <a:pt x="531" y="127"/>
                  <a:pt x="531" y="127"/>
                </a:cubicBezTo>
                <a:cubicBezTo>
                  <a:pt x="531" y="50"/>
                  <a:pt x="531" y="50"/>
                  <a:pt x="531" y="50"/>
                </a:cubicBezTo>
                <a:cubicBezTo>
                  <a:pt x="531" y="22"/>
                  <a:pt x="508" y="0"/>
                  <a:pt x="481" y="0"/>
                </a:cubicBezTo>
                <a:cubicBezTo>
                  <a:pt x="96" y="0"/>
                  <a:pt x="96" y="0"/>
                  <a:pt x="96" y="0"/>
                </a:cubicBezTo>
                <a:cubicBezTo>
                  <a:pt x="68" y="0"/>
                  <a:pt x="45" y="22"/>
                  <a:pt x="45" y="50"/>
                </a:cubicBezTo>
                <a:cubicBezTo>
                  <a:pt x="45" y="127"/>
                  <a:pt x="45" y="127"/>
                  <a:pt x="45" y="127"/>
                </a:cubicBezTo>
                <a:cubicBezTo>
                  <a:pt x="31" y="127"/>
                  <a:pt x="31" y="127"/>
                  <a:pt x="31" y="127"/>
                </a:cubicBezTo>
                <a:cubicBezTo>
                  <a:pt x="14" y="127"/>
                  <a:pt x="0" y="141"/>
                  <a:pt x="0" y="158"/>
                </a:cubicBezTo>
                <a:cubicBezTo>
                  <a:pt x="0" y="239"/>
                  <a:pt x="0" y="239"/>
                  <a:pt x="0" y="239"/>
                </a:cubicBezTo>
                <a:cubicBezTo>
                  <a:pt x="0" y="256"/>
                  <a:pt x="14" y="270"/>
                  <a:pt x="31" y="270"/>
                </a:cubicBezTo>
                <a:cubicBezTo>
                  <a:pt x="45" y="270"/>
                  <a:pt x="45" y="270"/>
                  <a:pt x="45" y="270"/>
                </a:cubicBezTo>
                <a:cubicBezTo>
                  <a:pt x="45" y="462"/>
                  <a:pt x="45" y="462"/>
                  <a:pt x="45" y="462"/>
                </a:cubicBezTo>
                <a:cubicBezTo>
                  <a:pt x="45" y="489"/>
                  <a:pt x="67" y="511"/>
                  <a:pt x="94" y="512"/>
                </a:cubicBezTo>
                <a:cubicBezTo>
                  <a:pt x="94" y="543"/>
                  <a:pt x="94" y="543"/>
                  <a:pt x="94" y="543"/>
                </a:cubicBezTo>
                <a:cubicBezTo>
                  <a:pt x="94" y="560"/>
                  <a:pt x="108" y="574"/>
                  <a:pt x="125" y="574"/>
                </a:cubicBezTo>
                <a:cubicBezTo>
                  <a:pt x="165" y="574"/>
                  <a:pt x="165" y="574"/>
                  <a:pt x="165" y="574"/>
                </a:cubicBezTo>
                <a:cubicBezTo>
                  <a:pt x="182" y="574"/>
                  <a:pt x="196" y="560"/>
                  <a:pt x="196" y="543"/>
                </a:cubicBezTo>
                <a:cubicBezTo>
                  <a:pt x="196" y="512"/>
                  <a:pt x="196" y="512"/>
                  <a:pt x="196" y="512"/>
                </a:cubicBezTo>
                <a:cubicBezTo>
                  <a:pt x="380" y="512"/>
                  <a:pt x="380" y="512"/>
                  <a:pt x="380" y="512"/>
                </a:cubicBezTo>
                <a:cubicBezTo>
                  <a:pt x="380" y="543"/>
                  <a:pt x="380" y="543"/>
                  <a:pt x="380" y="543"/>
                </a:cubicBezTo>
                <a:cubicBezTo>
                  <a:pt x="380" y="560"/>
                  <a:pt x="394" y="574"/>
                  <a:pt x="411" y="574"/>
                </a:cubicBezTo>
                <a:cubicBezTo>
                  <a:pt x="451" y="574"/>
                  <a:pt x="451" y="574"/>
                  <a:pt x="451" y="574"/>
                </a:cubicBezTo>
                <a:cubicBezTo>
                  <a:pt x="468" y="574"/>
                  <a:pt x="482" y="560"/>
                  <a:pt x="482" y="543"/>
                </a:cubicBezTo>
                <a:cubicBezTo>
                  <a:pt x="482" y="512"/>
                  <a:pt x="482" y="512"/>
                  <a:pt x="482" y="512"/>
                </a:cubicBezTo>
                <a:cubicBezTo>
                  <a:pt x="509" y="511"/>
                  <a:pt x="531" y="489"/>
                  <a:pt x="531" y="462"/>
                </a:cubicBezTo>
                <a:cubicBezTo>
                  <a:pt x="531" y="270"/>
                  <a:pt x="531" y="270"/>
                  <a:pt x="531" y="270"/>
                </a:cubicBezTo>
                <a:cubicBezTo>
                  <a:pt x="546" y="270"/>
                  <a:pt x="546" y="270"/>
                  <a:pt x="546" y="270"/>
                </a:cubicBezTo>
                <a:cubicBezTo>
                  <a:pt x="554" y="270"/>
                  <a:pt x="562" y="267"/>
                  <a:pt x="568" y="261"/>
                </a:cubicBezTo>
                <a:cubicBezTo>
                  <a:pt x="574" y="255"/>
                  <a:pt x="577" y="247"/>
                  <a:pt x="577" y="239"/>
                </a:cubicBezTo>
                <a:lnTo>
                  <a:pt x="577" y="158"/>
                </a:lnTo>
                <a:close/>
                <a:moveTo>
                  <a:pt x="45" y="256"/>
                </a:moveTo>
                <a:cubicBezTo>
                  <a:pt x="31" y="256"/>
                  <a:pt x="31" y="256"/>
                  <a:pt x="31" y="256"/>
                </a:cubicBezTo>
                <a:cubicBezTo>
                  <a:pt x="21" y="256"/>
                  <a:pt x="14" y="248"/>
                  <a:pt x="14" y="239"/>
                </a:cubicBezTo>
                <a:cubicBezTo>
                  <a:pt x="14" y="158"/>
                  <a:pt x="14" y="158"/>
                  <a:pt x="14" y="158"/>
                </a:cubicBezTo>
                <a:cubicBezTo>
                  <a:pt x="14" y="149"/>
                  <a:pt x="21" y="141"/>
                  <a:pt x="31" y="141"/>
                </a:cubicBezTo>
                <a:cubicBezTo>
                  <a:pt x="45" y="141"/>
                  <a:pt x="45" y="141"/>
                  <a:pt x="45" y="141"/>
                </a:cubicBezTo>
                <a:lnTo>
                  <a:pt x="45" y="256"/>
                </a:lnTo>
                <a:close/>
                <a:moveTo>
                  <a:pt x="182" y="543"/>
                </a:moveTo>
                <a:cubicBezTo>
                  <a:pt x="182" y="552"/>
                  <a:pt x="175" y="560"/>
                  <a:pt x="165" y="560"/>
                </a:cubicBezTo>
                <a:cubicBezTo>
                  <a:pt x="125" y="560"/>
                  <a:pt x="125" y="560"/>
                  <a:pt x="125" y="560"/>
                </a:cubicBezTo>
                <a:cubicBezTo>
                  <a:pt x="116" y="560"/>
                  <a:pt x="108" y="552"/>
                  <a:pt x="108" y="543"/>
                </a:cubicBezTo>
                <a:cubicBezTo>
                  <a:pt x="108" y="512"/>
                  <a:pt x="108" y="512"/>
                  <a:pt x="108" y="512"/>
                </a:cubicBezTo>
                <a:cubicBezTo>
                  <a:pt x="182" y="512"/>
                  <a:pt x="182" y="512"/>
                  <a:pt x="182" y="512"/>
                </a:cubicBezTo>
                <a:lnTo>
                  <a:pt x="182" y="543"/>
                </a:lnTo>
                <a:close/>
                <a:moveTo>
                  <a:pt x="468" y="543"/>
                </a:moveTo>
                <a:cubicBezTo>
                  <a:pt x="468" y="552"/>
                  <a:pt x="461" y="560"/>
                  <a:pt x="451" y="560"/>
                </a:cubicBezTo>
                <a:cubicBezTo>
                  <a:pt x="411" y="560"/>
                  <a:pt x="411" y="560"/>
                  <a:pt x="411" y="560"/>
                </a:cubicBezTo>
                <a:cubicBezTo>
                  <a:pt x="402" y="560"/>
                  <a:pt x="394" y="552"/>
                  <a:pt x="394" y="543"/>
                </a:cubicBezTo>
                <a:cubicBezTo>
                  <a:pt x="394" y="512"/>
                  <a:pt x="394" y="512"/>
                  <a:pt x="394" y="512"/>
                </a:cubicBezTo>
                <a:cubicBezTo>
                  <a:pt x="468" y="512"/>
                  <a:pt x="468" y="512"/>
                  <a:pt x="468" y="512"/>
                </a:cubicBezTo>
                <a:lnTo>
                  <a:pt x="468" y="543"/>
                </a:lnTo>
                <a:close/>
                <a:moveTo>
                  <a:pt x="517" y="134"/>
                </a:moveTo>
                <a:cubicBezTo>
                  <a:pt x="517" y="134"/>
                  <a:pt x="517" y="134"/>
                  <a:pt x="517" y="134"/>
                </a:cubicBezTo>
                <a:cubicBezTo>
                  <a:pt x="517" y="134"/>
                  <a:pt x="517" y="134"/>
                  <a:pt x="517" y="134"/>
                </a:cubicBezTo>
                <a:cubicBezTo>
                  <a:pt x="517" y="462"/>
                  <a:pt x="517" y="462"/>
                  <a:pt x="517" y="462"/>
                </a:cubicBezTo>
                <a:cubicBezTo>
                  <a:pt x="517" y="482"/>
                  <a:pt x="501" y="498"/>
                  <a:pt x="481" y="498"/>
                </a:cubicBezTo>
                <a:cubicBezTo>
                  <a:pt x="96" y="498"/>
                  <a:pt x="96" y="498"/>
                  <a:pt x="96" y="498"/>
                </a:cubicBezTo>
                <a:cubicBezTo>
                  <a:pt x="76" y="498"/>
                  <a:pt x="59" y="482"/>
                  <a:pt x="59" y="462"/>
                </a:cubicBezTo>
                <a:cubicBezTo>
                  <a:pt x="59" y="50"/>
                  <a:pt x="59" y="50"/>
                  <a:pt x="59" y="50"/>
                </a:cubicBezTo>
                <a:cubicBezTo>
                  <a:pt x="59" y="30"/>
                  <a:pt x="76" y="14"/>
                  <a:pt x="96" y="14"/>
                </a:cubicBezTo>
                <a:cubicBezTo>
                  <a:pt x="481" y="14"/>
                  <a:pt x="481" y="14"/>
                  <a:pt x="481" y="14"/>
                </a:cubicBezTo>
                <a:cubicBezTo>
                  <a:pt x="501" y="14"/>
                  <a:pt x="517" y="30"/>
                  <a:pt x="517" y="50"/>
                </a:cubicBezTo>
                <a:lnTo>
                  <a:pt x="517" y="134"/>
                </a:lnTo>
                <a:close/>
                <a:moveTo>
                  <a:pt x="558" y="251"/>
                </a:moveTo>
                <a:cubicBezTo>
                  <a:pt x="555" y="254"/>
                  <a:pt x="550" y="256"/>
                  <a:pt x="546" y="256"/>
                </a:cubicBezTo>
                <a:cubicBezTo>
                  <a:pt x="531" y="256"/>
                  <a:pt x="531" y="256"/>
                  <a:pt x="531" y="256"/>
                </a:cubicBezTo>
                <a:cubicBezTo>
                  <a:pt x="531" y="141"/>
                  <a:pt x="531" y="141"/>
                  <a:pt x="531" y="141"/>
                </a:cubicBezTo>
                <a:cubicBezTo>
                  <a:pt x="546" y="141"/>
                  <a:pt x="546" y="141"/>
                  <a:pt x="546" y="141"/>
                </a:cubicBezTo>
                <a:cubicBezTo>
                  <a:pt x="555" y="141"/>
                  <a:pt x="563" y="149"/>
                  <a:pt x="563" y="158"/>
                </a:cubicBezTo>
                <a:cubicBezTo>
                  <a:pt x="563" y="239"/>
                  <a:pt x="563" y="239"/>
                  <a:pt x="563" y="239"/>
                </a:cubicBezTo>
                <a:cubicBezTo>
                  <a:pt x="563" y="243"/>
                  <a:pt x="561" y="248"/>
                  <a:pt x="558" y="251"/>
                </a:cubicBezTo>
                <a:close/>
                <a:moveTo>
                  <a:pt x="138" y="364"/>
                </a:moveTo>
                <a:cubicBezTo>
                  <a:pt x="113" y="364"/>
                  <a:pt x="94" y="384"/>
                  <a:pt x="94" y="408"/>
                </a:cubicBezTo>
                <a:cubicBezTo>
                  <a:pt x="94" y="433"/>
                  <a:pt x="113" y="452"/>
                  <a:pt x="138" y="452"/>
                </a:cubicBezTo>
                <a:cubicBezTo>
                  <a:pt x="162" y="452"/>
                  <a:pt x="182" y="433"/>
                  <a:pt x="182" y="408"/>
                </a:cubicBezTo>
                <a:cubicBezTo>
                  <a:pt x="182" y="384"/>
                  <a:pt x="162" y="364"/>
                  <a:pt x="138" y="364"/>
                </a:cubicBezTo>
                <a:close/>
                <a:moveTo>
                  <a:pt x="138" y="438"/>
                </a:moveTo>
                <a:cubicBezTo>
                  <a:pt x="121" y="438"/>
                  <a:pt x="108" y="425"/>
                  <a:pt x="108" y="408"/>
                </a:cubicBezTo>
                <a:cubicBezTo>
                  <a:pt x="108" y="392"/>
                  <a:pt x="121" y="378"/>
                  <a:pt x="138" y="378"/>
                </a:cubicBezTo>
                <a:cubicBezTo>
                  <a:pt x="154" y="378"/>
                  <a:pt x="168" y="392"/>
                  <a:pt x="168" y="408"/>
                </a:cubicBezTo>
                <a:cubicBezTo>
                  <a:pt x="168" y="425"/>
                  <a:pt x="154" y="438"/>
                  <a:pt x="138" y="438"/>
                </a:cubicBezTo>
                <a:close/>
                <a:moveTo>
                  <a:pt x="179" y="107"/>
                </a:moveTo>
                <a:cubicBezTo>
                  <a:pt x="397" y="107"/>
                  <a:pt x="397" y="107"/>
                  <a:pt x="397" y="107"/>
                </a:cubicBezTo>
                <a:cubicBezTo>
                  <a:pt x="415" y="107"/>
                  <a:pt x="429" y="92"/>
                  <a:pt x="429" y="75"/>
                </a:cubicBezTo>
                <a:cubicBezTo>
                  <a:pt x="429" y="57"/>
                  <a:pt x="415" y="43"/>
                  <a:pt x="397" y="43"/>
                </a:cubicBezTo>
                <a:cubicBezTo>
                  <a:pt x="179" y="43"/>
                  <a:pt x="179" y="43"/>
                  <a:pt x="179" y="43"/>
                </a:cubicBezTo>
                <a:cubicBezTo>
                  <a:pt x="162" y="43"/>
                  <a:pt x="147" y="57"/>
                  <a:pt x="147" y="75"/>
                </a:cubicBezTo>
                <a:cubicBezTo>
                  <a:pt x="147" y="92"/>
                  <a:pt x="162" y="107"/>
                  <a:pt x="179" y="107"/>
                </a:cubicBezTo>
                <a:close/>
                <a:moveTo>
                  <a:pt x="179" y="57"/>
                </a:moveTo>
                <a:cubicBezTo>
                  <a:pt x="397" y="57"/>
                  <a:pt x="397" y="57"/>
                  <a:pt x="397" y="57"/>
                </a:cubicBezTo>
                <a:cubicBezTo>
                  <a:pt x="407" y="57"/>
                  <a:pt x="415" y="65"/>
                  <a:pt x="415" y="75"/>
                </a:cubicBezTo>
                <a:cubicBezTo>
                  <a:pt x="415" y="85"/>
                  <a:pt x="407" y="93"/>
                  <a:pt x="397" y="93"/>
                </a:cubicBezTo>
                <a:cubicBezTo>
                  <a:pt x="179" y="93"/>
                  <a:pt x="179" y="93"/>
                  <a:pt x="179" y="93"/>
                </a:cubicBezTo>
                <a:cubicBezTo>
                  <a:pt x="169" y="93"/>
                  <a:pt x="161" y="85"/>
                  <a:pt x="161" y="75"/>
                </a:cubicBezTo>
                <a:cubicBezTo>
                  <a:pt x="161" y="65"/>
                  <a:pt x="169" y="57"/>
                  <a:pt x="179" y="57"/>
                </a:cubicBezTo>
                <a:close/>
                <a:moveTo>
                  <a:pt x="131" y="326"/>
                </a:moveTo>
                <a:cubicBezTo>
                  <a:pt x="446" y="326"/>
                  <a:pt x="446" y="326"/>
                  <a:pt x="446" y="326"/>
                </a:cubicBezTo>
                <a:cubicBezTo>
                  <a:pt x="463" y="326"/>
                  <a:pt x="477" y="312"/>
                  <a:pt x="477" y="295"/>
                </a:cubicBezTo>
                <a:cubicBezTo>
                  <a:pt x="477" y="174"/>
                  <a:pt x="477" y="174"/>
                  <a:pt x="477" y="174"/>
                </a:cubicBezTo>
                <a:cubicBezTo>
                  <a:pt x="477" y="157"/>
                  <a:pt x="463" y="143"/>
                  <a:pt x="446" y="143"/>
                </a:cubicBezTo>
                <a:cubicBezTo>
                  <a:pt x="131" y="143"/>
                  <a:pt x="131" y="143"/>
                  <a:pt x="131" y="143"/>
                </a:cubicBezTo>
                <a:cubicBezTo>
                  <a:pt x="113" y="143"/>
                  <a:pt x="99" y="157"/>
                  <a:pt x="99" y="174"/>
                </a:cubicBezTo>
                <a:cubicBezTo>
                  <a:pt x="99" y="295"/>
                  <a:pt x="99" y="295"/>
                  <a:pt x="99" y="295"/>
                </a:cubicBezTo>
                <a:cubicBezTo>
                  <a:pt x="99" y="312"/>
                  <a:pt x="113" y="326"/>
                  <a:pt x="131" y="326"/>
                </a:cubicBezTo>
                <a:close/>
                <a:moveTo>
                  <a:pt x="113" y="174"/>
                </a:moveTo>
                <a:cubicBezTo>
                  <a:pt x="113" y="164"/>
                  <a:pt x="121" y="157"/>
                  <a:pt x="131" y="157"/>
                </a:cubicBezTo>
                <a:cubicBezTo>
                  <a:pt x="446" y="157"/>
                  <a:pt x="446" y="157"/>
                  <a:pt x="446" y="157"/>
                </a:cubicBezTo>
                <a:cubicBezTo>
                  <a:pt x="455" y="157"/>
                  <a:pt x="463" y="164"/>
                  <a:pt x="463" y="174"/>
                </a:cubicBezTo>
                <a:cubicBezTo>
                  <a:pt x="463" y="295"/>
                  <a:pt x="463" y="295"/>
                  <a:pt x="463" y="295"/>
                </a:cubicBezTo>
                <a:cubicBezTo>
                  <a:pt x="463" y="304"/>
                  <a:pt x="455" y="312"/>
                  <a:pt x="446" y="312"/>
                </a:cubicBezTo>
                <a:cubicBezTo>
                  <a:pt x="131" y="312"/>
                  <a:pt x="131" y="312"/>
                  <a:pt x="131" y="312"/>
                </a:cubicBezTo>
                <a:cubicBezTo>
                  <a:pt x="121" y="312"/>
                  <a:pt x="113" y="304"/>
                  <a:pt x="113" y="295"/>
                </a:cubicBezTo>
                <a:lnTo>
                  <a:pt x="113" y="174"/>
                </a:lnTo>
                <a:close/>
                <a:moveTo>
                  <a:pt x="439" y="364"/>
                </a:moveTo>
                <a:cubicBezTo>
                  <a:pt x="415" y="364"/>
                  <a:pt x="395" y="384"/>
                  <a:pt x="395" y="408"/>
                </a:cubicBezTo>
                <a:cubicBezTo>
                  <a:pt x="395" y="433"/>
                  <a:pt x="415" y="452"/>
                  <a:pt x="439" y="452"/>
                </a:cubicBezTo>
                <a:cubicBezTo>
                  <a:pt x="463" y="452"/>
                  <a:pt x="483" y="433"/>
                  <a:pt x="483" y="408"/>
                </a:cubicBezTo>
                <a:cubicBezTo>
                  <a:pt x="483" y="384"/>
                  <a:pt x="463" y="364"/>
                  <a:pt x="439" y="364"/>
                </a:cubicBezTo>
                <a:close/>
                <a:moveTo>
                  <a:pt x="439" y="438"/>
                </a:moveTo>
                <a:cubicBezTo>
                  <a:pt x="422" y="438"/>
                  <a:pt x="409" y="425"/>
                  <a:pt x="409" y="408"/>
                </a:cubicBezTo>
                <a:cubicBezTo>
                  <a:pt x="409" y="392"/>
                  <a:pt x="422" y="378"/>
                  <a:pt x="439" y="378"/>
                </a:cubicBezTo>
                <a:cubicBezTo>
                  <a:pt x="455" y="378"/>
                  <a:pt x="469" y="392"/>
                  <a:pt x="469" y="408"/>
                </a:cubicBezTo>
                <a:cubicBezTo>
                  <a:pt x="469" y="425"/>
                  <a:pt x="455" y="438"/>
                  <a:pt x="439" y="438"/>
                </a:cubicBez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7" name="Oval 7"/>
          <p:cNvSpPr>
            <a:spLocks noChangeArrowheads="1"/>
          </p:cNvSpPr>
          <p:nvPr/>
        </p:nvSpPr>
        <p:spPr bwMode="auto">
          <a:xfrm>
            <a:off x="6589621" y="1528549"/>
            <a:ext cx="1119124" cy="1119124"/>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20" name="Freeform 20"/>
          <p:cNvSpPr>
            <a:spLocks noEditPoints="1"/>
          </p:cNvSpPr>
          <p:nvPr/>
        </p:nvSpPr>
        <p:spPr bwMode="auto">
          <a:xfrm>
            <a:off x="6972913" y="1767438"/>
            <a:ext cx="446134" cy="712656"/>
          </a:xfrm>
          <a:custGeom>
            <a:avLst/>
            <a:gdLst>
              <a:gd name="T0" fmla="*/ 417 w 424"/>
              <a:gd name="T1" fmla="*/ 0 h 677"/>
              <a:gd name="T2" fmla="*/ 410 w 424"/>
              <a:gd name="T3" fmla="*/ 38 h 677"/>
              <a:gd name="T4" fmla="*/ 280 w 424"/>
              <a:gd name="T5" fmla="*/ 47 h 677"/>
              <a:gd name="T6" fmla="*/ 275 w 424"/>
              <a:gd name="T7" fmla="*/ 0 h 677"/>
              <a:gd name="T8" fmla="*/ 157 w 424"/>
              <a:gd name="T9" fmla="*/ 250 h 677"/>
              <a:gd name="T10" fmla="*/ 150 w 424"/>
              <a:gd name="T11" fmla="*/ 0 h 677"/>
              <a:gd name="T12" fmla="*/ 143 w 424"/>
              <a:gd name="T13" fmla="*/ 47 h 677"/>
              <a:gd name="T14" fmla="*/ 14 w 424"/>
              <a:gd name="T15" fmla="*/ 7 h 677"/>
              <a:gd name="T16" fmla="*/ 0 w 424"/>
              <a:gd name="T17" fmla="*/ 7 h 677"/>
              <a:gd name="T18" fmla="*/ 7 w 424"/>
              <a:gd name="T19" fmla="*/ 677 h 677"/>
              <a:gd name="T20" fmla="*/ 14 w 424"/>
              <a:gd name="T21" fmla="*/ 646 h 677"/>
              <a:gd name="T22" fmla="*/ 143 w 424"/>
              <a:gd name="T23" fmla="*/ 670 h 677"/>
              <a:gd name="T24" fmla="*/ 157 w 424"/>
              <a:gd name="T25" fmla="*/ 670 h 677"/>
              <a:gd name="T26" fmla="*/ 244 w 424"/>
              <a:gd name="T27" fmla="*/ 392 h 677"/>
              <a:gd name="T28" fmla="*/ 424 w 424"/>
              <a:gd name="T29" fmla="*/ 57 h 677"/>
              <a:gd name="T30" fmla="*/ 424 w 424"/>
              <a:gd name="T31" fmla="*/ 52 h 677"/>
              <a:gd name="T32" fmla="*/ 424 w 424"/>
              <a:gd name="T33" fmla="*/ 7 h 677"/>
              <a:gd name="T34" fmla="*/ 398 w 424"/>
              <a:gd name="T35" fmla="*/ 131 h 677"/>
              <a:gd name="T36" fmla="*/ 278 w 424"/>
              <a:gd name="T37" fmla="*/ 61 h 677"/>
              <a:gd name="T38" fmla="*/ 361 w 424"/>
              <a:gd name="T39" fmla="*/ 214 h 677"/>
              <a:gd name="T40" fmla="*/ 252 w 424"/>
              <a:gd name="T41" fmla="*/ 145 h 677"/>
              <a:gd name="T42" fmla="*/ 361 w 424"/>
              <a:gd name="T43" fmla="*/ 214 h 677"/>
              <a:gd name="T44" fmla="*/ 195 w 424"/>
              <a:gd name="T45" fmla="*/ 228 h 677"/>
              <a:gd name="T46" fmla="*/ 300 w 424"/>
              <a:gd name="T47" fmla="*/ 298 h 677"/>
              <a:gd name="T48" fmla="*/ 157 w 424"/>
              <a:gd name="T49" fmla="*/ 271 h 677"/>
              <a:gd name="T50" fmla="*/ 234 w 424"/>
              <a:gd name="T51" fmla="*/ 382 h 677"/>
              <a:gd name="T52" fmla="*/ 157 w 424"/>
              <a:gd name="T53" fmla="*/ 312 h 677"/>
              <a:gd name="T54" fmla="*/ 234 w 424"/>
              <a:gd name="T55" fmla="*/ 382 h 677"/>
              <a:gd name="T56" fmla="*/ 68 w 424"/>
              <a:gd name="T57" fmla="*/ 382 h 677"/>
              <a:gd name="T58" fmla="*/ 143 w 424"/>
              <a:gd name="T59" fmla="*/ 382 h 677"/>
              <a:gd name="T60" fmla="*/ 32 w 424"/>
              <a:gd name="T61" fmla="*/ 465 h 677"/>
              <a:gd name="T62" fmla="*/ 143 w 424"/>
              <a:gd name="T63" fmla="*/ 396 h 677"/>
              <a:gd name="T64" fmla="*/ 14 w 424"/>
              <a:gd name="T65" fmla="*/ 465 h 677"/>
              <a:gd name="T66" fmla="*/ 44 w 424"/>
              <a:gd name="T67" fmla="*/ 396 h 677"/>
              <a:gd name="T68" fmla="*/ 14 w 424"/>
              <a:gd name="T69" fmla="*/ 465 h 677"/>
              <a:gd name="T70" fmla="*/ 14 w 424"/>
              <a:gd name="T71" fmla="*/ 312 h 677"/>
              <a:gd name="T72" fmla="*/ 52 w 424"/>
              <a:gd name="T73" fmla="*/ 382 h 677"/>
              <a:gd name="T74" fmla="*/ 113 w 424"/>
              <a:gd name="T75" fmla="*/ 298 h 677"/>
              <a:gd name="T76" fmla="*/ 14 w 424"/>
              <a:gd name="T77" fmla="*/ 228 h 677"/>
              <a:gd name="T78" fmla="*/ 143 w 424"/>
              <a:gd name="T79" fmla="*/ 265 h 677"/>
              <a:gd name="T80" fmla="*/ 143 w 424"/>
              <a:gd name="T81" fmla="*/ 214 h 677"/>
              <a:gd name="T82" fmla="*/ 14 w 424"/>
              <a:gd name="T83" fmla="*/ 145 h 677"/>
              <a:gd name="T84" fmla="*/ 143 w 424"/>
              <a:gd name="T85" fmla="*/ 214 h 677"/>
              <a:gd name="T86" fmla="*/ 143 w 424"/>
              <a:gd name="T87" fmla="*/ 479 h 677"/>
              <a:gd name="T88" fmla="*/ 16 w 424"/>
              <a:gd name="T89" fmla="*/ 549 h 677"/>
              <a:gd name="T90" fmla="*/ 157 w 424"/>
              <a:gd name="T91" fmla="*/ 396 h 677"/>
              <a:gd name="T92" fmla="*/ 157 w 424"/>
              <a:gd name="T93" fmla="*/ 545 h 677"/>
              <a:gd name="T94" fmla="*/ 143 w 424"/>
              <a:gd name="T95" fmla="*/ 61 h 677"/>
              <a:gd name="T96" fmla="*/ 14 w 424"/>
              <a:gd name="T97" fmla="*/ 131 h 677"/>
              <a:gd name="T98" fmla="*/ 143 w 424"/>
              <a:gd name="T99" fmla="*/ 61 h 677"/>
              <a:gd name="T100" fmla="*/ 14 w 424"/>
              <a:gd name="T101" fmla="*/ 596 h 677"/>
              <a:gd name="T102" fmla="*/ 143 w 424"/>
              <a:gd name="T103" fmla="*/ 563 h 677"/>
              <a:gd name="T104" fmla="*/ 14 w 424"/>
              <a:gd name="T105" fmla="*/ 632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24" h="677">
                <a:moveTo>
                  <a:pt x="424" y="7"/>
                </a:moveTo>
                <a:cubicBezTo>
                  <a:pt x="424" y="3"/>
                  <a:pt x="421" y="0"/>
                  <a:pt x="417" y="0"/>
                </a:cubicBezTo>
                <a:cubicBezTo>
                  <a:pt x="413" y="0"/>
                  <a:pt x="410" y="3"/>
                  <a:pt x="410" y="7"/>
                </a:cubicBezTo>
                <a:cubicBezTo>
                  <a:pt x="410" y="38"/>
                  <a:pt x="410" y="38"/>
                  <a:pt x="410" y="38"/>
                </a:cubicBezTo>
                <a:cubicBezTo>
                  <a:pt x="410" y="41"/>
                  <a:pt x="410" y="44"/>
                  <a:pt x="410" y="47"/>
                </a:cubicBezTo>
                <a:cubicBezTo>
                  <a:pt x="280" y="47"/>
                  <a:pt x="280" y="47"/>
                  <a:pt x="280" y="47"/>
                </a:cubicBezTo>
                <a:cubicBezTo>
                  <a:pt x="281" y="35"/>
                  <a:pt x="282" y="21"/>
                  <a:pt x="282" y="7"/>
                </a:cubicBezTo>
                <a:cubicBezTo>
                  <a:pt x="282" y="3"/>
                  <a:pt x="279" y="0"/>
                  <a:pt x="275" y="0"/>
                </a:cubicBezTo>
                <a:cubicBezTo>
                  <a:pt x="271" y="0"/>
                  <a:pt x="268" y="3"/>
                  <a:pt x="268" y="7"/>
                </a:cubicBezTo>
                <a:cubicBezTo>
                  <a:pt x="268" y="123"/>
                  <a:pt x="215" y="187"/>
                  <a:pt x="157" y="250"/>
                </a:cubicBezTo>
                <a:cubicBezTo>
                  <a:pt x="157" y="7"/>
                  <a:pt x="157" y="7"/>
                  <a:pt x="157" y="7"/>
                </a:cubicBezTo>
                <a:cubicBezTo>
                  <a:pt x="157" y="3"/>
                  <a:pt x="154" y="0"/>
                  <a:pt x="150" y="0"/>
                </a:cubicBezTo>
                <a:cubicBezTo>
                  <a:pt x="146" y="0"/>
                  <a:pt x="143" y="3"/>
                  <a:pt x="143" y="7"/>
                </a:cubicBezTo>
                <a:cubicBezTo>
                  <a:pt x="143" y="47"/>
                  <a:pt x="143" y="47"/>
                  <a:pt x="143" y="47"/>
                </a:cubicBezTo>
                <a:cubicBezTo>
                  <a:pt x="14" y="47"/>
                  <a:pt x="14" y="47"/>
                  <a:pt x="14" y="47"/>
                </a:cubicBezTo>
                <a:cubicBezTo>
                  <a:pt x="14" y="7"/>
                  <a:pt x="14" y="7"/>
                  <a:pt x="14" y="7"/>
                </a:cubicBezTo>
                <a:cubicBezTo>
                  <a:pt x="14" y="3"/>
                  <a:pt x="11" y="0"/>
                  <a:pt x="7" y="0"/>
                </a:cubicBezTo>
                <a:cubicBezTo>
                  <a:pt x="3" y="0"/>
                  <a:pt x="0" y="3"/>
                  <a:pt x="0" y="7"/>
                </a:cubicBezTo>
                <a:cubicBezTo>
                  <a:pt x="0" y="670"/>
                  <a:pt x="0" y="670"/>
                  <a:pt x="0" y="670"/>
                </a:cubicBezTo>
                <a:cubicBezTo>
                  <a:pt x="0" y="674"/>
                  <a:pt x="3" y="677"/>
                  <a:pt x="7" y="677"/>
                </a:cubicBezTo>
                <a:cubicBezTo>
                  <a:pt x="11" y="677"/>
                  <a:pt x="14" y="674"/>
                  <a:pt x="14" y="670"/>
                </a:cubicBezTo>
                <a:cubicBezTo>
                  <a:pt x="14" y="646"/>
                  <a:pt x="14" y="646"/>
                  <a:pt x="14" y="646"/>
                </a:cubicBezTo>
                <a:cubicBezTo>
                  <a:pt x="143" y="646"/>
                  <a:pt x="143" y="646"/>
                  <a:pt x="143" y="646"/>
                </a:cubicBezTo>
                <a:cubicBezTo>
                  <a:pt x="143" y="670"/>
                  <a:pt x="143" y="670"/>
                  <a:pt x="143" y="670"/>
                </a:cubicBezTo>
                <a:cubicBezTo>
                  <a:pt x="143" y="674"/>
                  <a:pt x="146" y="677"/>
                  <a:pt x="150" y="677"/>
                </a:cubicBezTo>
                <a:cubicBezTo>
                  <a:pt x="154" y="677"/>
                  <a:pt x="157" y="674"/>
                  <a:pt x="157" y="670"/>
                </a:cubicBezTo>
                <a:cubicBezTo>
                  <a:pt x="157" y="543"/>
                  <a:pt x="195" y="461"/>
                  <a:pt x="243" y="393"/>
                </a:cubicBezTo>
                <a:cubicBezTo>
                  <a:pt x="244" y="393"/>
                  <a:pt x="244" y="392"/>
                  <a:pt x="244" y="392"/>
                </a:cubicBezTo>
                <a:cubicBezTo>
                  <a:pt x="262" y="367"/>
                  <a:pt x="281" y="343"/>
                  <a:pt x="300" y="320"/>
                </a:cubicBezTo>
                <a:cubicBezTo>
                  <a:pt x="361" y="246"/>
                  <a:pt x="418" y="175"/>
                  <a:pt x="424" y="57"/>
                </a:cubicBezTo>
                <a:cubicBezTo>
                  <a:pt x="424" y="56"/>
                  <a:pt x="424" y="55"/>
                  <a:pt x="424" y="54"/>
                </a:cubicBezTo>
                <a:cubicBezTo>
                  <a:pt x="424" y="54"/>
                  <a:pt x="424" y="53"/>
                  <a:pt x="424" y="52"/>
                </a:cubicBezTo>
                <a:cubicBezTo>
                  <a:pt x="424" y="47"/>
                  <a:pt x="424" y="43"/>
                  <a:pt x="424" y="38"/>
                </a:cubicBezTo>
                <a:lnTo>
                  <a:pt x="424" y="7"/>
                </a:lnTo>
                <a:close/>
                <a:moveTo>
                  <a:pt x="410" y="61"/>
                </a:moveTo>
                <a:cubicBezTo>
                  <a:pt x="408" y="86"/>
                  <a:pt x="404" y="109"/>
                  <a:pt x="398" y="131"/>
                </a:cubicBezTo>
                <a:cubicBezTo>
                  <a:pt x="258" y="131"/>
                  <a:pt x="258" y="131"/>
                  <a:pt x="258" y="131"/>
                </a:cubicBezTo>
                <a:cubicBezTo>
                  <a:pt x="267" y="110"/>
                  <a:pt x="274" y="87"/>
                  <a:pt x="278" y="61"/>
                </a:cubicBezTo>
                <a:lnTo>
                  <a:pt x="410" y="61"/>
                </a:lnTo>
                <a:close/>
                <a:moveTo>
                  <a:pt x="361" y="214"/>
                </a:moveTo>
                <a:cubicBezTo>
                  <a:pt x="207" y="214"/>
                  <a:pt x="207" y="214"/>
                  <a:pt x="207" y="214"/>
                </a:cubicBezTo>
                <a:cubicBezTo>
                  <a:pt x="224" y="193"/>
                  <a:pt x="239" y="170"/>
                  <a:pt x="252" y="145"/>
                </a:cubicBezTo>
                <a:cubicBezTo>
                  <a:pt x="394" y="145"/>
                  <a:pt x="394" y="145"/>
                  <a:pt x="394" y="145"/>
                </a:cubicBezTo>
                <a:cubicBezTo>
                  <a:pt x="385" y="170"/>
                  <a:pt x="374" y="193"/>
                  <a:pt x="361" y="214"/>
                </a:cubicBezTo>
                <a:close/>
                <a:moveTo>
                  <a:pt x="157" y="271"/>
                </a:moveTo>
                <a:cubicBezTo>
                  <a:pt x="170" y="257"/>
                  <a:pt x="183" y="243"/>
                  <a:pt x="195" y="228"/>
                </a:cubicBezTo>
                <a:cubicBezTo>
                  <a:pt x="352" y="228"/>
                  <a:pt x="352" y="228"/>
                  <a:pt x="352" y="228"/>
                </a:cubicBezTo>
                <a:cubicBezTo>
                  <a:pt x="336" y="252"/>
                  <a:pt x="318" y="275"/>
                  <a:pt x="300" y="298"/>
                </a:cubicBezTo>
                <a:cubicBezTo>
                  <a:pt x="157" y="298"/>
                  <a:pt x="157" y="298"/>
                  <a:pt x="157" y="298"/>
                </a:cubicBezTo>
                <a:cubicBezTo>
                  <a:pt x="157" y="271"/>
                  <a:pt x="157" y="271"/>
                  <a:pt x="157" y="271"/>
                </a:cubicBezTo>
                <a:cubicBezTo>
                  <a:pt x="157" y="271"/>
                  <a:pt x="157" y="271"/>
                  <a:pt x="157" y="271"/>
                </a:cubicBezTo>
                <a:close/>
                <a:moveTo>
                  <a:pt x="234" y="382"/>
                </a:moveTo>
                <a:cubicBezTo>
                  <a:pt x="157" y="382"/>
                  <a:pt x="157" y="382"/>
                  <a:pt x="157" y="382"/>
                </a:cubicBezTo>
                <a:cubicBezTo>
                  <a:pt x="157" y="312"/>
                  <a:pt x="157" y="312"/>
                  <a:pt x="157" y="312"/>
                </a:cubicBezTo>
                <a:cubicBezTo>
                  <a:pt x="289" y="312"/>
                  <a:pt x="289" y="312"/>
                  <a:pt x="289" y="312"/>
                </a:cubicBezTo>
                <a:cubicBezTo>
                  <a:pt x="270" y="334"/>
                  <a:pt x="252" y="357"/>
                  <a:pt x="234" y="382"/>
                </a:cubicBezTo>
                <a:close/>
                <a:moveTo>
                  <a:pt x="143" y="382"/>
                </a:moveTo>
                <a:cubicBezTo>
                  <a:pt x="68" y="382"/>
                  <a:pt x="68" y="382"/>
                  <a:pt x="68" y="382"/>
                </a:cubicBezTo>
                <a:cubicBezTo>
                  <a:pt x="90" y="345"/>
                  <a:pt x="116" y="315"/>
                  <a:pt x="143" y="286"/>
                </a:cubicBezTo>
                <a:lnTo>
                  <a:pt x="143" y="382"/>
                </a:lnTo>
                <a:close/>
                <a:moveTo>
                  <a:pt x="143" y="465"/>
                </a:moveTo>
                <a:cubicBezTo>
                  <a:pt x="32" y="465"/>
                  <a:pt x="32" y="465"/>
                  <a:pt x="32" y="465"/>
                </a:cubicBezTo>
                <a:cubicBezTo>
                  <a:pt x="39" y="439"/>
                  <a:pt x="49" y="416"/>
                  <a:pt x="60" y="396"/>
                </a:cubicBezTo>
                <a:cubicBezTo>
                  <a:pt x="143" y="396"/>
                  <a:pt x="143" y="396"/>
                  <a:pt x="143" y="396"/>
                </a:cubicBezTo>
                <a:lnTo>
                  <a:pt x="143" y="465"/>
                </a:lnTo>
                <a:close/>
                <a:moveTo>
                  <a:pt x="14" y="465"/>
                </a:moveTo>
                <a:cubicBezTo>
                  <a:pt x="14" y="396"/>
                  <a:pt x="14" y="396"/>
                  <a:pt x="14" y="396"/>
                </a:cubicBezTo>
                <a:cubicBezTo>
                  <a:pt x="44" y="396"/>
                  <a:pt x="44" y="396"/>
                  <a:pt x="44" y="396"/>
                </a:cubicBezTo>
                <a:cubicBezTo>
                  <a:pt x="33" y="416"/>
                  <a:pt x="24" y="439"/>
                  <a:pt x="17" y="465"/>
                </a:cubicBezTo>
                <a:lnTo>
                  <a:pt x="14" y="465"/>
                </a:lnTo>
                <a:close/>
                <a:moveTo>
                  <a:pt x="14" y="382"/>
                </a:moveTo>
                <a:cubicBezTo>
                  <a:pt x="14" y="312"/>
                  <a:pt x="14" y="312"/>
                  <a:pt x="14" y="312"/>
                </a:cubicBezTo>
                <a:cubicBezTo>
                  <a:pt x="101" y="312"/>
                  <a:pt x="101" y="312"/>
                  <a:pt x="101" y="312"/>
                </a:cubicBezTo>
                <a:cubicBezTo>
                  <a:pt x="83" y="333"/>
                  <a:pt x="67" y="356"/>
                  <a:pt x="52" y="382"/>
                </a:cubicBezTo>
                <a:lnTo>
                  <a:pt x="14" y="382"/>
                </a:lnTo>
                <a:close/>
                <a:moveTo>
                  <a:pt x="113" y="298"/>
                </a:moveTo>
                <a:cubicBezTo>
                  <a:pt x="14" y="298"/>
                  <a:pt x="14" y="298"/>
                  <a:pt x="14" y="298"/>
                </a:cubicBezTo>
                <a:cubicBezTo>
                  <a:pt x="14" y="228"/>
                  <a:pt x="14" y="228"/>
                  <a:pt x="14" y="228"/>
                </a:cubicBezTo>
                <a:cubicBezTo>
                  <a:pt x="143" y="228"/>
                  <a:pt x="143" y="228"/>
                  <a:pt x="143" y="228"/>
                </a:cubicBezTo>
                <a:cubicBezTo>
                  <a:pt x="143" y="265"/>
                  <a:pt x="143" y="265"/>
                  <a:pt x="143" y="265"/>
                </a:cubicBezTo>
                <a:cubicBezTo>
                  <a:pt x="133" y="276"/>
                  <a:pt x="123" y="287"/>
                  <a:pt x="113" y="298"/>
                </a:cubicBezTo>
                <a:close/>
                <a:moveTo>
                  <a:pt x="143" y="214"/>
                </a:moveTo>
                <a:cubicBezTo>
                  <a:pt x="14" y="214"/>
                  <a:pt x="14" y="214"/>
                  <a:pt x="14" y="214"/>
                </a:cubicBezTo>
                <a:cubicBezTo>
                  <a:pt x="14" y="145"/>
                  <a:pt x="14" y="145"/>
                  <a:pt x="14" y="145"/>
                </a:cubicBezTo>
                <a:cubicBezTo>
                  <a:pt x="143" y="145"/>
                  <a:pt x="143" y="145"/>
                  <a:pt x="143" y="145"/>
                </a:cubicBezTo>
                <a:lnTo>
                  <a:pt x="143" y="214"/>
                </a:lnTo>
                <a:close/>
                <a:moveTo>
                  <a:pt x="28" y="479"/>
                </a:moveTo>
                <a:cubicBezTo>
                  <a:pt x="143" y="479"/>
                  <a:pt x="143" y="479"/>
                  <a:pt x="143" y="479"/>
                </a:cubicBezTo>
                <a:cubicBezTo>
                  <a:pt x="143" y="549"/>
                  <a:pt x="143" y="549"/>
                  <a:pt x="143" y="549"/>
                </a:cubicBezTo>
                <a:cubicBezTo>
                  <a:pt x="16" y="549"/>
                  <a:pt x="16" y="549"/>
                  <a:pt x="16" y="549"/>
                </a:cubicBezTo>
                <a:cubicBezTo>
                  <a:pt x="18" y="523"/>
                  <a:pt x="22" y="500"/>
                  <a:pt x="28" y="479"/>
                </a:cubicBezTo>
                <a:close/>
                <a:moveTo>
                  <a:pt x="157" y="396"/>
                </a:moveTo>
                <a:cubicBezTo>
                  <a:pt x="224" y="396"/>
                  <a:pt x="224" y="396"/>
                  <a:pt x="224" y="396"/>
                </a:cubicBezTo>
                <a:cubicBezTo>
                  <a:pt x="196" y="438"/>
                  <a:pt x="171" y="485"/>
                  <a:pt x="157" y="545"/>
                </a:cubicBezTo>
                <a:lnTo>
                  <a:pt x="157" y="396"/>
                </a:lnTo>
                <a:close/>
                <a:moveTo>
                  <a:pt x="143" y="61"/>
                </a:moveTo>
                <a:cubicBezTo>
                  <a:pt x="143" y="131"/>
                  <a:pt x="143" y="131"/>
                  <a:pt x="143" y="131"/>
                </a:cubicBezTo>
                <a:cubicBezTo>
                  <a:pt x="14" y="131"/>
                  <a:pt x="14" y="131"/>
                  <a:pt x="14" y="131"/>
                </a:cubicBezTo>
                <a:cubicBezTo>
                  <a:pt x="14" y="61"/>
                  <a:pt x="14" y="61"/>
                  <a:pt x="14" y="61"/>
                </a:cubicBezTo>
                <a:lnTo>
                  <a:pt x="143" y="61"/>
                </a:lnTo>
                <a:close/>
                <a:moveTo>
                  <a:pt x="14" y="632"/>
                </a:moveTo>
                <a:cubicBezTo>
                  <a:pt x="14" y="596"/>
                  <a:pt x="14" y="596"/>
                  <a:pt x="14" y="596"/>
                </a:cubicBezTo>
                <a:cubicBezTo>
                  <a:pt x="14" y="585"/>
                  <a:pt x="14" y="573"/>
                  <a:pt x="15" y="563"/>
                </a:cubicBezTo>
                <a:cubicBezTo>
                  <a:pt x="143" y="563"/>
                  <a:pt x="143" y="563"/>
                  <a:pt x="143" y="563"/>
                </a:cubicBezTo>
                <a:cubicBezTo>
                  <a:pt x="143" y="632"/>
                  <a:pt x="143" y="632"/>
                  <a:pt x="143" y="632"/>
                </a:cubicBezTo>
                <a:lnTo>
                  <a:pt x="14" y="632"/>
                </a:ln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10" name="Oval 10"/>
          <p:cNvSpPr>
            <a:spLocks noChangeArrowheads="1"/>
          </p:cNvSpPr>
          <p:nvPr/>
        </p:nvSpPr>
        <p:spPr bwMode="auto">
          <a:xfrm>
            <a:off x="1315706" y="1528549"/>
            <a:ext cx="1119124" cy="1119124"/>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21" name="Freeform 21"/>
          <p:cNvSpPr>
            <a:spLocks noEditPoints="1"/>
          </p:cNvSpPr>
          <p:nvPr/>
        </p:nvSpPr>
        <p:spPr bwMode="auto">
          <a:xfrm>
            <a:off x="1600055" y="1765209"/>
            <a:ext cx="550426" cy="646248"/>
          </a:xfrm>
          <a:custGeom>
            <a:avLst/>
            <a:gdLst>
              <a:gd name="T0" fmla="*/ 7 w 523"/>
              <a:gd name="T1" fmla="*/ 0 h 614"/>
              <a:gd name="T2" fmla="*/ 0 w 523"/>
              <a:gd name="T3" fmla="*/ 392 h 614"/>
              <a:gd name="T4" fmla="*/ 18 w 523"/>
              <a:gd name="T5" fmla="*/ 399 h 614"/>
              <a:gd name="T6" fmla="*/ 4 w 523"/>
              <a:gd name="T7" fmla="*/ 499 h 614"/>
              <a:gd name="T8" fmla="*/ 45 w 523"/>
              <a:gd name="T9" fmla="*/ 548 h 614"/>
              <a:gd name="T10" fmla="*/ 59 w 523"/>
              <a:gd name="T11" fmla="*/ 570 h 614"/>
              <a:gd name="T12" fmla="*/ 146 w 523"/>
              <a:gd name="T13" fmla="*/ 570 h 614"/>
              <a:gd name="T14" fmla="*/ 376 w 523"/>
              <a:gd name="T15" fmla="*/ 548 h 614"/>
              <a:gd name="T16" fmla="*/ 420 w 523"/>
              <a:gd name="T17" fmla="*/ 614 h 614"/>
              <a:gd name="T18" fmla="*/ 463 w 523"/>
              <a:gd name="T19" fmla="*/ 548 h 614"/>
              <a:gd name="T20" fmla="*/ 506 w 523"/>
              <a:gd name="T21" fmla="*/ 535 h 614"/>
              <a:gd name="T22" fmla="*/ 511 w 523"/>
              <a:gd name="T23" fmla="*/ 421 h 614"/>
              <a:gd name="T24" fmla="*/ 516 w 523"/>
              <a:gd name="T25" fmla="*/ 399 h 614"/>
              <a:gd name="T26" fmla="*/ 523 w 523"/>
              <a:gd name="T27" fmla="*/ 7 h 614"/>
              <a:gd name="T28" fmla="*/ 132 w 523"/>
              <a:gd name="T29" fmla="*/ 570 h 614"/>
              <a:gd name="T30" fmla="*/ 73 w 523"/>
              <a:gd name="T31" fmla="*/ 570 h 614"/>
              <a:gd name="T32" fmla="*/ 132 w 523"/>
              <a:gd name="T33" fmla="*/ 548 h 614"/>
              <a:gd name="T34" fmla="*/ 449 w 523"/>
              <a:gd name="T35" fmla="*/ 570 h 614"/>
              <a:gd name="T36" fmla="*/ 390 w 523"/>
              <a:gd name="T37" fmla="*/ 570 h 614"/>
              <a:gd name="T38" fmla="*/ 449 w 523"/>
              <a:gd name="T39" fmla="*/ 548 h 614"/>
              <a:gd name="T40" fmla="*/ 496 w 523"/>
              <a:gd name="T41" fmla="*/ 526 h 614"/>
              <a:gd name="T42" fmla="*/ 45 w 523"/>
              <a:gd name="T43" fmla="*/ 534 h 614"/>
              <a:gd name="T44" fmla="*/ 18 w 523"/>
              <a:gd name="T45" fmla="*/ 500 h 614"/>
              <a:gd name="T46" fmla="*/ 44 w 523"/>
              <a:gd name="T47" fmla="*/ 387 h 614"/>
              <a:gd name="T48" fmla="*/ 67 w 523"/>
              <a:gd name="T49" fmla="*/ 308 h 614"/>
              <a:gd name="T50" fmla="*/ 458 w 523"/>
              <a:gd name="T51" fmla="*/ 347 h 614"/>
              <a:gd name="T52" fmla="*/ 497 w 523"/>
              <a:gd name="T53" fmla="*/ 423 h 614"/>
              <a:gd name="T54" fmla="*/ 496 w 523"/>
              <a:gd name="T55" fmla="*/ 526 h 614"/>
              <a:gd name="T56" fmla="*/ 73 w 523"/>
              <a:gd name="T57" fmla="*/ 228 h 614"/>
              <a:gd name="T58" fmla="*/ 391 w 523"/>
              <a:gd name="T59" fmla="*/ 177 h 614"/>
              <a:gd name="T60" fmla="*/ 454 w 523"/>
              <a:gd name="T61" fmla="*/ 294 h 614"/>
              <a:gd name="T62" fmla="*/ 509 w 523"/>
              <a:gd name="T63" fmla="*/ 385 h 614"/>
              <a:gd name="T64" fmla="*/ 489 w 523"/>
              <a:gd name="T65" fmla="*/ 378 h 614"/>
              <a:gd name="T66" fmla="*/ 463 w 523"/>
              <a:gd name="T67" fmla="*/ 227 h 614"/>
              <a:gd name="T68" fmla="*/ 131 w 523"/>
              <a:gd name="T69" fmla="*/ 163 h 614"/>
              <a:gd name="T70" fmla="*/ 50 w 523"/>
              <a:gd name="T71" fmla="*/ 346 h 614"/>
              <a:gd name="T72" fmla="*/ 27 w 523"/>
              <a:gd name="T73" fmla="*/ 385 h 614"/>
              <a:gd name="T74" fmla="*/ 14 w 523"/>
              <a:gd name="T75" fmla="*/ 14 h 614"/>
              <a:gd name="T76" fmla="*/ 509 w 523"/>
              <a:gd name="T77" fmla="*/ 385 h 614"/>
              <a:gd name="T78" fmla="*/ 59 w 523"/>
              <a:gd name="T79" fmla="*/ 428 h 614"/>
              <a:gd name="T80" fmla="*/ 146 w 523"/>
              <a:gd name="T81" fmla="*/ 428 h 614"/>
              <a:gd name="T82" fmla="*/ 102 w 523"/>
              <a:gd name="T83" fmla="*/ 458 h 614"/>
              <a:gd name="T84" fmla="*/ 102 w 523"/>
              <a:gd name="T85" fmla="*/ 399 h 614"/>
              <a:gd name="T86" fmla="*/ 102 w 523"/>
              <a:gd name="T87" fmla="*/ 458 h 614"/>
              <a:gd name="T88" fmla="*/ 178 w 523"/>
              <a:gd name="T89" fmla="*/ 335 h 614"/>
              <a:gd name="T90" fmla="*/ 171 w 523"/>
              <a:gd name="T91" fmla="*/ 497 h 614"/>
              <a:gd name="T92" fmla="*/ 344 w 523"/>
              <a:gd name="T93" fmla="*/ 504 h 614"/>
              <a:gd name="T94" fmla="*/ 351 w 523"/>
              <a:gd name="T95" fmla="*/ 342 h 614"/>
              <a:gd name="T96" fmla="*/ 337 w 523"/>
              <a:gd name="T97" fmla="*/ 490 h 614"/>
              <a:gd name="T98" fmla="*/ 185 w 523"/>
              <a:gd name="T99" fmla="*/ 453 h 614"/>
              <a:gd name="T100" fmla="*/ 337 w 523"/>
              <a:gd name="T101" fmla="*/ 490 h 614"/>
              <a:gd name="T102" fmla="*/ 185 w 523"/>
              <a:gd name="T103" fmla="*/ 439 h 614"/>
              <a:gd name="T104" fmla="*/ 337 w 523"/>
              <a:gd name="T105" fmla="*/ 401 h 614"/>
              <a:gd name="T106" fmla="*/ 337 w 523"/>
              <a:gd name="T107" fmla="*/ 387 h 614"/>
              <a:gd name="T108" fmla="*/ 185 w 523"/>
              <a:gd name="T109" fmla="*/ 349 h 614"/>
              <a:gd name="T110" fmla="*/ 337 w 523"/>
              <a:gd name="T111" fmla="*/ 387 h 614"/>
              <a:gd name="T112" fmla="*/ 376 w 523"/>
              <a:gd name="T113" fmla="*/ 428 h 614"/>
              <a:gd name="T114" fmla="*/ 463 w 523"/>
              <a:gd name="T115" fmla="*/ 428 h 614"/>
              <a:gd name="T116" fmla="*/ 420 w 523"/>
              <a:gd name="T117" fmla="*/ 458 h 614"/>
              <a:gd name="T118" fmla="*/ 420 w 523"/>
              <a:gd name="T119" fmla="*/ 399 h 614"/>
              <a:gd name="T120" fmla="*/ 420 w 523"/>
              <a:gd name="T121" fmla="*/ 458 h 6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23" h="614">
                <a:moveTo>
                  <a:pt x="516" y="0"/>
                </a:moveTo>
                <a:cubicBezTo>
                  <a:pt x="7" y="0"/>
                  <a:pt x="7" y="0"/>
                  <a:pt x="7" y="0"/>
                </a:cubicBezTo>
                <a:cubicBezTo>
                  <a:pt x="3" y="0"/>
                  <a:pt x="0" y="3"/>
                  <a:pt x="0" y="7"/>
                </a:cubicBezTo>
                <a:cubicBezTo>
                  <a:pt x="0" y="392"/>
                  <a:pt x="0" y="392"/>
                  <a:pt x="0" y="392"/>
                </a:cubicBezTo>
                <a:cubicBezTo>
                  <a:pt x="0" y="396"/>
                  <a:pt x="3" y="399"/>
                  <a:pt x="7" y="399"/>
                </a:cubicBezTo>
                <a:cubicBezTo>
                  <a:pt x="18" y="399"/>
                  <a:pt x="18" y="399"/>
                  <a:pt x="18" y="399"/>
                </a:cubicBezTo>
                <a:cubicBezTo>
                  <a:pt x="15" y="405"/>
                  <a:pt x="12" y="413"/>
                  <a:pt x="11" y="421"/>
                </a:cubicBezTo>
                <a:cubicBezTo>
                  <a:pt x="4" y="499"/>
                  <a:pt x="4" y="499"/>
                  <a:pt x="4" y="499"/>
                </a:cubicBezTo>
                <a:cubicBezTo>
                  <a:pt x="3" y="513"/>
                  <a:pt x="7" y="526"/>
                  <a:pt x="16" y="535"/>
                </a:cubicBezTo>
                <a:cubicBezTo>
                  <a:pt x="24" y="544"/>
                  <a:pt x="34" y="548"/>
                  <a:pt x="45" y="548"/>
                </a:cubicBezTo>
                <a:cubicBezTo>
                  <a:pt x="59" y="548"/>
                  <a:pt x="59" y="548"/>
                  <a:pt x="59" y="548"/>
                </a:cubicBezTo>
                <a:cubicBezTo>
                  <a:pt x="59" y="570"/>
                  <a:pt x="59" y="570"/>
                  <a:pt x="59" y="570"/>
                </a:cubicBezTo>
                <a:cubicBezTo>
                  <a:pt x="59" y="594"/>
                  <a:pt x="78" y="614"/>
                  <a:pt x="102" y="614"/>
                </a:cubicBezTo>
                <a:cubicBezTo>
                  <a:pt x="126" y="614"/>
                  <a:pt x="146" y="594"/>
                  <a:pt x="146" y="570"/>
                </a:cubicBezTo>
                <a:cubicBezTo>
                  <a:pt x="146" y="548"/>
                  <a:pt x="146" y="548"/>
                  <a:pt x="146" y="548"/>
                </a:cubicBezTo>
                <a:cubicBezTo>
                  <a:pt x="376" y="548"/>
                  <a:pt x="376" y="548"/>
                  <a:pt x="376" y="548"/>
                </a:cubicBezTo>
                <a:cubicBezTo>
                  <a:pt x="376" y="570"/>
                  <a:pt x="376" y="570"/>
                  <a:pt x="376" y="570"/>
                </a:cubicBezTo>
                <a:cubicBezTo>
                  <a:pt x="376" y="594"/>
                  <a:pt x="396" y="614"/>
                  <a:pt x="420" y="614"/>
                </a:cubicBezTo>
                <a:cubicBezTo>
                  <a:pt x="444" y="614"/>
                  <a:pt x="463" y="594"/>
                  <a:pt x="463" y="570"/>
                </a:cubicBezTo>
                <a:cubicBezTo>
                  <a:pt x="463" y="548"/>
                  <a:pt x="463" y="548"/>
                  <a:pt x="463" y="548"/>
                </a:cubicBezTo>
                <a:cubicBezTo>
                  <a:pt x="477" y="548"/>
                  <a:pt x="477" y="548"/>
                  <a:pt x="477" y="548"/>
                </a:cubicBezTo>
                <a:cubicBezTo>
                  <a:pt x="489" y="548"/>
                  <a:pt x="499" y="544"/>
                  <a:pt x="506" y="535"/>
                </a:cubicBezTo>
                <a:cubicBezTo>
                  <a:pt x="515" y="526"/>
                  <a:pt x="519" y="513"/>
                  <a:pt x="518" y="499"/>
                </a:cubicBezTo>
                <a:cubicBezTo>
                  <a:pt x="511" y="421"/>
                  <a:pt x="511" y="421"/>
                  <a:pt x="511" y="421"/>
                </a:cubicBezTo>
                <a:cubicBezTo>
                  <a:pt x="510" y="413"/>
                  <a:pt x="508" y="405"/>
                  <a:pt x="504" y="399"/>
                </a:cubicBezTo>
                <a:cubicBezTo>
                  <a:pt x="516" y="399"/>
                  <a:pt x="516" y="399"/>
                  <a:pt x="516" y="399"/>
                </a:cubicBezTo>
                <a:cubicBezTo>
                  <a:pt x="520" y="399"/>
                  <a:pt x="523" y="396"/>
                  <a:pt x="523" y="392"/>
                </a:cubicBezTo>
                <a:cubicBezTo>
                  <a:pt x="523" y="7"/>
                  <a:pt x="523" y="7"/>
                  <a:pt x="523" y="7"/>
                </a:cubicBezTo>
                <a:cubicBezTo>
                  <a:pt x="523" y="3"/>
                  <a:pt x="520" y="0"/>
                  <a:pt x="516" y="0"/>
                </a:cubicBezTo>
                <a:close/>
                <a:moveTo>
                  <a:pt x="132" y="570"/>
                </a:moveTo>
                <a:cubicBezTo>
                  <a:pt x="132" y="586"/>
                  <a:pt x="119" y="600"/>
                  <a:pt x="102" y="600"/>
                </a:cubicBezTo>
                <a:cubicBezTo>
                  <a:pt x="86" y="600"/>
                  <a:pt x="73" y="586"/>
                  <a:pt x="73" y="570"/>
                </a:cubicBezTo>
                <a:cubicBezTo>
                  <a:pt x="73" y="548"/>
                  <a:pt x="73" y="548"/>
                  <a:pt x="73" y="548"/>
                </a:cubicBezTo>
                <a:cubicBezTo>
                  <a:pt x="132" y="548"/>
                  <a:pt x="132" y="548"/>
                  <a:pt x="132" y="548"/>
                </a:cubicBezTo>
                <a:lnTo>
                  <a:pt x="132" y="570"/>
                </a:lnTo>
                <a:close/>
                <a:moveTo>
                  <a:pt x="449" y="570"/>
                </a:moveTo>
                <a:cubicBezTo>
                  <a:pt x="449" y="586"/>
                  <a:pt x="436" y="600"/>
                  <a:pt x="420" y="600"/>
                </a:cubicBezTo>
                <a:cubicBezTo>
                  <a:pt x="404" y="600"/>
                  <a:pt x="390" y="586"/>
                  <a:pt x="390" y="570"/>
                </a:cubicBezTo>
                <a:cubicBezTo>
                  <a:pt x="390" y="548"/>
                  <a:pt x="390" y="548"/>
                  <a:pt x="390" y="548"/>
                </a:cubicBezTo>
                <a:cubicBezTo>
                  <a:pt x="449" y="548"/>
                  <a:pt x="449" y="548"/>
                  <a:pt x="449" y="548"/>
                </a:cubicBezTo>
                <a:lnTo>
                  <a:pt x="449" y="570"/>
                </a:lnTo>
                <a:close/>
                <a:moveTo>
                  <a:pt x="496" y="526"/>
                </a:moveTo>
                <a:cubicBezTo>
                  <a:pt x="491" y="531"/>
                  <a:pt x="485" y="534"/>
                  <a:pt x="477" y="534"/>
                </a:cubicBezTo>
                <a:cubicBezTo>
                  <a:pt x="45" y="534"/>
                  <a:pt x="45" y="534"/>
                  <a:pt x="45" y="534"/>
                </a:cubicBezTo>
                <a:cubicBezTo>
                  <a:pt x="38" y="534"/>
                  <a:pt x="31" y="531"/>
                  <a:pt x="26" y="526"/>
                </a:cubicBezTo>
                <a:cubicBezTo>
                  <a:pt x="20" y="519"/>
                  <a:pt x="17" y="510"/>
                  <a:pt x="18" y="500"/>
                </a:cubicBezTo>
                <a:cubicBezTo>
                  <a:pt x="25" y="423"/>
                  <a:pt x="25" y="423"/>
                  <a:pt x="25" y="423"/>
                </a:cubicBezTo>
                <a:cubicBezTo>
                  <a:pt x="27" y="407"/>
                  <a:pt x="35" y="398"/>
                  <a:pt x="44" y="387"/>
                </a:cubicBezTo>
                <a:cubicBezTo>
                  <a:pt x="53" y="376"/>
                  <a:pt x="63" y="365"/>
                  <a:pt x="64" y="347"/>
                </a:cubicBezTo>
                <a:cubicBezTo>
                  <a:pt x="65" y="338"/>
                  <a:pt x="66" y="324"/>
                  <a:pt x="67" y="308"/>
                </a:cubicBezTo>
                <a:cubicBezTo>
                  <a:pt x="455" y="308"/>
                  <a:pt x="455" y="308"/>
                  <a:pt x="455" y="308"/>
                </a:cubicBezTo>
                <a:cubicBezTo>
                  <a:pt x="456" y="324"/>
                  <a:pt x="457" y="338"/>
                  <a:pt x="458" y="347"/>
                </a:cubicBezTo>
                <a:cubicBezTo>
                  <a:pt x="459" y="365"/>
                  <a:pt x="469" y="376"/>
                  <a:pt x="478" y="387"/>
                </a:cubicBezTo>
                <a:cubicBezTo>
                  <a:pt x="487" y="398"/>
                  <a:pt x="496" y="407"/>
                  <a:pt x="497" y="423"/>
                </a:cubicBezTo>
                <a:cubicBezTo>
                  <a:pt x="504" y="500"/>
                  <a:pt x="504" y="500"/>
                  <a:pt x="504" y="500"/>
                </a:cubicBezTo>
                <a:cubicBezTo>
                  <a:pt x="505" y="510"/>
                  <a:pt x="502" y="519"/>
                  <a:pt x="496" y="526"/>
                </a:cubicBezTo>
                <a:close/>
                <a:moveTo>
                  <a:pt x="68" y="294"/>
                </a:moveTo>
                <a:cubicBezTo>
                  <a:pt x="71" y="261"/>
                  <a:pt x="73" y="228"/>
                  <a:pt x="73" y="228"/>
                </a:cubicBezTo>
                <a:cubicBezTo>
                  <a:pt x="76" y="199"/>
                  <a:pt x="101" y="177"/>
                  <a:pt x="131" y="177"/>
                </a:cubicBezTo>
                <a:cubicBezTo>
                  <a:pt x="391" y="177"/>
                  <a:pt x="391" y="177"/>
                  <a:pt x="391" y="177"/>
                </a:cubicBezTo>
                <a:cubicBezTo>
                  <a:pt x="421" y="177"/>
                  <a:pt x="446" y="199"/>
                  <a:pt x="449" y="228"/>
                </a:cubicBezTo>
                <a:cubicBezTo>
                  <a:pt x="449" y="228"/>
                  <a:pt x="452" y="261"/>
                  <a:pt x="454" y="294"/>
                </a:cubicBezTo>
                <a:lnTo>
                  <a:pt x="68" y="294"/>
                </a:lnTo>
                <a:close/>
                <a:moveTo>
                  <a:pt x="509" y="385"/>
                </a:moveTo>
                <a:cubicBezTo>
                  <a:pt x="495" y="385"/>
                  <a:pt x="495" y="385"/>
                  <a:pt x="495" y="385"/>
                </a:cubicBezTo>
                <a:cubicBezTo>
                  <a:pt x="493" y="383"/>
                  <a:pt x="491" y="380"/>
                  <a:pt x="489" y="378"/>
                </a:cubicBezTo>
                <a:cubicBezTo>
                  <a:pt x="480" y="368"/>
                  <a:pt x="473" y="359"/>
                  <a:pt x="472" y="346"/>
                </a:cubicBezTo>
                <a:cubicBezTo>
                  <a:pt x="470" y="316"/>
                  <a:pt x="463" y="227"/>
                  <a:pt x="463" y="227"/>
                </a:cubicBezTo>
                <a:cubicBezTo>
                  <a:pt x="460" y="191"/>
                  <a:pt x="428" y="163"/>
                  <a:pt x="391" y="163"/>
                </a:cubicBezTo>
                <a:cubicBezTo>
                  <a:pt x="131" y="163"/>
                  <a:pt x="131" y="163"/>
                  <a:pt x="131" y="163"/>
                </a:cubicBezTo>
                <a:cubicBezTo>
                  <a:pt x="94" y="163"/>
                  <a:pt x="62" y="191"/>
                  <a:pt x="59" y="227"/>
                </a:cubicBezTo>
                <a:cubicBezTo>
                  <a:pt x="59" y="227"/>
                  <a:pt x="53" y="316"/>
                  <a:pt x="50" y="346"/>
                </a:cubicBezTo>
                <a:cubicBezTo>
                  <a:pt x="49" y="359"/>
                  <a:pt x="42" y="368"/>
                  <a:pt x="33" y="378"/>
                </a:cubicBezTo>
                <a:cubicBezTo>
                  <a:pt x="31" y="380"/>
                  <a:pt x="29" y="383"/>
                  <a:pt x="27" y="385"/>
                </a:cubicBezTo>
                <a:cubicBezTo>
                  <a:pt x="14" y="385"/>
                  <a:pt x="14" y="385"/>
                  <a:pt x="14" y="385"/>
                </a:cubicBezTo>
                <a:cubicBezTo>
                  <a:pt x="14" y="14"/>
                  <a:pt x="14" y="14"/>
                  <a:pt x="14" y="14"/>
                </a:cubicBezTo>
                <a:cubicBezTo>
                  <a:pt x="509" y="14"/>
                  <a:pt x="509" y="14"/>
                  <a:pt x="509" y="14"/>
                </a:cubicBezTo>
                <a:lnTo>
                  <a:pt x="509" y="385"/>
                </a:lnTo>
                <a:close/>
                <a:moveTo>
                  <a:pt x="102" y="385"/>
                </a:moveTo>
                <a:cubicBezTo>
                  <a:pt x="78" y="385"/>
                  <a:pt x="59" y="404"/>
                  <a:pt x="59" y="428"/>
                </a:cubicBezTo>
                <a:cubicBezTo>
                  <a:pt x="59" y="452"/>
                  <a:pt x="78" y="472"/>
                  <a:pt x="102" y="472"/>
                </a:cubicBezTo>
                <a:cubicBezTo>
                  <a:pt x="126" y="472"/>
                  <a:pt x="146" y="452"/>
                  <a:pt x="146" y="428"/>
                </a:cubicBezTo>
                <a:cubicBezTo>
                  <a:pt x="146" y="404"/>
                  <a:pt x="126" y="385"/>
                  <a:pt x="102" y="385"/>
                </a:cubicBezTo>
                <a:close/>
                <a:moveTo>
                  <a:pt x="102" y="458"/>
                </a:moveTo>
                <a:cubicBezTo>
                  <a:pt x="86" y="458"/>
                  <a:pt x="73" y="445"/>
                  <a:pt x="73" y="428"/>
                </a:cubicBezTo>
                <a:cubicBezTo>
                  <a:pt x="73" y="412"/>
                  <a:pt x="86" y="399"/>
                  <a:pt x="102" y="399"/>
                </a:cubicBezTo>
                <a:cubicBezTo>
                  <a:pt x="119" y="399"/>
                  <a:pt x="132" y="412"/>
                  <a:pt x="132" y="428"/>
                </a:cubicBezTo>
                <a:cubicBezTo>
                  <a:pt x="132" y="445"/>
                  <a:pt x="119" y="458"/>
                  <a:pt x="102" y="458"/>
                </a:cubicBezTo>
                <a:close/>
                <a:moveTo>
                  <a:pt x="344" y="335"/>
                </a:moveTo>
                <a:cubicBezTo>
                  <a:pt x="178" y="335"/>
                  <a:pt x="178" y="335"/>
                  <a:pt x="178" y="335"/>
                </a:cubicBezTo>
                <a:cubicBezTo>
                  <a:pt x="174" y="335"/>
                  <a:pt x="171" y="339"/>
                  <a:pt x="171" y="342"/>
                </a:cubicBezTo>
                <a:cubicBezTo>
                  <a:pt x="171" y="497"/>
                  <a:pt x="171" y="497"/>
                  <a:pt x="171" y="497"/>
                </a:cubicBezTo>
                <a:cubicBezTo>
                  <a:pt x="171" y="501"/>
                  <a:pt x="174" y="504"/>
                  <a:pt x="178" y="504"/>
                </a:cubicBezTo>
                <a:cubicBezTo>
                  <a:pt x="344" y="504"/>
                  <a:pt x="344" y="504"/>
                  <a:pt x="344" y="504"/>
                </a:cubicBezTo>
                <a:cubicBezTo>
                  <a:pt x="348" y="504"/>
                  <a:pt x="351" y="501"/>
                  <a:pt x="351" y="497"/>
                </a:cubicBezTo>
                <a:cubicBezTo>
                  <a:pt x="351" y="342"/>
                  <a:pt x="351" y="342"/>
                  <a:pt x="351" y="342"/>
                </a:cubicBezTo>
                <a:cubicBezTo>
                  <a:pt x="351" y="339"/>
                  <a:pt x="348" y="335"/>
                  <a:pt x="344" y="335"/>
                </a:cubicBezTo>
                <a:close/>
                <a:moveTo>
                  <a:pt x="337" y="490"/>
                </a:moveTo>
                <a:cubicBezTo>
                  <a:pt x="185" y="490"/>
                  <a:pt x="185" y="490"/>
                  <a:pt x="185" y="490"/>
                </a:cubicBezTo>
                <a:cubicBezTo>
                  <a:pt x="185" y="453"/>
                  <a:pt x="185" y="453"/>
                  <a:pt x="185" y="453"/>
                </a:cubicBezTo>
                <a:cubicBezTo>
                  <a:pt x="337" y="453"/>
                  <a:pt x="337" y="453"/>
                  <a:pt x="337" y="453"/>
                </a:cubicBezTo>
                <a:lnTo>
                  <a:pt x="337" y="490"/>
                </a:lnTo>
                <a:close/>
                <a:moveTo>
                  <a:pt x="337" y="439"/>
                </a:moveTo>
                <a:cubicBezTo>
                  <a:pt x="185" y="439"/>
                  <a:pt x="185" y="439"/>
                  <a:pt x="185" y="439"/>
                </a:cubicBezTo>
                <a:cubicBezTo>
                  <a:pt x="185" y="401"/>
                  <a:pt x="185" y="401"/>
                  <a:pt x="185" y="401"/>
                </a:cubicBezTo>
                <a:cubicBezTo>
                  <a:pt x="337" y="401"/>
                  <a:pt x="337" y="401"/>
                  <a:pt x="337" y="401"/>
                </a:cubicBezTo>
                <a:lnTo>
                  <a:pt x="337" y="439"/>
                </a:lnTo>
                <a:close/>
                <a:moveTo>
                  <a:pt x="337" y="387"/>
                </a:moveTo>
                <a:cubicBezTo>
                  <a:pt x="185" y="387"/>
                  <a:pt x="185" y="387"/>
                  <a:pt x="185" y="387"/>
                </a:cubicBezTo>
                <a:cubicBezTo>
                  <a:pt x="185" y="349"/>
                  <a:pt x="185" y="349"/>
                  <a:pt x="185" y="349"/>
                </a:cubicBezTo>
                <a:cubicBezTo>
                  <a:pt x="337" y="349"/>
                  <a:pt x="337" y="349"/>
                  <a:pt x="337" y="349"/>
                </a:cubicBezTo>
                <a:lnTo>
                  <a:pt x="337" y="387"/>
                </a:lnTo>
                <a:close/>
                <a:moveTo>
                  <a:pt x="420" y="385"/>
                </a:moveTo>
                <a:cubicBezTo>
                  <a:pt x="396" y="385"/>
                  <a:pt x="376" y="404"/>
                  <a:pt x="376" y="428"/>
                </a:cubicBezTo>
                <a:cubicBezTo>
                  <a:pt x="376" y="452"/>
                  <a:pt x="396" y="472"/>
                  <a:pt x="420" y="472"/>
                </a:cubicBezTo>
                <a:cubicBezTo>
                  <a:pt x="444" y="472"/>
                  <a:pt x="463" y="452"/>
                  <a:pt x="463" y="428"/>
                </a:cubicBezTo>
                <a:cubicBezTo>
                  <a:pt x="463" y="404"/>
                  <a:pt x="444" y="385"/>
                  <a:pt x="420" y="385"/>
                </a:cubicBezTo>
                <a:close/>
                <a:moveTo>
                  <a:pt x="420" y="458"/>
                </a:moveTo>
                <a:cubicBezTo>
                  <a:pt x="404" y="458"/>
                  <a:pt x="390" y="445"/>
                  <a:pt x="390" y="428"/>
                </a:cubicBezTo>
                <a:cubicBezTo>
                  <a:pt x="390" y="412"/>
                  <a:pt x="404" y="399"/>
                  <a:pt x="420" y="399"/>
                </a:cubicBezTo>
                <a:cubicBezTo>
                  <a:pt x="436" y="399"/>
                  <a:pt x="449" y="412"/>
                  <a:pt x="449" y="428"/>
                </a:cubicBezTo>
                <a:cubicBezTo>
                  <a:pt x="449" y="445"/>
                  <a:pt x="436" y="458"/>
                  <a:pt x="420" y="458"/>
                </a:cubicBez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14" name="Oval 14"/>
          <p:cNvSpPr>
            <a:spLocks noChangeArrowheads="1"/>
          </p:cNvSpPr>
          <p:nvPr/>
        </p:nvSpPr>
        <p:spPr bwMode="auto">
          <a:xfrm>
            <a:off x="1315706" y="3120088"/>
            <a:ext cx="1119124" cy="1119124"/>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22" name="Freeform 22"/>
          <p:cNvSpPr>
            <a:spLocks noEditPoints="1"/>
          </p:cNvSpPr>
          <p:nvPr/>
        </p:nvSpPr>
        <p:spPr bwMode="auto">
          <a:xfrm>
            <a:off x="1635711" y="3375914"/>
            <a:ext cx="550871" cy="607473"/>
          </a:xfrm>
          <a:custGeom>
            <a:avLst/>
            <a:gdLst>
              <a:gd name="T0" fmla="*/ 509 w 523"/>
              <a:gd name="T1" fmla="*/ 183 h 577"/>
              <a:gd name="T2" fmla="*/ 434 w 523"/>
              <a:gd name="T3" fmla="*/ 121 h 577"/>
              <a:gd name="T4" fmla="*/ 424 w 523"/>
              <a:gd name="T5" fmla="*/ 123 h 577"/>
              <a:gd name="T6" fmla="*/ 425 w 523"/>
              <a:gd name="T7" fmla="*/ 132 h 577"/>
              <a:gd name="T8" fmla="*/ 500 w 523"/>
              <a:gd name="T9" fmla="*/ 193 h 577"/>
              <a:gd name="T10" fmla="*/ 509 w 523"/>
              <a:gd name="T11" fmla="*/ 229 h 577"/>
              <a:gd name="T12" fmla="*/ 509 w 523"/>
              <a:gd name="T13" fmla="*/ 412 h 577"/>
              <a:gd name="T14" fmla="*/ 479 w 523"/>
              <a:gd name="T15" fmla="*/ 442 h 577"/>
              <a:gd name="T16" fmla="*/ 450 w 523"/>
              <a:gd name="T17" fmla="*/ 413 h 577"/>
              <a:gd name="T18" fmla="*/ 451 w 523"/>
              <a:gd name="T19" fmla="*/ 356 h 577"/>
              <a:gd name="T20" fmla="*/ 414 w 523"/>
              <a:gd name="T21" fmla="*/ 313 h 577"/>
              <a:gd name="T22" fmla="*/ 414 w 523"/>
              <a:gd name="T23" fmla="*/ 55 h 577"/>
              <a:gd name="T24" fmla="*/ 359 w 523"/>
              <a:gd name="T25" fmla="*/ 0 h 577"/>
              <a:gd name="T26" fmla="*/ 93 w 523"/>
              <a:gd name="T27" fmla="*/ 0 h 577"/>
              <a:gd name="T28" fmla="*/ 38 w 523"/>
              <a:gd name="T29" fmla="*/ 55 h 577"/>
              <a:gd name="T30" fmla="*/ 38 w 523"/>
              <a:gd name="T31" fmla="*/ 563 h 577"/>
              <a:gd name="T32" fmla="*/ 7 w 523"/>
              <a:gd name="T33" fmla="*/ 563 h 577"/>
              <a:gd name="T34" fmla="*/ 0 w 523"/>
              <a:gd name="T35" fmla="*/ 570 h 577"/>
              <a:gd name="T36" fmla="*/ 7 w 523"/>
              <a:gd name="T37" fmla="*/ 577 h 577"/>
              <a:gd name="T38" fmla="*/ 445 w 523"/>
              <a:gd name="T39" fmla="*/ 577 h 577"/>
              <a:gd name="T40" fmla="*/ 452 w 523"/>
              <a:gd name="T41" fmla="*/ 570 h 577"/>
              <a:gd name="T42" fmla="*/ 445 w 523"/>
              <a:gd name="T43" fmla="*/ 563 h 577"/>
              <a:gd name="T44" fmla="*/ 414 w 523"/>
              <a:gd name="T45" fmla="*/ 563 h 577"/>
              <a:gd name="T46" fmla="*/ 414 w 523"/>
              <a:gd name="T47" fmla="*/ 327 h 577"/>
              <a:gd name="T48" fmla="*/ 437 w 523"/>
              <a:gd name="T49" fmla="*/ 355 h 577"/>
              <a:gd name="T50" fmla="*/ 436 w 523"/>
              <a:gd name="T51" fmla="*/ 412 h 577"/>
              <a:gd name="T52" fmla="*/ 479 w 523"/>
              <a:gd name="T53" fmla="*/ 456 h 577"/>
              <a:gd name="T54" fmla="*/ 523 w 523"/>
              <a:gd name="T55" fmla="*/ 412 h 577"/>
              <a:gd name="T56" fmla="*/ 523 w 523"/>
              <a:gd name="T57" fmla="*/ 229 h 577"/>
              <a:gd name="T58" fmla="*/ 509 w 523"/>
              <a:gd name="T59" fmla="*/ 183 h 577"/>
              <a:gd name="T60" fmla="*/ 52 w 523"/>
              <a:gd name="T61" fmla="*/ 563 h 577"/>
              <a:gd name="T62" fmla="*/ 52 w 523"/>
              <a:gd name="T63" fmla="*/ 55 h 577"/>
              <a:gd name="T64" fmla="*/ 93 w 523"/>
              <a:gd name="T65" fmla="*/ 14 h 577"/>
              <a:gd name="T66" fmla="*/ 359 w 523"/>
              <a:gd name="T67" fmla="*/ 14 h 577"/>
              <a:gd name="T68" fmla="*/ 400 w 523"/>
              <a:gd name="T69" fmla="*/ 55 h 577"/>
              <a:gd name="T70" fmla="*/ 400 w 523"/>
              <a:gd name="T71" fmla="*/ 563 h 577"/>
              <a:gd name="T72" fmla="*/ 52 w 523"/>
              <a:gd name="T73" fmla="*/ 563 h 577"/>
              <a:gd name="T74" fmla="*/ 352 w 523"/>
              <a:gd name="T75" fmla="*/ 55 h 577"/>
              <a:gd name="T76" fmla="*/ 100 w 523"/>
              <a:gd name="T77" fmla="*/ 55 h 577"/>
              <a:gd name="T78" fmla="*/ 93 w 523"/>
              <a:gd name="T79" fmla="*/ 62 h 577"/>
              <a:gd name="T80" fmla="*/ 93 w 523"/>
              <a:gd name="T81" fmla="*/ 230 h 577"/>
              <a:gd name="T82" fmla="*/ 100 w 523"/>
              <a:gd name="T83" fmla="*/ 237 h 577"/>
              <a:gd name="T84" fmla="*/ 352 w 523"/>
              <a:gd name="T85" fmla="*/ 237 h 577"/>
              <a:gd name="T86" fmla="*/ 359 w 523"/>
              <a:gd name="T87" fmla="*/ 230 h 577"/>
              <a:gd name="T88" fmla="*/ 359 w 523"/>
              <a:gd name="T89" fmla="*/ 62 h 577"/>
              <a:gd name="T90" fmla="*/ 352 w 523"/>
              <a:gd name="T91" fmla="*/ 55 h 577"/>
              <a:gd name="T92" fmla="*/ 345 w 523"/>
              <a:gd name="T93" fmla="*/ 223 h 577"/>
              <a:gd name="T94" fmla="*/ 107 w 523"/>
              <a:gd name="T95" fmla="*/ 223 h 577"/>
              <a:gd name="T96" fmla="*/ 107 w 523"/>
              <a:gd name="T97" fmla="*/ 69 h 577"/>
              <a:gd name="T98" fmla="*/ 345 w 523"/>
              <a:gd name="T99" fmla="*/ 69 h 577"/>
              <a:gd name="T100" fmla="*/ 345 w 523"/>
              <a:gd name="T101" fmla="*/ 223 h 5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23" h="577">
                <a:moveTo>
                  <a:pt x="509" y="183"/>
                </a:moveTo>
                <a:cubicBezTo>
                  <a:pt x="498" y="173"/>
                  <a:pt x="437" y="124"/>
                  <a:pt x="434" y="121"/>
                </a:cubicBezTo>
                <a:cubicBezTo>
                  <a:pt x="431" y="119"/>
                  <a:pt x="426" y="120"/>
                  <a:pt x="424" y="123"/>
                </a:cubicBezTo>
                <a:cubicBezTo>
                  <a:pt x="422" y="126"/>
                  <a:pt x="422" y="130"/>
                  <a:pt x="425" y="132"/>
                </a:cubicBezTo>
                <a:cubicBezTo>
                  <a:pt x="426" y="133"/>
                  <a:pt x="489" y="184"/>
                  <a:pt x="500" y="193"/>
                </a:cubicBezTo>
                <a:cubicBezTo>
                  <a:pt x="508" y="200"/>
                  <a:pt x="509" y="211"/>
                  <a:pt x="509" y="229"/>
                </a:cubicBezTo>
                <a:cubicBezTo>
                  <a:pt x="509" y="412"/>
                  <a:pt x="509" y="412"/>
                  <a:pt x="509" y="412"/>
                </a:cubicBezTo>
                <a:cubicBezTo>
                  <a:pt x="509" y="429"/>
                  <a:pt x="496" y="442"/>
                  <a:pt x="479" y="442"/>
                </a:cubicBezTo>
                <a:cubicBezTo>
                  <a:pt x="463" y="442"/>
                  <a:pt x="450" y="429"/>
                  <a:pt x="450" y="413"/>
                </a:cubicBezTo>
                <a:cubicBezTo>
                  <a:pt x="451" y="356"/>
                  <a:pt x="451" y="356"/>
                  <a:pt x="451" y="356"/>
                </a:cubicBezTo>
                <a:cubicBezTo>
                  <a:pt x="451" y="334"/>
                  <a:pt x="435" y="316"/>
                  <a:pt x="414" y="313"/>
                </a:cubicBezTo>
                <a:cubicBezTo>
                  <a:pt x="414" y="55"/>
                  <a:pt x="414" y="55"/>
                  <a:pt x="414" y="55"/>
                </a:cubicBezTo>
                <a:cubicBezTo>
                  <a:pt x="414" y="24"/>
                  <a:pt x="389" y="0"/>
                  <a:pt x="359" y="0"/>
                </a:cubicBezTo>
                <a:cubicBezTo>
                  <a:pt x="93" y="0"/>
                  <a:pt x="93" y="0"/>
                  <a:pt x="93" y="0"/>
                </a:cubicBezTo>
                <a:cubicBezTo>
                  <a:pt x="63" y="0"/>
                  <a:pt x="38" y="24"/>
                  <a:pt x="38" y="55"/>
                </a:cubicBezTo>
                <a:cubicBezTo>
                  <a:pt x="38" y="563"/>
                  <a:pt x="38" y="563"/>
                  <a:pt x="38" y="563"/>
                </a:cubicBezTo>
                <a:cubicBezTo>
                  <a:pt x="7" y="563"/>
                  <a:pt x="7" y="563"/>
                  <a:pt x="7" y="563"/>
                </a:cubicBezTo>
                <a:cubicBezTo>
                  <a:pt x="3" y="563"/>
                  <a:pt x="0" y="566"/>
                  <a:pt x="0" y="570"/>
                </a:cubicBezTo>
                <a:cubicBezTo>
                  <a:pt x="0" y="574"/>
                  <a:pt x="3" y="577"/>
                  <a:pt x="7" y="577"/>
                </a:cubicBezTo>
                <a:cubicBezTo>
                  <a:pt x="445" y="577"/>
                  <a:pt x="445" y="577"/>
                  <a:pt x="445" y="577"/>
                </a:cubicBezTo>
                <a:cubicBezTo>
                  <a:pt x="449" y="577"/>
                  <a:pt x="452" y="574"/>
                  <a:pt x="452" y="570"/>
                </a:cubicBezTo>
                <a:cubicBezTo>
                  <a:pt x="452" y="566"/>
                  <a:pt x="449" y="563"/>
                  <a:pt x="445" y="563"/>
                </a:cubicBezTo>
                <a:cubicBezTo>
                  <a:pt x="414" y="563"/>
                  <a:pt x="414" y="563"/>
                  <a:pt x="414" y="563"/>
                </a:cubicBezTo>
                <a:cubicBezTo>
                  <a:pt x="414" y="327"/>
                  <a:pt x="414" y="327"/>
                  <a:pt x="414" y="327"/>
                </a:cubicBezTo>
                <a:cubicBezTo>
                  <a:pt x="427" y="330"/>
                  <a:pt x="437" y="342"/>
                  <a:pt x="437" y="355"/>
                </a:cubicBezTo>
                <a:cubicBezTo>
                  <a:pt x="436" y="412"/>
                  <a:pt x="436" y="412"/>
                  <a:pt x="436" y="412"/>
                </a:cubicBezTo>
                <a:cubicBezTo>
                  <a:pt x="436" y="437"/>
                  <a:pt x="455" y="456"/>
                  <a:pt x="479" y="456"/>
                </a:cubicBezTo>
                <a:cubicBezTo>
                  <a:pt x="503" y="456"/>
                  <a:pt x="523" y="437"/>
                  <a:pt x="523" y="412"/>
                </a:cubicBezTo>
                <a:cubicBezTo>
                  <a:pt x="523" y="229"/>
                  <a:pt x="523" y="229"/>
                  <a:pt x="523" y="229"/>
                </a:cubicBezTo>
                <a:cubicBezTo>
                  <a:pt x="523" y="212"/>
                  <a:pt x="523" y="194"/>
                  <a:pt x="509" y="183"/>
                </a:cubicBezTo>
                <a:close/>
                <a:moveTo>
                  <a:pt x="52" y="563"/>
                </a:moveTo>
                <a:cubicBezTo>
                  <a:pt x="52" y="55"/>
                  <a:pt x="52" y="55"/>
                  <a:pt x="52" y="55"/>
                </a:cubicBezTo>
                <a:cubicBezTo>
                  <a:pt x="52" y="32"/>
                  <a:pt x="70" y="14"/>
                  <a:pt x="93" y="14"/>
                </a:cubicBezTo>
                <a:cubicBezTo>
                  <a:pt x="359" y="14"/>
                  <a:pt x="359" y="14"/>
                  <a:pt x="359" y="14"/>
                </a:cubicBezTo>
                <a:cubicBezTo>
                  <a:pt x="382" y="14"/>
                  <a:pt x="400" y="32"/>
                  <a:pt x="400" y="55"/>
                </a:cubicBezTo>
                <a:cubicBezTo>
                  <a:pt x="400" y="563"/>
                  <a:pt x="400" y="563"/>
                  <a:pt x="400" y="563"/>
                </a:cubicBezTo>
                <a:lnTo>
                  <a:pt x="52" y="563"/>
                </a:lnTo>
                <a:close/>
                <a:moveTo>
                  <a:pt x="352" y="55"/>
                </a:moveTo>
                <a:cubicBezTo>
                  <a:pt x="100" y="55"/>
                  <a:pt x="100" y="55"/>
                  <a:pt x="100" y="55"/>
                </a:cubicBezTo>
                <a:cubicBezTo>
                  <a:pt x="97" y="55"/>
                  <a:pt x="93" y="58"/>
                  <a:pt x="93" y="62"/>
                </a:cubicBezTo>
                <a:cubicBezTo>
                  <a:pt x="93" y="230"/>
                  <a:pt x="93" y="230"/>
                  <a:pt x="93" y="230"/>
                </a:cubicBezTo>
                <a:cubicBezTo>
                  <a:pt x="93" y="234"/>
                  <a:pt x="97" y="237"/>
                  <a:pt x="100" y="237"/>
                </a:cubicBezTo>
                <a:cubicBezTo>
                  <a:pt x="352" y="237"/>
                  <a:pt x="352" y="237"/>
                  <a:pt x="352" y="237"/>
                </a:cubicBezTo>
                <a:cubicBezTo>
                  <a:pt x="355" y="237"/>
                  <a:pt x="359" y="234"/>
                  <a:pt x="359" y="230"/>
                </a:cubicBezTo>
                <a:cubicBezTo>
                  <a:pt x="359" y="62"/>
                  <a:pt x="359" y="62"/>
                  <a:pt x="359" y="62"/>
                </a:cubicBezTo>
                <a:cubicBezTo>
                  <a:pt x="359" y="58"/>
                  <a:pt x="355" y="55"/>
                  <a:pt x="352" y="55"/>
                </a:cubicBezTo>
                <a:close/>
                <a:moveTo>
                  <a:pt x="345" y="223"/>
                </a:moveTo>
                <a:cubicBezTo>
                  <a:pt x="107" y="223"/>
                  <a:pt x="107" y="223"/>
                  <a:pt x="107" y="223"/>
                </a:cubicBezTo>
                <a:cubicBezTo>
                  <a:pt x="107" y="69"/>
                  <a:pt x="107" y="69"/>
                  <a:pt x="107" y="69"/>
                </a:cubicBezTo>
                <a:cubicBezTo>
                  <a:pt x="345" y="69"/>
                  <a:pt x="345" y="69"/>
                  <a:pt x="345" y="69"/>
                </a:cubicBezTo>
                <a:lnTo>
                  <a:pt x="345" y="223"/>
                </a:ln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15" name="Oval 15"/>
          <p:cNvSpPr>
            <a:spLocks noChangeArrowheads="1"/>
          </p:cNvSpPr>
          <p:nvPr/>
        </p:nvSpPr>
        <p:spPr bwMode="auto">
          <a:xfrm>
            <a:off x="10105564" y="1528549"/>
            <a:ext cx="1119124" cy="1119124"/>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23" name="Freeform 23"/>
          <p:cNvSpPr>
            <a:spLocks noEditPoints="1"/>
          </p:cNvSpPr>
          <p:nvPr/>
        </p:nvSpPr>
        <p:spPr bwMode="auto">
          <a:xfrm>
            <a:off x="10293349" y="1733566"/>
            <a:ext cx="743555" cy="707754"/>
          </a:xfrm>
          <a:custGeom>
            <a:avLst/>
            <a:gdLst>
              <a:gd name="T0" fmla="*/ 704 w 706"/>
              <a:gd name="T1" fmla="*/ 161 h 672"/>
              <a:gd name="T2" fmla="*/ 634 w 706"/>
              <a:gd name="T3" fmla="*/ 72 h 672"/>
              <a:gd name="T4" fmla="*/ 629 w 706"/>
              <a:gd name="T5" fmla="*/ 70 h 672"/>
              <a:gd name="T6" fmla="*/ 360 w 706"/>
              <a:gd name="T7" fmla="*/ 70 h 672"/>
              <a:gd name="T8" fmla="*/ 360 w 706"/>
              <a:gd name="T9" fmla="*/ 7 h 672"/>
              <a:gd name="T10" fmla="*/ 353 w 706"/>
              <a:gd name="T11" fmla="*/ 0 h 672"/>
              <a:gd name="T12" fmla="*/ 346 w 706"/>
              <a:gd name="T13" fmla="*/ 7 h 672"/>
              <a:gd name="T14" fmla="*/ 346 w 706"/>
              <a:gd name="T15" fmla="*/ 70 h 672"/>
              <a:gd name="T16" fmla="*/ 129 w 706"/>
              <a:gd name="T17" fmla="*/ 70 h 672"/>
              <a:gd name="T18" fmla="*/ 122 w 706"/>
              <a:gd name="T19" fmla="*/ 77 h 672"/>
              <a:gd name="T20" fmla="*/ 122 w 706"/>
              <a:gd name="T21" fmla="*/ 253 h 672"/>
              <a:gd name="T22" fmla="*/ 129 w 706"/>
              <a:gd name="T23" fmla="*/ 260 h 672"/>
              <a:gd name="T24" fmla="*/ 346 w 706"/>
              <a:gd name="T25" fmla="*/ 260 h 672"/>
              <a:gd name="T26" fmla="*/ 346 w 706"/>
              <a:gd name="T27" fmla="*/ 329 h 672"/>
              <a:gd name="T28" fmla="*/ 77 w 706"/>
              <a:gd name="T29" fmla="*/ 329 h 672"/>
              <a:gd name="T30" fmla="*/ 72 w 706"/>
              <a:gd name="T31" fmla="*/ 332 h 672"/>
              <a:gd name="T32" fmla="*/ 2 w 706"/>
              <a:gd name="T33" fmla="*/ 420 h 672"/>
              <a:gd name="T34" fmla="*/ 2 w 706"/>
              <a:gd name="T35" fmla="*/ 429 h 672"/>
              <a:gd name="T36" fmla="*/ 72 w 706"/>
              <a:gd name="T37" fmla="*/ 517 h 672"/>
              <a:gd name="T38" fmla="*/ 77 w 706"/>
              <a:gd name="T39" fmla="*/ 519 h 672"/>
              <a:gd name="T40" fmla="*/ 346 w 706"/>
              <a:gd name="T41" fmla="*/ 519 h 672"/>
              <a:gd name="T42" fmla="*/ 346 w 706"/>
              <a:gd name="T43" fmla="*/ 665 h 672"/>
              <a:gd name="T44" fmla="*/ 353 w 706"/>
              <a:gd name="T45" fmla="*/ 672 h 672"/>
              <a:gd name="T46" fmla="*/ 360 w 706"/>
              <a:gd name="T47" fmla="*/ 665 h 672"/>
              <a:gd name="T48" fmla="*/ 360 w 706"/>
              <a:gd name="T49" fmla="*/ 519 h 672"/>
              <a:gd name="T50" fmla="*/ 577 w 706"/>
              <a:gd name="T51" fmla="*/ 519 h 672"/>
              <a:gd name="T52" fmla="*/ 584 w 706"/>
              <a:gd name="T53" fmla="*/ 512 h 672"/>
              <a:gd name="T54" fmla="*/ 584 w 706"/>
              <a:gd name="T55" fmla="*/ 336 h 672"/>
              <a:gd name="T56" fmla="*/ 577 w 706"/>
              <a:gd name="T57" fmla="*/ 329 h 672"/>
              <a:gd name="T58" fmla="*/ 360 w 706"/>
              <a:gd name="T59" fmla="*/ 329 h 672"/>
              <a:gd name="T60" fmla="*/ 360 w 706"/>
              <a:gd name="T61" fmla="*/ 260 h 672"/>
              <a:gd name="T62" fmla="*/ 629 w 706"/>
              <a:gd name="T63" fmla="*/ 260 h 672"/>
              <a:gd name="T64" fmla="*/ 634 w 706"/>
              <a:gd name="T65" fmla="*/ 257 h 672"/>
              <a:gd name="T66" fmla="*/ 704 w 706"/>
              <a:gd name="T67" fmla="*/ 169 h 672"/>
              <a:gd name="T68" fmla="*/ 704 w 706"/>
              <a:gd name="T69" fmla="*/ 161 h 672"/>
              <a:gd name="T70" fmla="*/ 570 w 706"/>
              <a:gd name="T71" fmla="*/ 505 h 672"/>
              <a:gd name="T72" fmla="*/ 80 w 706"/>
              <a:gd name="T73" fmla="*/ 505 h 672"/>
              <a:gd name="T74" fmla="*/ 16 w 706"/>
              <a:gd name="T75" fmla="*/ 424 h 672"/>
              <a:gd name="T76" fmla="*/ 80 w 706"/>
              <a:gd name="T77" fmla="*/ 343 h 672"/>
              <a:gd name="T78" fmla="*/ 353 w 706"/>
              <a:gd name="T79" fmla="*/ 343 h 672"/>
              <a:gd name="T80" fmla="*/ 353 w 706"/>
              <a:gd name="T81" fmla="*/ 343 h 672"/>
              <a:gd name="T82" fmla="*/ 353 w 706"/>
              <a:gd name="T83" fmla="*/ 343 h 672"/>
              <a:gd name="T84" fmla="*/ 570 w 706"/>
              <a:gd name="T85" fmla="*/ 343 h 672"/>
              <a:gd name="T86" fmla="*/ 570 w 706"/>
              <a:gd name="T87" fmla="*/ 505 h 672"/>
              <a:gd name="T88" fmla="*/ 626 w 706"/>
              <a:gd name="T89" fmla="*/ 246 h 672"/>
              <a:gd name="T90" fmla="*/ 136 w 706"/>
              <a:gd name="T91" fmla="*/ 246 h 672"/>
              <a:gd name="T92" fmla="*/ 136 w 706"/>
              <a:gd name="T93" fmla="*/ 84 h 672"/>
              <a:gd name="T94" fmla="*/ 626 w 706"/>
              <a:gd name="T95" fmla="*/ 84 h 672"/>
              <a:gd name="T96" fmla="*/ 690 w 706"/>
              <a:gd name="T97" fmla="*/ 165 h 672"/>
              <a:gd name="T98" fmla="*/ 626 w 706"/>
              <a:gd name="T99" fmla="*/ 246 h 6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06" h="672">
                <a:moveTo>
                  <a:pt x="704" y="161"/>
                </a:moveTo>
                <a:cubicBezTo>
                  <a:pt x="634" y="72"/>
                  <a:pt x="634" y="72"/>
                  <a:pt x="634" y="72"/>
                </a:cubicBezTo>
                <a:cubicBezTo>
                  <a:pt x="633" y="71"/>
                  <a:pt x="631" y="70"/>
                  <a:pt x="629" y="70"/>
                </a:cubicBezTo>
                <a:cubicBezTo>
                  <a:pt x="360" y="70"/>
                  <a:pt x="360" y="70"/>
                  <a:pt x="360" y="70"/>
                </a:cubicBezTo>
                <a:cubicBezTo>
                  <a:pt x="360" y="7"/>
                  <a:pt x="360" y="7"/>
                  <a:pt x="360" y="7"/>
                </a:cubicBezTo>
                <a:cubicBezTo>
                  <a:pt x="360" y="3"/>
                  <a:pt x="357" y="0"/>
                  <a:pt x="353" y="0"/>
                </a:cubicBezTo>
                <a:cubicBezTo>
                  <a:pt x="349" y="0"/>
                  <a:pt x="346" y="3"/>
                  <a:pt x="346" y="7"/>
                </a:cubicBezTo>
                <a:cubicBezTo>
                  <a:pt x="346" y="70"/>
                  <a:pt x="346" y="70"/>
                  <a:pt x="346" y="70"/>
                </a:cubicBezTo>
                <a:cubicBezTo>
                  <a:pt x="129" y="70"/>
                  <a:pt x="129" y="70"/>
                  <a:pt x="129" y="70"/>
                </a:cubicBezTo>
                <a:cubicBezTo>
                  <a:pt x="126" y="70"/>
                  <a:pt x="122" y="73"/>
                  <a:pt x="122" y="77"/>
                </a:cubicBezTo>
                <a:cubicBezTo>
                  <a:pt x="122" y="253"/>
                  <a:pt x="122" y="253"/>
                  <a:pt x="122" y="253"/>
                </a:cubicBezTo>
                <a:cubicBezTo>
                  <a:pt x="122" y="257"/>
                  <a:pt x="126" y="260"/>
                  <a:pt x="129" y="260"/>
                </a:cubicBezTo>
                <a:cubicBezTo>
                  <a:pt x="346" y="260"/>
                  <a:pt x="346" y="260"/>
                  <a:pt x="346" y="260"/>
                </a:cubicBezTo>
                <a:cubicBezTo>
                  <a:pt x="346" y="329"/>
                  <a:pt x="346" y="329"/>
                  <a:pt x="346" y="329"/>
                </a:cubicBezTo>
                <a:cubicBezTo>
                  <a:pt x="77" y="329"/>
                  <a:pt x="77" y="329"/>
                  <a:pt x="77" y="329"/>
                </a:cubicBezTo>
                <a:cubicBezTo>
                  <a:pt x="75" y="329"/>
                  <a:pt x="73" y="330"/>
                  <a:pt x="72" y="332"/>
                </a:cubicBezTo>
                <a:cubicBezTo>
                  <a:pt x="2" y="420"/>
                  <a:pt x="2" y="420"/>
                  <a:pt x="2" y="420"/>
                </a:cubicBezTo>
                <a:cubicBezTo>
                  <a:pt x="0" y="423"/>
                  <a:pt x="0" y="426"/>
                  <a:pt x="2" y="429"/>
                </a:cubicBezTo>
                <a:cubicBezTo>
                  <a:pt x="72" y="517"/>
                  <a:pt x="72" y="517"/>
                  <a:pt x="72" y="517"/>
                </a:cubicBezTo>
                <a:cubicBezTo>
                  <a:pt x="73" y="519"/>
                  <a:pt x="75" y="519"/>
                  <a:pt x="77" y="519"/>
                </a:cubicBezTo>
                <a:cubicBezTo>
                  <a:pt x="346" y="519"/>
                  <a:pt x="346" y="519"/>
                  <a:pt x="346" y="519"/>
                </a:cubicBezTo>
                <a:cubicBezTo>
                  <a:pt x="346" y="665"/>
                  <a:pt x="346" y="665"/>
                  <a:pt x="346" y="665"/>
                </a:cubicBezTo>
                <a:cubicBezTo>
                  <a:pt x="346" y="669"/>
                  <a:pt x="349" y="672"/>
                  <a:pt x="353" y="672"/>
                </a:cubicBezTo>
                <a:cubicBezTo>
                  <a:pt x="357" y="672"/>
                  <a:pt x="360" y="669"/>
                  <a:pt x="360" y="665"/>
                </a:cubicBezTo>
                <a:cubicBezTo>
                  <a:pt x="360" y="519"/>
                  <a:pt x="360" y="519"/>
                  <a:pt x="360" y="519"/>
                </a:cubicBezTo>
                <a:cubicBezTo>
                  <a:pt x="577" y="519"/>
                  <a:pt x="577" y="519"/>
                  <a:pt x="577" y="519"/>
                </a:cubicBezTo>
                <a:cubicBezTo>
                  <a:pt x="580" y="519"/>
                  <a:pt x="584" y="516"/>
                  <a:pt x="584" y="512"/>
                </a:cubicBezTo>
                <a:cubicBezTo>
                  <a:pt x="584" y="336"/>
                  <a:pt x="584" y="336"/>
                  <a:pt x="584" y="336"/>
                </a:cubicBezTo>
                <a:cubicBezTo>
                  <a:pt x="584" y="332"/>
                  <a:pt x="580" y="329"/>
                  <a:pt x="577" y="329"/>
                </a:cubicBezTo>
                <a:cubicBezTo>
                  <a:pt x="360" y="329"/>
                  <a:pt x="360" y="329"/>
                  <a:pt x="360" y="329"/>
                </a:cubicBezTo>
                <a:cubicBezTo>
                  <a:pt x="360" y="260"/>
                  <a:pt x="360" y="260"/>
                  <a:pt x="360" y="260"/>
                </a:cubicBezTo>
                <a:cubicBezTo>
                  <a:pt x="629" y="260"/>
                  <a:pt x="629" y="260"/>
                  <a:pt x="629" y="260"/>
                </a:cubicBezTo>
                <a:cubicBezTo>
                  <a:pt x="631" y="260"/>
                  <a:pt x="633" y="259"/>
                  <a:pt x="634" y="257"/>
                </a:cubicBezTo>
                <a:cubicBezTo>
                  <a:pt x="704" y="169"/>
                  <a:pt x="704" y="169"/>
                  <a:pt x="704" y="169"/>
                </a:cubicBezTo>
                <a:cubicBezTo>
                  <a:pt x="706" y="167"/>
                  <a:pt x="706" y="163"/>
                  <a:pt x="704" y="161"/>
                </a:cubicBezTo>
                <a:close/>
                <a:moveTo>
                  <a:pt x="570" y="505"/>
                </a:moveTo>
                <a:cubicBezTo>
                  <a:pt x="80" y="505"/>
                  <a:pt x="80" y="505"/>
                  <a:pt x="80" y="505"/>
                </a:cubicBezTo>
                <a:cubicBezTo>
                  <a:pt x="16" y="424"/>
                  <a:pt x="16" y="424"/>
                  <a:pt x="16" y="424"/>
                </a:cubicBezTo>
                <a:cubicBezTo>
                  <a:pt x="80" y="343"/>
                  <a:pt x="80" y="343"/>
                  <a:pt x="80" y="343"/>
                </a:cubicBezTo>
                <a:cubicBezTo>
                  <a:pt x="353" y="343"/>
                  <a:pt x="353" y="343"/>
                  <a:pt x="353" y="343"/>
                </a:cubicBezTo>
                <a:cubicBezTo>
                  <a:pt x="353" y="343"/>
                  <a:pt x="353" y="343"/>
                  <a:pt x="353" y="343"/>
                </a:cubicBezTo>
                <a:cubicBezTo>
                  <a:pt x="353" y="343"/>
                  <a:pt x="353" y="343"/>
                  <a:pt x="353" y="343"/>
                </a:cubicBezTo>
                <a:cubicBezTo>
                  <a:pt x="570" y="343"/>
                  <a:pt x="570" y="343"/>
                  <a:pt x="570" y="343"/>
                </a:cubicBezTo>
                <a:lnTo>
                  <a:pt x="570" y="505"/>
                </a:lnTo>
                <a:close/>
                <a:moveTo>
                  <a:pt x="626" y="246"/>
                </a:moveTo>
                <a:cubicBezTo>
                  <a:pt x="136" y="246"/>
                  <a:pt x="136" y="246"/>
                  <a:pt x="136" y="246"/>
                </a:cubicBezTo>
                <a:cubicBezTo>
                  <a:pt x="136" y="84"/>
                  <a:pt x="136" y="84"/>
                  <a:pt x="136" y="84"/>
                </a:cubicBezTo>
                <a:cubicBezTo>
                  <a:pt x="626" y="84"/>
                  <a:pt x="626" y="84"/>
                  <a:pt x="626" y="84"/>
                </a:cubicBezTo>
                <a:cubicBezTo>
                  <a:pt x="690" y="165"/>
                  <a:pt x="690" y="165"/>
                  <a:pt x="690" y="165"/>
                </a:cubicBezTo>
                <a:lnTo>
                  <a:pt x="626" y="246"/>
                </a:ln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12" name="Oval 12"/>
          <p:cNvSpPr>
            <a:spLocks noChangeArrowheads="1"/>
          </p:cNvSpPr>
          <p:nvPr/>
        </p:nvSpPr>
        <p:spPr bwMode="auto">
          <a:xfrm>
            <a:off x="4831649" y="3120088"/>
            <a:ext cx="1119124" cy="1119124"/>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24" name="Freeform 24"/>
          <p:cNvSpPr>
            <a:spLocks noEditPoints="1"/>
          </p:cNvSpPr>
          <p:nvPr/>
        </p:nvSpPr>
        <p:spPr bwMode="auto">
          <a:xfrm>
            <a:off x="5035045" y="3452572"/>
            <a:ext cx="712332" cy="453711"/>
          </a:xfrm>
          <a:custGeom>
            <a:avLst/>
            <a:gdLst>
              <a:gd name="T0" fmla="*/ 658 w 676"/>
              <a:gd name="T1" fmla="*/ 217 h 431"/>
              <a:gd name="T2" fmla="*/ 636 w 676"/>
              <a:gd name="T3" fmla="*/ 217 h 431"/>
              <a:gd name="T4" fmla="*/ 600 w 676"/>
              <a:gd name="T5" fmla="*/ 129 h 431"/>
              <a:gd name="T6" fmla="*/ 555 w 676"/>
              <a:gd name="T7" fmla="*/ 95 h 431"/>
              <a:gd name="T8" fmla="*/ 438 w 676"/>
              <a:gd name="T9" fmla="*/ 95 h 431"/>
              <a:gd name="T10" fmla="*/ 438 w 676"/>
              <a:gd name="T11" fmla="*/ 7 h 431"/>
              <a:gd name="T12" fmla="*/ 431 w 676"/>
              <a:gd name="T13" fmla="*/ 0 h 431"/>
              <a:gd name="T14" fmla="*/ 7 w 676"/>
              <a:gd name="T15" fmla="*/ 0 h 431"/>
              <a:gd name="T16" fmla="*/ 0 w 676"/>
              <a:gd name="T17" fmla="*/ 7 h 431"/>
              <a:gd name="T18" fmla="*/ 0 w 676"/>
              <a:gd name="T19" fmla="*/ 368 h 431"/>
              <a:gd name="T20" fmla="*/ 7 w 676"/>
              <a:gd name="T21" fmla="*/ 375 h 431"/>
              <a:gd name="T22" fmla="*/ 104 w 676"/>
              <a:gd name="T23" fmla="*/ 375 h 431"/>
              <a:gd name="T24" fmla="*/ 167 w 676"/>
              <a:gd name="T25" fmla="*/ 431 h 431"/>
              <a:gd name="T26" fmla="*/ 230 w 676"/>
              <a:gd name="T27" fmla="*/ 375 h 431"/>
              <a:gd name="T28" fmla="*/ 470 w 676"/>
              <a:gd name="T29" fmla="*/ 375 h 431"/>
              <a:gd name="T30" fmla="*/ 533 w 676"/>
              <a:gd name="T31" fmla="*/ 431 h 431"/>
              <a:gd name="T32" fmla="*/ 596 w 676"/>
              <a:gd name="T33" fmla="*/ 375 h 431"/>
              <a:gd name="T34" fmla="*/ 658 w 676"/>
              <a:gd name="T35" fmla="*/ 375 h 431"/>
              <a:gd name="T36" fmla="*/ 676 w 676"/>
              <a:gd name="T37" fmla="*/ 357 h 431"/>
              <a:gd name="T38" fmla="*/ 676 w 676"/>
              <a:gd name="T39" fmla="*/ 235 h 431"/>
              <a:gd name="T40" fmla="*/ 658 w 676"/>
              <a:gd name="T41" fmla="*/ 217 h 431"/>
              <a:gd name="T42" fmla="*/ 555 w 676"/>
              <a:gd name="T43" fmla="*/ 109 h 431"/>
              <a:gd name="T44" fmla="*/ 587 w 676"/>
              <a:gd name="T45" fmla="*/ 134 h 431"/>
              <a:gd name="T46" fmla="*/ 621 w 676"/>
              <a:gd name="T47" fmla="*/ 217 h 431"/>
              <a:gd name="T48" fmla="*/ 438 w 676"/>
              <a:gd name="T49" fmla="*/ 217 h 431"/>
              <a:gd name="T50" fmla="*/ 438 w 676"/>
              <a:gd name="T51" fmla="*/ 109 h 431"/>
              <a:gd name="T52" fmla="*/ 555 w 676"/>
              <a:gd name="T53" fmla="*/ 109 h 431"/>
              <a:gd name="T54" fmla="*/ 14 w 676"/>
              <a:gd name="T55" fmla="*/ 14 h 431"/>
              <a:gd name="T56" fmla="*/ 424 w 676"/>
              <a:gd name="T57" fmla="*/ 14 h 431"/>
              <a:gd name="T58" fmla="*/ 424 w 676"/>
              <a:gd name="T59" fmla="*/ 361 h 431"/>
              <a:gd name="T60" fmla="*/ 230 w 676"/>
              <a:gd name="T61" fmla="*/ 361 h 431"/>
              <a:gd name="T62" fmla="*/ 167 w 676"/>
              <a:gd name="T63" fmla="*/ 304 h 431"/>
              <a:gd name="T64" fmla="*/ 104 w 676"/>
              <a:gd name="T65" fmla="*/ 361 h 431"/>
              <a:gd name="T66" fmla="*/ 14 w 676"/>
              <a:gd name="T67" fmla="*/ 361 h 431"/>
              <a:gd name="T68" fmla="*/ 14 w 676"/>
              <a:gd name="T69" fmla="*/ 14 h 431"/>
              <a:gd name="T70" fmla="*/ 167 w 676"/>
              <a:gd name="T71" fmla="*/ 417 h 431"/>
              <a:gd name="T72" fmla="*/ 118 w 676"/>
              <a:gd name="T73" fmla="*/ 368 h 431"/>
              <a:gd name="T74" fmla="*/ 167 w 676"/>
              <a:gd name="T75" fmla="*/ 318 h 431"/>
              <a:gd name="T76" fmla="*/ 216 w 676"/>
              <a:gd name="T77" fmla="*/ 368 h 431"/>
              <a:gd name="T78" fmla="*/ 167 w 676"/>
              <a:gd name="T79" fmla="*/ 417 h 431"/>
              <a:gd name="T80" fmla="*/ 533 w 676"/>
              <a:gd name="T81" fmla="*/ 417 h 431"/>
              <a:gd name="T82" fmla="*/ 484 w 676"/>
              <a:gd name="T83" fmla="*/ 368 h 431"/>
              <a:gd name="T84" fmla="*/ 533 w 676"/>
              <a:gd name="T85" fmla="*/ 318 h 431"/>
              <a:gd name="T86" fmla="*/ 582 w 676"/>
              <a:gd name="T87" fmla="*/ 366 h 431"/>
              <a:gd name="T88" fmla="*/ 582 w 676"/>
              <a:gd name="T89" fmla="*/ 368 h 431"/>
              <a:gd name="T90" fmla="*/ 582 w 676"/>
              <a:gd name="T91" fmla="*/ 369 h 431"/>
              <a:gd name="T92" fmla="*/ 533 w 676"/>
              <a:gd name="T93" fmla="*/ 417 h 431"/>
              <a:gd name="T94" fmla="*/ 662 w 676"/>
              <a:gd name="T95" fmla="*/ 357 h 431"/>
              <a:gd name="T96" fmla="*/ 658 w 676"/>
              <a:gd name="T97" fmla="*/ 361 h 431"/>
              <a:gd name="T98" fmla="*/ 596 w 676"/>
              <a:gd name="T99" fmla="*/ 361 h 431"/>
              <a:gd name="T100" fmla="*/ 533 w 676"/>
              <a:gd name="T101" fmla="*/ 304 h 431"/>
              <a:gd name="T102" fmla="*/ 470 w 676"/>
              <a:gd name="T103" fmla="*/ 361 h 431"/>
              <a:gd name="T104" fmla="*/ 438 w 676"/>
              <a:gd name="T105" fmla="*/ 361 h 431"/>
              <a:gd name="T106" fmla="*/ 438 w 676"/>
              <a:gd name="T107" fmla="*/ 231 h 431"/>
              <a:gd name="T108" fmla="*/ 658 w 676"/>
              <a:gd name="T109" fmla="*/ 231 h 431"/>
              <a:gd name="T110" fmla="*/ 662 w 676"/>
              <a:gd name="T111" fmla="*/ 235 h 431"/>
              <a:gd name="T112" fmla="*/ 662 w 676"/>
              <a:gd name="T113" fmla="*/ 357 h 4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76" h="431">
                <a:moveTo>
                  <a:pt x="658" y="217"/>
                </a:moveTo>
                <a:cubicBezTo>
                  <a:pt x="636" y="217"/>
                  <a:pt x="636" y="217"/>
                  <a:pt x="636" y="217"/>
                </a:cubicBezTo>
                <a:cubicBezTo>
                  <a:pt x="627" y="196"/>
                  <a:pt x="600" y="129"/>
                  <a:pt x="600" y="129"/>
                </a:cubicBezTo>
                <a:cubicBezTo>
                  <a:pt x="592" y="110"/>
                  <a:pt x="572" y="95"/>
                  <a:pt x="555" y="95"/>
                </a:cubicBezTo>
                <a:cubicBezTo>
                  <a:pt x="438" y="95"/>
                  <a:pt x="438" y="95"/>
                  <a:pt x="438" y="95"/>
                </a:cubicBezTo>
                <a:cubicBezTo>
                  <a:pt x="438" y="7"/>
                  <a:pt x="438" y="7"/>
                  <a:pt x="438" y="7"/>
                </a:cubicBezTo>
                <a:cubicBezTo>
                  <a:pt x="438" y="3"/>
                  <a:pt x="434" y="0"/>
                  <a:pt x="431" y="0"/>
                </a:cubicBezTo>
                <a:cubicBezTo>
                  <a:pt x="7" y="0"/>
                  <a:pt x="7" y="0"/>
                  <a:pt x="7" y="0"/>
                </a:cubicBezTo>
                <a:cubicBezTo>
                  <a:pt x="3" y="0"/>
                  <a:pt x="0" y="3"/>
                  <a:pt x="0" y="7"/>
                </a:cubicBezTo>
                <a:cubicBezTo>
                  <a:pt x="0" y="368"/>
                  <a:pt x="0" y="368"/>
                  <a:pt x="0" y="368"/>
                </a:cubicBezTo>
                <a:cubicBezTo>
                  <a:pt x="0" y="371"/>
                  <a:pt x="3" y="375"/>
                  <a:pt x="7" y="375"/>
                </a:cubicBezTo>
                <a:cubicBezTo>
                  <a:pt x="104" y="375"/>
                  <a:pt x="104" y="375"/>
                  <a:pt x="104" y="375"/>
                </a:cubicBezTo>
                <a:cubicBezTo>
                  <a:pt x="108" y="406"/>
                  <a:pt x="134" y="431"/>
                  <a:pt x="167" y="431"/>
                </a:cubicBezTo>
                <a:cubicBezTo>
                  <a:pt x="199" y="431"/>
                  <a:pt x="226" y="406"/>
                  <a:pt x="230" y="375"/>
                </a:cubicBezTo>
                <a:cubicBezTo>
                  <a:pt x="470" y="375"/>
                  <a:pt x="470" y="375"/>
                  <a:pt x="470" y="375"/>
                </a:cubicBezTo>
                <a:cubicBezTo>
                  <a:pt x="474" y="406"/>
                  <a:pt x="501" y="431"/>
                  <a:pt x="533" y="431"/>
                </a:cubicBezTo>
                <a:cubicBezTo>
                  <a:pt x="565" y="431"/>
                  <a:pt x="592" y="406"/>
                  <a:pt x="596" y="375"/>
                </a:cubicBezTo>
                <a:cubicBezTo>
                  <a:pt x="658" y="375"/>
                  <a:pt x="658" y="375"/>
                  <a:pt x="658" y="375"/>
                </a:cubicBezTo>
                <a:cubicBezTo>
                  <a:pt x="668" y="375"/>
                  <a:pt x="676" y="367"/>
                  <a:pt x="676" y="357"/>
                </a:cubicBezTo>
                <a:cubicBezTo>
                  <a:pt x="676" y="235"/>
                  <a:pt x="676" y="235"/>
                  <a:pt x="676" y="235"/>
                </a:cubicBezTo>
                <a:cubicBezTo>
                  <a:pt x="676" y="225"/>
                  <a:pt x="668" y="217"/>
                  <a:pt x="658" y="217"/>
                </a:cubicBezTo>
                <a:close/>
                <a:moveTo>
                  <a:pt x="555" y="109"/>
                </a:moveTo>
                <a:cubicBezTo>
                  <a:pt x="567" y="109"/>
                  <a:pt x="581" y="121"/>
                  <a:pt x="587" y="134"/>
                </a:cubicBezTo>
                <a:cubicBezTo>
                  <a:pt x="588" y="137"/>
                  <a:pt x="610" y="192"/>
                  <a:pt x="621" y="217"/>
                </a:cubicBezTo>
                <a:cubicBezTo>
                  <a:pt x="438" y="217"/>
                  <a:pt x="438" y="217"/>
                  <a:pt x="438" y="217"/>
                </a:cubicBezTo>
                <a:cubicBezTo>
                  <a:pt x="438" y="109"/>
                  <a:pt x="438" y="109"/>
                  <a:pt x="438" y="109"/>
                </a:cubicBezTo>
                <a:lnTo>
                  <a:pt x="555" y="109"/>
                </a:lnTo>
                <a:close/>
                <a:moveTo>
                  <a:pt x="14" y="14"/>
                </a:moveTo>
                <a:cubicBezTo>
                  <a:pt x="424" y="14"/>
                  <a:pt x="424" y="14"/>
                  <a:pt x="424" y="14"/>
                </a:cubicBezTo>
                <a:cubicBezTo>
                  <a:pt x="424" y="361"/>
                  <a:pt x="424" y="361"/>
                  <a:pt x="424" y="361"/>
                </a:cubicBezTo>
                <a:cubicBezTo>
                  <a:pt x="230" y="361"/>
                  <a:pt x="230" y="361"/>
                  <a:pt x="230" y="361"/>
                </a:cubicBezTo>
                <a:cubicBezTo>
                  <a:pt x="226" y="329"/>
                  <a:pt x="199" y="304"/>
                  <a:pt x="167" y="304"/>
                </a:cubicBezTo>
                <a:cubicBezTo>
                  <a:pt x="134" y="304"/>
                  <a:pt x="108" y="329"/>
                  <a:pt x="104" y="361"/>
                </a:cubicBezTo>
                <a:cubicBezTo>
                  <a:pt x="14" y="361"/>
                  <a:pt x="14" y="361"/>
                  <a:pt x="14" y="361"/>
                </a:cubicBezTo>
                <a:lnTo>
                  <a:pt x="14" y="14"/>
                </a:lnTo>
                <a:close/>
                <a:moveTo>
                  <a:pt x="167" y="417"/>
                </a:moveTo>
                <a:cubicBezTo>
                  <a:pt x="140" y="417"/>
                  <a:pt x="118" y="395"/>
                  <a:pt x="118" y="368"/>
                </a:cubicBezTo>
                <a:cubicBezTo>
                  <a:pt x="118" y="340"/>
                  <a:pt x="140" y="318"/>
                  <a:pt x="167" y="318"/>
                </a:cubicBezTo>
                <a:cubicBezTo>
                  <a:pt x="194" y="318"/>
                  <a:pt x="216" y="340"/>
                  <a:pt x="216" y="368"/>
                </a:cubicBezTo>
                <a:cubicBezTo>
                  <a:pt x="216" y="395"/>
                  <a:pt x="194" y="417"/>
                  <a:pt x="167" y="417"/>
                </a:cubicBezTo>
                <a:close/>
                <a:moveTo>
                  <a:pt x="533" y="417"/>
                </a:moveTo>
                <a:cubicBezTo>
                  <a:pt x="506" y="417"/>
                  <a:pt x="484" y="395"/>
                  <a:pt x="484" y="368"/>
                </a:cubicBezTo>
                <a:cubicBezTo>
                  <a:pt x="484" y="340"/>
                  <a:pt x="506" y="318"/>
                  <a:pt x="533" y="318"/>
                </a:cubicBezTo>
                <a:cubicBezTo>
                  <a:pt x="560" y="318"/>
                  <a:pt x="581" y="340"/>
                  <a:pt x="582" y="366"/>
                </a:cubicBezTo>
                <a:cubicBezTo>
                  <a:pt x="582" y="367"/>
                  <a:pt x="582" y="367"/>
                  <a:pt x="582" y="368"/>
                </a:cubicBezTo>
                <a:cubicBezTo>
                  <a:pt x="582" y="368"/>
                  <a:pt x="582" y="368"/>
                  <a:pt x="582" y="369"/>
                </a:cubicBezTo>
                <a:cubicBezTo>
                  <a:pt x="581" y="395"/>
                  <a:pt x="560" y="417"/>
                  <a:pt x="533" y="417"/>
                </a:cubicBezTo>
                <a:close/>
                <a:moveTo>
                  <a:pt x="662" y="357"/>
                </a:moveTo>
                <a:cubicBezTo>
                  <a:pt x="662" y="359"/>
                  <a:pt x="660" y="361"/>
                  <a:pt x="658" y="361"/>
                </a:cubicBezTo>
                <a:cubicBezTo>
                  <a:pt x="596" y="361"/>
                  <a:pt x="596" y="361"/>
                  <a:pt x="596" y="361"/>
                </a:cubicBezTo>
                <a:cubicBezTo>
                  <a:pt x="592" y="329"/>
                  <a:pt x="565" y="304"/>
                  <a:pt x="533" y="304"/>
                </a:cubicBezTo>
                <a:cubicBezTo>
                  <a:pt x="501" y="304"/>
                  <a:pt x="474" y="329"/>
                  <a:pt x="470" y="361"/>
                </a:cubicBezTo>
                <a:cubicBezTo>
                  <a:pt x="438" y="361"/>
                  <a:pt x="438" y="361"/>
                  <a:pt x="438" y="361"/>
                </a:cubicBezTo>
                <a:cubicBezTo>
                  <a:pt x="438" y="231"/>
                  <a:pt x="438" y="231"/>
                  <a:pt x="438" y="231"/>
                </a:cubicBezTo>
                <a:cubicBezTo>
                  <a:pt x="658" y="231"/>
                  <a:pt x="658" y="231"/>
                  <a:pt x="658" y="231"/>
                </a:cubicBezTo>
                <a:cubicBezTo>
                  <a:pt x="660" y="231"/>
                  <a:pt x="662" y="233"/>
                  <a:pt x="662" y="235"/>
                </a:cubicBezTo>
                <a:lnTo>
                  <a:pt x="662" y="357"/>
                </a:ln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13" name="Oval 13"/>
          <p:cNvSpPr>
            <a:spLocks noChangeArrowheads="1"/>
          </p:cNvSpPr>
          <p:nvPr/>
        </p:nvSpPr>
        <p:spPr bwMode="auto">
          <a:xfrm>
            <a:off x="3073678" y="3120088"/>
            <a:ext cx="1119124" cy="1119124"/>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25" name="Freeform 25"/>
          <p:cNvSpPr>
            <a:spLocks noEditPoints="1"/>
          </p:cNvSpPr>
          <p:nvPr/>
        </p:nvSpPr>
        <p:spPr bwMode="auto">
          <a:xfrm>
            <a:off x="3232789" y="3452572"/>
            <a:ext cx="802240" cy="453711"/>
          </a:xfrm>
          <a:custGeom>
            <a:avLst/>
            <a:gdLst>
              <a:gd name="T0" fmla="*/ 722 w 762"/>
              <a:gd name="T1" fmla="*/ 217 h 431"/>
              <a:gd name="T2" fmla="*/ 641 w 762"/>
              <a:gd name="T3" fmla="*/ 95 h 431"/>
              <a:gd name="T4" fmla="*/ 547 w 762"/>
              <a:gd name="T5" fmla="*/ 7 h 431"/>
              <a:gd name="T6" fmla="*/ 176 w 762"/>
              <a:gd name="T7" fmla="*/ 0 h 431"/>
              <a:gd name="T8" fmla="*/ 169 w 762"/>
              <a:gd name="T9" fmla="*/ 368 h 431"/>
              <a:gd name="T10" fmla="*/ 226 w 762"/>
              <a:gd name="T11" fmla="*/ 375 h 431"/>
              <a:gd name="T12" fmla="*/ 351 w 762"/>
              <a:gd name="T13" fmla="*/ 375 h 431"/>
              <a:gd name="T14" fmla="*/ 646 w 762"/>
              <a:gd name="T15" fmla="*/ 431 h 431"/>
              <a:gd name="T16" fmla="*/ 745 w 762"/>
              <a:gd name="T17" fmla="*/ 375 h 431"/>
              <a:gd name="T18" fmla="*/ 762 w 762"/>
              <a:gd name="T19" fmla="*/ 235 h 431"/>
              <a:gd name="T20" fmla="*/ 641 w 762"/>
              <a:gd name="T21" fmla="*/ 109 h 431"/>
              <a:gd name="T22" fmla="*/ 707 w 762"/>
              <a:gd name="T23" fmla="*/ 217 h 431"/>
              <a:gd name="T24" fmla="*/ 547 w 762"/>
              <a:gd name="T25" fmla="*/ 109 h 431"/>
              <a:gd name="T26" fmla="*/ 183 w 762"/>
              <a:gd name="T27" fmla="*/ 14 h 431"/>
              <a:gd name="T28" fmla="*/ 533 w 762"/>
              <a:gd name="T29" fmla="*/ 361 h 431"/>
              <a:gd name="T30" fmla="*/ 288 w 762"/>
              <a:gd name="T31" fmla="*/ 304 h 431"/>
              <a:gd name="T32" fmla="*/ 183 w 762"/>
              <a:gd name="T33" fmla="*/ 361 h 431"/>
              <a:gd name="T34" fmla="*/ 288 w 762"/>
              <a:gd name="T35" fmla="*/ 417 h 431"/>
              <a:gd name="T36" fmla="*/ 288 w 762"/>
              <a:gd name="T37" fmla="*/ 318 h 431"/>
              <a:gd name="T38" fmla="*/ 288 w 762"/>
              <a:gd name="T39" fmla="*/ 417 h 431"/>
              <a:gd name="T40" fmla="*/ 597 w 762"/>
              <a:gd name="T41" fmla="*/ 368 h 431"/>
              <a:gd name="T42" fmla="*/ 695 w 762"/>
              <a:gd name="T43" fmla="*/ 366 h 431"/>
              <a:gd name="T44" fmla="*/ 695 w 762"/>
              <a:gd name="T45" fmla="*/ 369 h 431"/>
              <a:gd name="T46" fmla="*/ 748 w 762"/>
              <a:gd name="T47" fmla="*/ 357 h 431"/>
              <a:gd name="T48" fmla="*/ 709 w 762"/>
              <a:gd name="T49" fmla="*/ 361 h 431"/>
              <a:gd name="T50" fmla="*/ 584 w 762"/>
              <a:gd name="T51" fmla="*/ 361 h 431"/>
              <a:gd name="T52" fmla="*/ 547 w 762"/>
              <a:gd name="T53" fmla="*/ 231 h 431"/>
              <a:gd name="T54" fmla="*/ 748 w 762"/>
              <a:gd name="T55" fmla="*/ 235 h 431"/>
              <a:gd name="T56" fmla="*/ 134 w 762"/>
              <a:gd name="T57" fmla="*/ 7 h 431"/>
              <a:gd name="T58" fmla="*/ 7 w 762"/>
              <a:gd name="T59" fmla="*/ 14 h 431"/>
              <a:gd name="T60" fmla="*/ 7 w 762"/>
              <a:gd name="T61" fmla="*/ 0 h 431"/>
              <a:gd name="T62" fmla="*/ 134 w 762"/>
              <a:gd name="T63" fmla="*/ 7 h 431"/>
              <a:gd name="T64" fmla="*/ 127 w 762"/>
              <a:gd name="T65" fmla="*/ 80 h 431"/>
              <a:gd name="T66" fmla="*/ 30 w 762"/>
              <a:gd name="T67" fmla="*/ 73 h 431"/>
              <a:gd name="T68" fmla="*/ 127 w 762"/>
              <a:gd name="T69" fmla="*/ 66 h 431"/>
              <a:gd name="T70" fmla="*/ 134 w 762"/>
              <a:gd name="T71" fmla="*/ 140 h 431"/>
              <a:gd name="T72" fmla="*/ 67 w 762"/>
              <a:gd name="T73" fmla="*/ 147 h 431"/>
              <a:gd name="T74" fmla="*/ 67 w 762"/>
              <a:gd name="T75" fmla="*/ 133 h 431"/>
              <a:gd name="T76" fmla="*/ 134 w 762"/>
              <a:gd name="T77" fmla="*/ 140 h 4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62" h="431">
                <a:moveTo>
                  <a:pt x="745" y="217"/>
                </a:moveTo>
                <a:cubicBezTo>
                  <a:pt x="722" y="217"/>
                  <a:pt x="722" y="217"/>
                  <a:pt x="722" y="217"/>
                </a:cubicBezTo>
                <a:cubicBezTo>
                  <a:pt x="713" y="196"/>
                  <a:pt x="687" y="129"/>
                  <a:pt x="686" y="129"/>
                </a:cubicBezTo>
                <a:cubicBezTo>
                  <a:pt x="678" y="110"/>
                  <a:pt x="659" y="95"/>
                  <a:pt x="641" y="95"/>
                </a:cubicBezTo>
                <a:cubicBezTo>
                  <a:pt x="547" y="95"/>
                  <a:pt x="547" y="95"/>
                  <a:pt x="547" y="95"/>
                </a:cubicBezTo>
                <a:cubicBezTo>
                  <a:pt x="547" y="7"/>
                  <a:pt x="547" y="7"/>
                  <a:pt x="547" y="7"/>
                </a:cubicBezTo>
                <a:cubicBezTo>
                  <a:pt x="547" y="3"/>
                  <a:pt x="544" y="0"/>
                  <a:pt x="540" y="0"/>
                </a:cubicBezTo>
                <a:cubicBezTo>
                  <a:pt x="176" y="0"/>
                  <a:pt x="176" y="0"/>
                  <a:pt x="176" y="0"/>
                </a:cubicBezTo>
                <a:cubicBezTo>
                  <a:pt x="172" y="0"/>
                  <a:pt x="169" y="3"/>
                  <a:pt x="169" y="7"/>
                </a:cubicBezTo>
                <a:cubicBezTo>
                  <a:pt x="169" y="368"/>
                  <a:pt x="169" y="368"/>
                  <a:pt x="169" y="368"/>
                </a:cubicBezTo>
                <a:cubicBezTo>
                  <a:pt x="169" y="371"/>
                  <a:pt x="172" y="375"/>
                  <a:pt x="176" y="375"/>
                </a:cubicBezTo>
                <a:cubicBezTo>
                  <a:pt x="226" y="375"/>
                  <a:pt x="226" y="375"/>
                  <a:pt x="226" y="375"/>
                </a:cubicBezTo>
                <a:cubicBezTo>
                  <a:pt x="229" y="406"/>
                  <a:pt x="256" y="431"/>
                  <a:pt x="288" y="431"/>
                </a:cubicBezTo>
                <a:cubicBezTo>
                  <a:pt x="321" y="431"/>
                  <a:pt x="348" y="406"/>
                  <a:pt x="351" y="375"/>
                </a:cubicBezTo>
                <a:cubicBezTo>
                  <a:pt x="584" y="375"/>
                  <a:pt x="584" y="375"/>
                  <a:pt x="584" y="375"/>
                </a:cubicBezTo>
                <a:cubicBezTo>
                  <a:pt x="587" y="406"/>
                  <a:pt x="614" y="431"/>
                  <a:pt x="646" y="431"/>
                </a:cubicBezTo>
                <a:cubicBezTo>
                  <a:pt x="679" y="431"/>
                  <a:pt x="706" y="406"/>
                  <a:pt x="709" y="375"/>
                </a:cubicBezTo>
                <a:cubicBezTo>
                  <a:pt x="745" y="375"/>
                  <a:pt x="745" y="375"/>
                  <a:pt x="745" y="375"/>
                </a:cubicBezTo>
                <a:cubicBezTo>
                  <a:pt x="754" y="375"/>
                  <a:pt x="762" y="367"/>
                  <a:pt x="762" y="357"/>
                </a:cubicBezTo>
                <a:cubicBezTo>
                  <a:pt x="762" y="235"/>
                  <a:pt x="762" y="235"/>
                  <a:pt x="762" y="235"/>
                </a:cubicBezTo>
                <a:cubicBezTo>
                  <a:pt x="762" y="225"/>
                  <a:pt x="754" y="217"/>
                  <a:pt x="745" y="217"/>
                </a:cubicBezTo>
                <a:close/>
                <a:moveTo>
                  <a:pt x="641" y="109"/>
                </a:moveTo>
                <a:cubicBezTo>
                  <a:pt x="653" y="109"/>
                  <a:pt x="668" y="121"/>
                  <a:pt x="673" y="134"/>
                </a:cubicBezTo>
                <a:cubicBezTo>
                  <a:pt x="674" y="137"/>
                  <a:pt x="696" y="192"/>
                  <a:pt x="707" y="217"/>
                </a:cubicBezTo>
                <a:cubicBezTo>
                  <a:pt x="547" y="217"/>
                  <a:pt x="547" y="217"/>
                  <a:pt x="547" y="217"/>
                </a:cubicBezTo>
                <a:cubicBezTo>
                  <a:pt x="547" y="109"/>
                  <a:pt x="547" y="109"/>
                  <a:pt x="547" y="109"/>
                </a:cubicBezTo>
                <a:lnTo>
                  <a:pt x="641" y="109"/>
                </a:lnTo>
                <a:close/>
                <a:moveTo>
                  <a:pt x="183" y="14"/>
                </a:moveTo>
                <a:cubicBezTo>
                  <a:pt x="533" y="14"/>
                  <a:pt x="533" y="14"/>
                  <a:pt x="533" y="14"/>
                </a:cubicBezTo>
                <a:cubicBezTo>
                  <a:pt x="533" y="361"/>
                  <a:pt x="533" y="361"/>
                  <a:pt x="533" y="361"/>
                </a:cubicBezTo>
                <a:cubicBezTo>
                  <a:pt x="351" y="361"/>
                  <a:pt x="351" y="361"/>
                  <a:pt x="351" y="361"/>
                </a:cubicBezTo>
                <a:cubicBezTo>
                  <a:pt x="348" y="329"/>
                  <a:pt x="321" y="304"/>
                  <a:pt x="288" y="304"/>
                </a:cubicBezTo>
                <a:cubicBezTo>
                  <a:pt x="256" y="304"/>
                  <a:pt x="229" y="329"/>
                  <a:pt x="226" y="361"/>
                </a:cubicBezTo>
                <a:cubicBezTo>
                  <a:pt x="183" y="361"/>
                  <a:pt x="183" y="361"/>
                  <a:pt x="183" y="361"/>
                </a:cubicBezTo>
                <a:lnTo>
                  <a:pt x="183" y="14"/>
                </a:lnTo>
                <a:close/>
                <a:moveTo>
                  <a:pt x="288" y="417"/>
                </a:moveTo>
                <a:cubicBezTo>
                  <a:pt x="261" y="417"/>
                  <a:pt x="239" y="395"/>
                  <a:pt x="239" y="368"/>
                </a:cubicBezTo>
                <a:cubicBezTo>
                  <a:pt x="239" y="340"/>
                  <a:pt x="261" y="318"/>
                  <a:pt x="288" y="318"/>
                </a:cubicBezTo>
                <a:cubicBezTo>
                  <a:pt x="316" y="318"/>
                  <a:pt x="338" y="340"/>
                  <a:pt x="338" y="368"/>
                </a:cubicBezTo>
                <a:cubicBezTo>
                  <a:pt x="338" y="395"/>
                  <a:pt x="316" y="417"/>
                  <a:pt x="288" y="417"/>
                </a:cubicBezTo>
                <a:close/>
                <a:moveTo>
                  <a:pt x="646" y="417"/>
                </a:moveTo>
                <a:cubicBezTo>
                  <a:pt x="619" y="417"/>
                  <a:pt x="597" y="395"/>
                  <a:pt x="597" y="368"/>
                </a:cubicBezTo>
                <a:cubicBezTo>
                  <a:pt x="597" y="340"/>
                  <a:pt x="619" y="318"/>
                  <a:pt x="646" y="318"/>
                </a:cubicBezTo>
                <a:cubicBezTo>
                  <a:pt x="673" y="318"/>
                  <a:pt x="695" y="340"/>
                  <a:pt x="695" y="366"/>
                </a:cubicBezTo>
                <a:cubicBezTo>
                  <a:pt x="695" y="367"/>
                  <a:pt x="695" y="367"/>
                  <a:pt x="695" y="368"/>
                </a:cubicBezTo>
                <a:cubicBezTo>
                  <a:pt x="695" y="368"/>
                  <a:pt x="695" y="368"/>
                  <a:pt x="695" y="369"/>
                </a:cubicBezTo>
                <a:cubicBezTo>
                  <a:pt x="695" y="395"/>
                  <a:pt x="673" y="417"/>
                  <a:pt x="646" y="417"/>
                </a:cubicBezTo>
                <a:close/>
                <a:moveTo>
                  <a:pt x="748" y="357"/>
                </a:moveTo>
                <a:cubicBezTo>
                  <a:pt x="748" y="359"/>
                  <a:pt x="746" y="361"/>
                  <a:pt x="745" y="361"/>
                </a:cubicBezTo>
                <a:cubicBezTo>
                  <a:pt x="709" y="361"/>
                  <a:pt x="709" y="361"/>
                  <a:pt x="709" y="361"/>
                </a:cubicBezTo>
                <a:cubicBezTo>
                  <a:pt x="706" y="329"/>
                  <a:pt x="679" y="304"/>
                  <a:pt x="646" y="304"/>
                </a:cubicBezTo>
                <a:cubicBezTo>
                  <a:pt x="614" y="304"/>
                  <a:pt x="587" y="329"/>
                  <a:pt x="584" y="361"/>
                </a:cubicBezTo>
                <a:cubicBezTo>
                  <a:pt x="547" y="361"/>
                  <a:pt x="547" y="361"/>
                  <a:pt x="547" y="361"/>
                </a:cubicBezTo>
                <a:cubicBezTo>
                  <a:pt x="547" y="231"/>
                  <a:pt x="547" y="231"/>
                  <a:pt x="547" y="231"/>
                </a:cubicBezTo>
                <a:cubicBezTo>
                  <a:pt x="745" y="231"/>
                  <a:pt x="745" y="231"/>
                  <a:pt x="745" y="231"/>
                </a:cubicBezTo>
                <a:cubicBezTo>
                  <a:pt x="746" y="231"/>
                  <a:pt x="748" y="233"/>
                  <a:pt x="748" y="235"/>
                </a:cubicBezTo>
                <a:lnTo>
                  <a:pt x="748" y="357"/>
                </a:lnTo>
                <a:close/>
                <a:moveTo>
                  <a:pt x="134" y="7"/>
                </a:moveTo>
                <a:cubicBezTo>
                  <a:pt x="134" y="11"/>
                  <a:pt x="130" y="14"/>
                  <a:pt x="127" y="14"/>
                </a:cubicBezTo>
                <a:cubicBezTo>
                  <a:pt x="7" y="14"/>
                  <a:pt x="7" y="14"/>
                  <a:pt x="7" y="14"/>
                </a:cubicBezTo>
                <a:cubicBezTo>
                  <a:pt x="3" y="14"/>
                  <a:pt x="0" y="11"/>
                  <a:pt x="0" y="7"/>
                </a:cubicBezTo>
                <a:cubicBezTo>
                  <a:pt x="0" y="3"/>
                  <a:pt x="3" y="0"/>
                  <a:pt x="7" y="0"/>
                </a:cubicBezTo>
                <a:cubicBezTo>
                  <a:pt x="127" y="0"/>
                  <a:pt x="127" y="0"/>
                  <a:pt x="127" y="0"/>
                </a:cubicBezTo>
                <a:cubicBezTo>
                  <a:pt x="130" y="0"/>
                  <a:pt x="134" y="3"/>
                  <a:pt x="134" y="7"/>
                </a:cubicBezTo>
                <a:close/>
                <a:moveTo>
                  <a:pt x="134" y="73"/>
                </a:moveTo>
                <a:cubicBezTo>
                  <a:pt x="134" y="77"/>
                  <a:pt x="130" y="80"/>
                  <a:pt x="127" y="80"/>
                </a:cubicBezTo>
                <a:cubicBezTo>
                  <a:pt x="37" y="80"/>
                  <a:pt x="37" y="80"/>
                  <a:pt x="37" y="80"/>
                </a:cubicBezTo>
                <a:cubicBezTo>
                  <a:pt x="33" y="80"/>
                  <a:pt x="30" y="77"/>
                  <a:pt x="30" y="73"/>
                </a:cubicBezTo>
                <a:cubicBezTo>
                  <a:pt x="30" y="69"/>
                  <a:pt x="33" y="66"/>
                  <a:pt x="37" y="66"/>
                </a:cubicBezTo>
                <a:cubicBezTo>
                  <a:pt x="127" y="66"/>
                  <a:pt x="127" y="66"/>
                  <a:pt x="127" y="66"/>
                </a:cubicBezTo>
                <a:cubicBezTo>
                  <a:pt x="130" y="66"/>
                  <a:pt x="134" y="69"/>
                  <a:pt x="134" y="73"/>
                </a:cubicBezTo>
                <a:close/>
                <a:moveTo>
                  <a:pt x="134" y="140"/>
                </a:moveTo>
                <a:cubicBezTo>
                  <a:pt x="134" y="143"/>
                  <a:pt x="130" y="147"/>
                  <a:pt x="127" y="147"/>
                </a:cubicBezTo>
                <a:cubicBezTo>
                  <a:pt x="67" y="147"/>
                  <a:pt x="67" y="147"/>
                  <a:pt x="67" y="147"/>
                </a:cubicBezTo>
                <a:cubicBezTo>
                  <a:pt x="63" y="147"/>
                  <a:pt x="60" y="143"/>
                  <a:pt x="60" y="140"/>
                </a:cubicBezTo>
                <a:cubicBezTo>
                  <a:pt x="60" y="136"/>
                  <a:pt x="63" y="133"/>
                  <a:pt x="67" y="133"/>
                </a:cubicBezTo>
                <a:cubicBezTo>
                  <a:pt x="127" y="133"/>
                  <a:pt x="127" y="133"/>
                  <a:pt x="127" y="133"/>
                </a:cubicBezTo>
                <a:cubicBezTo>
                  <a:pt x="130" y="133"/>
                  <a:pt x="134" y="136"/>
                  <a:pt x="134" y="140"/>
                </a:cubicBez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11" name="Oval 11"/>
          <p:cNvSpPr>
            <a:spLocks noChangeArrowheads="1"/>
          </p:cNvSpPr>
          <p:nvPr/>
        </p:nvSpPr>
        <p:spPr bwMode="auto">
          <a:xfrm>
            <a:off x="6589621" y="3120088"/>
            <a:ext cx="1119124" cy="1119124"/>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26" name="Freeform 26"/>
          <p:cNvSpPr>
            <a:spLocks noEditPoints="1"/>
          </p:cNvSpPr>
          <p:nvPr/>
        </p:nvSpPr>
        <p:spPr bwMode="auto">
          <a:xfrm>
            <a:off x="6802215" y="3339813"/>
            <a:ext cx="685469" cy="678338"/>
          </a:xfrm>
          <a:custGeom>
            <a:avLst/>
            <a:gdLst>
              <a:gd name="T0" fmla="*/ 431 w 651"/>
              <a:gd name="T1" fmla="*/ 644 h 644"/>
              <a:gd name="T2" fmla="*/ 426 w 651"/>
              <a:gd name="T3" fmla="*/ 642 h 644"/>
              <a:gd name="T4" fmla="*/ 394 w 651"/>
              <a:gd name="T5" fmla="*/ 610 h 644"/>
              <a:gd name="T6" fmla="*/ 392 w 651"/>
              <a:gd name="T7" fmla="*/ 604 h 644"/>
              <a:gd name="T8" fmla="*/ 398 w 651"/>
              <a:gd name="T9" fmla="*/ 501 h 644"/>
              <a:gd name="T10" fmla="*/ 301 w 651"/>
              <a:gd name="T11" fmla="*/ 404 h 644"/>
              <a:gd name="T12" fmla="*/ 148 w 651"/>
              <a:gd name="T13" fmla="*/ 589 h 644"/>
              <a:gd name="T14" fmla="*/ 143 w 651"/>
              <a:gd name="T15" fmla="*/ 592 h 644"/>
              <a:gd name="T16" fmla="*/ 137 w 651"/>
              <a:gd name="T17" fmla="*/ 590 h 644"/>
              <a:gd name="T18" fmla="*/ 80 w 651"/>
              <a:gd name="T19" fmla="*/ 532 h 644"/>
              <a:gd name="T20" fmla="*/ 78 w 651"/>
              <a:gd name="T21" fmla="*/ 525 h 644"/>
              <a:gd name="T22" fmla="*/ 159 w 651"/>
              <a:gd name="T23" fmla="*/ 262 h 644"/>
              <a:gd name="T24" fmla="*/ 30 w 651"/>
              <a:gd name="T25" fmla="*/ 133 h 644"/>
              <a:gd name="T26" fmla="*/ 30 w 651"/>
              <a:gd name="T27" fmla="*/ 23 h 644"/>
              <a:gd name="T28" fmla="*/ 85 w 651"/>
              <a:gd name="T29" fmla="*/ 0 h 644"/>
              <a:gd name="T30" fmla="*/ 140 w 651"/>
              <a:gd name="T31" fmla="*/ 23 h 644"/>
              <a:gd name="T32" fmla="*/ 269 w 651"/>
              <a:gd name="T33" fmla="*/ 152 h 644"/>
              <a:gd name="T34" fmla="*/ 532 w 651"/>
              <a:gd name="T35" fmla="*/ 71 h 644"/>
              <a:gd name="T36" fmla="*/ 539 w 651"/>
              <a:gd name="T37" fmla="*/ 73 h 644"/>
              <a:gd name="T38" fmla="*/ 597 w 651"/>
              <a:gd name="T39" fmla="*/ 130 h 644"/>
              <a:gd name="T40" fmla="*/ 599 w 651"/>
              <a:gd name="T41" fmla="*/ 136 h 644"/>
              <a:gd name="T42" fmla="*/ 596 w 651"/>
              <a:gd name="T43" fmla="*/ 141 h 644"/>
              <a:gd name="T44" fmla="*/ 411 w 651"/>
              <a:gd name="T45" fmla="*/ 294 h 644"/>
              <a:gd name="T46" fmla="*/ 508 w 651"/>
              <a:gd name="T47" fmla="*/ 391 h 644"/>
              <a:gd name="T48" fmla="*/ 611 w 651"/>
              <a:gd name="T49" fmla="*/ 385 h 644"/>
              <a:gd name="T50" fmla="*/ 617 w 651"/>
              <a:gd name="T51" fmla="*/ 387 h 644"/>
              <a:gd name="T52" fmla="*/ 649 w 651"/>
              <a:gd name="T53" fmla="*/ 419 h 644"/>
              <a:gd name="T54" fmla="*/ 651 w 651"/>
              <a:gd name="T55" fmla="*/ 425 h 644"/>
              <a:gd name="T56" fmla="*/ 648 w 651"/>
              <a:gd name="T57" fmla="*/ 430 h 644"/>
              <a:gd name="T58" fmla="*/ 517 w 651"/>
              <a:gd name="T59" fmla="*/ 510 h 644"/>
              <a:gd name="T60" fmla="*/ 437 w 651"/>
              <a:gd name="T61" fmla="*/ 641 h 644"/>
              <a:gd name="T62" fmla="*/ 432 w 651"/>
              <a:gd name="T63" fmla="*/ 644 h 644"/>
              <a:gd name="T64" fmla="*/ 431 w 651"/>
              <a:gd name="T65" fmla="*/ 644 h 644"/>
              <a:gd name="T66" fmla="*/ 406 w 651"/>
              <a:gd name="T67" fmla="*/ 602 h 644"/>
              <a:gd name="T68" fmla="*/ 430 w 651"/>
              <a:gd name="T69" fmla="*/ 626 h 644"/>
              <a:gd name="T70" fmla="*/ 507 w 651"/>
              <a:gd name="T71" fmla="*/ 500 h 644"/>
              <a:gd name="T72" fmla="*/ 633 w 651"/>
              <a:gd name="T73" fmla="*/ 423 h 644"/>
              <a:gd name="T74" fmla="*/ 609 w 651"/>
              <a:gd name="T75" fmla="*/ 399 h 644"/>
              <a:gd name="T76" fmla="*/ 506 w 651"/>
              <a:gd name="T77" fmla="*/ 406 h 644"/>
              <a:gd name="T78" fmla="*/ 500 w 651"/>
              <a:gd name="T79" fmla="*/ 404 h 644"/>
              <a:gd name="T80" fmla="*/ 396 w 651"/>
              <a:gd name="T81" fmla="*/ 299 h 644"/>
              <a:gd name="T82" fmla="*/ 394 w 651"/>
              <a:gd name="T83" fmla="*/ 294 h 644"/>
              <a:gd name="T84" fmla="*/ 396 w 651"/>
              <a:gd name="T85" fmla="*/ 289 h 644"/>
              <a:gd name="T86" fmla="*/ 581 w 651"/>
              <a:gd name="T87" fmla="*/ 135 h 644"/>
              <a:gd name="T88" fmla="*/ 532 w 651"/>
              <a:gd name="T89" fmla="*/ 86 h 644"/>
              <a:gd name="T90" fmla="*/ 269 w 651"/>
              <a:gd name="T91" fmla="*/ 167 h 644"/>
              <a:gd name="T92" fmla="*/ 262 w 651"/>
              <a:gd name="T93" fmla="*/ 165 h 644"/>
              <a:gd name="T94" fmla="*/ 130 w 651"/>
              <a:gd name="T95" fmla="*/ 33 h 644"/>
              <a:gd name="T96" fmla="*/ 85 w 651"/>
              <a:gd name="T97" fmla="*/ 14 h 644"/>
              <a:gd name="T98" fmla="*/ 40 w 651"/>
              <a:gd name="T99" fmla="*/ 33 h 644"/>
              <a:gd name="T100" fmla="*/ 40 w 651"/>
              <a:gd name="T101" fmla="*/ 123 h 644"/>
              <a:gd name="T102" fmla="*/ 172 w 651"/>
              <a:gd name="T103" fmla="*/ 255 h 644"/>
              <a:gd name="T104" fmla="*/ 174 w 651"/>
              <a:gd name="T105" fmla="*/ 262 h 644"/>
              <a:gd name="T106" fmla="*/ 93 w 651"/>
              <a:gd name="T107" fmla="*/ 525 h 644"/>
              <a:gd name="T108" fmla="*/ 142 w 651"/>
              <a:gd name="T109" fmla="*/ 574 h 644"/>
              <a:gd name="T110" fmla="*/ 296 w 651"/>
              <a:gd name="T111" fmla="*/ 389 h 644"/>
              <a:gd name="T112" fmla="*/ 301 w 651"/>
              <a:gd name="T113" fmla="*/ 387 h 644"/>
              <a:gd name="T114" fmla="*/ 306 w 651"/>
              <a:gd name="T115" fmla="*/ 389 h 644"/>
              <a:gd name="T116" fmla="*/ 411 w 651"/>
              <a:gd name="T117" fmla="*/ 493 h 644"/>
              <a:gd name="T118" fmla="*/ 413 w 651"/>
              <a:gd name="T119" fmla="*/ 499 h 644"/>
              <a:gd name="T120" fmla="*/ 406 w 651"/>
              <a:gd name="T121" fmla="*/ 602 h 6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51" h="644">
                <a:moveTo>
                  <a:pt x="431" y="644"/>
                </a:moveTo>
                <a:cubicBezTo>
                  <a:pt x="429" y="644"/>
                  <a:pt x="427" y="643"/>
                  <a:pt x="426" y="642"/>
                </a:cubicBezTo>
                <a:cubicBezTo>
                  <a:pt x="394" y="610"/>
                  <a:pt x="394" y="610"/>
                  <a:pt x="394" y="610"/>
                </a:cubicBezTo>
                <a:cubicBezTo>
                  <a:pt x="392" y="608"/>
                  <a:pt x="392" y="606"/>
                  <a:pt x="392" y="604"/>
                </a:cubicBezTo>
                <a:cubicBezTo>
                  <a:pt x="398" y="501"/>
                  <a:pt x="398" y="501"/>
                  <a:pt x="398" y="501"/>
                </a:cubicBezTo>
                <a:cubicBezTo>
                  <a:pt x="301" y="404"/>
                  <a:pt x="301" y="404"/>
                  <a:pt x="301" y="404"/>
                </a:cubicBezTo>
                <a:cubicBezTo>
                  <a:pt x="148" y="589"/>
                  <a:pt x="148" y="589"/>
                  <a:pt x="148" y="589"/>
                </a:cubicBezTo>
                <a:cubicBezTo>
                  <a:pt x="146" y="591"/>
                  <a:pt x="145" y="592"/>
                  <a:pt x="143" y="592"/>
                </a:cubicBezTo>
                <a:cubicBezTo>
                  <a:pt x="141" y="592"/>
                  <a:pt x="139" y="591"/>
                  <a:pt x="137" y="590"/>
                </a:cubicBezTo>
                <a:cubicBezTo>
                  <a:pt x="80" y="532"/>
                  <a:pt x="80" y="532"/>
                  <a:pt x="80" y="532"/>
                </a:cubicBezTo>
                <a:cubicBezTo>
                  <a:pt x="78" y="531"/>
                  <a:pt x="77" y="528"/>
                  <a:pt x="78" y="525"/>
                </a:cubicBezTo>
                <a:cubicBezTo>
                  <a:pt x="159" y="262"/>
                  <a:pt x="159" y="262"/>
                  <a:pt x="159" y="262"/>
                </a:cubicBezTo>
                <a:cubicBezTo>
                  <a:pt x="30" y="133"/>
                  <a:pt x="30" y="133"/>
                  <a:pt x="30" y="133"/>
                </a:cubicBezTo>
                <a:cubicBezTo>
                  <a:pt x="0" y="103"/>
                  <a:pt x="0" y="53"/>
                  <a:pt x="30" y="23"/>
                </a:cubicBezTo>
                <a:cubicBezTo>
                  <a:pt x="45" y="8"/>
                  <a:pt x="64" y="0"/>
                  <a:pt x="85" y="0"/>
                </a:cubicBezTo>
                <a:cubicBezTo>
                  <a:pt x="106" y="0"/>
                  <a:pt x="125" y="8"/>
                  <a:pt x="140" y="23"/>
                </a:cubicBezTo>
                <a:cubicBezTo>
                  <a:pt x="269" y="152"/>
                  <a:pt x="269" y="152"/>
                  <a:pt x="269" y="152"/>
                </a:cubicBezTo>
                <a:cubicBezTo>
                  <a:pt x="532" y="71"/>
                  <a:pt x="532" y="71"/>
                  <a:pt x="532" y="71"/>
                </a:cubicBezTo>
                <a:cubicBezTo>
                  <a:pt x="535" y="70"/>
                  <a:pt x="537" y="71"/>
                  <a:pt x="539" y="73"/>
                </a:cubicBezTo>
                <a:cubicBezTo>
                  <a:pt x="597" y="130"/>
                  <a:pt x="597" y="130"/>
                  <a:pt x="597" y="130"/>
                </a:cubicBezTo>
                <a:cubicBezTo>
                  <a:pt x="598" y="132"/>
                  <a:pt x="599" y="134"/>
                  <a:pt x="599" y="136"/>
                </a:cubicBezTo>
                <a:cubicBezTo>
                  <a:pt x="599" y="138"/>
                  <a:pt x="598" y="139"/>
                  <a:pt x="596" y="141"/>
                </a:cubicBezTo>
                <a:cubicBezTo>
                  <a:pt x="411" y="294"/>
                  <a:pt x="411" y="294"/>
                  <a:pt x="411" y="294"/>
                </a:cubicBezTo>
                <a:cubicBezTo>
                  <a:pt x="508" y="391"/>
                  <a:pt x="508" y="391"/>
                  <a:pt x="508" y="391"/>
                </a:cubicBezTo>
                <a:cubicBezTo>
                  <a:pt x="611" y="385"/>
                  <a:pt x="611" y="385"/>
                  <a:pt x="611" y="385"/>
                </a:cubicBezTo>
                <a:cubicBezTo>
                  <a:pt x="613" y="385"/>
                  <a:pt x="615" y="385"/>
                  <a:pt x="617" y="387"/>
                </a:cubicBezTo>
                <a:cubicBezTo>
                  <a:pt x="649" y="419"/>
                  <a:pt x="649" y="419"/>
                  <a:pt x="649" y="419"/>
                </a:cubicBezTo>
                <a:cubicBezTo>
                  <a:pt x="650" y="421"/>
                  <a:pt x="651" y="423"/>
                  <a:pt x="651" y="425"/>
                </a:cubicBezTo>
                <a:cubicBezTo>
                  <a:pt x="651" y="427"/>
                  <a:pt x="649" y="429"/>
                  <a:pt x="648" y="430"/>
                </a:cubicBezTo>
                <a:cubicBezTo>
                  <a:pt x="606" y="456"/>
                  <a:pt x="528" y="503"/>
                  <a:pt x="517" y="510"/>
                </a:cubicBezTo>
                <a:cubicBezTo>
                  <a:pt x="510" y="521"/>
                  <a:pt x="463" y="599"/>
                  <a:pt x="437" y="641"/>
                </a:cubicBezTo>
                <a:cubicBezTo>
                  <a:pt x="436" y="642"/>
                  <a:pt x="434" y="644"/>
                  <a:pt x="432" y="644"/>
                </a:cubicBezTo>
                <a:cubicBezTo>
                  <a:pt x="432" y="644"/>
                  <a:pt x="431" y="644"/>
                  <a:pt x="431" y="644"/>
                </a:cubicBezTo>
                <a:close/>
                <a:moveTo>
                  <a:pt x="406" y="602"/>
                </a:moveTo>
                <a:cubicBezTo>
                  <a:pt x="430" y="626"/>
                  <a:pt x="430" y="626"/>
                  <a:pt x="430" y="626"/>
                </a:cubicBezTo>
                <a:cubicBezTo>
                  <a:pt x="506" y="501"/>
                  <a:pt x="506" y="501"/>
                  <a:pt x="507" y="500"/>
                </a:cubicBezTo>
                <a:cubicBezTo>
                  <a:pt x="508" y="499"/>
                  <a:pt x="508" y="499"/>
                  <a:pt x="633" y="423"/>
                </a:cubicBezTo>
                <a:cubicBezTo>
                  <a:pt x="609" y="399"/>
                  <a:pt x="609" y="399"/>
                  <a:pt x="609" y="399"/>
                </a:cubicBezTo>
                <a:cubicBezTo>
                  <a:pt x="506" y="406"/>
                  <a:pt x="506" y="406"/>
                  <a:pt x="506" y="406"/>
                </a:cubicBezTo>
                <a:cubicBezTo>
                  <a:pt x="504" y="406"/>
                  <a:pt x="502" y="405"/>
                  <a:pt x="500" y="404"/>
                </a:cubicBezTo>
                <a:cubicBezTo>
                  <a:pt x="396" y="299"/>
                  <a:pt x="396" y="299"/>
                  <a:pt x="396" y="299"/>
                </a:cubicBezTo>
                <a:cubicBezTo>
                  <a:pt x="394" y="298"/>
                  <a:pt x="394" y="296"/>
                  <a:pt x="394" y="294"/>
                </a:cubicBezTo>
                <a:cubicBezTo>
                  <a:pt x="394" y="292"/>
                  <a:pt x="395" y="290"/>
                  <a:pt x="396" y="289"/>
                </a:cubicBezTo>
                <a:cubicBezTo>
                  <a:pt x="581" y="135"/>
                  <a:pt x="581" y="135"/>
                  <a:pt x="581" y="135"/>
                </a:cubicBezTo>
                <a:cubicBezTo>
                  <a:pt x="532" y="86"/>
                  <a:pt x="532" y="86"/>
                  <a:pt x="532" y="86"/>
                </a:cubicBezTo>
                <a:cubicBezTo>
                  <a:pt x="269" y="167"/>
                  <a:pt x="269" y="167"/>
                  <a:pt x="269" y="167"/>
                </a:cubicBezTo>
                <a:cubicBezTo>
                  <a:pt x="266" y="168"/>
                  <a:pt x="264" y="167"/>
                  <a:pt x="262" y="165"/>
                </a:cubicBezTo>
                <a:cubicBezTo>
                  <a:pt x="130" y="33"/>
                  <a:pt x="130" y="33"/>
                  <a:pt x="130" y="33"/>
                </a:cubicBezTo>
                <a:cubicBezTo>
                  <a:pt x="118" y="21"/>
                  <a:pt x="102" y="14"/>
                  <a:pt x="85" y="14"/>
                </a:cubicBezTo>
                <a:cubicBezTo>
                  <a:pt x="68" y="14"/>
                  <a:pt x="52" y="21"/>
                  <a:pt x="40" y="33"/>
                </a:cubicBezTo>
                <a:cubicBezTo>
                  <a:pt x="15" y="58"/>
                  <a:pt x="15" y="98"/>
                  <a:pt x="40" y="123"/>
                </a:cubicBezTo>
                <a:cubicBezTo>
                  <a:pt x="172" y="255"/>
                  <a:pt x="172" y="255"/>
                  <a:pt x="172" y="255"/>
                </a:cubicBezTo>
                <a:cubicBezTo>
                  <a:pt x="174" y="257"/>
                  <a:pt x="174" y="259"/>
                  <a:pt x="174" y="262"/>
                </a:cubicBezTo>
                <a:cubicBezTo>
                  <a:pt x="93" y="525"/>
                  <a:pt x="93" y="525"/>
                  <a:pt x="93" y="525"/>
                </a:cubicBezTo>
                <a:cubicBezTo>
                  <a:pt x="142" y="574"/>
                  <a:pt x="142" y="574"/>
                  <a:pt x="142" y="574"/>
                </a:cubicBezTo>
                <a:cubicBezTo>
                  <a:pt x="296" y="389"/>
                  <a:pt x="296" y="389"/>
                  <a:pt x="296" y="389"/>
                </a:cubicBezTo>
                <a:cubicBezTo>
                  <a:pt x="297" y="388"/>
                  <a:pt x="299" y="387"/>
                  <a:pt x="301" y="387"/>
                </a:cubicBezTo>
                <a:cubicBezTo>
                  <a:pt x="303" y="387"/>
                  <a:pt x="305" y="387"/>
                  <a:pt x="306" y="389"/>
                </a:cubicBezTo>
                <a:cubicBezTo>
                  <a:pt x="411" y="493"/>
                  <a:pt x="411" y="493"/>
                  <a:pt x="411" y="493"/>
                </a:cubicBezTo>
                <a:cubicBezTo>
                  <a:pt x="412" y="495"/>
                  <a:pt x="413" y="497"/>
                  <a:pt x="413" y="499"/>
                </a:cubicBezTo>
                <a:lnTo>
                  <a:pt x="406" y="602"/>
                </a:ln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16" name="Oval 16"/>
          <p:cNvSpPr>
            <a:spLocks noChangeArrowheads="1"/>
          </p:cNvSpPr>
          <p:nvPr/>
        </p:nvSpPr>
        <p:spPr bwMode="auto">
          <a:xfrm>
            <a:off x="8347593" y="3120088"/>
            <a:ext cx="1119124" cy="1119124"/>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27" name="Freeform 27"/>
          <p:cNvSpPr>
            <a:spLocks noEditPoints="1"/>
          </p:cNvSpPr>
          <p:nvPr/>
        </p:nvSpPr>
        <p:spPr bwMode="auto">
          <a:xfrm>
            <a:off x="8568831" y="3392849"/>
            <a:ext cx="676648" cy="564241"/>
          </a:xfrm>
          <a:custGeom>
            <a:avLst/>
            <a:gdLst>
              <a:gd name="T0" fmla="*/ 636 w 642"/>
              <a:gd name="T1" fmla="*/ 151 h 536"/>
              <a:gd name="T2" fmla="*/ 487 w 642"/>
              <a:gd name="T3" fmla="*/ 114 h 536"/>
              <a:gd name="T4" fmla="*/ 490 w 642"/>
              <a:gd name="T5" fmla="*/ 91 h 536"/>
              <a:gd name="T6" fmla="*/ 400 w 642"/>
              <a:gd name="T7" fmla="*/ 0 h 536"/>
              <a:gd name="T8" fmla="*/ 309 w 642"/>
              <a:gd name="T9" fmla="*/ 91 h 536"/>
              <a:gd name="T10" fmla="*/ 315 w 642"/>
              <a:gd name="T11" fmla="*/ 126 h 536"/>
              <a:gd name="T12" fmla="*/ 217 w 642"/>
              <a:gd name="T13" fmla="*/ 151 h 536"/>
              <a:gd name="T14" fmla="*/ 9 w 642"/>
              <a:gd name="T15" fmla="*/ 98 h 536"/>
              <a:gd name="T16" fmla="*/ 3 w 642"/>
              <a:gd name="T17" fmla="*/ 100 h 536"/>
              <a:gd name="T18" fmla="*/ 0 w 642"/>
              <a:gd name="T19" fmla="*/ 105 h 536"/>
              <a:gd name="T20" fmla="*/ 0 w 642"/>
              <a:gd name="T21" fmla="*/ 476 h 536"/>
              <a:gd name="T22" fmla="*/ 6 w 642"/>
              <a:gd name="T23" fmla="*/ 483 h 536"/>
              <a:gd name="T24" fmla="*/ 215 w 642"/>
              <a:gd name="T25" fmla="*/ 536 h 536"/>
              <a:gd name="T26" fmla="*/ 217 w 642"/>
              <a:gd name="T27" fmla="*/ 536 h 536"/>
              <a:gd name="T28" fmla="*/ 217 w 642"/>
              <a:gd name="T29" fmla="*/ 536 h 536"/>
              <a:gd name="T30" fmla="*/ 217 w 642"/>
              <a:gd name="T31" fmla="*/ 536 h 536"/>
              <a:gd name="T32" fmla="*/ 218 w 642"/>
              <a:gd name="T33" fmla="*/ 536 h 536"/>
              <a:gd name="T34" fmla="*/ 426 w 642"/>
              <a:gd name="T35" fmla="*/ 483 h 536"/>
              <a:gd name="T36" fmla="*/ 633 w 642"/>
              <a:gd name="T37" fmla="*/ 536 h 536"/>
              <a:gd name="T38" fmla="*/ 635 w 642"/>
              <a:gd name="T39" fmla="*/ 536 h 536"/>
              <a:gd name="T40" fmla="*/ 639 w 642"/>
              <a:gd name="T41" fmla="*/ 534 h 536"/>
              <a:gd name="T42" fmla="*/ 642 w 642"/>
              <a:gd name="T43" fmla="*/ 529 h 536"/>
              <a:gd name="T44" fmla="*/ 642 w 642"/>
              <a:gd name="T45" fmla="*/ 158 h 536"/>
              <a:gd name="T46" fmla="*/ 636 w 642"/>
              <a:gd name="T47" fmla="*/ 151 h 536"/>
              <a:gd name="T48" fmla="*/ 400 w 642"/>
              <a:gd name="T49" fmla="*/ 14 h 536"/>
              <a:gd name="T50" fmla="*/ 476 w 642"/>
              <a:gd name="T51" fmla="*/ 91 h 536"/>
              <a:gd name="T52" fmla="*/ 472 w 642"/>
              <a:gd name="T53" fmla="*/ 116 h 536"/>
              <a:gd name="T54" fmla="*/ 472 w 642"/>
              <a:gd name="T55" fmla="*/ 117 h 536"/>
              <a:gd name="T56" fmla="*/ 472 w 642"/>
              <a:gd name="T57" fmla="*/ 117 h 536"/>
              <a:gd name="T58" fmla="*/ 400 w 642"/>
              <a:gd name="T59" fmla="*/ 224 h 536"/>
              <a:gd name="T60" fmla="*/ 323 w 642"/>
              <a:gd name="T61" fmla="*/ 91 h 536"/>
              <a:gd name="T62" fmla="*/ 400 w 642"/>
              <a:gd name="T63" fmla="*/ 14 h 536"/>
              <a:gd name="T64" fmla="*/ 14 w 642"/>
              <a:gd name="T65" fmla="*/ 114 h 536"/>
              <a:gd name="T66" fmla="*/ 210 w 642"/>
              <a:gd name="T67" fmla="*/ 164 h 536"/>
              <a:gd name="T68" fmla="*/ 210 w 642"/>
              <a:gd name="T69" fmla="*/ 520 h 536"/>
              <a:gd name="T70" fmla="*/ 14 w 642"/>
              <a:gd name="T71" fmla="*/ 470 h 536"/>
              <a:gd name="T72" fmla="*/ 14 w 642"/>
              <a:gd name="T73" fmla="*/ 114 h 536"/>
              <a:gd name="T74" fmla="*/ 224 w 642"/>
              <a:gd name="T75" fmla="*/ 164 h 536"/>
              <a:gd name="T76" fmla="*/ 320 w 642"/>
              <a:gd name="T77" fmla="*/ 139 h 536"/>
              <a:gd name="T78" fmla="*/ 400 w 642"/>
              <a:gd name="T79" fmla="*/ 238 h 536"/>
              <a:gd name="T80" fmla="*/ 419 w 642"/>
              <a:gd name="T81" fmla="*/ 231 h 536"/>
              <a:gd name="T82" fmla="*/ 419 w 642"/>
              <a:gd name="T83" fmla="*/ 470 h 536"/>
              <a:gd name="T84" fmla="*/ 224 w 642"/>
              <a:gd name="T85" fmla="*/ 520 h 536"/>
              <a:gd name="T86" fmla="*/ 224 w 642"/>
              <a:gd name="T87" fmla="*/ 164 h 536"/>
              <a:gd name="T88" fmla="*/ 628 w 642"/>
              <a:gd name="T89" fmla="*/ 520 h 536"/>
              <a:gd name="T90" fmla="*/ 433 w 642"/>
              <a:gd name="T91" fmla="*/ 470 h 536"/>
              <a:gd name="T92" fmla="*/ 433 w 642"/>
              <a:gd name="T93" fmla="*/ 219 h 536"/>
              <a:gd name="T94" fmla="*/ 483 w 642"/>
              <a:gd name="T95" fmla="*/ 127 h 536"/>
              <a:gd name="T96" fmla="*/ 628 w 642"/>
              <a:gd name="T97" fmla="*/ 164 h 536"/>
              <a:gd name="T98" fmla="*/ 628 w 642"/>
              <a:gd name="T99" fmla="*/ 520 h 536"/>
              <a:gd name="T100" fmla="*/ 447 w 642"/>
              <a:gd name="T101" fmla="*/ 91 h 536"/>
              <a:gd name="T102" fmla="*/ 400 w 642"/>
              <a:gd name="T103" fmla="*/ 43 h 536"/>
              <a:gd name="T104" fmla="*/ 352 w 642"/>
              <a:gd name="T105" fmla="*/ 91 h 536"/>
              <a:gd name="T106" fmla="*/ 400 w 642"/>
              <a:gd name="T107" fmla="*/ 138 h 536"/>
              <a:gd name="T108" fmla="*/ 447 w 642"/>
              <a:gd name="T109" fmla="*/ 91 h 536"/>
              <a:gd name="T110" fmla="*/ 366 w 642"/>
              <a:gd name="T111" fmla="*/ 91 h 536"/>
              <a:gd name="T112" fmla="*/ 400 w 642"/>
              <a:gd name="T113" fmla="*/ 57 h 536"/>
              <a:gd name="T114" fmla="*/ 433 w 642"/>
              <a:gd name="T115" fmla="*/ 91 h 536"/>
              <a:gd name="T116" fmla="*/ 400 w 642"/>
              <a:gd name="T117" fmla="*/ 124 h 536"/>
              <a:gd name="T118" fmla="*/ 366 w 642"/>
              <a:gd name="T119" fmla="*/ 91 h 5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42" h="536">
                <a:moveTo>
                  <a:pt x="636" y="151"/>
                </a:moveTo>
                <a:cubicBezTo>
                  <a:pt x="487" y="114"/>
                  <a:pt x="487" y="114"/>
                  <a:pt x="487" y="114"/>
                </a:cubicBezTo>
                <a:cubicBezTo>
                  <a:pt x="489" y="105"/>
                  <a:pt x="490" y="97"/>
                  <a:pt x="490" y="91"/>
                </a:cubicBezTo>
                <a:cubicBezTo>
                  <a:pt x="490" y="41"/>
                  <a:pt x="449" y="0"/>
                  <a:pt x="400" y="0"/>
                </a:cubicBezTo>
                <a:cubicBezTo>
                  <a:pt x="350" y="0"/>
                  <a:pt x="309" y="41"/>
                  <a:pt x="309" y="91"/>
                </a:cubicBezTo>
                <a:cubicBezTo>
                  <a:pt x="309" y="101"/>
                  <a:pt x="311" y="113"/>
                  <a:pt x="315" y="126"/>
                </a:cubicBezTo>
                <a:cubicBezTo>
                  <a:pt x="217" y="151"/>
                  <a:pt x="217" y="151"/>
                  <a:pt x="217" y="151"/>
                </a:cubicBezTo>
                <a:cubicBezTo>
                  <a:pt x="9" y="98"/>
                  <a:pt x="9" y="98"/>
                  <a:pt x="9" y="98"/>
                </a:cubicBezTo>
                <a:cubicBezTo>
                  <a:pt x="7" y="98"/>
                  <a:pt x="5" y="98"/>
                  <a:pt x="3" y="100"/>
                </a:cubicBezTo>
                <a:cubicBezTo>
                  <a:pt x="1" y="101"/>
                  <a:pt x="0" y="103"/>
                  <a:pt x="0" y="105"/>
                </a:cubicBezTo>
                <a:cubicBezTo>
                  <a:pt x="0" y="476"/>
                  <a:pt x="0" y="476"/>
                  <a:pt x="0" y="476"/>
                </a:cubicBezTo>
                <a:cubicBezTo>
                  <a:pt x="0" y="479"/>
                  <a:pt x="3" y="482"/>
                  <a:pt x="6" y="483"/>
                </a:cubicBezTo>
                <a:cubicBezTo>
                  <a:pt x="215" y="536"/>
                  <a:pt x="215" y="536"/>
                  <a:pt x="215" y="536"/>
                </a:cubicBezTo>
                <a:cubicBezTo>
                  <a:pt x="215" y="536"/>
                  <a:pt x="216" y="536"/>
                  <a:pt x="217" y="536"/>
                </a:cubicBezTo>
                <a:cubicBezTo>
                  <a:pt x="217" y="536"/>
                  <a:pt x="217" y="536"/>
                  <a:pt x="217" y="536"/>
                </a:cubicBezTo>
                <a:cubicBezTo>
                  <a:pt x="217" y="536"/>
                  <a:pt x="217" y="536"/>
                  <a:pt x="217" y="536"/>
                </a:cubicBezTo>
                <a:cubicBezTo>
                  <a:pt x="217" y="536"/>
                  <a:pt x="218" y="536"/>
                  <a:pt x="218" y="536"/>
                </a:cubicBezTo>
                <a:cubicBezTo>
                  <a:pt x="426" y="483"/>
                  <a:pt x="426" y="483"/>
                  <a:pt x="426" y="483"/>
                </a:cubicBezTo>
                <a:cubicBezTo>
                  <a:pt x="633" y="536"/>
                  <a:pt x="633" y="536"/>
                  <a:pt x="633" y="536"/>
                </a:cubicBezTo>
                <a:cubicBezTo>
                  <a:pt x="634" y="536"/>
                  <a:pt x="634" y="536"/>
                  <a:pt x="635" y="536"/>
                </a:cubicBezTo>
                <a:cubicBezTo>
                  <a:pt x="636" y="536"/>
                  <a:pt x="638" y="535"/>
                  <a:pt x="639" y="534"/>
                </a:cubicBezTo>
                <a:cubicBezTo>
                  <a:pt x="641" y="533"/>
                  <a:pt x="642" y="531"/>
                  <a:pt x="642" y="529"/>
                </a:cubicBezTo>
                <a:cubicBezTo>
                  <a:pt x="642" y="158"/>
                  <a:pt x="642" y="158"/>
                  <a:pt x="642" y="158"/>
                </a:cubicBezTo>
                <a:cubicBezTo>
                  <a:pt x="642" y="155"/>
                  <a:pt x="640" y="152"/>
                  <a:pt x="636" y="151"/>
                </a:cubicBezTo>
                <a:close/>
                <a:moveTo>
                  <a:pt x="400" y="14"/>
                </a:moveTo>
                <a:cubicBezTo>
                  <a:pt x="442" y="14"/>
                  <a:pt x="476" y="49"/>
                  <a:pt x="476" y="91"/>
                </a:cubicBezTo>
                <a:cubicBezTo>
                  <a:pt x="476" y="98"/>
                  <a:pt x="475" y="107"/>
                  <a:pt x="472" y="116"/>
                </a:cubicBezTo>
                <a:cubicBezTo>
                  <a:pt x="472" y="117"/>
                  <a:pt x="472" y="117"/>
                  <a:pt x="472" y="117"/>
                </a:cubicBezTo>
                <a:cubicBezTo>
                  <a:pt x="472" y="117"/>
                  <a:pt x="472" y="117"/>
                  <a:pt x="472" y="117"/>
                </a:cubicBezTo>
                <a:cubicBezTo>
                  <a:pt x="459" y="163"/>
                  <a:pt x="421" y="224"/>
                  <a:pt x="400" y="224"/>
                </a:cubicBezTo>
                <a:cubicBezTo>
                  <a:pt x="374" y="224"/>
                  <a:pt x="323" y="136"/>
                  <a:pt x="323" y="91"/>
                </a:cubicBezTo>
                <a:cubicBezTo>
                  <a:pt x="323" y="49"/>
                  <a:pt x="357" y="14"/>
                  <a:pt x="400" y="14"/>
                </a:cubicBezTo>
                <a:close/>
                <a:moveTo>
                  <a:pt x="14" y="114"/>
                </a:moveTo>
                <a:cubicBezTo>
                  <a:pt x="210" y="164"/>
                  <a:pt x="210" y="164"/>
                  <a:pt x="210" y="164"/>
                </a:cubicBezTo>
                <a:cubicBezTo>
                  <a:pt x="210" y="520"/>
                  <a:pt x="210" y="520"/>
                  <a:pt x="210" y="520"/>
                </a:cubicBezTo>
                <a:cubicBezTo>
                  <a:pt x="14" y="470"/>
                  <a:pt x="14" y="470"/>
                  <a:pt x="14" y="470"/>
                </a:cubicBezTo>
                <a:lnTo>
                  <a:pt x="14" y="114"/>
                </a:lnTo>
                <a:close/>
                <a:moveTo>
                  <a:pt x="224" y="164"/>
                </a:moveTo>
                <a:cubicBezTo>
                  <a:pt x="320" y="139"/>
                  <a:pt x="320" y="139"/>
                  <a:pt x="320" y="139"/>
                </a:cubicBezTo>
                <a:cubicBezTo>
                  <a:pt x="337" y="186"/>
                  <a:pt x="372" y="238"/>
                  <a:pt x="400" y="238"/>
                </a:cubicBezTo>
                <a:cubicBezTo>
                  <a:pt x="406" y="238"/>
                  <a:pt x="412" y="235"/>
                  <a:pt x="419" y="231"/>
                </a:cubicBezTo>
                <a:cubicBezTo>
                  <a:pt x="419" y="470"/>
                  <a:pt x="419" y="470"/>
                  <a:pt x="419" y="470"/>
                </a:cubicBezTo>
                <a:cubicBezTo>
                  <a:pt x="224" y="520"/>
                  <a:pt x="224" y="520"/>
                  <a:pt x="224" y="520"/>
                </a:cubicBezTo>
                <a:lnTo>
                  <a:pt x="224" y="164"/>
                </a:lnTo>
                <a:close/>
                <a:moveTo>
                  <a:pt x="628" y="520"/>
                </a:moveTo>
                <a:cubicBezTo>
                  <a:pt x="433" y="470"/>
                  <a:pt x="433" y="470"/>
                  <a:pt x="433" y="470"/>
                </a:cubicBezTo>
                <a:cubicBezTo>
                  <a:pt x="433" y="219"/>
                  <a:pt x="433" y="219"/>
                  <a:pt x="433" y="219"/>
                </a:cubicBezTo>
                <a:cubicBezTo>
                  <a:pt x="454" y="197"/>
                  <a:pt x="474" y="159"/>
                  <a:pt x="483" y="127"/>
                </a:cubicBezTo>
                <a:cubicBezTo>
                  <a:pt x="628" y="164"/>
                  <a:pt x="628" y="164"/>
                  <a:pt x="628" y="164"/>
                </a:cubicBezTo>
                <a:lnTo>
                  <a:pt x="628" y="520"/>
                </a:lnTo>
                <a:close/>
                <a:moveTo>
                  <a:pt x="447" y="91"/>
                </a:moveTo>
                <a:cubicBezTo>
                  <a:pt x="447" y="65"/>
                  <a:pt x="426" y="43"/>
                  <a:pt x="400" y="43"/>
                </a:cubicBezTo>
                <a:cubicBezTo>
                  <a:pt x="373" y="43"/>
                  <a:pt x="352" y="65"/>
                  <a:pt x="352" y="91"/>
                </a:cubicBezTo>
                <a:cubicBezTo>
                  <a:pt x="352" y="117"/>
                  <a:pt x="373" y="138"/>
                  <a:pt x="400" y="138"/>
                </a:cubicBezTo>
                <a:cubicBezTo>
                  <a:pt x="426" y="138"/>
                  <a:pt x="447" y="117"/>
                  <a:pt x="447" y="91"/>
                </a:cubicBezTo>
                <a:close/>
                <a:moveTo>
                  <a:pt x="366" y="91"/>
                </a:moveTo>
                <a:cubicBezTo>
                  <a:pt x="366" y="72"/>
                  <a:pt x="381" y="57"/>
                  <a:pt x="400" y="57"/>
                </a:cubicBezTo>
                <a:cubicBezTo>
                  <a:pt x="418" y="57"/>
                  <a:pt x="433" y="72"/>
                  <a:pt x="433" y="91"/>
                </a:cubicBezTo>
                <a:cubicBezTo>
                  <a:pt x="433" y="109"/>
                  <a:pt x="418" y="124"/>
                  <a:pt x="400" y="124"/>
                </a:cubicBezTo>
                <a:cubicBezTo>
                  <a:pt x="381" y="124"/>
                  <a:pt x="366" y="109"/>
                  <a:pt x="366" y="91"/>
                </a:cubicBez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endParaRPr lang="en-US" sz="1836"/>
          </a:p>
        </p:txBody>
      </p:sp>
    </p:spTree>
    <p:extLst>
      <p:ext uri="{BB962C8B-B14F-4D97-AF65-F5344CB8AC3E}">
        <p14:creationId xmlns:p14="http://schemas.microsoft.com/office/powerpoint/2010/main" val="2317321268"/>
      </p:ext>
    </p:extLst>
  </p:cSld>
  <p:clrMapOvr>
    <a:masterClrMapping/>
  </p:clrMapOvr>
  <p:transition>
    <p:fade/>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dustry</a:t>
            </a:r>
          </a:p>
        </p:txBody>
      </p:sp>
      <p:sp>
        <p:nvSpPr>
          <p:cNvPr id="7175" name="Oval 13"/>
          <p:cNvSpPr>
            <a:spLocks noChangeArrowheads="1"/>
          </p:cNvSpPr>
          <p:nvPr/>
        </p:nvSpPr>
        <p:spPr bwMode="auto">
          <a:xfrm>
            <a:off x="6589621" y="3120088"/>
            <a:ext cx="1119124" cy="1119124"/>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7185" name="Freeform 23"/>
          <p:cNvSpPr>
            <a:spLocks noEditPoints="1"/>
          </p:cNvSpPr>
          <p:nvPr/>
        </p:nvSpPr>
        <p:spPr bwMode="auto">
          <a:xfrm>
            <a:off x="6887342" y="3361398"/>
            <a:ext cx="523238" cy="636505"/>
          </a:xfrm>
          <a:custGeom>
            <a:avLst/>
            <a:gdLst>
              <a:gd name="T0" fmla="*/ 475 w 497"/>
              <a:gd name="T1" fmla="*/ 252 h 604"/>
              <a:gd name="T2" fmla="*/ 497 w 497"/>
              <a:gd name="T3" fmla="*/ 118 h 604"/>
              <a:gd name="T4" fmla="*/ 0 w 497"/>
              <a:gd name="T5" fmla="*/ 118 h 604"/>
              <a:gd name="T6" fmla="*/ 22 w 497"/>
              <a:gd name="T7" fmla="*/ 251 h 604"/>
              <a:gd name="T8" fmla="*/ 22 w 497"/>
              <a:gd name="T9" fmla="*/ 351 h 604"/>
              <a:gd name="T10" fmla="*/ 0 w 497"/>
              <a:gd name="T11" fmla="*/ 486 h 604"/>
              <a:gd name="T12" fmla="*/ 497 w 497"/>
              <a:gd name="T13" fmla="*/ 486 h 604"/>
              <a:gd name="T14" fmla="*/ 475 w 497"/>
              <a:gd name="T15" fmla="*/ 351 h 604"/>
              <a:gd name="T16" fmla="*/ 249 w 497"/>
              <a:gd name="T17" fmla="*/ 14 h 604"/>
              <a:gd name="T18" fmla="*/ 249 w 497"/>
              <a:gd name="T19" fmla="*/ 223 h 604"/>
              <a:gd name="T20" fmla="*/ 249 w 497"/>
              <a:gd name="T21" fmla="*/ 14 h 604"/>
              <a:gd name="T22" fmla="*/ 36 w 497"/>
              <a:gd name="T23" fmla="*/ 254 h 604"/>
              <a:gd name="T24" fmla="*/ 249 w 497"/>
              <a:gd name="T25" fmla="*/ 237 h 604"/>
              <a:gd name="T26" fmla="*/ 461 w 497"/>
              <a:gd name="T27" fmla="*/ 255 h 604"/>
              <a:gd name="T28" fmla="*/ 483 w 497"/>
              <a:gd name="T29" fmla="*/ 302 h 604"/>
              <a:gd name="T30" fmla="*/ 249 w 497"/>
              <a:gd name="T31" fmla="*/ 282 h 604"/>
              <a:gd name="T32" fmla="*/ 14 w 497"/>
              <a:gd name="T33" fmla="*/ 302 h 604"/>
              <a:gd name="T34" fmla="*/ 249 w 497"/>
              <a:gd name="T35" fmla="*/ 406 h 604"/>
              <a:gd name="T36" fmla="*/ 249 w 497"/>
              <a:gd name="T37" fmla="*/ 296 h 604"/>
              <a:gd name="T38" fmla="*/ 249 w 497"/>
              <a:gd name="T39" fmla="*/ 406 h 604"/>
              <a:gd name="T40" fmla="*/ 249 w 497"/>
              <a:gd name="T41" fmla="*/ 484 h 604"/>
              <a:gd name="T42" fmla="*/ 249 w 497"/>
              <a:gd name="T43" fmla="*/ 420 h 604"/>
              <a:gd name="T44" fmla="*/ 483 w 497"/>
              <a:gd name="T45" fmla="*/ 486 h 604"/>
              <a:gd name="T46" fmla="*/ 14 w 497"/>
              <a:gd name="T47" fmla="*/ 486 h 604"/>
              <a:gd name="T48" fmla="*/ 36 w 497"/>
              <a:gd name="T49" fmla="*/ 438 h 604"/>
              <a:gd name="T50" fmla="*/ 164 w 497"/>
              <a:gd name="T51" fmla="*/ 413 h 604"/>
              <a:gd name="T52" fmla="*/ 334 w 497"/>
              <a:gd name="T53" fmla="*/ 413 h 604"/>
              <a:gd name="T54" fmla="*/ 461 w 497"/>
              <a:gd name="T55" fmla="*/ 438 h 604"/>
              <a:gd name="T56" fmla="*/ 483 w 497"/>
              <a:gd name="T57" fmla="*/ 486 h 604"/>
              <a:gd name="T58" fmla="*/ 190 w 497"/>
              <a:gd name="T59" fmla="*/ 118 h 604"/>
              <a:gd name="T60" fmla="*/ 97 w 497"/>
              <a:gd name="T61" fmla="*/ 118 h 604"/>
              <a:gd name="T62" fmla="*/ 143 w 497"/>
              <a:gd name="T63" fmla="*/ 107 h 604"/>
              <a:gd name="T64" fmla="*/ 143 w 497"/>
              <a:gd name="T65" fmla="*/ 130 h 604"/>
              <a:gd name="T66" fmla="*/ 143 w 497"/>
              <a:gd name="T67" fmla="*/ 107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97" h="604">
                <a:moveTo>
                  <a:pt x="497" y="302"/>
                </a:moveTo>
                <a:cubicBezTo>
                  <a:pt x="497" y="284"/>
                  <a:pt x="490" y="267"/>
                  <a:pt x="475" y="252"/>
                </a:cubicBezTo>
                <a:cubicBezTo>
                  <a:pt x="475" y="168"/>
                  <a:pt x="475" y="168"/>
                  <a:pt x="475" y="168"/>
                </a:cubicBezTo>
                <a:cubicBezTo>
                  <a:pt x="489" y="153"/>
                  <a:pt x="497" y="136"/>
                  <a:pt x="497" y="118"/>
                </a:cubicBezTo>
                <a:cubicBezTo>
                  <a:pt x="497" y="52"/>
                  <a:pt x="388" y="0"/>
                  <a:pt x="249" y="0"/>
                </a:cubicBezTo>
                <a:cubicBezTo>
                  <a:pt x="109" y="0"/>
                  <a:pt x="0" y="52"/>
                  <a:pt x="0" y="118"/>
                </a:cubicBezTo>
                <a:cubicBezTo>
                  <a:pt x="0" y="136"/>
                  <a:pt x="8" y="153"/>
                  <a:pt x="22" y="168"/>
                </a:cubicBezTo>
                <a:cubicBezTo>
                  <a:pt x="22" y="251"/>
                  <a:pt x="22" y="251"/>
                  <a:pt x="22" y="251"/>
                </a:cubicBezTo>
                <a:cubicBezTo>
                  <a:pt x="8" y="266"/>
                  <a:pt x="0" y="284"/>
                  <a:pt x="0" y="302"/>
                </a:cubicBezTo>
                <a:cubicBezTo>
                  <a:pt x="0" y="320"/>
                  <a:pt x="8" y="336"/>
                  <a:pt x="22" y="351"/>
                </a:cubicBezTo>
                <a:cubicBezTo>
                  <a:pt x="22" y="435"/>
                  <a:pt x="22" y="435"/>
                  <a:pt x="22" y="435"/>
                </a:cubicBezTo>
                <a:cubicBezTo>
                  <a:pt x="8" y="450"/>
                  <a:pt x="0" y="468"/>
                  <a:pt x="0" y="486"/>
                </a:cubicBezTo>
                <a:cubicBezTo>
                  <a:pt x="0" y="552"/>
                  <a:pt x="109" y="604"/>
                  <a:pt x="249" y="604"/>
                </a:cubicBezTo>
                <a:cubicBezTo>
                  <a:pt x="388" y="604"/>
                  <a:pt x="497" y="552"/>
                  <a:pt x="497" y="486"/>
                </a:cubicBezTo>
                <a:cubicBezTo>
                  <a:pt x="497" y="467"/>
                  <a:pt x="490" y="450"/>
                  <a:pt x="475" y="435"/>
                </a:cubicBezTo>
                <a:cubicBezTo>
                  <a:pt x="475" y="351"/>
                  <a:pt x="475" y="351"/>
                  <a:pt x="475" y="351"/>
                </a:cubicBezTo>
                <a:cubicBezTo>
                  <a:pt x="489" y="336"/>
                  <a:pt x="497" y="320"/>
                  <a:pt x="497" y="302"/>
                </a:cubicBezTo>
                <a:close/>
                <a:moveTo>
                  <a:pt x="249" y="14"/>
                </a:moveTo>
                <a:cubicBezTo>
                  <a:pt x="376" y="14"/>
                  <a:pt x="483" y="62"/>
                  <a:pt x="483" y="118"/>
                </a:cubicBezTo>
                <a:cubicBezTo>
                  <a:pt x="483" y="175"/>
                  <a:pt x="376" y="223"/>
                  <a:pt x="249" y="223"/>
                </a:cubicBezTo>
                <a:cubicBezTo>
                  <a:pt x="122" y="223"/>
                  <a:pt x="14" y="175"/>
                  <a:pt x="14" y="118"/>
                </a:cubicBezTo>
                <a:cubicBezTo>
                  <a:pt x="14" y="62"/>
                  <a:pt x="122" y="14"/>
                  <a:pt x="249" y="14"/>
                </a:cubicBezTo>
                <a:close/>
                <a:moveTo>
                  <a:pt x="34" y="259"/>
                </a:moveTo>
                <a:cubicBezTo>
                  <a:pt x="35" y="258"/>
                  <a:pt x="36" y="256"/>
                  <a:pt x="36" y="254"/>
                </a:cubicBezTo>
                <a:cubicBezTo>
                  <a:pt x="36" y="181"/>
                  <a:pt x="36" y="181"/>
                  <a:pt x="36" y="181"/>
                </a:cubicBezTo>
                <a:cubicBezTo>
                  <a:pt x="79" y="215"/>
                  <a:pt x="157" y="237"/>
                  <a:pt x="249" y="237"/>
                </a:cubicBezTo>
                <a:cubicBezTo>
                  <a:pt x="340" y="237"/>
                  <a:pt x="418" y="215"/>
                  <a:pt x="461" y="181"/>
                </a:cubicBezTo>
                <a:cubicBezTo>
                  <a:pt x="461" y="255"/>
                  <a:pt x="461" y="255"/>
                  <a:pt x="461" y="255"/>
                </a:cubicBezTo>
                <a:cubicBezTo>
                  <a:pt x="461" y="256"/>
                  <a:pt x="462" y="258"/>
                  <a:pt x="463" y="260"/>
                </a:cubicBezTo>
                <a:cubicBezTo>
                  <a:pt x="476" y="272"/>
                  <a:pt x="483" y="287"/>
                  <a:pt x="483" y="302"/>
                </a:cubicBezTo>
                <a:cubicBezTo>
                  <a:pt x="483" y="346"/>
                  <a:pt x="419" y="384"/>
                  <a:pt x="332" y="399"/>
                </a:cubicBezTo>
                <a:cubicBezTo>
                  <a:pt x="321" y="353"/>
                  <a:pt x="267" y="282"/>
                  <a:pt x="249" y="282"/>
                </a:cubicBezTo>
                <a:cubicBezTo>
                  <a:pt x="231" y="282"/>
                  <a:pt x="176" y="353"/>
                  <a:pt x="165" y="399"/>
                </a:cubicBezTo>
                <a:cubicBezTo>
                  <a:pt x="78" y="384"/>
                  <a:pt x="14" y="346"/>
                  <a:pt x="14" y="302"/>
                </a:cubicBezTo>
                <a:cubicBezTo>
                  <a:pt x="14" y="287"/>
                  <a:pt x="21" y="272"/>
                  <a:pt x="34" y="259"/>
                </a:cubicBezTo>
                <a:close/>
                <a:moveTo>
                  <a:pt x="249" y="406"/>
                </a:moveTo>
                <a:cubicBezTo>
                  <a:pt x="225" y="406"/>
                  <a:pt x="201" y="405"/>
                  <a:pt x="179" y="401"/>
                </a:cubicBezTo>
                <a:cubicBezTo>
                  <a:pt x="188" y="361"/>
                  <a:pt x="236" y="301"/>
                  <a:pt x="249" y="296"/>
                </a:cubicBezTo>
                <a:cubicBezTo>
                  <a:pt x="261" y="301"/>
                  <a:pt x="309" y="361"/>
                  <a:pt x="318" y="401"/>
                </a:cubicBezTo>
                <a:cubicBezTo>
                  <a:pt x="296" y="405"/>
                  <a:pt x="273" y="406"/>
                  <a:pt x="249" y="406"/>
                </a:cubicBezTo>
                <a:close/>
                <a:moveTo>
                  <a:pt x="319" y="416"/>
                </a:moveTo>
                <a:cubicBezTo>
                  <a:pt x="318" y="454"/>
                  <a:pt x="287" y="484"/>
                  <a:pt x="249" y="484"/>
                </a:cubicBezTo>
                <a:cubicBezTo>
                  <a:pt x="210" y="484"/>
                  <a:pt x="179" y="454"/>
                  <a:pt x="178" y="416"/>
                </a:cubicBezTo>
                <a:cubicBezTo>
                  <a:pt x="200" y="419"/>
                  <a:pt x="224" y="420"/>
                  <a:pt x="249" y="420"/>
                </a:cubicBezTo>
                <a:cubicBezTo>
                  <a:pt x="273" y="420"/>
                  <a:pt x="297" y="419"/>
                  <a:pt x="319" y="416"/>
                </a:cubicBezTo>
                <a:close/>
                <a:moveTo>
                  <a:pt x="483" y="486"/>
                </a:moveTo>
                <a:cubicBezTo>
                  <a:pt x="483" y="542"/>
                  <a:pt x="376" y="590"/>
                  <a:pt x="249" y="590"/>
                </a:cubicBezTo>
                <a:cubicBezTo>
                  <a:pt x="122" y="590"/>
                  <a:pt x="14" y="542"/>
                  <a:pt x="14" y="486"/>
                </a:cubicBezTo>
                <a:cubicBezTo>
                  <a:pt x="14" y="471"/>
                  <a:pt x="21" y="455"/>
                  <a:pt x="34" y="442"/>
                </a:cubicBezTo>
                <a:cubicBezTo>
                  <a:pt x="35" y="441"/>
                  <a:pt x="36" y="439"/>
                  <a:pt x="36" y="438"/>
                </a:cubicBezTo>
                <a:cubicBezTo>
                  <a:pt x="36" y="364"/>
                  <a:pt x="36" y="364"/>
                  <a:pt x="36" y="364"/>
                </a:cubicBezTo>
                <a:cubicBezTo>
                  <a:pt x="65" y="387"/>
                  <a:pt x="110" y="404"/>
                  <a:pt x="164" y="413"/>
                </a:cubicBezTo>
                <a:cubicBezTo>
                  <a:pt x="164" y="460"/>
                  <a:pt x="202" y="498"/>
                  <a:pt x="249" y="498"/>
                </a:cubicBezTo>
                <a:cubicBezTo>
                  <a:pt x="295" y="498"/>
                  <a:pt x="334" y="460"/>
                  <a:pt x="334" y="413"/>
                </a:cubicBezTo>
                <a:cubicBezTo>
                  <a:pt x="387" y="404"/>
                  <a:pt x="432" y="387"/>
                  <a:pt x="461" y="364"/>
                </a:cubicBezTo>
                <a:cubicBezTo>
                  <a:pt x="461" y="438"/>
                  <a:pt x="461" y="438"/>
                  <a:pt x="461" y="438"/>
                </a:cubicBezTo>
                <a:cubicBezTo>
                  <a:pt x="461" y="440"/>
                  <a:pt x="462" y="442"/>
                  <a:pt x="463" y="443"/>
                </a:cubicBezTo>
                <a:cubicBezTo>
                  <a:pt x="476" y="456"/>
                  <a:pt x="483" y="470"/>
                  <a:pt x="483" y="486"/>
                </a:cubicBezTo>
                <a:close/>
                <a:moveTo>
                  <a:pt x="143" y="144"/>
                </a:moveTo>
                <a:cubicBezTo>
                  <a:pt x="170" y="144"/>
                  <a:pt x="190" y="133"/>
                  <a:pt x="190" y="118"/>
                </a:cubicBezTo>
                <a:cubicBezTo>
                  <a:pt x="190" y="104"/>
                  <a:pt x="170" y="93"/>
                  <a:pt x="143" y="93"/>
                </a:cubicBezTo>
                <a:cubicBezTo>
                  <a:pt x="117" y="93"/>
                  <a:pt x="97" y="104"/>
                  <a:pt x="97" y="118"/>
                </a:cubicBezTo>
                <a:cubicBezTo>
                  <a:pt x="97" y="133"/>
                  <a:pt x="117" y="144"/>
                  <a:pt x="143" y="144"/>
                </a:cubicBezTo>
                <a:close/>
                <a:moveTo>
                  <a:pt x="143" y="107"/>
                </a:moveTo>
                <a:cubicBezTo>
                  <a:pt x="164" y="107"/>
                  <a:pt x="176" y="114"/>
                  <a:pt x="176" y="118"/>
                </a:cubicBezTo>
                <a:cubicBezTo>
                  <a:pt x="176" y="123"/>
                  <a:pt x="164" y="130"/>
                  <a:pt x="143" y="130"/>
                </a:cubicBezTo>
                <a:cubicBezTo>
                  <a:pt x="123" y="130"/>
                  <a:pt x="111" y="123"/>
                  <a:pt x="111" y="118"/>
                </a:cubicBezTo>
                <a:cubicBezTo>
                  <a:pt x="111" y="114"/>
                  <a:pt x="123" y="107"/>
                  <a:pt x="143" y="107"/>
                </a:cubicBez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7174" name="Oval 12"/>
          <p:cNvSpPr>
            <a:spLocks noChangeArrowheads="1"/>
          </p:cNvSpPr>
          <p:nvPr/>
        </p:nvSpPr>
        <p:spPr bwMode="auto">
          <a:xfrm>
            <a:off x="8347593" y="3120088"/>
            <a:ext cx="1119124" cy="1119124"/>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7186" name="Freeform 24"/>
          <p:cNvSpPr>
            <a:spLocks noEditPoints="1"/>
          </p:cNvSpPr>
          <p:nvPr/>
        </p:nvSpPr>
        <p:spPr bwMode="auto">
          <a:xfrm>
            <a:off x="8645996" y="3341326"/>
            <a:ext cx="522764" cy="676648"/>
          </a:xfrm>
          <a:custGeom>
            <a:avLst/>
            <a:gdLst>
              <a:gd name="T0" fmla="*/ 475 w 496"/>
              <a:gd name="T1" fmla="*/ 271 h 642"/>
              <a:gd name="T2" fmla="*/ 496 w 496"/>
              <a:gd name="T3" fmla="*/ 119 h 642"/>
              <a:gd name="T4" fmla="*/ 0 w 496"/>
              <a:gd name="T5" fmla="*/ 119 h 642"/>
              <a:gd name="T6" fmla="*/ 21 w 496"/>
              <a:gd name="T7" fmla="*/ 270 h 642"/>
              <a:gd name="T8" fmla="*/ 21 w 496"/>
              <a:gd name="T9" fmla="*/ 370 h 642"/>
              <a:gd name="T10" fmla="*/ 0 w 496"/>
              <a:gd name="T11" fmla="*/ 523 h 642"/>
              <a:gd name="T12" fmla="*/ 496 w 496"/>
              <a:gd name="T13" fmla="*/ 523 h 642"/>
              <a:gd name="T14" fmla="*/ 475 w 496"/>
              <a:gd name="T15" fmla="*/ 370 h 642"/>
              <a:gd name="T16" fmla="*/ 248 w 496"/>
              <a:gd name="T17" fmla="*/ 14 h 642"/>
              <a:gd name="T18" fmla="*/ 248 w 496"/>
              <a:gd name="T19" fmla="*/ 223 h 642"/>
              <a:gd name="T20" fmla="*/ 248 w 496"/>
              <a:gd name="T21" fmla="*/ 14 h 642"/>
              <a:gd name="T22" fmla="*/ 248 w 496"/>
              <a:gd name="T23" fmla="*/ 628 h 642"/>
              <a:gd name="T24" fmla="*/ 33 w 496"/>
              <a:gd name="T25" fmla="*/ 480 h 642"/>
              <a:gd name="T26" fmla="*/ 35 w 496"/>
              <a:gd name="T27" fmla="*/ 383 h 642"/>
              <a:gd name="T28" fmla="*/ 130 w 496"/>
              <a:gd name="T29" fmla="*/ 425 h 642"/>
              <a:gd name="T30" fmla="*/ 131 w 496"/>
              <a:gd name="T31" fmla="*/ 411 h 642"/>
              <a:gd name="T32" fmla="*/ 33 w 496"/>
              <a:gd name="T33" fmla="*/ 278 h 642"/>
              <a:gd name="T34" fmla="*/ 35 w 496"/>
              <a:gd name="T35" fmla="*/ 181 h 642"/>
              <a:gd name="T36" fmla="*/ 461 w 496"/>
              <a:gd name="T37" fmla="*/ 181 h 642"/>
              <a:gd name="T38" fmla="*/ 463 w 496"/>
              <a:gd name="T39" fmla="*/ 279 h 642"/>
              <a:gd name="T40" fmla="*/ 365 w 496"/>
              <a:gd name="T41" fmla="*/ 411 h 642"/>
              <a:gd name="T42" fmla="*/ 367 w 496"/>
              <a:gd name="T43" fmla="*/ 425 h 642"/>
              <a:gd name="T44" fmla="*/ 461 w 496"/>
              <a:gd name="T45" fmla="*/ 383 h 642"/>
              <a:gd name="T46" fmla="*/ 463 w 496"/>
              <a:gd name="T47" fmla="*/ 481 h 642"/>
              <a:gd name="T48" fmla="*/ 143 w 496"/>
              <a:gd name="T49" fmla="*/ 144 h 642"/>
              <a:gd name="T50" fmla="*/ 143 w 496"/>
              <a:gd name="T51" fmla="*/ 93 h 642"/>
              <a:gd name="T52" fmla="*/ 143 w 496"/>
              <a:gd name="T53" fmla="*/ 144 h 642"/>
              <a:gd name="T54" fmla="*/ 176 w 496"/>
              <a:gd name="T55" fmla="*/ 119 h 642"/>
              <a:gd name="T56" fmla="*/ 110 w 496"/>
              <a:gd name="T57" fmla="*/ 119 h 642"/>
              <a:gd name="T58" fmla="*/ 248 w 496"/>
              <a:gd name="T59" fmla="*/ 301 h 642"/>
              <a:gd name="T60" fmla="*/ 248 w 496"/>
              <a:gd name="T61" fmla="*/ 517 h 642"/>
              <a:gd name="T62" fmla="*/ 248 w 496"/>
              <a:gd name="T63" fmla="*/ 301 h 642"/>
              <a:gd name="T64" fmla="*/ 177 w 496"/>
              <a:gd name="T65" fmla="*/ 432 h 642"/>
              <a:gd name="T66" fmla="*/ 319 w 496"/>
              <a:gd name="T67" fmla="*/ 432 h 6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96" h="642">
                <a:moveTo>
                  <a:pt x="496" y="321"/>
                </a:moveTo>
                <a:cubicBezTo>
                  <a:pt x="496" y="303"/>
                  <a:pt x="489" y="286"/>
                  <a:pt x="475" y="271"/>
                </a:cubicBezTo>
                <a:cubicBezTo>
                  <a:pt x="475" y="168"/>
                  <a:pt x="475" y="168"/>
                  <a:pt x="475" y="168"/>
                </a:cubicBezTo>
                <a:cubicBezTo>
                  <a:pt x="489" y="153"/>
                  <a:pt x="496" y="137"/>
                  <a:pt x="496" y="119"/>
                </a:cubicBezTo>
                <a:cubicBezTo>
                  <a:pt x="496" y="52"/>
                  <a:pt x="387" y="0"/>
                  <a:pt x="248" y="0"/>
                </a:cubicBezTo>
                <a:cubicBezTo>
                  <a:pt x="109" y="0"/>
                  <a:pt x="0" y="52"/>
                  <a:pt x="0" y="119"/>
                </a:cubicBezTo>
                <a:cubicBezTo>
                  <a:pt x="0" y="137"/>
                  <a:pt x="7" y="153"/>
                  <a:pt x="21" y="168"/>
                </a:cubicBezTo>
                <a:cubicBezTo>
                  <a:pt x="21" y="270"/>
                  <a:pt x="21" y="270"/>
                  <a:pt x="21" y="270"/>
                </a:cubicBezTo>
                <a:cubicBezTo>
                  <a:pt x="8" y="285"/>
                  <a:pt x="0" y="303"/>
                  <a:pt x="0" y="321"/>
                </a:cubicBezTo>
                <a:cubicBezTo>
                  <a:pt x="0" y="338"/>
                  <a:pt x="7" y="355"/>
                  <a:pt x="21" y="370"/>
                </a:cubicBezTo>
                <a:cubicBezTo>
                  <a:pt x="21" y="472"/>
                  <a:pt x="21" y="472"/>
                  <a:pt x="21" y="472"/>
                </a:cubicBezTo>
                <a:cubicBezTo>
                  <a:pt x="8" y="487"/>
                  <a:pt x="0" y="506"/>
                  <a:pt x="0" y="523"/>
                </a:cubicBezTo>
                <a:cubicBezTo>
                  <a:pt x="0" y="590"/>
                  <a:pt x="109" y="642"/>
                  <a:pt x="248" y="642"/>
                </a:cubicBezTo>
                <a:cubicBezTo>
                  <a:pt x="387" y="642"/>
                  <a:pt x="496" y="590"/>
                  <a:pt x="496" y="523"/>
                </a:cubicBezTo>
                <a:cubicBezTo>
                  <a:pt x="496" y="505"/>
                  <a:pt x="489" y="488"/>
                  <a:pt x="475" y="473"/>
                </a:cubicBezTo>
                <a:cubicBezTo>
                  <a:pt x="475" y="370"/>
                  <a:pt x="475" y="370"/>
                  <a:pt x="475" y="370"/>
                </a:cubicBezTo>
                <a:cubicBezTo>
                  <a:pt x="489" y="355"/>
                  <a:pt x="496" y="338"/>
                  <a:pt x="496" y="321"/>
                </a:cubicBezTo>
                <a:close/>
                <a:moveTo>
                  <a:pt x="248" y="14"/>
                </a:moveTo>
                <a:cubicBezTo>
                  <a:pt x="375" y="14"/>
                  <a:pt x="482" y="62"/>
                  <a:pt x="482" y="119"/>
                </a:cubicBezTo>
                <a:cubicBezTo>
                  <a:pt x="482" y="175"/>
                  <a:pt x="375" y="223"/>
                  <a:pt x="248" y="223"/>
                </a:cubicBezTo>
                <a:cubicBezTo>
                  <a:pt x="121" y="223"/>
                  <a:pt x="14" y="175"/>
                  <a:pt x="14" y="119"/>
                </a:cubicBezTo>
                <a:cubicBezTo>
                  <a:pt x="14" y="62"/>
                  <a:pt x="121" y="14"/>
                  <a:pt x="248" y="14"/>
                </a:cubicBezTo>
                <a:close/>
                <a:moveTo>
                  <a:pt x="482" y="523"/>
                </a:moveTo>
                <a:cubicBezTo>
                  <a:pt x="482" y="580"/>
                  <a:pt x="375" y="628"/>
                  <a:pt x="248" y="628"/>
                </a:cubicBezTo>
                <a:cubicBezTo>
                  <a:pt x="121" y="628"/>
                  <a:pt x="14" y="580"/>
                  <a:pt x="14" y="523"/>
                </a:cubicBezTo>
                <a:cubicBezTo>
                  <a:pt x="14" y="509"/>
                  <a:pt x="21" y="493"/>
                  <a:pt x="33" y="480"/>
                </a:cubicBezTo>
                <a:cubicBezTo>
                  <a:pt x="35" y="479"/>
                  <a:pt x="35" y="477"/>
                  <a:pt x="35" y="475"/>
                </a:cubicBezTo>
                <a:cubicBezTo>
                  <a:pt x="35" y="383"/>
                  <a:pt x="35" y="383"/>
                  <a:pt x="35" y="383"/>
                </a:cubicBezTo>
                <a:cubicBezTo>
                  <a:pt x="57" y="400"/>
                  <a:pt x="89" y="415"/>
                  <a:pt x="128" y="425"/>
                </a:cubicBezTo>
                <a:cubicBezTo>
                  <a:pt x="128" y="425"/>
                  <a:pt x="129" y="425"/>
                  <a:pt x="130" y="425"/>
                </a:cubicBezTo>
                <a:cubicBezTo>
                  <a:pt x="133" y="425"/>
                  <a:pt x="135" y="423"/>
                  <a:pt x="136" y="420"/>
                </a:cubicBezTo>
                <a:cubicBezTo>
                  <a:pt x="137" y="416"/>
                  <a:pt x="135" y="412"/>
                  <a:pt x="131" y="411"/>
                </a:cubicBezTo>
                <a:cubicBezTo>
                  <a:pt x="59" y="392"/>
                  <a:pt x="14" y="358"/>
                  <a:pt x="14" y="321"/>
                </a:cubicBezTo>
                <a:cubicBezTo>
                  <a:pt x="14" y="306"/>
                  <a:pt x="21" y="291"/>
                  <a:pt x="33" y="278"/>
                </a:cubicBezTo>
                <a:cubicBezTo>
                  <a:pt x="35" y="277"/>
                  <a:pt x="35" y="275"/>
                  <a:pt x="35" y="273"/>
                </a:cubicBezTo>
                <a:cubicBezTo>
                  <a:pt x="35" y="181"/>
                  <a:pt x="35" y="181"/>
                  <a:pt x="35" y="181"/>
                </a:cubicBezTo>
                <a:cubicBezTo>
                  <a:pt x="79" y="215"/>
                  <a:pt x="157" y="237"/>
                  <a:pt x="248" y="237"/>
                </a:cubicBezTo>
                <a:cubicBezTo>
                  <a:pt x="339" y="237"/>
                  <a:pt x="417" y="215"/>
                  <a:pt x="461" y="181"/>
                </a:cubicBezTo>
                <a:cubicBezTo>
                  <a:pt x="461" y="274"/>
                  <a:pt x="461" y="274"/>
                  <a:pt x="461" y="274"/>
                </a:cubicBezTo>
                <a:cubicBezTo>
                  <a:pt x="461" y="275"/>
                  <a:pt x="461" y="277"/>
                  <a:pt x="463" y="279"/>
                </a:cubicBezTo>
                <a:cubicBezTo>
                  <a:pt x="476" y="291"/>
                  <a:pt x="482" y="306"/>
                  <a:pt x="482" y="321"/>
                </a:cubicBezTo>
                <a:cubicBezTo>
                  <a:pt x="482" y="358"/>
                  <a:pt x="438" y="392"/>
                  <a:pt x="365" y="411"/>
                </a:cubicBezTo>
                <a:cubicBezTo>
                  <a:pt x="362" y="412"/>
                  <a:pt x="359" y="416"/>
                  <a:pt x="360" y="420"/>
                </a:cubicBezTo>
                <a:cubicBezTo>
                  <a:pt x="361" y="423"/>
                  <a:pt x="364" y="425"/>
                  <a:pt x="367" y="425"/>
                </a:cubicBezTo>
                <a:cubicBezTo>
                  <a:pt x="368" y="425"/>
                  <a:pt x="368" y="425"/>
                  <a:pt x="369" y="425"/>
                </a:cubicBezTo>
                <a:cubicBezTo>
                  <a:pt x="408" y="414"/>
                  <a:pt x="439" y="400"/>
                  <a:pt x="461" y="383"/>
                </a:cubicBezTo>
                <a:cubicBezTo>
                  <a:pt x="461" y="476"/>
                  <a:pt x="461" y="476"/>
                  <a:pt x="461" y="476"/>
                </a:cubicBezTo>
                <a:cubicBezTo>
                  <a:pt x="461" y="478"/>
                  <a:pt x="461" y="480"/>
                  <a:pt x="463" y="481"/>
                </a:cubicBezTo>
                <a:cubicBezTo>
                  <a:pt x="476" y="494"/>
                  <a:pt x="482" y="508"/>
                  <a:pt x="482" y="523"/>
                </a:cubicBezTo>
                <a:close/>
                <a:moveTo>
                  <a:pt x="143" y="144"/>
                </a:moveTo>
                <a:cubicBezTo>
                  <a:pt x="169" y="144"/>
                  <a:pt x="190" y="133"/>
                  <a:pt x="190" y="119"/>
                </a:cubicBezTo>
                <a:cubicBezTo>
                  <a:pt x="190" y="104"/>
                  <a:pt x="169" y="93"/>
                  <a:pt x="143" y="93"/>
                </a:cubicBezTo>
                <a:cubicBezTo>
                  <a:pt x="116" y="93"/>
                  <a:pt x="96" y="104"/>
                  <a:pt x="96" y="119"/>
                </a:cubicBezTo>
                <a:cubicBezTo>
                  <a:pt x="96" y="133"/>
                  <a:pt x="116" y="144"/>
                  <a:pt x="143" y="144"/>
                </a:cubicBezTo>
                <a:close/>
                <a:moveTo>
                  <a:pt x="143" y="107"/>
                </a:moveTo>
                <a:cubicBezTo>
                  <a:pt x="163" y="107"/>
                  <a:pt x="176" y="115"/>
                  <a:pt x="176" y="119"/>
                </a:cubicBezTo>
                <a:cubicBezTo>
                  <a:pt x="176" y="123"/>
                  <a:pt x="163" y="130"/>
                  <a:pt x="143" y="130"/>
                </a:cubicBezTo>
                <a:cubicBezTo>
                  <a:pt x="122" y="130"/>
                  <a:pt x="110" y="123"/>
                  <a:pt x="110" y="119"/>
                </a:cubicBezTo>
                <a:cubicBezTo>
                  <a:pt x="110" y="115"/>
                  <a:pt x="122" y="107"/>
                  <a:pt x="143" y="107"/>
                </a:cubicBezTo>
                <a:close/>
                <a:moveTo>
                  <a:pt x="248" y="301"/>
                </a:moveTo>
                <a:cubicBezTo>
                  <a:pt x="228" y="301"/>
                  <a:pt x="163" y="388"/>
                  <a:pt x="163" y="432"/>
                </a:cubicBezTo>
                <a:cubicBezTo>
                  <a:pt x="163" y="479"/>
                  <a:pt x="201" y="517"/>
                  <a:pt x="248" y="517"/>
                </a:cubicBezTo>
                <a:cubicBezTo>
                  <a:pt x="295" y="517"/>
                  <a:pt x="333" y="479"/>
                  <a:pt x="333" y="432"/>
                </a:cubicBezTo>
                <a:cubicBezTo>
                  <a:pt x="333" y="388"/>
                  <a:pt x="268" y="301"/>
                  <a:pt x="248" y="301"/>
                </a:cubicBezTo>
                <a:close/>
                <a:moveTo>
                  <a:pt x="248" y="503"/>
                </a:moveTo>
                <a:cubicBezTo>
                  <a:pt x="209" y="503"/>
                  <a:pt x="177" y="471"/>
                  <a:pt x="177" y="432"/>
                </a:cubicBezTo>
                <a:cubicBezTo>
                  <a:pt x="177" y="393"/>
                  <a:pt x="234" y="320"/>
                  <a:pt x="248" y="315"/>
                </a:cubicBezTo>
                <a:cubicBezTo>
                  <a:pt x="262" y="320"/>
                  <a:pt x="319" y="393"/>
                  <a:pt x="319" y="432"/>
                </a:cubicBezTo>
                <a:cubicBezTo>
                  <a:pt x="319" y="471"/>
                  <a:pt x="287" y="503"/>
                  <a:pt x="248" y="503"/>
                </a:cubicBez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7169" name="Oval 8"/>
          <p:cNvSpPr>
            <a:spLocks noChangeArrowheads="1"/>
          </p:cNvSpPr>
          <p:nvPr/>
        </p:nvSpPr>
        <p:spPr bwMode="auto">
          <a:xfrm>
            <a:off x="10105564" y="3120088"/>
            <a:ext cx="1119124" cy="1119124"/>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7187" name="Freeform 25"/>
          <p:cNvSpPr>
            <a:spLocks noEditPoints="1"/>
          </p:cNvSpPr>
          <p:nvPr/>
        </p:nvSpPr>
        <p:spPr bwMode="auto">
          <a:xfrm>
            <a:off x="10314147" y="3377455"/>
            <a:ext cx="703297" cy="604836"/>
          </a:xfrm>
          <a:custGeom>
            <a:avLst/>
            <a:gdLst>
              <a:gd name="T0" fmla="*/ 438 w 668"/>
              <a:gd name="T1" fmla="*/ 326 h 574"/>
              <a:gd name="T2" fmla="*/ 408 w 668"/>
              <a:gd name="T3" fmla="*/ 302 h 574"/>
              <a:gd name="T4" fmla="*/ 327 w 668"/>
              <a:gd name="T5" fmla="*/ 59 h 574"/>
              <a:gd name="T6" fmla="*/ 35 w 668"/>
              <a:gd name="T7" fmla="*/ 66 h 574"/>
              <a:gd name="T8" fmla="*/ 24 w 668"/>
              <a:gd name="T9" fmla="*/ 211 h 574"/>
              <a:gd name="T10" fmla="*/ 0 w 668"/>
              <a:gd name="T11" fmla="*/ 486 h 574"/>
              <a:gd name="T12" fmla="*/ 36 w 668"/>
              <a:gd name="T13" fmla="*/ 510 h 574"/>
              <a:gd name="T14" fmla="*/ 175 w 668"/>
              <a:gd name="T15" fmla="*/ 510 h 574"/>
              <a:gd name="T16" fmla="*/ 407 w 668"/>
              <a:gd name="T17" fmla="*/ 574 h 574"/>
              <a:gd name="T18" fmla="*/ 438 w 668"/>
              <a:gd name="T19" fmla="*/ 380 h 574"/>
              <a:gd name="T20" fmla="*/ 322 w 668"/>
              <a:gd name="T21" fmla="*/ 73 h 574"/>
              <a:gd name="T22" fmla="*/ 306 w 668"/>
              <a:gd name="T23" fmla="*/ 302 h 574"/>
              <a:gd name="T24" fmla="*/ 281 w 668"/>
              <a:gd name="T25" fmla="*/ 287 h 574"/>
              <a:gd name="T26" fmla="*/ 248 w 668"/>
              <a:gd name="T27" fmla="*/ 224 h 574"/>
              <a:gd name="T28" fmla="*/ 236 w 668"/>
              <a:gd name="T29" fmla="*/ 211 h 574"/>
              <a:gd name="T30" fmla="*/ 49 w 668"/>
              <a:gd name="T31" fmla="*/ 73 h 574"/>
              <a:gd name="T32" fmla="*/ 49 w 668"/>
              <a:gd name="T33" fmla="*/ 503 h 574"/>
              <a:gd name="T34" fmla="*/ 162 w 668"/>
              <a:gd name="T35" fmla="*/ 503 h 574"/>
              <a:gd name="T36" fmla="*/ 175 w 668"/>
              <a:gd name="T37" fmla="*/ 496 h 574"/>
              <a:gd name="T38" fmla="*/ 36 w 668"/>
              <a:gd name="T39" fmla="*/ 496 h 574"/>
              <a:gd name="T40" fmla="*/ 14 w 668"/>
              <a:gd name="T41" fmla="*/ 486 h 574"/>
              <a:gd name="T42" fmla="*/ 24 w 668"/>
              <a:gd name="T43" fmla="*/ 225 h 574"/>
              <a:gd name="T44" fmla="*/ 236 w 668"/>
              <a:gd name="T45" fmla="*/ 234 h 574"/>
              <a:gd name="T46" fmla="*/ 272 w 668"/>
              <a:gd name="T47" fmla="*/ 299 h 574"/>
              <a:gd name="T48" fmla="*/ 414 w 668"/>
              <a:gd name="T49" fmla="*/ 316 h 574"/>
              <a:gd name="T50" fmla="*/ 424 w 668"/>
              <a:gd name="T51" fmla="*/ 377 h 574"/>
              <a:gd name="T52" fmla="*/ 308 w 668"/>
              <a:gd name="T53" fmla="*/ 475 h 574"/>
              <a:gd name="T54" fmla="*/ 175 w 668"/>
              <a:gd name="T55" fmla="*/ 496 h 574"/>
              <a:gd name="T56" fmla="*/ 322 w 668"/>
              <a:gd name="T57" fmla="*/ 475 h 574"/>
              <a:gd name="T58" fmla="*/ 492 w 668"/>
              <a:gd name="T59" fmla="*/ 475 h 574"/>
              <a:gd name="T60" fmla="*/ 662 w 668"/>
              <a:gd name="T61" fmla="*/ 481 h 574"/>
              <a:gd name="T62" fmla="*/ 549 w 668"/>
              <a:gd name="T63" fmla="*/ 510 h 574"/>
              <a:gd name="T64" fmla="*/ 387 w 668"/>
              <a:gd name="T65" fmla="*/ 10 h 574"/>
              <a:gd name="T66" fmla="*/ 401 w 668"/>
              <a:gd name="T67" fmla="*/ 5 h 574"/>
              <a:gd name="T68" fmla="*/ 658 w 668"/>
              <a:gd name="T69" fmla="*/ 468 h 574"/>
              <a:gd name="T70" fmla="*/ 662 w 668"/>
              <a:gd name="T71" fmla="*/ 481 h 5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68" h="574">
                <a:moveTo>
                  <a:pt x="438" y="380"/>
                </a:moveTo>
                <a:cubicBezTo>
                  <a:pt x="438" y="326"/>
                  <a:pt x="438" y="326"/>
                  <a:pt x="438" y="326"/>
                </a:cubicBezTo>
                <a:cubicBezTo>
                  <a:pt x="438" y="313"/>
                  <a:pt x="427" y="302"/>
                  <a:pt x="414" y="302"/>
                </a:cubicBezTo>
                <a:cubicBezTo>
                  <a:pt x="408" y="302"/>
                  <a:pt x="408" y="302"/>
                  <a:pt x="408" y="302"/>
                </a:cubicBezTo>
                <a:cubicBezTo>
                  <a:pt x="334" y="64"/>
                  <a:pt x="334" y="64"/>
                  <a:pt x="334" y="64"/>
                </a:cubicBezTo>
                <a:cubicBezTo>
                  <a:pt x="333" y="61"/>
                  <a:pt x="330" y="59"/>
                  <a:pt x="327" y="59"/>
                </a:cubicBezTo>
                <a:cubicBezTo>
                  <a:pt x="42" y="59"/>
                  <a:pt x="42" y="59"/>
                  <a:pt x="42" y="59"/>
                </a:cubicBezTo>
                <a:cubicBezTo>
                  <a:pt x="38" y="59"/>
                  <a:pt x="35" y="62"/>
                  <a:pt x="35" y="66"/>
                </a:cubicBezTo>
                <a:cubicBezTo>
                  <a:pt x="35" y="211"/>
                  <a:pt x="35" y="211"/>
                  <a:pt x="35" y="211"/>
                </a:cubicBezTo>
                <a:cubicBezTo>
                  <a:pt x="24" y="211"/>
                  <a:pt x="24" y="211"/>
                  <a:pt x="24" y="211"/>
                </a:cubicBezTo>
                <a:cubicBezTo>
                  <a:pt x="11" y="211"/>
                  <a:pt x="0" y="221"/>
                  <a:pt x="0" y="235"/>
                </a:cubicBezTo>
                <a:cubicBezTo>
                  <a:pt x="0" y="486"/>
                  <a:pt x="0" y="486"/>
                  <a:pt x="0" y="486"/>
                </a:cubicBezTo>
                <a:cubicBezTo>
                  <a:pt x="0" y="500"/>
                  <a:pt x="11" y="510"/>
                  <a:pt x="24" y="510"/>
                </a:cubicBezTo>
                <a:cubicBezTo>
                  <a:pt x="36" y="510"/>
                  <a:pt x="36" y="510"/>
                  <a:pt x="36" y="510"/>
                </a:cubicBezTo>
                <a:cubicBezTo>
                  <a:pt x="39" y="546"/>
                  <a:pt x="69" y="574"/>
                  <a:pt x="105" y="574"/>
                </a:cubicBezTo>
                <a:cubicBezTo>
                  <a:pt x="142" y="574"/>
                  <a:pt x="172" y="546"/>
                  <a:pt x="175" y="510"/>
                </a:cubicBezTo>
                <a:cubicBezTo>
                  <a:pt x="315" y="510"/>
                  <a:pt x="315" y="510"/>
                  <a:pt x="315" y="510"/>
                </a:cubicBezTo>
                <a:cubicBezTo>
                  <a:pt x="329" y="547"/>
                  <a:pt x="365" y="574"/>
                  <a:pt x="407" y="574"/>
                </a:cubicBezTo>
                <a:cubicBezTo>
                  <a:pt x="462" y="574"/>
                  <a:pt x="506" y="529"/>
                  <a:pt x="506" y="475"/>
                </a:cubicBezTo>
                <a:cubicBezTo>
                  <a:pt x="506" y="431"/>
                  <a:pt x="477" y="393"/>
                  <a:pt x="438" y="380"/>
                </a:cubicBezTo>
                <a:close/>
                <a:moveTo>
                  <a:pt x="49" y="73"/>
                </a:moveTo>
                <a:cubicBezTo>
                  <a:pt x="322" y="73"/>
                  <a:pt x="322" y="73"/>
                  <a:pt x="322" y="73"/>
                </a:cubicBezTo>
                <a:cubicBezTo>
                  <a:pt x="393" y="302"/>
                  <a:pt x="393" y="302"/>
                  <a:pt x="393" y="302"/>
                </a:cubicBezTo>
                <a:cubicBezTo>
                  <a:pt x="306" y="302"/>
                  <a:pt x="306" y="302"/>
                  <a:pt x="306" y="302"/>
                </a:cubicBezTo>
                <a:cubicBezTo>
                  <a:pt x="297" y="302"/>
                  <a:pt x="287" y="297"/>
                  <a:pt x="284" y="292"/>
                </a:cubicBezTo>
                <a:cubicBezTo>
                  <a:pt x="281" y="287"/>
                  <a:pt x="281" y="287"/>
                  <a:pt x="281" y="287"/>
                </a:cubicBezTo>
                <a:cubicBezTo>
                  <a:pt x="273" y="272"/>
                  <a:pt x="251" y="233"/>
                  <a:pt x="248" y="227"/>
                </a:cubicBezTo>
                <a:cubicBezTo>
                  <a:pt x="248" y="227"/>
                  <a:pt x="248" y="226"/>
                  <a:pt x="248" y="224"/>
                </a:cubicBezTo>
                <a:cubicBezTo>
                  <a:pt x="248" y="222"/>
                  <a:pt x="249" y="218"/>
                  <a:pt x="246" y="214"/>
                </a:cubicBezTo>
                <a:cubicBezTo>
                  <a:pt x="243" y="211"/>
                  <a:pt x="238" y="211"/>
                  <a:pt x="236" y="211"/>
                </a:cubicBezTo>
                <a:cubicBezTo>
                  <a:pt x="49" y="211"/>
                  <a:pt x="49" y="211"/>
                  <a:pt x="49" y="211"/>
                </a:cubicBezTo>
                <a:lnTo>
                  <a:pt x="49" y="73"/>
                </a:lnTo>
                <a:close/>
                <a:moveTo>
                  <a:pt x="105" y="560"/>
                </a:moveTo>
                <a:cubicBezTo>
                  <a:pt x="75" y="560"/>
                  <a:pt x="49" y="534"/>
                  <a:pt x="49" y="503"/>
                </a:cubicBezTo>
                <a:cubicBezTo>
                  <a:pt x="49" y="472"/>
                  <a:pt x="75" y="447"/>
                  <a:pt x="105" y="447"/>
                </a:cubicBezTo>
                <a:cubicBezTo>
                  <a:pt x="136" y="447"/>
                  <a:pt x="162" y="472"/>
                  <a:pt x="162" y="503"/>
                </a:cubicBezTo>
                <a:cubicBezTo>
                  <a:pt x="162" y="534"/>
                  <a:pt x="136" y="560"/>
                  <a:pt x="105" y="560"/>
                </a:cubicBezTo>
                <a:close/>
                <a:moveTo>
                  <a:pt x="175" y="496"/>
                </a:moveTo>
                <a:cubicBezTo>
                  <a:pt x="172" y="461"/>
                  <a:pt x="142" y="433"/>
                  <a:pt x="105" y="433"/>
                </a:cubicBezTo>
                <a:cubicBezTo>
                  <a:pt x="69" y="433"/>
                  <a:pt x="39" y="461"/>
                  <a:pt x="36" y="496"/>
                </a:cubicBezTo>
                <a:cubicBezTo>
                  <a:pt x="24" y="496"/>
                  <a:pt x="24" y="496"/>
                  <a:pt x="24" y="496"/>
                </a:cubicBezTo>
                <a:cubicBezTo>
                  <a:pt x="18" y="496"/>
                  <a:pt x="14" y="492"/>
                  <a:pt x="14" y="486"/>
                </a:cubicBezTo>
                <a:cubicBezTo>
                  <a:pt x="14" y="235"/>
                  <a:pt x="14" y="235"/>
                  <a:pt x="14" y="235"/>
                </a:cubicBezTo>
                <a:cubicBezTo>
                  <a:pt x="14" y="229"/>
                  <a:pt x="18" y="225"/>
                  <a:pt x="24" y="225"/>
                </a:cubicBezTo>
                <a:cubicBezTo>
                  <a:pt x="234" y="225"/>
                  <a:pt x="234" y="225"/>
                  <a:pt x="234" y="225"/>
                </a:cubicBezTo>
                <a:cubicBezTo>
                  <a:pt x="234" y="227"/>
                  <a:pt x="234" y="231"/>
                  <a:pt x="236" y="234"/>
                </a:cubicBezTo>
                <a:cubicBezTo>
                  <a:pt x="239" y="240"/>
                  <a:pt x="260" y="279"/>
                  <a:pt x="269" y="294"/>
                </a:cubicBezTo>
                <a:cubicBezTo>
                  <a:pt x="272" y="299"/>
                  <a:pt x="272" y="299"/>
                  <a:pt x="272" y="299"/>
                </a:cubicBezTo>
                <a:cubicBezTo>
                  <a:pt x="278" y="311"/>
                  <a:pt x="295" y="316"/>
                  <a:pt x="306" y="316"/>
                </a:cubicBezTo>
                <a:cubicBezTo>
                  <a:pt x="414" y="316"/>
                  <a:pt x="414" y="316"/>
                  <a:pt x="414" y="316"/>
                </a:cubicBezTo>
                <a:cubicBezTo>
                  <a:pt x="419" y="316"/>
                  <a:pt x="424" y="320"/>
                  <a:pt x="424" y="326"/>
                </a:cubicBezTo>
                <a:cubicBezTo>
                  <a:pt x="424" y="377"/>
                  <a:pt x="424" y="377"/>
                  <a:pt x="424" y="377"/>
                </a:cubicBezTo>
                <a:cubicBezTo>
                  <a:pt x="418" y="376"/>
                  <a:pt x="413" y="375"/>
                  <a:pt x="407" y="375"/>
                </a:cubicBezTo>
                <a:cubicBezTo>
                  <a:pt x="352" y="375"/>
                  <a:pt x="308" y="420"/>
                  <a:pt x="308" y="475"/>
                </a:cubicBezTo>
                <a:cubicBezTo>
                  <a:pt x="308" y="482"/>
                  <a:pt x="309" y="489"/>
                  <a:pt x="311" y="496"/>
                </a:cubicBezTo>
                <a:lnTo>
                  <a:pt x="175" y="496"/>
                </a:lnTo>
                <a:close/>
                <a:moveTo>
                  <a:pt x="407" y="560"/>
                </a:moveTo>
                <a:cubicBezTo>
                  <a:pt x="360" y="560"/>
                  <a:pt x="322" y="521"/>
                  <a:pt x="322" y="475"/>
                </a:cubicBezTo>
                <a:cubicBezTo>
                  <a:pt x="322" y="428"/>
                  <a:pt x="360" y="389"/>
                  <a:pt x="407" y="389"/>
                </a:cubicBezTo>
                <a:cubicBezTo>
                  <a:pt x="454" y="389"/>
                  <a:pt x="492" y="428"/>
                  <a:pt x="492" y="475"/>
                </a:cubicBezTo>
                <a:cubicBezTo>
                  <a:pt x="492" y="521"/>
                  <a:pt x="454" y="560"/>
                  <a:pt x="407" y="560"/>
                </a:cubicBezTo>
                <a:close/>
                <a:moveTo>
                  <a:pt x="662" y="481"/>
                </a:moveTo>
                <a:cubicBezTo>
                  <a:pt x="551" y="510"/>
                  <a:pt x="551" y="510"/>
                  <a:pt x="551" y="510"/>
                </a:cubicBezTo>
                <a:cubicBezTo>
                  <a:pt x="550" y="510"/>
                  <a:pt x="550" y="510"/>
                  <a:pt x="549" y="510"/>
                </a:cubicBezTo>
                <a:cubicBezTo>
                  <a:pt x="546" y="510"/>
                  <a:pt x="543" y="509"/>
                  <a:pt x="542" y="506"/>
                </a:cubicBezTo>
                <a:cubicBezTo>
                  <a:pt x="387" y="10"/>
                  <a:pt x="387" y="10"/>
                  <a:pt x="387" y="10"/>
                </a:cubicBezTo>
                <a:cubicBezTo>
                  <a:pt x="386" y="6"/>
                  <a:pt x="388" y="2"/>
                  <a:pt x="392" y="1"/>
                </a:cubicBezTo>
                <a:cubicBezTo>
                  <a:pt x="395" y="0"/>
                  <a:pt x="399" y="2"/>
                  <a:pt x="401" y="5"/>
                </a:cubicBezTo>
                <a:cubicBezTo>
                  <a:pt x="554" y="495"/>
                  <a:pt x="554" y="495"/>
                  <a:pt x="554" y="495"/>
                </a:cubicBezTo>
                <a:cubicBezTo>
                  <a:pt x="658" y="468"/>
                  <a:pt x="658" y="468"/>
                  <a:pt x="658" y="468"/>
                </a:cubicBezTo>
                <a:cubicBezTo>
                  <a:pt x="662" y="467"/>
                  <a:pt x="666" y="469"/>
                  <a:pt x="667" y="473"/>
                </a:cubicBezTo>
                <a:cubicBezTo>
                  <a:pt x="668" y="476"/>
                  <a:pt x="665" y="480"/>
                  <a:pt x="662" y="481"/>
                </a:cubicBez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7177" name="Oval 15"/>
          <p:cNvSpPr>
            <a:spLocks noChangeArrowheads="1"/>
          </p:cNvSpPr>
          <p:nvPr/>
        </p:nvSpPr>
        <p:spPr bwMode="auto">
          <a:xfrm>
            <a:off x="6589621" y="1528549"/>
            <a:ext cx="1119124" cy="1119124"/>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7188" name="Freeform 26"/>
          <p:cNvSpPr>
            <a:spLocks noEditPoints="1"/>
          </p:cNvSpPr>
          <p:nvPr/>
        </p:nvSpPr>
        <p:spPr bwMode="auto">
          <a:xfrm>
            <a:off x="6768788" y="1688552"/>
            <a:ext cx="762128" cy="759899"/>
          </a:xfrm>
          <a:custGeom>
            <a:avLst/>
            <a:gdLst>
              <a:gd name="T0" fmla="*/ 716 w 724"/>
              <a:gd name="T1" fmla="*/ 722 h 722"/>
              <a:gd name="T2" fmla="*/ 701 w 724"/>
              <a:gd name="T3" fmla="*/ 472 h 722"/>
              <a:gd name="T4" fmla="*/ 402 w 724"/>
              <a:gd name="T5" fmla="*/ 714 h 722"/>
              <a:gd name="T6" fmla="*/ 401 w 724"/>
              <a:gd name="T7" fmla="*/ 715 h 722"/>
              <a:gd name="T8" fmla="*/ 400 w 724"/>
              <a:gd name="T9" fmla="*/ 716 h 722"/>
              <a:gd name="T10" fmla="*/ 399 w 724"/>
              <a:gd name="T11" fmla="*/ 717 h 722"/>
              <a:gd name="T12" fmla="*/ 399 w 724"/>
              <a:gd name="T13" fmla="*/ 717 h 722"/>
              <a:gd name="T14" fmla="*/ 397 w 724"/>
              <a:gd name="T15" fmla="*/ 718 h 722"/>
              <a:gd name="T16" fmla="*/ 396 w 724"/>
              <a:gd name="T17" fmla="*/ 718 h 722"/>
              <a:gd name="T18" fmla="*/ 395 w 724"/>
              <a:gd name="T19" fmla="*/ 718 h 722"/>
              <a:gd name="T20" fmla="*/ 393 w 724"/>
              <a:gd name="T21" fmla="*/ 718 h 722"/>
              <a:gd name="T22" fmla="*/ 392 w 724"/>
              <a:gd name="T23" fmla="*/ 717 h 722"/>
              <a:gd name="T24" fmla="*/ 391 w 724"/>
              <a:gd name="T25" fmla="*/ 717 h 722"/>
              <a:gd name="T26" fmla="*/ 390 w 724"/>
              <a:gd name="T27" fmla="*/ 716 h 722"/>
              <a:gd name="T28" fmla="*/ 390 w 724"/>
              <a:gd name="T29" fmla="*/ 715 h 722"/>
              <a:gd name="T30" fmla="*/ 57 w 724"/>
              <a:gd name="T31" fmla="*/ 399 h 722"/>
              <a:gd name="T32" fmla="*/ 7 w 724"/>
              <a:gd name="T33" fmla="*/ 719 h 722"/>
              <a:gd name="T34" fmla="*/ 2 w 724"/>
              <a:gd name="T35" fmla="*/ 708 h 722"/>
              <a:gd name="T36" fmla="*/ 43 w 724"/>
              <a:gd name="T37" fmla="*/ 388 h 722"/>
              <a:gd name="T38" fmla="*/ 356 w 724"/>
              <a:gd name="T39" fmla="*/ 385 h 722"/>
              <a:gd name="T40" fmla="*/ 363 w 724"/>
              <a:gd name="T41" fmla="*/ 394 h 722"/>
              <a:gd name="T42" fmla="*/ 403 w 724"/>
              <a:gd name="T43" fmla="*/ 467 h 722"/>
              <a:gd name="T44" fmla="*/ 410 w 724"/>
              <a:gd name="T45" fmla="*/ 458 h 722"/>
              <a:gd name="T46" fmla="*/ 715 w 724"/>
              <a:gd name="T47" fmla="*/ 461 h 722"/>
              <a:gd name="T48" fmla="*/ 723 w 724"/>
              <a:gd name="T49" fmla="*/ 713 h 722"/>
              <a:gd name="T50" fmla="*/ 97 w 724"/>
              <a:gd name="T51" fmla="*/ 354 h 722"/>
              <a:gd name="T52" fmla="*/ 197 w 724"/>
              <a:gd name="T53" fmla="*/ 239 h 722"/>
              <a:gd name="T54" fmla="*/ 204 w 724"/>
              <a:gd name="T55" fmla="*/ 230 h 722"/>
              <a:gd name="T56" fmla="*/ 294 w 724"/>
              <a:gd name="T57" fmla="*/ 113 h 722"/>
              <a:gd name="T58" fmla="*/ 467 w 724"/>
              <a:gd name="T59" fmla="*/ 36 h 722"/>
              <a:gd name="T60" fmla="*/ 558 w 724"/>
              <a:gd name="T61" fmla="*/ 213 h 722"/>
              <a:gd name="T62" fmla="*/ 374 w 724"/>
              <a:gd name="T63" fmla="*/ 302 h 722"/>
              <a:gd name="T64" fmla="*/ 338 w 724"/>
              <a:gd name="T65" fmla="*/ 340 h 722"/>
              <a:gd name="T66" fmla="*/ 338 w 724"/>
              <a:gd name="T67" fmla="*/ 354 h 722"/>
              <a:gd name="T68" fmla="*/ 572 w 724"/>
              <a:gd name="T69" fmla="*/ 217 h 722"/>
              <a:gd name="T70" fmla="*/ 472 w 724"/>
              <a:gd name="T71" fmla="*/ 22 h 722"/>
              <a:gd name="T72" fmla="*/ 186 w 724"/>
              <a:gd name="T73" fmla="*/ 207 h 722"/>
              <a:gd name="T74" fmla="*/ 90 w 724"/>
              <a:gd name="T75" fmla="*/ 347 h 7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24" h="722">
                <a:moveTo>
                  <a:pt x="718" y="722"/>
                </a:moveTo>
                <a:cubicBezTo>
                  <a:pt x="717" y="722"/>
                  <a:pt x="717" y="722"/>
                  <a:pt x="716" y="722"/>
                </a:cubicBezTo>
                <a:cubicBezTo>
                  <a:pt x="713" y="722"/>
                  <a:pt x="710" y="721"/>
                  <a:pt x="709" y="718"/>
                </a:cubicBezTo>
                <a:cubicBezTo>
                  <a:pt x="686" y="648"/>
                  <a:pt x="683" y="559"/>
                  <a:pt x="701" y="472"/>
                </a:cubicBezTo>
                <a:cubicBezTo>
                  <a:pt x="419" y="472"/>
                  <a:pt x="419" y="472"/>
                  <a:pt x="419" y="472"/>
                </a:cubicBezTo>
                <a:cubicBezTo>
                  <a:pt x="440" y="555"/>
                  <a:pt x="434" y="642"/>
                  <a:pt x="402" y="714"/>
                </a:cubicBezTo>
                <a:cubicBezTo>
                  <a:pt x="402" y="714"/>
                  <a:pt x="402" y="714"/>
                  <a:pt x="401" y="714"/>
                </a:cubicBezTo>
                <a:cubicBezTo>
                  <a:pt x="401" y="714"/>
                  <a:pt x="401" y="715"/>
                  <a:pt x="401" y="715"/>
                </a:cubicBezTo>
                <a:cubicBezTo>
                  <a:pt x="401" y="715"/>
                  <a:pt x="401" y="715"/>
                  <a:pt x="401" y="715"/>
                </a:cubicBezTo>
                <a:cubicBezTo>
                  <a:pt x="401" y="715"/>
                  <a:pt x="400" y="716"/>
                  <a:pt x="400" y="716"/>
                </a:cubicBezTo>
                <a:cubicBezTo>
                  <a:pt x="400" y="716"/>
                  <a:pt x="400" y="716"/>
                  <a:pt x="400" y="716"/>
                </a:cubicBezTo>
                <a:cubicBezTo>
                  <a:pt x="400" y="716"/>
                  <a:pt x="399" y="717"/>
                  <a:pt x="399" y="717"/>
                </a:cubicBezTo>
                <a:cubicBezTo>
                  <a:pt x="399" y="717"/>
                  <a:pt x="399" y="717"/>
                  <a:pt x="399" y="717"/>
                </a:cubicBezTo>
                <a:cubicBezTo>
                  <a:pt x="399" y="717"/>
                  <a:pt x="399" y="717"/>
                  <a:pt x="399" y="717"/>
                </a:cubicBezTo>
                <a:cubicBezTo>
                  <a:pt x="398" y="717"/>
                  <a:pt x="398" y="717"/>
                  <a:pt x="398" y="717"/>
                </a:cubicBezTo>
                <a:cubicBezTo>
                  <a:pt x="398" y="717"/>
                  <a:pt x="398" y="717"/>
                  <a:pt x="397" y="718"/>
                </a:cubicBezTo>
                <a:cubicBezTo>
                  <a:pt x="397" y="718"/>
                  <a:pt x="397" y="718"/>
                  <a:pt x="397" y="718"/>
                </a:cubicBezTo>
                <a:cubicBezTo>
                  <a:pt x="396" y="718"/>
                  <a:pt x="396" y="718"/>
                  <a:pt x="396" y="718"/>
                </a:cubicBezTo>
                <a:cubicBezTo>
                  <a:pt x="396" y="718"/>
                  <a:pt x="396" y="718"/>
                  <a:pt x="395" y="718"/>
                </a:cubicBezTo>
                <a:cubicBezTo>
                  <a:pt x="395" y="718"/>
                  <a:pt x="395" y="718"/>
                  <a:pt x="395" y="718"/>
                </a:cubicBezTo>
                <a:cubicBezTo>
                  <a:pt x="394" y="718"/>
                  <a:pt x="394" y="718"/>
                  <a:pt x="394" y="718"/>
                </a:cubicBezTo>
                <a:cubicBezTo>
                  <a:pt x="394" y="718"/>
                  <a:pt x="394" y="718"/>
                  <a:pt x="393" y="718"/>
                </a:cubicBezTo>
                <a:cubicBezTo>
                  <a:pt x="393" y="718"/>
                  <a:pt x="393" y="717"/>
                  <a:pt x="393" y="717"/>
                </a:cubicBezTo>
                <a:cubicBezTo>
                  <a:pt x="393" y="717"/>
                  <a:pt x="393" y="717"/>
                  <a:pt x="392" y="717"/>
                </a:cubicBezTo>
                <a:cubicBezTo>
                  <a:pt x="392" y="717"/>
                  <a:pt x="392" y="717"/>
                  <a:pt x="392" y="717"/>
                </a:cubicBezTo>
                <a:cubicBezTo>
                  <a:pt x="392" y="717"/>
                  <a:pt x="392" y="717"/>
                  <a:pt x="391" y="717"/>
                </a:cubicBezTo>
                <a:cubicBezTo>
                  <a:pt x="391" y="717"/>
                  <a:pt x="391" y="716"/>
                  <a:pt x="391" y="716"/>
                </a:cubicBezTo>
                <a:cubicBezTo>
                  <a:pt x="391" y="716"/>
                  <a:pt x="391" y="716"/>
                  <a:pt x="390" y="716"/>
                </a:cubicBezTo>
                <a:cubicBezTo>
                  <a:pt x="390" y="716"/>
                  <a:pt x="390" y="715"/>
                  <a:pt x="390" y="715"/>
                </a:cubicBezTo>
                <a:cubicBezTo>
                  <a:pt x="390" y="715"/>
                  <a:pt x="390" y="715"/>
                  <a:pt x="390" y="715"/>
                </a:cubicBezTo>
                <a:cubicBezTo>
                  <a:pt x="337" y="641"/>
                  <a:pt x="321" y="523"/>
                  <a:pt x="347" y="399"/>
                </a:cubicBezTo>
                <a:cubicBezTo>
                  <a:pt x="57" y="399"/>
                  <a:pt x="57" y="399"/>
                  <a:pt x="57" y="399"/>
                </a:cubicBezTo>
                <a:cubicBezTo>
                  <a:pt x="82" y="522"/>
                  <a:pt x="66" y="643"/>
                  <a:pt x="13" y="716"/>
                </a:cubicBezTo>
                <a:cubicBezTo>
                  <a:pt x="12" y="718"/>
                  <a:pt x="10" y="719"/>
                  <a:pt x="7" y="719"/>
                </a:cubicBezTo>
                <a:cubicBezTo>
                  <a:pt x="6" y="719"/>
                  <a:pt x="5" y="719"/>
                  <a:pt x="3" y="718"/>
                </a:cubicBezTo>
                <a:cubicBezTo>
                  <a:pt x="0" y="716"/>
                  <a:pt x="0" y="711"/>
                  <a:pt x="2" y="708"/>
                </a:cubicBezTo>
                <a:cubicBezTo>
                  <a:pt x="53" y="636"/>
                  <a:pt x="68" y="515"/>
                  <a:pt x="41" y="394"/>
                </a:cubicBezTo>
                <a:cubicBezTo>
                  <a:pt x="41" y="392"/>
                  <a:pt x="41" y="390"/>
                  <a:pt x="43" y="388"/>
                </a:cubicBezTo>
                <a:cubicBezTo>
                  <a:pt x="44" y="386"/>
                  <a:pt x="46" y="385"/>
                  <a:pt x="48" y="385"/>
                </a:cubicBezTo>
                <a:cubicBezTo>
                  <a:pt x="356" y="385"/>
                  <a:pt x="356" y="385"/>
                  <a:pt x="356" y="385"/>
                </a:cubicBezTo>
                <a:cubicBezTo>
                  <a:pt x="358" y="385"/>
                  <a:pt x="360" y="386"/>
                  <a:pt x="361" y="388"/>
                </a:cubicBezTo>
                <a:cubicBezTo>
                  <a:pt x="363" y="390"/>
                  <a:pt x="363" y="392"/>
                  <a:pt x="363" y="394"/>
                </a:cubicBezTo>
                <a:cubicBezTo>
                  <a:pt x="336" y="511"/>
                  <a:pt x="348" y="623"/>
                  <a:pt x="394" y="696"/>
                </a:cubicBezTo>
                <a:cubicBezTo>
                  <a:pt x="421" y="627"/>
                  <a:pt x="424" y="544"/>
                  <a:pt x="403" y="467"/>
                </a:cubicBezTo>
                <a:cubicBezTo>
                  <a:pt x="402" y="465"/>
                  <a:pt x="403" y="463"/>
                  <a:pt x="404" y="461"/>
                </a:cubicBezTo>
                <a:cubicBezTo>
                  <a:pt x="405" y="459"/>
                  <a:pt x="407" y="458"/>
                  <a:pt x="410" y="458"/>
                </a:cubicBezTo>
                <a:cubicBezTo>
                  <a:pt x="710" y="458"/>
                  <a:pt x="710" y="458"/>
                  <a:pt x="710" y="458"/>
                </a:cubicBezTo>
                <a:cubicBezTo>
                  <a:pt x="712" y="458"/>
                  <a:pt x="714" y="459"/>
                  <a:pt x="715" y="461"/>
                </a:cubicBezTo>
                <a:cubicBezTo>
                  <a:pt x="717" y="462"/>
                  <a:pt x="717" y="464"/>
                  <a:pt x="717" y="467"/>
                </a:cubicBezTo>
                <a:cubicBezTo>
                  <a:pt x="697" y="554"/>
                  <a:pt x="699" y="644"/>
                  <a:pt x="723" y="713"/>
                </a:cubicBezTo>
                <a:cubicBezTo>
                  <a:pt x="724" y="717"/>
                  <a:pt x="722" y="721"/>
                  <a:pt x="718" y="722"/>
                </a:cubicBezTo>
                <a:close/>
                <a:moveTo>
                  <a:pt x="97" y="354"/>
                </a:moveTo>
                <a:cubicBezTo>
                  <a:pt x="100" y="354"/>
                  <a:pt x="104" y="351"/>
                  <a:pt x="104" y="347"/>
                </a:cubicBezTo>
                <a:cubicBezTo>
                  <a:pt x="104" y="280"/>
                  <a:pt x="140" y="239"/>
                  <a:pt x="197" y="239"/>
                </a:cubicBezTo>
                <a:cubicBezTo>
                  <a:pt x="200" y="239"/>
                  <a:pt x="202" y="238"/>
                  <a:pt x="203" y="236"/>
                </a:cubicBezTo>
                <a:cubicBezTo>
                  <a:pt x="204" y="234"/>
                  <a:pt x="205" y="232"/>
                  <a:pt x="204" y="230"/>
                </a:cubicBezTo>
                <a:cubicBezTo>
                  <a:pt x="202" y="222"/>
                  <a:pt x="200" y="214"/>
                  <a:pt x="200" y="207"/>
                </a:cubicBezTo>
                <a:cubicBezTo>
                  <a:pt x="200" y="155"/>
                  <a:pt x="242" y="113"/>
                  <a:pt x="294" y="113"/>
                </a:cubicBezTo>
                <a:cubicBezTo>
                  <a:pt x="297" y="113"/>
                  <a:pt x="300" y="111"/>
                  <a:pt x="301" y="108"/>
                </a:cubicBezTo>
                <a:cubicBezTo>
                  <a:pt x="327" y="34"/>
                  <a:pt x="404" y="15"/>
                  <a:pt x="467" y="36"/>
                </a:cubicBezTo>
                <a:cubicBezTo>
                  <a:pt x="485" y="41"/>
                  <a:pt x="501" y="50"/>
                  <a:pt x="515" y="62"/>
                </a:cubicBezTo>
                <a:cubicBezTo>
                  <a:pt x="559" y="99"/>
                  <a:pt x="576" y="158"/>
                  <a:pt x="558" y="213"/>
                </a:cubicBezTo>
                <a:cubicBezTo>
                  <a:pt x="535" y="286"/>
                  <a:pt x="455" y="325"/>
                  <a:pt x="380" y="301"/>
                </a:cubicBezTo>
                <a:cubicBezTo>
                  <a:pt x="378" y="300"/>
                  <a:pt x="375" y="301"/>
                  <a:pt x="374" y="302"/>
                </a:cubicBezTo>
                <a:cubicBezTo>
                  <a:pt x="372" y="303"/>
                  <a:pt x="371" y="306"/>
                  <a:pt x="371" y="308"/>
                </a:cubicBezTo>
                <a:cubicBezTo>
                  <a:pt x="371" y="326"/>
                  <a:pt x="357" y="340"/>
                  <a:pt x="338" y="340"/>
                </a:cubicBezTo>
                <a:cubicBezTo>
                  <a:pt x="335" y="340"/>
                  <a:pt x="331" y="343"/>
                  <a:pt x="331" y="347"/>
                </a:cubicBezTo>
                <a:cubicBezTo>
                  <a:pt x="331" y="351"/>
                  <a:pt x="335" y="354"/>
                  <a:pt x="338" y="354"/>
                </a:cubicBezTo>
                <a:cubicBezTo>
                  <a:pt x="361" y="354"/>
                  <a:pt x="380" y="338"/>
                  <a:pt x="384" y="317"/>
                </a:cubicBezTo>
                <a:cubicBezTo>
                  <a:pt x="464" y="338"/>
                  <a:pt x="547" y="295"/>
                  <a:pt x="572" y="217"/>
                </a:cubicBezTo>
                <a:cubicBezTo>
                  <a:pt x="591" y="157"/>
                  <a:pt x="572" y="92"/>
                  <a:pt x="524" y="51"/>
                </a:cubicBezTo>
                <a:cubicBezTo>
                  <a:pt x="508" y="38"/>
                  <a:pt x="491" y="29"/>
                  <a:pt x="472" y="22"/>
                </a:cubicBezTo>
                <a:cubicBezTo>
                  <a:pt x="404" y="0"/>
                  <a:pt x="320" y="20"/>
                  <a:pt x="289" y="99"/>
                </a:cubicBezTo>
                <a:cubicBezTo>
                  <a:pt x="232" y="102"/>
                  <a:pt x="186" y="149"/>
                  <a:pt x="186" y="207"/>
                </a:cubicBezTo>
                <a:cubicBezTo>
                  <a:pt x="186" y="213"/>
                  <a:pt x="187" y="219"/>
                  <a:pt x="188" y="225"/>
                </a:cubicBezTo>
                <a:cubicBezTo>
                  <a:pt x="128" y="229"/>
                  <a:pt x="90" y="276"/>
                  <a:pt x="90" y="347"/>
                </a:cubicBezTo>
                <a:cubicBezTo>
                  <a:pt x="90" y="351"/>
                  <a:pt x="93" y="354"/>
                  <a:pt x="97" y="354"/>
                </a:cubicBez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7178" name="Oval 16"/>
          <p:cNvSpPr>
            <a:spLocks noChangeArrowheads="1"/>
          </p:cNvSpPr>
          <p:nvPr/>
        </p:nvSpPr>
        <p:spPr bwMode="auto">
          <a:xfrm>
            <a:off x="4831649" y="1528549"/>
            <a:ext cx="1119124" cy="1119124"/>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7189" name="Freeform 27"/>
          <p:cNvSpPr>
            <a:spLocks noEditPoints="1"/>
          </p:cNvSpPr>
          <p:nvPr/>
        </p:nvSpPr>
        <p:spPr bwMode="auto">
          <a:xfrm>
            <a:off x="5157002" y="1723315"/>
            <a:ext cx="468419" cy="729592"/>
          </a:xfrm>
          <a:custGeom>
            <a:avLst/>
            <a:gdLst>
              <a:gd name="T0" fmla="*/ 322 w 445"/>
              <a:gd name="T1" fmla="*/ 140 h 693"/>
              <a:gd name="T2" fmla="*/ 434 w 445"/>
              <a:gd name="T3" fmla="*/ 71 h 693"/>
              <a:gd name="T4" fmla="*/ 443 w 445"/>
              <a:gd name="T5" fmla="*/ 67 h 693"/>
              <a:gd name="T6" fmla="*/ 318 w 445"/>
              <a:gd name="T7" fmla="*/ 1 h 693"/>
              <a:gd name="T8" fmla="*/ 318 w 445"/>
              <a:gd name="T9" fmla="*/ 1 h 693"/>
              <a:gd name="T10" fmla="*/ 317 w 445"/>
              <a:gd name="T11" fmla="*/ 0 h 693"/>
              <a:gd name="T12" fmla="*/ 317 w 445"/>
              <a:gd name="T13" fmla="*/ 0 h 693"/>
              <a:gd name="T14" fmla="*/ 315 w 445"/>
              <a:gd name="T15" fmla="*/ 0 h 693"/>
              <a:gd name="T16" fmla="*/ 315 w 445"/>
              <a:gd name="T17" fmla="*/ 0 h 693"/>
              <a:gd name="T18" fmla="*/ 129 w 445"/>
              <a:gd name="T19" fmla="*/ 0 h 693"/>
              <a:gd name="T20" fmla="*/ 129 w 445"/>
              <a:gd name="T21" fmla="*/ 0 h 693"/>
              <a:gd name="T22" fmla="*/ 128 w 445"/>
              <a:gd name="T23" fmla="*/ 0 h 693"/>
              <a:gd name="T24" fmla="*/ 127 w 445"/>
              <a:gd name="T25" fmla="*/ 0 h 693"/>
              <a:gd name="T26" fmla="*/ 127 w 445"/>
              <a:gd name="T27" fmla="*/ 1 h 693"/>
              <a:gd name="T28" fmla="*/ 5 w 445"/>
              <a:gd name="T29" fmla="*/ 58 h 693"/>
              <a:gd name="T30" fmla="*/ 8 w 445"/>
              <a:gd name="T31" fmla="*/ 71 h 693"/>
              <a:gd name="T32" fmla="*/ 123 w 445"/>
              <a:gd name="T33" fmla="*/ 18 h 693"/>
              <a:gd name="T34" fmla="*/ 5 w 445"/>
              <a:gd name="T35" fmla="*/ 195 h 693"/>
              <a:gd name="T36" fmla="*/ 8 w 445"/>
              <a:gd name="T37" fmla="*/ 208 h 693"/>
              <a:gd name="T38" fmla="*/ 123 w 445"/>
              <a:gd name="T39" fmla="*/ 155 h 693"/>
              <a:gd name="T40" fmla="*/ 21 w 445"/>
              <a:gd name="T41" fmla="*/ 684 h 693"/>
              <a:gd name="T42" fmla="*/ 28 w 445"/>
              <a:gd name="T43" fmla="*/ 693 h 693"/>
              <a:gd name="T44" fmla="*/ 222 w 445"/>
              <a:gd name="T45" fmla="*/ 424 h 693"/>
              <a:gd name="T46" fmla="*/ 417 w 445"/>
              <a:gd name="T47" fmla="*/ 693 h 693"/>
              <a:gd name="T48" fmla="*/ 423 w 445"/>
              <a:gd name="T49" fmla="*/ 684 h 693"/>
              <a:gd name="T50" fmla="*/ 322 w 445"/>
              <a:gd name="T51" fmla="*/ 155 h 693"/>
              <a:gd name="T52" fmla="*/ 437 w 445"/>
              <a:gd name="T53" fmla="*/ 208 h 693"/>
              <a:gd name="T54" fmla="*/ 440 w 445"/>
              <a:gd name="T55" fmla="*/ 195 h 693"/>
              <a:gd name="T56" fmla="*/ 214 w 445"/>
              <a:gd name="T57" fmla="*/ 144 h 693"/>
              <a:gd name="T58" fmla="*/ 137 w 445"/>
              <a:gd name="T59" fmla="*/ 30 h 693"/>
              <a:gd name="T60" fmla="*/ 302 w 445"/>
              <a:gd name="T61" fmla="*/ 14 h 693"/>
              <a:gd name="T62" fmla="*/ 143 w 445"/>
              <a:gd name="T63" fmla="*/ 14 h 693"/>
              <a:gd name="T64" fmla="*/ 302 w 445"/>
              <a:gd name="T65" fmla="*/ 274 h 693"/>
              <a:gd name="T66" fmla="*/ 222 w 445"/>
              <a:gd name="T67" fmla="*/ 156 h 693"/>
              <a:gd name="T68" fmla="*/ 222 w 445"/>
              <a:gd name="T69" fmla="*/ 400 h 693"/>
              <a:gd name="T70" fmla="*/ 302 w 445"/>
              <a:gd name="T71" fmla="*/ 288 h 693"/>
              <a:gd name="T72" fmla="*/ 308 w 445"/>
              <a:gd name="T73" fmla="*/ 30 h 693"/>
              <a:gd name="T74" fmla="*/ 231 w 445"/>
              <a:gd name="T75" fmla="*/ 144 h 693"/>
              <a:gd name="T76" fmla="*/ 133 w 445"/>
              <a:gd name="T77" fmla="*/ 297 h 693"/>
              <a:gd name="T78" fmla="*/ 44 w 445"/>
              <a:gd name="T79" fmla="*/ 651 h 693"/>
              <a:gd name="T80" fmla="*/ 312 w 445"/>
              <a:gd name="T81" fmla="*/ 297 h 693"/>
              <a:gd name="T82" fmla="*/ 231 w 445"/>
              <a:gd name="T83" fmla="*/ 412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45" h="693">
                <a:moveTo>
                  <a:pt x="440" y="195"/>
                </a:moveTo>
                <a:cubicBezTo>
                  <a:pt x="322" y="140"/>
                  <a:pt x="322" y="140"/>
                  <a:pt x="322" y="140"/>
                </a:cubicBezTo>
                <a:cubicBezTo>
                  <a:pt x="322" y="18"/>
                  <a:pt x="322" y="18"/>
                  <a:pt x="322" y="18"/>
                </a:cubicBezTo>
                <a:cubicBezTo>
                  <a:pt x="434" y="71"/>
                  <a:pt x="434" y="71"/>
                  <a:pt x="434" y="71"/>
                </a:cubicBezTo>
                <a:cubicBezTo>
                  <a:pt x="435" y="71"/>
                  <a:pt x="436" y="71"/>
                  <a:pt x="437" y="71"/>
                </a:cubicBezTo>
                <a:cubicBezTo>
                  <a:pt x="439" y="71"/>
                  <a:pt x="442" y="70"/>
                  <a:pt x="443" y="67"/>
                </a:cubicBezTo>
                <a:cubicBezTo>
                  <a:pt x="445" y="64"/>
                  <a:pt x="443" y="60"/>
                  <a:pt x="440" y="58"/>
                </a:cubicBezTo>
                <a:cubicBezTo>
                  <a:pt x="318" y="1"/>
                  <a:pt x="318" y="1"/>
                  <a:pt x="318" y="1"/>
                </a:cubicBezTo>
                <a:cubicBezTo>
                  <a:pt x="318" y="1"/>
                  <a:pt x="318" y="1"/>
                  <a:pt x="318" y="1"/>
                </a:cubicBezTo>
                <a:cubicBezTo>
                  <a:pt x="318" y="1"/>
                  <a:pt x="318" y="1"/>
                  <a:pt x="318" y="1"/>
                </a:cubicBezTo>
                <a:cubicBezTo>
                  <a:pt x="318" y="0"/>
                  <a:pt x="318" y="0"/>
                  <a:pt x="317" y="0"/>
                </a:cubicBezTo>
                <a:cubicBezTo>
                  <a:pt x="317" y="0"/>
                  <a:pt x="317" y="0"/>
                  <a:pt x="317" y="0"/>
                </a:cubicBezTo>
                <a:cubicBezTo>
                  <a:pt x="317" y="0"/>
                  <a:pt x="317" y="0"/>
                  <a:pt x="317" y="0"/>
                </a:cubicBezTo>
                <a:cubicBezTo>
                  <a:pt x="317" y="0"/>
                  <a:pt x="317" y="0"/>
                  <a:pt x="317" y="0"/>
                </a:cubicBezTo>
                <a:cubicBezTo>
                  <a:pt x="316" y="0"/>
                  <a:pt x="316" y="0"/>
                  <a:pt x="316" y="0"/>
                </a:cubicBezTo>
                <a:cubicBezTo>
                  <a:pt x="316" y="0"/>
                  <a:pt x="316" y="0"/>
                  <a:pt x="315" y="0"/>
                </a:cubicBezTo>
                <a:cubicBezTo>
                  <a:pt x="315" y="0"/>
                  <a:pt x="315" y="0"/>
                  <a:pt x="315" y="0"/>
                </a:cubicBezTo>
                <a:cubicBezTo>
                  <a:pt x="315" y="0"/>
                  <a:pt x="315" y="0"/>
                  <a:pt x="315" y="0"/>
                </a:cubicBezTo>
                <a:cubicBezTo>
                  <a:pt x="130" y="0"/>
                  <a:pt x="130" y="0"/>
                  <a:pt x="130" y="0"/>
                </a:cubicBezTo>
                <a:cubicBezTo>
                  <a:pt x="130" y="0"/>
                  <a:pt x="129" y="0"/>
                  <a:pt x="129" y="0"/>
                </a:cubicBezTo>
                <a:cubicBezTo>
                  <a:pt x="129" y="0"/>
                  <a:pt x="129" y="0"/>
                  <a:pt x="129" y="0"/>
                </a:cubicBezTo>
                <a:cubicBezTo>
                  <a:pt x="129" y="0"/>
                  <a:pt x="129" y="0"/>
                  <a:pt x="129" y="0"/>
                </a:cubicBezTo>
                <a:cubicBezTo>
                  <a:pt x="128" y="0"/>
                  <a:pt x="128" y="0"/>
                  <a:pt x="128" y="0"/>
                </a:cubicBezTo>
                <a:cubicBezTo>
                  <a:pt x="128" y="0"/>
                  <a:pt x="128" y="0"/>
                  <a:pt x="128" y="0"/>
                </a:cubicBezTo>
                <a:cubicBezTo>
                  <a:pt x="128" y="0"/>
                  <a:pt x="128" y="0"/>
                  <a:pt x="127" y="0"/>
                </a:cubicBezTo>
                <a:cubicBezTo>
                  <a:pt x="127" y="0"/>
                  <a:pt x="127" y="0"/>
                  <a:pt x="127" y="0"/>
                </a:cubicBezTo>
                <a:cubicBezTo>
                  <a:pt x="127" y="0"/>
                  <a:pt x="127" y="0"/>
                  <a:pt x="127" y="1"/>
                </a:cubicBezTo>
                <a:cubicBezTo>
                  <a:pt x="127" y="1"/>
                  <a:pt x="127" y="1"/>
                  <a:pt x="127" y="1"/>
                </a:cubicBezTo>
                <a:cubicBezTo>
                  <a:pt x="127" y="1"/>
                  <a:pt x="127" y="1"/>
                  <a:pt x="127" y="1"/>
                </a:cubicBezTo>
                <a:cubicBezTo>
                  <a:pt x="5" y="58"/>
                  <a:pt x="5" y="58"/>
                  <a:pt x="5" y="58"/>
                </a:cubicBezTo>
                <a:cubicBezTo>
                  <a:pt x="1" y="60"/>
                  <a:pt x="0" y="64"/>
                  <a:pt x="2" y="67"/>
                </a:cubicBezTo>
                <a:cubicBezTo>
                  <a:pt x="3" y="70"/>
                  <a:pt x="5" y="71"/>
                  <a:pt x="8" y="71"/>
                </a:cubicBezTo>
                <a:cubicBezTo>
                  <a:pt x="9" y="71"/>
                  <a:pt x="10" y="71"/>
                  <a:pt x="11" y="71"/>
                </a:cubicBezTo>
                <a:cubicBezTo>
                  <a:pt x="123" y="18"/>
                  <a:pt x="123" y="18"/>
                  <a:pt x="123" y="18"/>
                </a:cubicBezTo>
                <a:cubicBezTo>
                  <a:pt x="123" y="140"/>
                  <a:pt x="123" y="140"/>
                  <a:pt x="123" y="140"/>
                </a:cubicBezTo>
                <a:cubicBezTo>
                  <a:pt x="5" y="195"/>
                  <a:pt x="5" y="195"/>
                  <a:pt x="5" y="195"/>
                </a:cubicBezTo>
                <a:cubicBezTo>
                  <a:pt x="1" y="197"/>
                  <a:pt x="0" y="201"/>
                  <a:pt x="2" y="204"/>
                </a:cubicBezTo>
                <a:cubicBezTo>
                  <a:pt x="3" y="207"/>
                  <a:pt x="5" y="208"/>
                  <a:pt x="8" y="208"/>
                </a:cubicBezTo>
                <a:cubicBezTo>
                  <a:pt x="9" y="208"/>
                  <a:pt x="10" y="208"/>
                  <a:pt x="11" y="208"/>
                </a:cubicBezTo>
                <a:cubicBezTo>
                  <a:pt x="123" y="155"/>
                  <a:pt x="123" y="155"/>
                  <a:pt x="123" y="155"/>
                </a:cubicBezTo>
                <a:cubicBezTo>
                  <a:pt x="123" y="280"/>
                  <a:pt x="123" y="280"/>
                  <a:pt x="123" y="280"/>
                </a:cubicBezTo>
                <a:cubicBezTo>
                  <a:pt x="21" y="684"/>
                  <a:pt x="21" y="684"/>
                  <a:pt x="21" y="684"/>
                </a:cubicBezTo>
                <a:cubicBezTo>
                  <a:pt x="21" y="687"/>
                  <a:pt x="22" y="691"/>
                  <a:pt x="25" y="692"/>
                </a:cubicBezTo>
                <a:cubicBezTo>
                  <a:pt x="26" y="693"/>
                  <a:pt x="27" y="693"/>
                  <a:pt x="28" y="693"/>
                </a:cubicBezTo>
                <a:cubicBezTo>
                  <a:pt x="30" y="693"/>
                  <a:pt x="33" y="692"/>
                  <a:pt x="34" y="690"/>
                </a:cubicBezTo>
                <a:cubicBezTo>
                  <a:pt x="222" y="424"/>
                  <a:pt x="222" y="424"/>
                  <a:pt x="222" y="424"/>
                </a:cubicBezTo>
                <a:cubicBezTo>
                  <a:pt x="411" y="690"/>
                  <a:pt x="411" y="690"/>
                  <a:pt x="411" y="690"/>
                </a:cubicBezTo>
                <a:cubicBezTo>
                  <a:pt x="412" y="692"/>
                  <a:pt x="414" y="693"/>
                  <a:pt x="417" y="693"/>
                </a:cubicBezTo>
                <a:cubicBezTo>
                  <a:pt x="418" y="693"/>
                  <a:pt x="419" y="693"/>
                  <a:pt x="420" y="692"/>
                </a:cubicBezTo>
                <a:cubicBezTo>
                  <a:pt x="423" y="691"/>
                  <a:pt x="424" y="687"/>
                  <a:pt x="423" y="684"/>
                </a:cubicBezTo>
                <a:cubicBezTo>
                  <a:pt x="322" y="280"/>
                  <a:pt x="322" y="280"/>
                  <a:pt x="322" y="280"/>
                </a:cubicBezTo>
                <a:cubicBezTo>
                  <a:pt x="322" y="155"/>
                  <a:pt x="322" y="155"/>
                  <a:pt x="322" y="155"/>
                </a:cubicBezTo>
                <a:cubicBezTo>
                  <a:pt x="434" y="208"/>
                  <a:pt x="434" y="208"/>
                  <a:pt x="434" y="208"/>
                </a:cubicBezTo>
                <a:cubicBezTo>
                  <a:pt x="435" y="208"/>
                  <a:pt x="436" y="208"/>
                  <a:pt x="437" y="208"/>
                </a:cubicBezTo>
                <a:cubicBezTo>
                  <a:pt x="439" y="208"/>
                  <a:pt x="442" y="207"/>
                  <a:pt x="443" y="204"/>
                </a:cubicBezTo>
                <a:cubicBezTo>
                  <a:pt x="445" y="201"/>
                  <a:pt x="443" y="197"/>
                  <a:pt x="440" y="195"/>
                </a:cubicBezTo>
                <a:close/>
                <a:moveTo>
                  <a:pt x="137" y="30"/>
                </a:moveTo>
                <a:cubicBezTo>
                  <a:pt x="214" y="144"/>
                  <a:pt x="214" y="144"/>
                  <a:pt x="214" y="144"/>
                </a:cubicBezTo>
                <a:cubicBezTo>
                  <a:pt x="137" y="258"/>
                  <a:pt x="137" y="258"/>
                  <a:pt x="137" y="258"/>
                </a:cubicBezTo>
                <a:lnTo>
                  <a:pt x="137" y="30"/>
                </a:lnTo>
                <a:close/>
                <a:moveTo>
                  <a:pt x="143" y="14"/>
                </a:moveTo>
                <a:cubicBezTo>
                  <a:pt x="302" y="14"/>
                  <a:pt x="302" y="14"/>
                  <a:pt x="302" y="14"/>
                </a:cubicBezTo>
                <a:cubicBezTo>
                  <a:pt x="222" y="131"/>
                  <a:pt x="222" y="131"/>
                  <a:pt x="222" y="131"/>
                </a:cubicBezTo>
                <a:lnTo>
                  <a:pt x="143" y="14"/>
                </a:lnTo>
                <a:close/>
                <a:moveTo>
                  <a:pt x="222" y="156"/>
                </a:moveTo>
                <a:cubicBezTo>
                  <a:pt x="302" y="274"/>
                  <a:pt x="302" y="274"/>
                  <a:pt x="302" y="274"/>
                </a:cubicBezTo>
                <a:cubicBezTo>
                  <a:pt x="143" y="274"/>
                  <a:pt x="143" y="274"/>
                  <a:pt x="143" y="274"/>
                </a:cubicBezTo>
                <a:lnTo>
                  <a:pt x="222" y="156"/>
                </a:lnTo>
                <a:close/>
                <a:moveTo>
                  <a:pt x="302" y="288"/>
                </a:moveTo>
                <a:cubicBezTo>
                  <a:pt x="222" y="400"/>
                  <a:pt x="222" y="400"/>
                  <a:pt x="222" y="400"/>
                </a:cubicBezTo>
                <a:cubicBezTo>
                  <a:pt x="143" y="288"/>
                  <a:pt x="143" y="288"/>
                  <a:pt x="143" y="288"/>
                </a:cubicBezTo>
                <a:lnTo>
                  <a:pt x="302" y="288"/>
                </a:lnTo>
                <a:close/>
                <a:moveTo>
                  <a:pt x="231" y="144"/>
                </a:moveTo>
                <a:cubicBezTo>
                  <a:pt x="308" y="30"/>
                  <a:pt x="308" y="30"/>
                  <a:pt x="308" y="30"/>
                </a:cubicBezTo>
                <a:cubicBezTo>
                  <a:pt x="308" y="258"/>
                  <a:pt x="308" y="258"/>
                  <a:pt x="308" y="258"/>
                </a:cubicBezTo>
                <a:lnTo>
                  <a:pt x="231" y="144"/>
                </a:lnTo>
                <a:close/>
                <a:moveTo>
                  <a:pt x="44" y="651"/>
                </a:moveTo>
                <a:cubicBezTo>
                  <a:pt x="133" y="297"/>
                  <a:pt x="133" y="297"/>
                  <a:pt x="133" y="297"/>
                </a:cubicBezTo>
                <a:cubicBezTo>
                  <a:pt x="214" y="412"/>
                  <a:pt x="214" y="412"/>
                  <a:pt x="214" y="412"/>
                </a:cubicBezTo>
                <a:lnTo>
                  <a:pt x="44" y="651"/>
                </a:lnTo>
                <a:close/>
                <a:moveTo>
                  <a:pt x="231" y="412"/>
                </a:moveTo>
                <a:cubicBezTo>
                  <a:pt x="312" y="297"/>
                  <a:pt x="312" y="297"/>
                  <a:pt x="312" y="297"/>
                </a:cubicBezTo>
                <a:cubicBezTo>
                  <a:pt x="401" y="651"/>
                  <a:pt x="401" y="651"/>
                  <a:pt x="401" y="651"/>
                </a:cubicBezTo>
                <a:lnTo>
                  <a:pt x="231" y="412"/>
                </a:ln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7183" name="Oval 21"/>
          <p:cNvSpPr>
            <a:spLocks noChangeArrowheads="1"/>
          </p:cNvSpPr>
          <p:nvPr/>
        </p:nvSpPr>
        <p:spPr bwMode="auto">
          <a:xfrm>
            <a:off x="3073678" y="1528549"/>
            <a:ext cx="1119124" cy="1119124"/>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7191" name="Freeform 29"/>
          <p:cNvSpPr>
            <a:spLocks noEditPoints="1"/>
          </p:cNvSpPr>
          <p:nvPr/>
        </p:nvSpPr>
        <p:spPr bwMode="auto">
          <a:xfrm>
            <a:off x="3241391" y="1689443"/>
            <a:ext cx="765858" cy="796891"/>
          </a:xfrm>
          <a:custGeom>
            <a:avLst/>
            <a:gdLst>
              <a:gd name="T0" fmla="*/ 433 w 727"/>
              <a:gd name="T1" fmla="*/ 370 h 757"/>
              <a:gd name="T2" fmla="*/ 436 w 727"/>
              <a:gd name="T3" fmla="*/ 199 h 757"/>
              <a:gd name="T4" fmla="*/ 284 w 727"/>
              <a:gd name="T5" fmla="*/ 199 h 757"/>
              <a:gd name="T6" fmla="*/ 287 w 727"/>
              <a:gd name="T7" fmla="*/ 370 h 757"/>
              <a:gd name="T8" fmla="*/ 21 w 727"/>
              <a:gd name="T9" fmla="*/ 587 h 757"/>
              <a:gd name="T10" fmla="*/ 232 w 727"/>
              <a:gd name="T11" fmla="*/ 553 h 757"/>
              <a:gd name="T12" fmla="*/ 360 w 727"/>
              <a:gd name="T13" fmla="*/ 468 h 757"/>
              <a:gd name="T14" fmla="*/ 489 w 727"/>
              <a:gd name="T15" fmla="*/ 553 h 757"/>
              <a:gd name="T16" fmla="*/ 699 w 727"/>
              <a:gd name="T17" fmla="*/ 587 h 757"/>
              <a:gd name="T18" fmla="*/ 360 w 727"/>
              <a:gd name="T19" fmla="*/ 14 h 757"/>
              <a:gd name="T20" fmla="*/ 404 w 727"/>
              <a:gd name="T21" fmla="*/ 329 h 757"/>
              <a:gd name="T22" fmla="*/ 317 w 727"/>
              <a:gd name="T23" fmla="*/ 329 h 757"/>
              <a:gd name="T24" fmla="*/ 360 w 727"/>
              <a:gd name="T25" fmla="*/ 14 h 757"/>
              <a:gd name="T26" fmla="*/ 33 w 727"/>
              <a:gd name="T27" fmla="*/ 580 h 757"/>
              <a:gd name="T28" fmla="*/ 284 w 727"/>
              <a:gd name="T29" fmla="*/ 385 h 757"/>
              <a:gd name="T30" fmla="*/ 328 w 727"/>
              <a:gd name="T31" fmla="*/ 460 h 757"/>
              <a:gd name="T32" fmla="*/ 298 w 727"/>
              <a:gd name="T33" fmla="*/ 391 h 757"/>
              <a:gd name="T34" fmla="*/ 422 w 727"/>
              <a:gd name="T35" fmla="*/ 391 h 757"/>
              <a:gd name="T36" fmla="*/ 379 w 727"/>
              <a:gd name="T37" fmla="*/ 451 h 757"/>
              <a:gd name="T38" fmla="*/ 298 w 727"/>
              <a:gd name="T39" fmla="*/ 391 h 757"/>
              <a:gd name="T40" fmla="*/ 496 w 727"/>
              <a:gd name="T41" fmla="*/ 541 h 757"/>
              <a:gd name="T42" fmla="*/ 436 w 727"/>
              <a:gd name="T43" fmla="*/ 391 h 757"/>
              <a:gd name="T44" fmla="*/ 558 w 727"/>
              <a:gd name="T45" fmla="*/ 434 h 757"/>
              <a:gd name="T46" fmla="*/ 201 w 727"/>
              <a:gd name="T47" fmla="*/ 607 h 757"/>
              <a:gd name="T48" fmla="*/ 209 w 727"/>
              <a:gd name="T49" fmla="*/ 595 h 757"/>
              <a:gd name="T50" fmla="*/ 301 w 727"/>
              <a:gd name="T51" fmla="*/ 645 h 757"/>
              <a:gd name="T52" fmla="*/ 293 w 727"/>
              <a:gd name="T53" fmla="*/ 650 h 757"/>
              <a:gd name="T54" fmla="*/ 605 w 727"/>
              <a:gd name="T55" fmla="*/ 324 h 757"/>
              <a:gd name="T56" fmla="*/ 618 w 727"/>
              <a:gd name="T57" fmla="*/ 320 h 757"/>
              <a:gd name="T58" fmla="*/ 626 w 727"/>
              <a:gd name="T59" fmla="*/ 422 h 757"/>
              <a:gd name="T60" fmla="*/ 618 w 727"/>
              <a:gd name="T61" fmla="*/ 428 h 757"/>
              <a:gd name="T62" fmla="*/ 614 w 727"/>
              <a:gd name="T63" fmla="*/ 391 h 757"/>
              <a:gd name="T64" fmla="*/ 263 w 727"/>
              <a:gd name="T65" fmla="*/ 150 h 757"/>
              <a:gd name="T66" fmla="*/ 180 w 727"/>
              <a:gd name="T67" fmla="*/ 213 h 757"/>
              <a:gd name="T68" fmla="*/ 170 w 727"/>
              <a:gd name="T69" fmla="*/ 214 h 757"/>
              <a:gd name="T70" fmla="*/ 253 w 727"/>
              <a:gd name="T71" fmla="*/ 146 h 757"/>
              <a:gd name="T72" fmla="*/ 62 w 727"/>
              <a:gd name="T73" fmla="*/ 178 h 757"/>
              <a:gd name="T74" fmla="*/ 287 w 727"/>
              <a:gd name="T75" fmla="*/ 39 h 757"/>
              <a:gd name="T76" fmla="*/ 73 w 727"/>
              <a:gd name="T77" fmla="*/ 186 h 757"/>
              <a:gd name="T78" fmla="*/ 63 w 727"/>
              <a:gd name="T79" fmla="*/ 188 h 757"/>
              <a:gd name="T80" fmla="*/ 332 w 727"/>
              <a:gd name="T81" fmla="*/ 750 h 757"/>
              <a:gd name="T82" fmla="*/ 325 w 727"/>
              <a:gd name="T83" fmla="*/ 757 h 757"/>
              <a:gd name="T84" fmla="*/ 91 w 727"/>
              <a:gd name="T85" fmla="*/ 631 h 757"/>
              <a:gd name="T86" fmla="*/ 326 w 727"/>
              <a:gd name="T87" fmla="*/ 743 h 757"/>
              <a:gd name="T88" fmla="*/ 727 w 727"/>
              <a:gd name="T89" fmla="*/ 391 h 757"/>
              <a:gd name="T90" fmla="*/ 704 w 727"/>
              <a:gd name="T91" fmla="*/ 505 h 757"/>
              <a:gd name="T92" fmla="*/ 697 w 727"/>
              <a:gd name="T93" fmla="*/ 496 h 757"/>
              <a:gd name="T94" fmla="*/ 682 w 727"/>
              <a:gd name="T95" fmla="*/ 245 h 757"/>
              <a:gd name="T96" fmla="*/ 694 w 727"/>
              <a:gd name="T97" fmla="*/ 239 h 7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7" h="757">
                <a:moveTo>
                  <a:pt x="565" y="422"/>
                </a:moveTo>
                <a:cubicBezTo>
                  <a:pt x="519" y="395"/>
                  <a:pt x="472" y="377"/>
                  <a:pt x="433" y="370"/>
                </a:cubicBezTo>
                <a:cubicBezTo>
                  <a:pt x="430" y="358"/>
                  <a:pt x="424" y="348"/>
                  <a:pt x="415" y="339"/>
                </a:cubicBezTo>
                <a:cubicBezTo>
                  <a:pt x="429" y="302"/>
                  <a:pt x="436" y="253"/>
                  <a:pt x="436" y="199"/>
                </a:cubicBezTo>
                <a:cubicBezTo>
                  <a:pt x="436" y="88"/>
                  <a:pt x="403" y="0"/>
                  <a:pt x="360" y="0"/>
                </a:cubicBezTo>
                <a:cubicBezTo>
                  <a:pt x="318" y="0"/>
                  <a:pt x="284" y="88"/>
                  <a:pt x="284" y="199"/>
                </a:cubicBezTo>
                <a:cubicBezTo>
                  <a:pt x="284" y="253"/>
                  <a:pt x="292" y="302"/>
                  <a:pt x="305" y="339"/>
                </a:cubicBezTo>
                <a:cubicBezTo>
                  <a:pt x="297" y="348"/>
                  <a:pt x="291" y="358"/>
                  <a:pt x="287" y="370"/>
                </a:cubicBezTo>
                <a:cubicBezTo>
                  <a:pt x="248" y="377"/>
                  <a:pt x="202" y="395"/>
                  <a:pt x="156" y="422"/>
                </a:cubicBezTo>
                <a:cubicBezTo>
                  <a:pt x="59" y="478"/>
                  <a:pt x="0" y="550"/>
                  <a:pt x="21" y="587"/>
                </a:cubicBezTo>
                <a:cubicBezTo>
                  <a:pt x="29" y="601"/>
                  <a:pt x="47" y="608"/>
                  <a:pt x="71" y="608"/>
                </a:cubicBezTo>
                <a:cubicBezTo>
                  <a:pt x="112" y="608"/>
                  <a:pt x="171" y="589"/>
                  <a:pt x="232" y="553"/>
                </a:cubicBezTo>
                <a:cubicBezTo>
                  <a:pt x="278" y="527"/>
                  <a:pt x="317" y="496"/>
                  <a:pt x="342" y="465"/>
                </a:cubicBezTo>
                <a:cubicBezTo>
                  <a:pt x="348" y="467"/>
                  <a:pt x="354" y="468"/>
                  <a:pt x="360" y="468"/>
                </a:cubicBezTo>
                <a:cubicBezTo>
                  <a:pt x="366" y="468"/>
                  <a:pt x="372" y="467"/>
                  <a:pt x="378" y="465"/>
                </a:cubicBezTo>
                <a:cubicBezTo>
                  <a:pt x="404" y="496"/>
                  <a:pt x="443" y="527"/>
                  <a:pt x="489" y="553"/>
                </a:cubicBezTo>
                <a:cubicBezTo>
                  <a:pt x="549" y="589"/>
                  <a:pt x="609" y="608"/>
                  <a:pt x="650" y="608"/>
                </a:cubicBezTo>
                <a:cubicBezTo>
                  <a:pt x="674" y="608"/>
                  <a:pt x="691" y="601"/>
                  <a:pt x="699" y="587"/>
                </a:cubicBezTo>
                <a:cubicBezTo>
                  <a:pt x="721" y="550"/>
                  <a:pt x="661" y="478"/>
                  <a:pt x="565" y="422"/>
                </a:cubicBezTo>
                <a:close/>
                <a:moveTo>
                  <a:pt x="360" y="14"/>
                </a:moveTo>
                <a:cubicBezTo>
                  <a:pt x="397" y="14"/>
                  <a:pt x="422" y="112"/>
                  <a:pt x="422" y="199"/>
                </a:cubicBezTo>
                <a:cubicBezTo>
                  <a:pt x="422" y="248"/>
                  <a:pt x="416" y="294"/>
                  <a:pt x="404" y="329"/>
                </a:cubicBezTo>
                <a:cubicBezTo>
                  <a:pt x="392" y="321"/>
                  <a:pt x="376" y="315"/>
                  <a:pt x="360" y="315"/>
                </a:cubicBezTo>
                <a:cubicBezTo>
                  <a:pt x="344" y="315"/>
                  <a:pt x="329" y="321"/>
                  <a:pt x="317" y="329"/>
                </a:cubicBezTo>
                <a:cubicBezTo>
                  <a:pt x="305" y="294"/>
                  <a:pt x="298" y="248"/>
                  <a:pt x="298" y="199"/>
                </a:cubicBezTo>
                <a:cubicBezTo>
                  <a:pt x="298" y="112"/>
                  <a:pt x="324" y="14"/>
                  <a:pt x="360" y="14"/>
                </a:cubicBezTo>
                <a:close/>
                <a:moveTo>
                  <a:pt x="225" y="541"/>
                </a:moveTo>
                <a:cubicBezTo>
                  <a:pt x="149" y="585"/>
                  <a:pt x="52" y="612"/>
                  <a:pt x="33" y="580"/>
                </a:cubicBezTo>
                <a:cubicBezTo>
                  <a:pt x="15" y="549"/>
                  <a:pt x="87" y="478"/>
                  <a:pt x="163" y="434"/>
                </a:cubicBezTo>
                <a:cubicBezTo>
                  <a:pt x="205" y="410"/>
                  <a:pt x="248" y="392"/>
                  <a:pt x="284" y="385"/>
                </a:cubicBezTo>
                <a:cubicBezTo>
                  <a:pt x="284" y="387"/>
                  <a:pt x="284" y="389"/>
                  <a:pt x="284" y="391"/>
                </a:cubicBezTo>
                <a:cubicBezTo>
                  <a:pt x="284" y="422"/>
                  <a:pt x="302" y="448"/>
                  <a:pt x="328" y="460"/>
                </a:cubicBezTo>
                <a:cubicBezTo>
                  <a:pt x="304" y="488"/>
                  <a:pt x="267" y="517"/>
                  <a:pt x="225" y="541"/>
                </a:cubicBezTo>
                <a:close/>
                <a:moveTo>
                  <a:pt x="298" y="391"/>
                </a:moveTo>
                <a:cubicBezTo>
                  <a:pt x="298" y="357"/>
                  <a:pt x="326" y="329"/>
                  <a:pt x="360" y="329"/>
                </a:cubicBezTo>
                <a:cubicBezTo>
                  <a:pt x="394" y="329"/>
                  <a:pt x="422" y="357"/>
                  <a:pt x="422" y="391"/>
                </a:cubicBezTo>
                <a:cubicBezTo>
                  <a:pt x="422" y="419"/>
                  <a:pt x="404" y="443"/>
                  <a:pt x="379" y="451"/>
                </a:cubicBezTo>
                <a:cubicBezTo>
                  <a:pt x="379" y="451"/>
                  <a:pt x="379" y="451"/>
                  <a:pt x="379" y="451"/>
                </a:cubicBezTo>
                <a:cubicBezTo>
                  <a:pt x="373" y="453"/>
                  <a:pt x="367" y="454"/>
                  <a:pt x="360" y="454"/>
                </a:cubicBezTo>
                <a:cubicBezTo>
                  <a:pt x="326" y="454"/>
                  <a:pt x="298" y="426"/>
                  <a:pt x="298" y="391"/>
                </a:cubicBezTo>
                <a:close/>
                <a:moveTo>
                  <a:pt x="687" y="580"/>
                </a:moveTo>
                <a:cubicBezTo>
                  <a:pt x="669" y="612"/>
                  <a:pt x="571" y="585"/>
                  <a:pt x="496" y="541"/>
                </a:cubicBezTo>
                <a:cubicBezTo>
                  <a:pt x="454" y="517"/>
                  <a:pt x="417" y="488"/>
                  <a:pt x="392" y="460"/>
                </a:cubicBezTo>
                <a:cubicBezTo>
                  <a:pt x="418" y="448"/>
                  <a:pt x="436" y="422"/>
                  <a:pt x="436" y="391"/>
                </a:cubicBezTo>
                <a:cubicBezTo>
                  <a:pt x="436" y="389"/>
                  <a:pt x="436" y="387"/>
                  <a:pt x="436" y="385"/>
                </a:cubicBezTo>
                <a:cubicBezTo>
                  <a:pt x="472" y="392"/>
                  <a:pt x="516" y="410"/>
                  <a:pt x="558" y="434"/>
                </a:cubicBezTo>
                <a:cubicBezTo>
                  <a:pt x="634" y="478"/>
                  <a:pt x="705" y="549"/>
                  <a:pt x="687" y="580"/>
                </a:cubicBezTo>
                <a:close/>
                <a:moveTo>
                  <a:pt x="201" y="607"/>
                </a:moveTo>
                <a:cubicBezTo>
                  <a:pt x="198" y="604"/>
                  <a:pt x="197" y="600"/>
                  <a:pt x="200" y="597"/>
                </a:cubicBezTo>
                <a:cubicBezTo>
                  <a:pt x="202" y="594"/>
                  <a:pt x="206" y="593"/>
                  <a:pt x="209" y="595"/>
                </a:cubicBezTo>
                <a:cubicBezTo>
                  <a:pt x="236" y="615"/>
                  <a:pt x="265" y="629"/>
                  <a:pt x="296" y="637"/>
                </a:cubicBezTo>
                <a:cubicBezTo>
                  <a:pt x="300" y="638"/>
                  <a:pt x="302" y="642"/>
                  <a:pt x="301" y="645"/>
                </a:cubicBezTo>
                <a:cubicBezTo>
                  <a:pt x="301" y="649"/>
                  <a:pt x="298" y="651"/>
                  <a:pt x="295" y="651"/>
                </a:cubicBezTo>
                <a:cubicBezTo>
                  <a:pt x="294" y="651"/>
                  <a:pt x="293" y="651"/>
                  <a:pt x="293" y="650"/>
                </a:cubicBezTo>
                <a:cubicBezTo>
                  <a:pt x="260" y="642"/>
                  <a:pt x="229" y="627"/>
                  <a:pt x="201" y="607"/>
                </a:cubicBezTo>
                <a:close/>
                <a:moveTo>
                  <a:pt x="605" y="324"/>
                </a:moveTo>
                <a:cubicBezTo>
                  <a:pt x="604" y="320"/>
                  <a:pt x="606" y="316"/>
                  <a:pt x="610" y="315"/>
                </a:cubicBezTo>
                <a:cubicBezTo>
                  <a:pt x="613" y="314"/>
                  <a:pt x="617" y="317"/>
                  <a:pt x="618" y="320"/>
                </a:cubicBezTo>
                <a:cubicBezTo>
                  <a:pt x="625" y="343"/>
                  <a:pt x="628" y="367"/>
                  <a:pt x="628" y="391"/>
                </a:cubicBezTo>
                <a:cubicBezTo>
                  <a:pt x="628" y="402"/>
                  <a:pt x="627" y="412"/>
                  <a:pt x="626" y="422"/>
                </a:cubicBezTo>
                <a:cubicBezTo>
                  <a:pt x="626" y="425"/>
                  <a:pt x="623" y="428"/>
                  <a:pt x="619" y="428"/>
                </a:cubicBezTo>
                <a:cubicBezTo>
                  <a:pt x="619" y="428"/>
                  <a:pt x="619" y="428"/>
                  <a:pt x="618" y="428"/>
                </a:cubicBezTo>
                <a:cubicBezTo>
                  <a:pt x="615" y="427"/>
                  <a:pt x="612" y="424"/>
                  <a:pt x="612" y="420"/>
                </a:cubicBezTo>
                <a:cubicBezTo>
                  <a:pt x="613" y="411"/>
                  <a:pt x="614" y="401"/>
                  <a:pt x="614" y="391"/>
                </a:cubicBezTo>
                <a:cubicBezTo>
                  <a:pt x="614" y="369"/>
                  <a:pt x="611" y="346"/>
                  <a:pt x="605" y="324"/>
                </a:cubicBezTo>
                <a:close/>
                <a:moveTo>
                  <a:pt x="263" y="150"/>
                </a:moveTo>
                <a:cubicBezTo>
                  <a:pt x="264" y="153"/>
                  <a:pt x="263" y="157"/>
                  <a:pt x="259" y="159"/>
                </a:cubicBezTo>
                <a:cubicBezTo>
                  <a:pt x="229" y="172"/>
                  <a:pt x="203" y="190"/>
                  <a:pt x="180" y="213"/>
                </a:cubicBezTo>
                <a:cubicBezTo>
                  <a:pt x="178" y="215"/>
                  <a:pt x="176" y="216"/>
                  <a:pt x="175" y="216"/>
                </a:cubicBezTo>
                <a:cubicBezTo>
                  <a:pt x="173" y="216"/>
                  <a:pt x="171" y="215"/>
                  <a:pt x="170" y="214"/>
                </a:cubicBezTo>
                <a:cubicBezTo>
                  <a:pt x="167" y="211"/>
                  <a:pt x="167" y="206"/>
                  <a:pt x="170" y="204"/>
                </a:cubicBezTo>
                <a:cubicBezTo>
                  <a:pt x="194" y="179"/>
                  <a:pt x="222" y="160"/>
                  <a:pt x="253" y="146"/>
                </a:cubicBezTo>
                <a:cubicBezTo>
                  <a:pt x="257" y="145"/>
                  <a:pt x="261" y="146"/>
                  <a:pt x="263" y="150"/>
                </a:cubicBezTo>
                <a:close/>
                <a:moveTo>
                  <a:pt x="62" y="178"/>
                </a:moveTo>
                <a:cubicBezTo>
                  <a:pt x="114" y="105"/>
                  <a:pt x="191" y="53"/>
                  <a:pt x="279" y="33"/>
                </a:cubicBezTo>
                <a:cubicBezTo>
                  <a:pt x="283" y="33"/>
                  <a:pt x="286" y="35"/>
                  <a:pt x="287" y="39"/>
                </a:cubicBezTo>
                <a:cubicBezTo>
                  <a:pt x="288" y="43"/>
                  <a:pt x="286" y="46"/>
                  <a:pt x="282" y="47"/>
                </a:cubicBezTo>
                <a:cubicBezTo>
                  <a:pt x="198" y="66"/>
                  <a:pt x="124" y="116"/>
                  <a:pt x="73" y="186"/>
                </a:cubicBezTo>
                <a:cubicBezTo>
                  <a:pt x="72" y="188"/>
                  <a:pt x="69" y="189"/>
                  <a:pt x="67" y="189"/>
                </a:cubicBezTo>
                <a:cubicBezTo>
                  <a:pt x="66" y="189"/>
                  <a:pt x="64" y="189"/>
                  <a:pt x="63" y="188"/>
                </a:cubicBezTo>
                <a:cubicBezTo>
                  <a:pt x="60" y="186"/>
                  <a:pt x="59" y="181"/>
                  <a:pt x="62" y="178"/>
                </a:cubicBezTo>
                <a:close/>
                <a:moveTo>
                  <a:pt x="332" y="750"/>
                </a:moveTo>
                <a:cubicBezTo>
                  <a:pt x="332" y="754"/>
                  <a:pt x="329" y="757"/>
                  <a:pt x="325" y="757"/>
                </a:cubicBezTo>
                <a:cubicBezTo>
                  <a:pt x="325" y="757"/>
                  <a:pt x="325" y="757"/>
                  <a:pt x="325" y="757"/>
                </a:cubicBezTo>
                <a:cubicBezTo>
                  <a:pt x="235" y="748"/>
                  <a:pt x="152" y="707"/>
                  <a:pt x="91" y="641"/>
                </a:cubicBezTo>
                <a:cubicBezTo>
                  <a:pt x="88" y="638"/>
                  <a:pt x="88" y="633"/>
                  <a:pt x="91" y="631"/>
                </a:cubicBezTo>
                <a:cubicBezTo>
                  <a:pt x="94" y="628"/>
                  <a:pt x="98" y="628"/>
                  <a:pt x="101" y="631"/>
                </a:cubicBezTo>
                <a:cubicBezTo>
                  <a:pt x="160" y="695"/>
                  <a:pt x="240" y="735"/>
                  <a:pt x="326" y="743"/>
                </a:cubicBezTo>
                <a:cubicBezTo>
                  <a:pt x="330" y="743"/>
                  <a:pt x="333" y="747"/>
                  <a:pt x="332" y="750"/>
                </a:cubicBezTo>
                <a:close/>
                <a:moveTo>
                  <a:pt x="727" y="391"/>
                </a:moveTo>
                <a:cubicBezTo>
                  <a:pt x="727" y="429"/>
                  <a:pt x="722" y="465"/>
                  <a:pt x="711" y="500"/>
                </a:cubicBezTo>
                <a:cubicBezTo>
                  <a:pt x="710" y="503"/>
                  <a:pt x="707" y="505"/>
                  <a:pt x="704" y="505"/>
                </a:cubicBezTo>
                <a:cubicBezTo>
                  <a:pt x="703" y="505"/>
                  <a:pt x="703" y="505"/>
                  <a:pt x="702" y="505"/>
                </a:cubicBezTo>
                <a:cubicBezTo>
                  <a:pt x="698" y="504"/>
                  <a:pt x="696" y="500"/>
                  <a:pt x="697" y="496"/>
                </a:cubicBezTo>
                <a:cubicBezTo>
                  <a:pt x="708" y="462"/>
                  <a:pt x="713" y="427"/>
                  <a:pt x="713" y="391"/>
                </a:cubicBezTo>
                <a:cubicBezTo>
                  <a:pt x="713" y="340"/>
                  <a:pt x="703" y="291"/>
                  <a:pt x="682" y="245"/>
                </a:cubicBezTo>
                <a:cubicBezTo>
                  <a:pt x="680" y="242"/>
                  <a:pt x="682" y="238"/>
                  <a:pt x="685" y="236"/>
                </a:cubicBezTo>
                <a:cubicBezTo>
                  <a:pt x="689" y="234"/>
                  <a:pt x="693" y="236"/>
                  <a:pt x="694" y="239"/>
                </a:cubicBezTo>
                <a:cubicBezTo>
                  <a:pt x="716" y="287"/>
                  <a:pt x="727" y="338"/>
                  <a:pt x="727" y="391"/>
                </a:cubicBez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7184" name="Oval 22"/>
          <p:cNvSpPr>
            <a:spLocks noChangeArrowheads="1"/>
          </p:cNvSpPr>
          <p:nvPr/>
        </p:nvSpPr>
        <p:spPr bwMode="auto">
          <a:xfrm>
            <a:off x="1315706" y="1528549"/>
            <a:ext cx="1119124" cy="1119124"/>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7192" name="Freeform 30"/>
          <p:cNvSpPr>
            <a:spLocks noEditPoints="1"/>
          </p:cNvSpPr>
          <p:nvPr/>
        </p:nvSpPr>
        <p:spPr bwMode="auto">
          <a:xfrm>
            <a:off x="1518940" y="1861033"/>
            <a:ext cx="712656" cy="452820"/>
          </a:xfrm>
          <a:custGeom>
            <a:avLst/>
            <a:gdLst>
              <a:gd name="T0" fmla="*/ 569 w 677"/>
              <a:gd name="T1" fmla="*/ 5 h 430"/>
              <a:gd name="T2" fmla="*/ 115 w 677"/>
              <a:gd name="T3" fmla="*/ 0 h 430"/>
              <a:gd name="T4" fmla="*/ 0 w 677"/>
              <a:gd name="T5" fmla="*/ 337 h 430"/>
              <a:gd name="T6" fmla="*/ 7 w 677"/>
              <a:gd name="T7" fmla="*/ 346 h 430"/>
              <a:gd name="T8" fmla="*/ 283 w 677"/>
              <a:gd name="T9" fmla="*/ 416 h 430"/>
              <a:gd name="T10" fmla="*/ 159 w 677"/>
              <a:gd name="T11" fmla="*/ 423 h 430"/>
              <a:gd name="T12" fmla="*/ 290 w 677"/>
              <a:gd name="T13" fmla="*/ 430 h 430"/>
              <a:gd name="T14" fmla="*/ 297 w 677"/>
              <a:gd name="T15" fmla="*/ 346 h 430"/>
              <a:gd name="T16" fmla="*/ 380 w 677"/>
              <a:gd name="T17" fmla="*/ 423 h 430"/>
              <a:gd name="T18" fmla="*/ 512 w 677"/>
              <a:gd name="T19" fmla="*/ 430 h 430"/>
              <a:gd name="T20" fmla="*/ 512 w 677"/>
              <a:gd name="T21" fmla="*/ 416 h 430"/>
              <a:gd name="T22" fmla="*/ 394 w 677"/>
              <a:gd name="T23" fmla="*/ 346 h 430"/>
              <a:gd name="T24" fmla="*/ 670 w 677"/>
              <a:gd name="T25" fmla="*/ 346 h 430"/>
              <a:gd name="T26" fmla="*/ 677 w 677"/>
              <a:gd name="T27" fmla="*/ 336 h 430"/>
              <a:gd name="T28" fmla="*/ 250 w 677"/>
              <a:gd name="T29" fmla="*/ 205 h 430"/>
              <a:gd name="T30" fmla="*/ 441 w 677"/>
              <a:gd name="T31" fmla="*/ 332 h 430"/>
              <a:gd name="T32" fmla="*/ 251 w 677"/>
              <a:gd name="T33" fmla="*/ 191 h 430"/>
              <a:gd name="T34" fmla="*/ 416 w 677"/>
              <a:gd name="T35" fmla="*/ 98 h 430"/>
              <a:gd name="T36" fmla="*/ 251 w 677"/>
              <a:gd name="T37" fmla="*/ 191 h 430"/>
              <a:gd name="T38" fmla="*/ 247 w 677"/>
              <a:gd name="T39" fmla="*/ 98 h 430"/>
              <a:gd name="T40" fmla="*/ 63 w 677"/>
              <a:gd name="T41" fmla="*/ 191 h 430"/>
              <a:gd name="T42" fmla="*/ 407 w 677"/>
              <a:gd name="T43" fmla="*/ 14 h 430"/>
              <a:gd name="T44" fmla="*/ 263 w 677"/>
              <a:gd name="T45" fmla="*/ 84 h 430"/>
              <a:gd name="T46" fmla="*/ 407 w 677"/>
              <a:gd name="T47" fmla="*/ 14 h 430"/>
              <a:gd name="T48" fmla="*/ 584 w 677"/>
              <a:gd name="T49" fmla="*/ 98 h 430"/>
              <a:gd name="T50" fmla="*/ 440 w 677"/>
              <a:gd name="T51" fmla="*/ 191 h 430"/>
              <a:gd name="T52" fmla="*/ 580 w 677"/>
              <a:gd name="T53" fmla="*/ 84 h 430"/>
              <a:gd name="T54" fmla="*/ 421 w 677"/>
              <a:gd name="T55" fmla="*/ 14 h 430"/>
              <a:gd name="T56" fmla="*/ 580 w 677"/>
              <a:gd name="T57" fmla="*/ 84 h 430"/>
              <a:gd name="T58" fmla="*/ 256 w 677"/>
              <a:gd name="T59" fmla="*/ 14 h 430"/>
              <a:gd name="T60" fmla="*/ 98 w 677"/>
              <a:gd name="T61" fmla="*/ 84 h 430"/>
              <a:gd name="T62" fmla="*/ 58 w 677"/>
              <a:gd name="T63" fmla="*/ 205 h 430"/>
              <a:gd name="T64" fmla="*/ 222 w 677"/>
              <a:gd name="T65" fmla="*/ 332 h 430"/>
              <a:gd name="T66" fmla="*/ 58 w 677"/>
              <a:gd name="T67" fmla="*/ 205 h 430"/>
              <a:gd name="T68" fmla="*/ 442 w 677"/>
              <a:gd name="T69" fmla="*/ 205 h 430"/>
              <a:gd name="T70" fmla="*/ 661 w 677"/>
              <a:gd name="T71" fmla="*/ 332 h 4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77" h="430">
                <a:moveTo>
                  <a:pt x="677" y="336"/>
                </a:moveTo>
                <a:cubicBezTo>
                  <a:pt x="569" y="5"/>
                  <a:pt x="569" y="5"/>
                  <a:pt x="569" y="5"/>
                </a:cubicBezTo>
                <a:cubicBezTo>
                  <a:pt x="568" y="2"/>
                  <a:pt x="565" y="0"/>
                  <a:pt x="562" y="0"/>
                </a:cubicBezTo>
                <a:cubicBezTo>
                  <a:pt x="115" y="0"/>
                  <a:pt x="115" y="0"/>
                  <a:pt x="115" y="0"/>
                </a:cubicBezTo>
                <a:cubicBezTo>
                  <a:pt x="112" y="0"/>
                  <a:pt x="109" y="2"/>
                  <a:pt x="109" y="5"/>
                </a:cubicBezTo>
                <a:cubicBezTo>
                  <a:pt x="0" y="337"/>
                  <a:pt x="0" y="337"/>
                  <a:pt x="0" y="337"/>
                </a:cubicBezTo>
                <a:cubicBezTo>
                  <a:pt x="0" y="339"/>
                  <a:pt x="0" y="341"/>
                  <a:pt x="1" y="343"/>
                </a:cubicBezTo>
                <a:cubicBezTo>
                  <a:pt x="3" y="345"/>
                  <a:pt x="5" y="346"/>
                  <a:pt x="7" y="346"/>
                </a:cubicBezTo>
                <a:cubicBezTo>
                  <a:pt x="283" y="346"/>
                  <a:pt x="283" y="346"/>
                  <a:pt x="283" y="346"/>
                </a:cubicBezTo>
                <a:cubicBezTo>
                  <a:pt x="283" y="416"/>
                  <a:pt x="283" y="416"/>
                  <a:pt x="283" y="416"/>
                </a:cubicBezTo>
                <a:cubicBezTo>
                  <a:pt x="166" y="416"/>
                  <a:pt x="166" y="416"/>
                  <a:pt x="166" y="416"/>
                </a:cubicBezTo>
                <a:cubicBezTo>
                  <a:pt x="162" y="416"/>
                  <a:pt x="159" y="420"/>
                  <a:pt x="159" y="423"/>
                </a:cubicBezTo>
                <a:cubicBezTo>
                  <a:pt x="159" y="427"/>
                  <a:pt x="162" y="430"/>
                  <a:pt x="166" y="430"/>
                </a:cubicBezTo>
                <a:cubicBezTo>
                  <a:pt x="290" y="430"/>
                  <a:pt x="290" y="430"/>
                  <a:pt x="290" y="430"/>
                </a:cubicBezTo>
                <a:cubicBezTo>
                  <a:pt x="294" y="430"/>
                  <a:pt x="297" y="427"/>
                  <a:pt x="297" y="423"/>
                </a:cubicBezTo>
                <a:cubicBezTo>
                  <a:pt x="297" y="346"/>
                  <a:pt x="297" y="346"/>
                  <a:pt x="297" y="346"/>
                </a:cubicBezTo>
                <a:cubicBezTo>
                  <a:pt x="380" y="346"/>
                  <a:pt x="380" y="346"/>
                  <a:pt x="380" y="346"/>
                </a:cubicBezTo>
                <a:cubicBezTo>
                  <a:pt x="380" y="423"/>
                  <a:pt x="380" y="423"/>
                  <a:pt x="380" y="423"/>
                </a:cubicBezTo>
                <a:cubicBezTo>
                  <a:pt x="380" y="427"/>
                  <a:pt x="383" y="430"/>
                  <a:pt x="387" y="430"/>
                </a:cubicBezTo>
                <a:cubicBezTo>
                  <a:pt x="512" y="430"/>
                  <a:pt x="512" y="430"/>
                  <a:pt x="512" y="430"/>
                </a:cubicBezTo>
                <a:cubicBezTo>
                  <a:pt x="515" y="430"/>
                  <a:pt x="519" y="427"/>
                  <a:pt x="519" y="423"/>
                </a:cubicBezTo>
                <a:cubicBezTo>
                  <a:pt x="519" y="420"/>
                  <a:pt x="515" y="416"/>
                  <a:pt x="512" y="416"/>
                </a:cubicBezTo>
                <a:cubicBezTo>
                  <a:pt x="394" y="416"/>
                  <a:pt x="394" y="416"/>
                  <a:pt x="394" y="416"/>
                </a:cubicBezTo>
                <a:cubicBezTo>
                  <a:pt x="394" y="346"/>
                  <a:pt x="394" y="346"/>
                  <a:pt x="394" y="346"/>
                </a:cubicBezTo>
                <a:cubicBezTo>
                  <a:pt x="670" y="346"/>
                  <a:pt x="670" y="346"/>
                  <a:pt x="670" y="346"/>
                </a:cubicBezTo>
                <a:cubicBezTo>
                  <a:pt x="670" y="346"/>
                  <a:pt x="670" y="346"/>
                  <a:pt x="670" y="346"/>
                </a:cubicBezTo>
                <a:cubicBezTo>
                  <a:pt x="674" y="346"/>
                  <a:pt x="677" y="343"/>
                  <a:pt x="677" y="339"/>
                </a:cubicBezTo>
                <a:cubicBezTo>
                  <a:pt x="677" y="338"/>
                  <a:pt x="677" y="336"/>
                  <a:pt x="677" y="336"/>
                </a:cubicBezTo>
                <a:close/>
                <a:moveTo>
                  <a:pt x="236" y="332"/>
                </a:moveTo>
                <a:cubicBezTo>
                  <a:pt x="250" y="205"/>
                  <a:pt x="250" y="205"/>
                  <a:pt x="250" y="205"/>
                </a:cubicBezTo>
                <a:cubicBezTo>
                  <a:pt x="428" y="205"/>
                  <a:pt x="428" y="205"/>
                  <a:pt x="428" y="205"/>
                </a:cubicBezTo>
                <a:cubicBezTo>
                  <a:pt x="441" y="332"/>
                  <a:pt x="441" y="332"/>
                  <a:pt x="441" y="332"/>
                </a:cubicBezTo>
                <a:lnTo>
                  <a:pt x="236" y="332"/>
                </a:lnTo>
                <a:close/>
                <a:moveTo>
                  <a:pt x="251" y="191"/>
                </a:moveTo>
                <a:cubicBezTo>
                  <a:pt x="261" y="98"/>
                  <a:pt x="261" y="98"/>
                  <a:pt x="261" y="98"/>
                </a:cubicBezTo>
                <a:cubicBezTo>
                  <a:pt x="416" y="98"/>
                  <a:pt x="416" y="98"/>
                  <a:pt x="416" y="98"/>
                </a:cubicBezTo>
                <a:cubicBezTo>
                  <a:pt x="426" y="191"/>
                  <a:pt x="426" y="191"/>
                  <a:pt x="426" y="191"/>
                </a:cubicBezTo>
                <a:lnTo>
                  <a:pt x="251" y="191"/>
                </a:lnTo>
                <a:close/>
                <a:moveTo>
                  <a:pt x="93" y="98"/>
                </a:moveTo>
                <a:cubicBezTo>
                  <a:pt x="247" y="98"/>
                  <a:pt x="247" y="98"/>
                  <a:pt x="247" y="98"/>
                </a:cubicBezTo>
                <a:cubicBezTo>
                  <a:pt x="237" y="191"/>
                  <a:pt x="237" y="191"/>
                  <a:pt x="237" y="191"/>
                </a:cubicBezTo>
                <a:cubicBezTo>
                  <a:pt x="63" y="191"/>
                  <a:pt x="63" y="191"/>
                  <a:pt x="63" y="191"/>
                </a:cubicBezTo>
                <a:lnTo>
                  <a:pt x="93" y="98"/>
                </a:lnTo>
                <a:close/>
                <a:moveTo>
                  <a:pt x="407" y="14"/>
                </a:moveTo>
                <a:cubicBezTo>
                  <a:pt x="414" y="84"/>
                  <a:pt x="414" y="84"/>
                  <a:pt x="414" y="84"/>
                </a:cubicBezTo>
                <a:cubicBezTo>
                  <a:pt x="263" y="84"/>
                  <a:pt x="263" y="84"/>
                  <a:pt x="263" y="84"/>
                </a:cubicBezTo>
                <a:cubicBezTo>
                  <a:pt x="270" y="14"/>
                  <a:pt x="270" y="14"/>
                  <a:pt x="270" y="14"/>
                </a:cubicBezTo>
                <a:lnTo>
                  <a:pt x="407" y="14"/>
                </a:lnTo>
                <a:close/>
                <a:moveTo>
                  <a:pt x="430" y="98"/>
                </a:moveTo>
                <a:cubicBezTo>
                  <a:pt x="584" y="98"/>
                  <a:pt x="584" y="98"/>
                  <a:pt x="584" y="98"/>
                </a:cubicBezTo>
                <a:cubicBezTo>
                  <a:pt x="615" y="191"/>
                  <a:pt x="615" y="191"/>
                  <a:pt x="615" y="191"/>
                </a:cubicBezTo>
                <a:cubicBezTo>
                  <a:pt x="440" y="191"/>
                  <a:pt x="440" y="191"/>
                  <a:pt x="440" y="191"/>
                </a:cubicBezTo>
                <a:lnTo>
                  <a:pt x="430" y="98"/>
                </a:lnTo>
                <a:close/>
                <a:moveTo>
                  <a:pt x="580" y="84"/>
                </a:moveTo>
                <a:cubicBezTo>
                  <a:pt x="428" y="84"/>
                  <a:pt x="428" y="84"/>
                  <a:pt x="428" y="84"/>
                </a:cubicBezTo>
                <a:cubicBezTo>
                  <a:pt x="421" y="14"/>
                  <a:pt x="421" y="14"/>
                  <a:pt x="421" y="14"/>
                </a:cubicBezTo>
                <a:cubicBezTo>
                  <a:pt x="557" y="14"/>
                  <a:pt x="557" y="14"/>
                  <a:pt x="557" y="14"/>
                </a:cubicBezTo>
                <a:lnTo>
                  <a:pt x="580" y="84"/>
                </a:lnTo>
                <a:close/>
                <a:moveTo>
                  <a:pt x="120" y="14"/>
                </a:moveTo>
                <a:cubicBezTo>
                  <a:pt x="256" y="14"/>
                  <a:pt x="256" y="14"/>
                  <a:pt x="256" y="14"/>
                </a:cubicBezTo>
                <a:cubicBezTo>
                  <a:pt x="249" y="84"/>
                  <a:pt x="249" y="84"/>
                  <a:pt x="249" y="84"/>
                </a:cubicBezTo>
                <a:cubicBezTo>
                  <a:pt x="98" y="84"/>
                  <a:pt x="98" y="84"/>
                  <a:pt x="98" y="84"/>
                </a:cubicBezTo>
                <a:lnTo>
                  <a:pt x="120" y="14"/>
                </a:lnTo>
                <a:close/>
                <a:moveTo>
                  <a:pt x="58" y="205"/>
                </a:moveTo>
                <a:cubicBezTo>
                  <a:pt x="236" y="205"/>
                  <a:pt x="236" y="205"/>
                  <a:pt x="236" y="205"/>
                </a:cubicBezTo>
                <a:cubicBezTo>
                  <a:pt x="222" y="332"/>
                  <a:pt x="222" y="332"/>
                  <a:pt x="222" y="332"/>
                </a:cubicBezTo>
                <a:cubicBezTo>
                  <a:pt x="17" y="332"/>
                  <a:pt x="17" y="332"/>
                  <a:pt x="17" y="332"/>
                </a:cubicBezTo>
                <a:lnTo>
                  <a:pt x="58" y="205"/>
                </a:lnTo>
                <a:close/>
                <a:moveTo>
                  <a:pt x="455" y="332"/>
                </a:moveTo>
                <a:cubicBezTo>
                  <a:pt x="442" y="205"/>
                  <a:pt x="442" y="205"/>
                  <a:pt x="442" y="205"/>
                </a:cubicBezTo>
                <a:cubicBezTo>
                  <a:pt x="619" y="205"/>
                  <a:pt x="619" y="205"/>
                  <a:pt x="619" y="205"/>
                </a:cubicBezTo>
                <a:cubicBezTo>
                  <a:pt x="661" y="332"/>
                  <a:pt x="661" y="332"/>
                  <a:pt x="661" y="332"/>
                </a:cubicBezTo>
                <a:lnTo>
                  <a:pt x="455" y="332"/>
                </a:ln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7179" name="Oval 17"/>
          <p:cNvSpPr>
            <a:spLocks noChangeArrowheads="1"/>
          </p:cNvSpPr>
          <p:nvPr/>
        </p:nvSpPr>
        <p:spPr bwMode="auto">
          <a:xfrm>
            <a:off x="4831649" y="3120088"/>
            <a:ext cx="1119124" cy="1119124"/>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7194" name="Freeform 32"/>
          <p:cNvSpPr>
            <a:spLocks noEditPoints="1"/>
          </p:cNvSpPr>
          <p:nvPr/>
        </p:nvSpPr>
        <p:spPr bwMode="auto">
          <a:xfrm>
            <a:off x="5093715" y="3396860"/>
            <a:ext cx="594995" cy="565133"/>
          </a:xfrm>
          <a:custGeom>
            <a:avLst/>
            <a:gdLst>
              <a:gd name="T0" fmla="*/ 420 w 565"/>
              <a:gd name="T1" fmla="*/ 537 h 537"/>
              <a:gd name="T2" fmla="*/ 145 w 565"/>
              <a:gd name="T3" fmla="*/ 537 h 537"/>
              <a:gd name="T4" fmla="*/ 0 w 565"/>
              <a:gd name="T5" fmla="*/ 392 h 537"/>
              <a:gd name="T6" fmla="*/ 0 w 565"/>
              <a:gd name="T7" fmla="*/ 145 h 537"/>
              <a:gd name="T8" fmla="*/ 145 w 565"/>
              <a:gd name="T9" fmla="*/ 0 h 537"/>
              <a:gd name="T10" fmla="*/ 420 w 565"/>
              <a:gd name="T11" fmla="*/ 0 h 537"/>
              <a:gd name="T12" fmla="*/ 565 w 565"/>
              <a:gd name="T13" fmla="*/ 145 h 537"/>
              <a:gd name="T14" fmla="*/ 565 w 565"/>
              <a:gd name="T15" fmla="*/ 392 h 537"/>
              <a:gd name="T16" fmla="*/ 420 w 565"/>
              <a:gd name="T17" fmla="*/ 537 h 537"/>
              <a:gd name="T18" fmla="*/ 145 w 565"/>
              <a:gd name="T19" fmla="*/ 14 h 537"/>
              <a:gd name="T20" fmla="*/ 14 w 565"/>
              <a:gd name="T21" fmla="*/ 145 h 537"/>
              <a:gd name="T22" fmla="*/ 14 w 565"/>
              <a:gd name="T23" fmla="*/ 392 h 537"/>
              <a:gd name="T24" fmla="*/ 145 w 565"/>
              <a:gd name="T25" fmla="*/ 523 h 537"/>
              <a:gd name="T26" fmla="*/ 420 w 565"/>
              <a:gd name="T27" fmla="*/ 523 h 537"/>
              <a:gd name="T28" fmla="*/ 551 w 565"/>
              <a:gd name="T29" fmla="*/ 392 h 537"/>
              <a:gd name="T30" fmla="*/ 551 w 565"/>
              <a:gd name="T31" fmla="*/ 145 h 537"/>
              <a:gd name="T32" fmla="*/ 420 w 565"/>
              <a:gd name="T33" fmla="*/ 14 h 537"/>
              <a:gd name="T34" fmla="*/ 145 w 565"/>
              <a:gd name="T35" fmla="*/ 14 h 537"/>
              <a:gd name="T36" fmla="*/ 337 w 565"/>
              <a:gd name="T37" fmla="*/ 457 h 537"/>
              <a:gd name="T38" fmla="*/ 229 w 565"/>
              <a:gd name="T39" fmla="*/ 457 h 537"/>
              <a:gd name="T40" fmla="*/ 222 w 565"/>
              <a:gd name="T41" fmla="*/ 450 h 537"/>
              <a:gd name="T42" fmla="*/ 222 w 565"/>
              <a:gd name="T43" fmla="*/ 393 h 537"/>
              <a:gd name="T44" fmla="*/ 283 w 565"/>
              <a:gd name="T45" fmla="*/ 332 h 537"/>
              <a:gd name="T46" fmla="*/ 344 w 565"/>
              <a:gd name="T47" fmla="*/ 393 h 537"/>
              <a:gd name="T48" fmla="*/ 344 w 565"/>
              <a:gd name="T49" fmla="*/ 450 h 537"/>
              <a:gd name="T50" fmla="*/ 337 w 565"/>
              <a:gd name="T51" fmla="*/ 457 h 537"/>
              <a:gd name="T52" fmla="*/ 236 w 565"/>
              <a:gd name="T53" fmla="*/ 443 h 537"/>
              <a:gd name="T54" fmla="*/ 330 w 565"/>
              <a:gd name="T55" fmla="*/ 443 h 537"/>
              <a:gd name="T56" fmla="*/ 330 w 565"/>
              <a:gd name="T57" fmla="*/ 393 h 537"/>
              <a:gd name="T58" fmla="*/ 283 w 565"/>
              <a:gd name="T59" fmla="*/ 346 h 537"/>
              <a:gd name="T60" fmla="*/ 236 w 565"/>
              <a:gd name="T61" fmla="*/ 393 h 537"/>
              <a:gd name="T62" fmla="*/ 236 w 565"/>
              <a:gd name="T63" fmla="*/ 443 h 537"/>
              <a:gd name="T64" fmla="*/ 438 w 565"/>
              <a:gd name="T65" fmla="*/ 286 h 537"/>
              <a:gd name="T66" fmla="*/ 376 w 565"/>
              <a:gd name="T67" fmla="*/ 286 h 537"/>
              <a:gd name="T68" fmla="*/ 369 w 565"/>
              <a:gd name="T69" fmla="*/ 279 h 537"/>
              <a:gd name="T70" fmla="*/ 369 w 565"/>
              <a:gd name="T71" fmla="*/ 110 h 537"/>
              <a:gd name="T72" fmla="*/ 376 w 565"/>
              <a:gd name="T73" fmla="*/ 103 h 537"/>
              <a:gd name="T74" fmla="*/ 438 w 565"/>
              <a:gd name="T75" fmla="*/ 103 h 537"/>
              <a:gd name="T76" fmla="*/ 445 w 565"/>
              <a:gd name="T77" fmla="*/ 110 h 537"/>
              <a:gd name="T78" fmla="*/ 445 w 565"/>
              <a:gd name="T79" fmla="*/ 279 h 537"/>
              <a:gd name="T80" fmla="*/ 438 w 565"/>
              <a:gd name="T81" fmla="*/ 286 h 537"/>
              <a:gd name="T82" fmla="*/ 383 w 565"/>
              <a:gd name="T83" fmla="*/ 272 h 537"/>
              <a:gd name="T84" fmla="*/ 431 w 565"/>
              <a:gd name="T85" fmla="*/ 272 h 537"/>
              <a:gd name="T86" fmla="*/ 431 w 565"/>
              <a:gd name="T87" fmla="*/ 117 h 537"/>
              <a:gd name="T88" fmla="*/ 383 w 565"/>
              <a:gd name="T89" fmla="*/ 117 h 537"/>
              <a:gd name="T90" fmla="*/ 383 w 565"/>
              <a:gd name="T91" fmla="*/ 272 h 537"/>
              <a:gd name="T92" fmla="*/ 189 w 565"/>
              <a:gd name="T93" fmla="*/ 286 h 537"/>
              <a:gd name="T94" fmla="*/ 127 w 565"/>
              <a:gd name="T95" fmla="*/ 286 h 537"/>
              <a:gd name="T96" fmla="*/ 120 w 565"/>
              <a:gd name="T97" fmla="*/ 279 h 537"/>
              <a:gd name="T98" fmla="*/ 120 w 565"/>
              <a:gd name="T99" fmla="*/ 110 h 537"/>
              <a:gd name="T100" fmla="*/ 127 w 565"/>
              <a:gd name="T101" fmla="*/ 103 h 537"/>
              <a:gd name="T102" fmla="*/ 189 w 565"/>
              <a:gd name="T103" fmla="*/ 103 h 537"/>
              <a:gd name="T104" fmla="*/ 196 w 565"/>
              <a:gd name="T105" fmla="*/ 110 h 537"/>
              <a:gd name="T106" fmla="*/ 196 w 565"/>
              <a:gd name="T107" fmla="*/ 279 h 537"/>
              <a:gd name="T108" fmla="*/ 189 w 565"/>
              <a:gd name="T109" fmla="*/ 286 h 537"/>
              <a:gd name="T110" fmla="*/ 134 w 565"/>
              <a:gd name="T111" fmla="*/ 272 h 537"/>
              <a:gd name="T112" fmla="*/ 182 w 565"/>
              <a:gd name="T113" fmla="*/ 272 h 537"/>
              <a:gd name="T114" fmla="*/ 182 w 565"/>
              <a:gd name="T115" fmla="*/ 117 h 537"/>
              <a:gd name="T116" fmla="*/ 134 w 565"/>
              <a:gd name="T117" fmla="*/ 117 h 537"/>
              <a:gd name="T118" fmla="*/ 134 w 565"/>
              <a:gd name="T119" fmla="*/ 272 h 5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65" h="537">
                <a:moveTo>
                  <a:pt x="420" y="537"/>
                </a:moveTo>
                <a:cubicBezTo>
                  <a:pt x="145" y="537"/>
                  <a:pt x="145" y="537"/>
                  <a:pt x="145" y="537"/>
                </a:cubicBezTo>
                <a:cubicBezTo>
                  <a:pt x="65" y="537"/>
                  <a:pt x="0" y="472"/>
                  <a:pt x="0" y="392"/>
                </a:cubicBezTo>
                <a:cubicBezTo>
                  <a:pt x="0" y="145"/>
                  <a:pt x="0" y="145"/>
                  <a:pt x="0" y="145"/>
                </a:cubicBezTo>
                <a:cubicBezTo>
                  <a:pt x="0" y="65"/>
                  <a:pt x="65" y="0"/>
                  <a:pt x="145" y="0"/>
                </a:cubicBezTo>
                <a:cubicBezTo>
                  <a:pt x="420" y="0"/>
                  <a:pt x="420" y="0"/>
                  <a:pt x="420" y="0"/>
                </a:cubicBezTo>
                <a:cubicBezTo>
                  <a:pt x="500" y="0"/>
                  <a:pt x="565" y="65"/>
                  <a:pt x="565" y="145"/>
                </a:cubicBezTo>
                <a:cubicBezTo>
                  <a:pt x="565" y="392"/>
                  <a:pt x="565" y="392"/>
                  <a:pt x="565" y="392"/>
                </a:cubicBezTo>
                <a:cubicBezTo>
                  <a:pt x="565" y="472"/>
                  <a:pt x="500" y="537"/>
                  <a:pt x="420" y="537"/>
                </a:cubicBezTo>
                <a:close/>
                <a:moveTo>
                  <a:pt x="145" y="14"/>
                </a:moveTo>
                <a:cubicBezTo>
                  <a:pt x="73" y="14"/>
                  <a:pt x="14" y="72"/>
                  <a:pt x="14" y="145"/>
                </a:cubicBezTo>
                <a:cubicBezTo>
                  <a:pt x="14" y="392"/>
                  <a:pt x="14" y="392"/>
                  <a:pt x="14" y="392"/>
                </a:cubicBezTo>
                <a:cubicBezTo>
                  <a:pt x="14" y="464"/>
                  <a:pt x="73" y="523"/>
                  <a:pt x="145" y="523"/>
                </a:cubicBezTo>
                <a:cubicBezTo>
                  <a:pt x="420" y="523"/>
                  <a:pt x="420" y="523"/>
                  <a:pt x="420" y="523"/>
                </a:cubicBezTo>
                <a:cubicBezTo>
                  <a:pt x="492" y="523"/>
                  <a:pt x="551" y="464"/>
                  <a:pt x="551" y="392"/>
                </a:cubicBezTo>
                <a:cubicBezTo>
                  <a:pt x="551" y="145"/>
                  <a:pt x="551" y="145"/>
                  <a:pt x="551" y="145"/>
                </a:cubicBezTo>
                <a:cubicBezTo>
                  <a:pt x="551" y="72"/>
                  <a:pt x="492" y="14"/>
                  <a:pt x="420" y="14"/>
                </a:cubicBezTo>
                <a:lnTo>
                  <a:pt x="145" y="14"/>
                </a:lnTo>
                <a:close/>
                <a:moveTo>
                  <a:pt x="337" y="457"/>
                </a:moveTo>
                <a:cubicBezTo>
                  <a:pt x="229" y="457"/>
                  <a:pt x="229" y="457"/>
                  <a:pt x="229" y="457"/>
                </a:cubicBezTo>
                <a:cubicBezTo>
                  <a:pt x="225" y="457"/>
                  <a:pt x="222" y="454"/>
                  <a:pt x="222" y="450"/>
                </a:cubicBezTo>
                <a:cubicBezTo>
                  <a:pt x="222" y="393"/>
                  <a:pt x="222" y="393"/>
                  <a:pt x="222" y="393"/>
                </a:cubicBezTo>
                <a:cubicBezTo>
                  <a:pt x="222" y="359"/>
                  <a:pt x="249" y="332"/>
                  <a:pt x="283" y="332"/>
                </a:cubicBezTo>
                <a:cubicBezTo>
                  <a:pt x="316" y="332"/>
                  <a:pt x="344" y="359"/>
                  <a:pt x="344" y="393"/>
                </a:cubicBezTo>
                <a:cubicBezTo>
                  <a:pt x="344" y="450"/>
                  <a:pt x="344" y="450"/>
                  <a:pt x="344" y="450"/>
                </a:cubicBezTo>
                <a:cubicBezTo>
                  <a:pt x="344" y="454"/>
                  <a:pt x="340" y="457"/>
                  <a:pt x="337" y="457"/>
                </a:cubicBezTo>
                <a:close/>
                <a:moveTo>
                  <a:pt x="236" y="443"/>
                </a:moveTo>
                <a:cubicBezTo>
                  <a:pt x="330" y="443"/>
                  <a:pt x="330" y="443"/>
                  <a:pt x="330" y="443"/>
                </a:cubicBezTo>
                <a:cubicBezTo>
                  <a:pt x="330" y="393"/>
                  <a:pt x="330" y="393"/>
                  <a:pt x="330" y="393"/>
                </a:cubicBezTo>
                <a:cubicBezTo>
                  <a:pt x="330" y="367"/>
                  <a:pt x="308" y="346"/>
                  <a:pt x="283" y="346"/>
                </a:cubicBezTo>
                <a:cubicBezTo>
                  <a:pt x="257" y="346"/>
                  <a:pt x="236" y="367"/>
                  <a:pt x="236" y="393"/>
                </a:cubicBezTo>
                <a:lnTo>
                  <a:pt x="236" y="443"/>
                </a:lnTo>
                <a:close/>
                <a:moveTo>
                  <a:pt x="438" y="286"/>
                </a:moveTo>
                <a:cubicBezTo>
                  <a:pt x="376" y="286"/>
                  <a:pt x="376" y="286"/>
                  <a:pt x="376" y="286"/>
                </a:cubicBezTo>
                <a:cubicBezTo>
                  <a:pt x="372" y="286"/>
                  <a:pt x="369" y="283"/>
                  <a:pt x="369" y="279"/>
                </a:cubicBezTo>
                <a:cubicBezTo>
                  <a:pt x="369" y="110"/>
                  <a:pt x="369" y="110"/>
                  <a:pt x="369" y="110"/>
                </a:cubicBezTo>
                <a:cubicBezTo>
                  <a:pt x="369" y="106"/>
                  <a:pt x="372" y="103"/>
                  <a:pt x="376" y="103"/>
                </a:cubicBezTo>
                <a:cubicBezTo>
                  <a:pt x="438" y="103"/>
                  <a:pt x="438" y="103"/>
                  <a:pt x="438" y="103"/>
                </a:cubicBezTo>
                <a:cubicBezTo>
                  <a:pt x="442" y="103"/>
                  <a:pt x="445" y="106"/>
                  <a:pt x="445" y="110"/>
                </a:cubicBezTo>
                <a:cubicBezTo>
                  <a:pt x="445" y="279"/>
                  <a:pt x="445" y="279"/>
                  <a:pt x="445" y="279"/>
                </a:cubicBezTo>
                <a:cubicBezTo>
                  <a:pt x="445" y="283"/>
                  <a:pt x="442" y="286"/>
                  <a:pt x="438" y="286"/>
                </a:cubicBezTo>
                <a:close/>
                <a:moveTo>
                  <a:pt x="383" y="272"/>
                </a:moveTo>
                <a:cubicBezTo>
                  <a:pt x="431" y="272"/>
                  <a:pt x="431" y="272"/>
                  <a:pt x="431" y="272"/>
                </a:cubicBezTo>
                <a:cubicBezTo>
                  <a:pt x="431" y="117"/>
                  <a:pt x="431" y="117"/>
                  <a:pt x="431" y="117"/>
                </a:cubicBezTo>
                <a:cubicBezTo>
                  <a:pt x="383" y="117"/>
                  <a:pt x="383" y="117"/>
                  <a:pt x="383" y="117"/>
                </a:cubicBezTo>
                <a:lnTo>
                  <a:pt x="383" y="272"/>
                </a:lnTo>
                <a:close/>
                <a:moveTo>
                  <a:pt x="189" y="286"/>
                </a:moveTo>
                <a:cubicBezTo>
                  <a:pt x="127" y="286"/>
                  <a:pt x="127" y="286"/>
                  <a:pt x="127" y="286"/>
                </a:cubicBezTo>
                <a:cubicBezTo>
                  <a:pt x="123" y="286"/>
                  <a:pt x="120" y="283"/>
                  <a:pt x="120" y="279"/>
                </a:cubicBezTo>
                <a:cubicBezTo>
                  <a:pt x="120" y="110"/>
                  <a:pt x="120" y="110"/>
                  <a:pt x="120" y="110"/>
                </a:cubicBezTo>
                <a:cubicBezTo>
                  <a:pt x="120" y="106"/>
                  <a:pt x="123" y="103"/>
                  <a:pt x="127" y="103"/>
                </a:cubicBezTo>
                <a:cubicBezTo>
                  <a:pt x="189" y="103"/>
                  <a:pt x="189" y="103"/>
                  <a:pt x="189" y="103"/>
                </a:cubicBezTo>
                <a:cubicBezTo>
                  <a:pt x="193" y="103"/>
                  <a:pt x="196" y="106"/>
                  <a:pt x="196" y="110"/>
                </a:cubicBezTo>
                <a:cubicBezTo>
                  <a:pt x="196" y="279"/>
                  <a:pt x="196" y="279"/>
                  <a:pt x="196" y="279"/>
                </a:cubicBezTo>
                <a:cubicBezTo>
                  <a:pt x="196" y="283"/>
                  <a:pt x="193" y="286"/>
                  <a:pt x="189" y="286"/>
                </a:cubicBezTo>
                <a:close/>
                <a:moveTo>
                  <a:pt x="134" y="272"/>
                </a:moveTo>
                <a:cubicBezTo>
                  <a:pt x="182" y="272"/>
                  <a:pt x="182" y="272"/>
                  <a:pt x="182" y="272"/>
                </a:cubicBezTo>
                <a:cubicBezTo>
                  <a:pt x="182" y="117"/>
                  <a:pt x="182" y="117"/>
                  <a:pt x="182" y="117"/>
                </a:cubicBezTo>
                <a:cubicBezTo>
                  <a:pt x="134" y="117"/>
                  <a:pt x="134" y="117"/>
                  <a:pt x="134" y="117"/>
                </a:cubicBezTo>
                <a:lnTo>
                  <a:pt x="134" y="272"/>
                </a:ln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7176" name="Oval 14"/>
          <p:cNvSpPr>
            <a:spLocks noChangeArrowheads="1"/>
          </p:cNvSpPr>
          <p:nvPr/>
        </p:nvSpPr>
        <p:spPr bwMode="auto">
          <a:xfrm>
            <a:off x="8347593" y="1528549"/>
            <a:ext cx="1119124" cy="1119124"/>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7195" name="Freeform 33"/>
          <p:cNvSpPr>
            <a:spLocks noEditPoints="1"/>
          </p:cNvSpPr>
          <p:nvPr/>
        </p:nvSpPr>
        <p:spPr bwMode="auto">
          <a:xfrm>
            <a:off x="8603418" y="1723315"/>
            <a:ext cx="607473" cy="729592"/>
          </a:xfrm>
          <a:custGeom>
            <a:avLst/>
            <a:gdLst>
              <a:gd name="T0" fmla="*/ 319 w 577"/>
              <a:gd name="T1" fmla="*/ 583 h 693"/>
              <a:gd name="T2" fmla="*/ 242 w 577"/>
              <a:gd name="T3" fmla="*/ 444 h 693"/>
              <a:gd name="T4" fmla="*/ 242 w 577"/>
              <a:gd name="T5" fmla="*/ 590 h 693"/>
              <a:gd name="T6" fmla="*/ 305 w 577"/>
              <a:gd name="T7" fmla="*/ 576 h 693"/>
              <a:gd name="T8" fmla="*/ 361 w 577"/>
              <a:gd name="T9" fmla="*/ 590 h 693"/>
              <a:gd name="T10" fmla="*/ 439 w 577"/>
              <a:gd name="T11" fmla="*/ 451 h 693"/>
              <a:gd name="T12" fmla="*/ 354 w 577"/>
              <a:gd name="T13" fmla="*/ 451 h 693"/>
              <a:gd name="T14" fmla="*/ 368 w 577"/>
              <a:gd name="T15" fmla="*/ 458 h 693"/>
              <a:gd name="T16" fmla="*/ 368 w 577"/>
              <a:gd name="T17" fmla="*/ 576 h 693"/>
              <a:gd name="T18" fmla="*/ 193 w 577"/>
              <a:gd name="T19" fmla="*/ 590 h 693"/>
              <a:gd name="T20" fmla="*/ 193 w 577"/>
              <a:gd name="T21" fmla="*/ 444 h 693"/>
              <a:gd name="T22" fmla="*/ 117 w 577"/>
              <a:gd name="T23" fmla="*/ 583 h 693"/>
              <a:gd name="T24" fmla="*/ 186 w 577"/>
              <a:gd name="T25" fmla="*/ 458 h 693"/>
              <a:gd name="T26" fmla="*/ 131 w 577"/>
              <a:gd name="T27" fmla="*/ 458 h 693"/>
              <a:gd name="T28" fmla="*/ 423 w 577"/>
              <a:gd name="T29" fmla="*/ 24 h 693"/>
              <a:gd name="T30" fmla="*/ 133 w 577"/>
              <a:gd name="T31" fmla="*/ 127 h 693"/>
              <a:gd name="T32" fmla="*/ 113 w 577"/>
              <a:gd name="T33" fmla="*/ 168 h 693"/>
              <a:gd name="T34" fmla="*/ 20 w 577"/>
              <a:gd name="T35" fmla="*/ 287 h 693"/>
              <a:gd name="T36" fmla="*/ 0 w 577"/>
              <a:gd name="T37" fmla="*/ 676 h 693"/>
              <a:gd name="T38" fmla="*/ 489 w 577"/>
              <a:gd name="T39" fmla="*/ 676 h 693"/>
              <a:gd name="T40" fmla="*/ 131 w 577"/>
              <a:gd name="T41" fmla="*/ 388 h 693"/>
              <a:gd name="T42" fmla="*/ 143 w 577"/>
              <a:gd name="T43" fmla="*/ 280 h 693"/>
              <a:gd name="T44" fmla="*/ 274 w 577"/>
              <a:gd name="T45" fmla="*/ 234 h 693"/>
              <a:gd name="T46" fmla="*/ 456 w 577"/>
              <a:gd name="T47" fmla="*/ 234 h 693"/>
              <a:gd name="T48" fmla="*/ 524 w 577"/>
              <a:gd name="T49" fmla="*/ 95 h 693"/>
              <a:gd name="T50" fmla="*/ 117 w 577"/>
              <a:gd name="T51" fmla="*/ 395 h 693"/>
              <a:gd name="T52" fmla="*/ 475 w 577"/>
              <a:gd name="T53" fmla="*/ 405 h 693"/>
              <a:gd name="T54" fmla="*/ 17 w 577"/>
              <a:gd name="T55" fmla="*/ 679 h 693"/>
              <a:gd name="T56" fmla="*/ 17 w 577"/>
              <a:gd name="T57" fmla="*/ 301 h 693"/>
              <a:gd name="T58" fmla="*/ 114 w 577"/>
              <a:gd name="T59" fmla="*/ 301 h 693"/>
              <a:gd name="T60" fmla="*/ 456 w 577"/>
              <a:gd name="T61" fmla="*/ 220 h 693"/>
              <a:gd name="T62" fmla="*/ 397 w 577"/>
              <a:gd name="T63" fmla="*/ 197 h 693"/>
              <a:gd name="T64" fmla="*/ 275 w 577"/>
              <a:gd name="T65" fmla="*/ 217 h 693"/>
              <a:gd name="T66" fmla="*/ 221 w 577"/>
              <a:gd name="T67" fmla="*/ 270 h 693"/>
              <a:gd name="T68" fmla="*/ 138 w 577"/>
              <a:gd name="T69" fmla="*/ 263 h 693"/>
              <a:gd name="T70" fmla="*/ 34 w 577"/>
              <a:gd name="T71" fmla="*/ 287 h 693"/>
              <a:gd name="T72" fmla="*/ 79 w 577"/>
              <a:gd name="T73" fmla="*/ 216 h 693"/>
              <a:gd name="T74" fmla="*/ 135 w 577"/>
              <a:gd name="T75" fmla="*/ 182 h 693"/>
              <a:gd name="T76" fmla="*/ 147 w 577"/>
              <a:gd name="T77" fmla="*/ 127 h 693"/>
              <a:gd name="T78" fmla="*/ 360 w 577"/>
              <a:gd name="T79" fmla="*/ 67 h 693"/>
              <a:gd name="T80" fmla="*/ 497 w 577"/>
              <a:gd name="T81" fmla="*/ 107 h 693"/>
              <a:gd name="T82" fmla="*/ 524 w 577"/>
              <a:gd name="T83" fmla="*/ 109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77" h="693">
                <a:moveTo>
                  <a:pt x="242" y="590"/>
                </a:moveTo>
                <a:cubicBezTo>
                  <a:pt x="312" y="590"/>
                  <a:pt x="312" y="590"/>
                  <a:pt x="312" y="590"/>
                </a:cubicBezTo>
                <a:cubicBezTo>
                  <a:pt x="316" y="590"/>
                  <a:pt x="319" y="587"/>
                  <a:pt x="319" y="583"/>
                </a:cubicBezTo>
                <a:cubicBezTo>
                  <a:pt x="319" y="451"/>
                  <a:pt x="319" y="451"/>
                  <a:pt x="319" y="451"/>
                </a:cubicBezTo>
                <a:cubicBezTo>
                  <a:pt x="319" y="447"/>
                  <a:pt x="316" y="444"/>
                  <a:pt x="312" y="444"/>
                </a:cubicBezTo>
                <a:cubicBezTo>
                  <a:pt x="242" y="444"/>
                  <a:pt x="242" y="444"/>
                  <a:pt x="242" y="444"/>
                </a:cubicBezTo>
                <a:cubicBezTo>
                  <a:pt x="238" y="444"/>
                  <a:pt x="235" y="447"/>
                  <a:pt x="235" y="451"/>
                </a:cubicBezTo>
                <a:cubicBezTo>
                  <a:pt x="235" y="583"/>
                  <a:pt x="235" y="583"/>
                  <a:pt x="235" y="583"/>
                </a:cubicBezTo>
                <a:cubicBezTo>
                  <a:pt x="235" y="587"/>
                  <a:pt x="238" y="590"/>
                  <a:pt x="242" y="590"/>
                </a:cubicBezTo>
                <a:close/>
                <a:moveTo>
                  <a:pt x="249" y="458"/>
                </a:moveTo>
                <a:cubicBezTo>
                  <a:pt x="305" y="458"/>
                  <a:pt x="305" y="458"/>
                  <a:pt x="305" y="458"/>
                </a:cubicBezTo>
                <a:cubicBezTo>
                  <a:pt x="305" y="576"/>
                  <a:pt x="305" y="576"/>
                  <a:pt x="305" y="576"/>
                </a:cubicBezTo>
                <a:cubicBezTo>
                  <a:pt x="249" y="576"/>
                  <a:pt x="249" y="576"/>
                  <a:pt x="249" y="576"/>
                </a:cubicBezTo>
                <a:lnTo>
                  <a:pt x="249" y="458"/>
                </a:lnTo>
                <a:close/>
                <a:moveTo>
                  <a:pt x="361" y="590"/>
                </a:moveTo>
                <a:cubicBezTo>
                  <a:pt x="432" y="590"/>
                  <a:pt x="432" y="590"/>
                  <a:pt x="432" y="590"/>
                </a:cubicBezTo>
                <a:cubicBezTo>
                  <a:pt x="436" y="590"/>
                  <a:pt x="439" y="587"/>
                  <a:pt x="439" y="583"/>
                </a:cubicBezTo>
                <a:cubicBezTo>
                  <a:pt x="439" y="451"/>
                  <a:pt x="439" y="451"/>
                  <a:pt x="439" y="451"/>
                </a:cubicBezTo>
                <a:cubicBezTo>
                  <a:pt x="439" y="447"/>
                  <a:pt x="436" y="444"/>
                  <a:pt x="432" y="444"/>
                </a:cubicBezTo>
                <a:cubicBezTo>
                  <a:pt x="361" y="444"/>
                  <a:pt x="361" y="444"/>
                  <a:pt x="361" y="444"/>
                </a:cubicBezTo>
                <a:cubicBezTo>
                  <a:pt x="358" y="444"/>
                  <a:pt x="354" y="447"/>
                  <a:pt x="354" y="451"/>
                </a:cubicBezTo>
                <a:cubicBezTo>
                  <a:pt x="354" y="583"/>
                  <a:pt x="354" y="583"/>
                  <a:pt x="354" y="583"/>
                </a:cubicBezTo>
                <a:cubicBezTo>
                  <a:pt x="354" y="587"/>
                  <a:pt x="358" y="590"/>
                  <a:pt x="361" y="590"/>
                </a:cubicBezTo>
                <a:close/>
                <a:moveTo>
                  <a:pt x="368" y="458"/>
                </a:moveTo>
                <a:cubicBezTo>
                  <a:pt x="425" y="458"/>
                  <a:pt x="425" y="458"/>
                  <a:pt x="425" y="458"/>
                </a:cubicBezTo>
                <a:cubicBezTo>
                  <a:pt x="425" y="576"/>
                  <a:pt x="425" y="576"/>
                  <a:pt x="425" y="576"/>
                </a:cubicBezTo>
                <a:cubicBezTo>
                  <a:pt x="368" y="576"/>
                  <a:pt x="368" y="576"/>
                  <a:pt x="368" y="576"/>
                </a:cubicBezTo>
                <a:lnTo>
                  <a:pt x="368" y="458"/>
                </a:lnTo>
                <a:close/>
                <a:moveTo>
                  <a:pt x="124" y="590"/>
                </a:moveTo>
                <a:cubicBezTo>
                  <a:pt x="193" y="590"/>
                  <a:pt x="193" y="590"/>
                  <a:pt x="193" y="590"/>
                </a:cubicBezTo>
                <a:cubicBezTo>
                  <a:pt x="197" y="590"/>
                  <a:pt x="200" y="587"/>
                  <a:pt x="200" y="583"/>
                </a:cubicBezTo>
                <a:cubicBezTo>
                  <a:pt x="200" y="451"/>
                  <a:pt x="200" y="451"/>
                  <a:pt x="200" y="451"/>
                </a:cubicBezTo>
                <a:cubicBezTo>
                  <a:pt x="200" y="447"/>
                  <a:pt x="197" y="444"/>
                  <a:pt x="193" y="444"/>
                </a:cubicBezTo>
                <a:cubicBezTo>
                  <a:pt x="124" y="444"/>
                  <a:pt x="124" y="444"/>
                  <a:pt x="124" y="444"/>
                </a:cubicBezTo>
                <a:cubicBezTo>
                  <a:pt x="120" y="444"/>
                  <a:pt x="117" y="447"/>
                  <a:pt x="117" y="451"/>
                </a:cubicBezTo>
                <a:cubicBezTo>
                  <a:pt x="117" y="583"/>
                  <a:pt x="117" y="583"/>
                  <a:pt x="117" y="583"/>
                </a:cubicBezTo>
                <a:cubicBezTo>
                  <a:pt x="117" y="587"/>
                  <a:pt x="120" y="590"/>
                  <a:pt x="124" y="590"/>
                </a:cubicBezTo>
                <a:close/>
                <a:moveTo>
                  <a:pt x="131" y="458"/>
                </a:moveTo>
                <a:cubicBezTo>
                  <a:pt x="186" y="458"/>
                  <a:pt x="186" y="458"/>
                  <a:pt x="186" y="458"/>
                </a:cubicBezTo>
                <a:cubicBezTo>
                  <a:pt x="186" y="576"/>
                  <a:pt x="186" y="576"/>
                  <a:pt x="186" y="576"/>
                </a:cubicBezTo>
                <a:cubicBezTo>
                  <a:pt x="131" y="576"/>
                  <a:pt x="131" y="576"/>
                  <a:pt x="131" y="576"/>
                </a:cubicBezTo>
                <a:lnTo>
                  <a:pt x="131" y="458"/>
                </a:lnTo>
                <a:close/>
                <a:moveTo>
                  <a:pt x="524" y="95"/>
                </a:moveTo>
                <a:cubicBezTo>
                  <a:pt x="519" y="95"/>
                  <a:pt x="514" y="96"/>
                  <a:pt x="510" y="97"/>
                </a:cubicBezTo>
                <a:cubicBezTo>
                  <a:pt x="502" y="56"/>
                  <a:pt x="466" y="24"/>
                  <a:pt x="423" y="24"/>
                </a:cubicBezTo>
                <a:cubicBezTo>
                  <a:pt x="399" y="24"/>
                  <a:pt x="377" y="33"/>
                  <a:pt x="361" y="49"/>
                </a:cubicBezTo>
                <a:cubicBezTo>
                  <a:pt x="337" y="18"/>
                  <a:pt x="300" y="0"/>
                  <a:pt x="260" y="0"/>
                </a:cubicBezTo>
                <a:cubicBezTo>
                  <a:pt x="190" y="0"/>
                  <a:pt x="133" y="57"/>
                  <a:pt x="133" y="127"/>
                </a:cubicBezTo>
                <a:cubicBezTo>
                  <a:pt x="133" y="138"/>
                  <a:pt x="134" y="149"/>
                  <a:pt x="137" y="159"/>
                </a:cubicBezTo>
                <a:cubicBezTo>
                  <a:pt x="133" y="162"/>
                  <a:pt x="130" y="166"/>
                  <a:pt x="127" y="170"/>
                </a:cubicBezTo>
                <a:cubicBezTo>
                  <a:pt x="122" y="169"/>
                  <a:pt x="118" y="168"/>
                  <a:pt x="113" y="168"/>
                </a:cubicBezTo>
                <a:cubicBezTo>
                  <a:pt x="86" y="168"/>
                  <a:pt x="65" y="189"/>
                  <a:pt x="65" y="216"/>
                </a:cubicBezTo>
                <a:cubicBezTo>
                  <a:pt x="65" y="218"/>
                  <a:pt x="65" y="220"/>
                  <a:pt x="66" y="222"/>
                </a:cubicBezTo>
                <a:cubicBezTo>
                  <a:pt x="40" y="234"/>
                  <a:pt x="23" y="259"/>
                  <a:pt x="20" y="287"/>
                </a:cubicBezTo>
                <a:cubicBezTo>
                  <a:pt x="17" y="287"/>
                  <a:pt x="17" y="287"/>
                  <a:pt x="17" y="287"/>
                </a:cubicBezTo>
                <a:cubicBezTo>
                  <a:pt x="8" y="287"/>
                  <a:pt x="0" y="295"/>
                  <a:pt x="0" y="304"/>
                </a:cubicBezTo>
                <a:cubicBezTo>
                  <a:pt x="0" y="676"/>
                  <a:pt x="0" y="676"/>
                  <a:pt x="0" y="676"/>
                </a:cubicBezTo>
                <a:cubicBezTo>
                  <a:pt x="0" y="685"/>
                  <a:pt x="8" y="693"/>
                  <a:pt x="17" y="693"/>
                </a:cubicBezTo>
                <a:cubicBezTo>
                  <a:pt x="472" y="693"/>
                  <a:pt x="472" y="693"/>
                  <a:pt x="472" y="693"/>
                </a:cubicBezTo>
                <a:cubicBezTo>
                  <a:pt x="482" y="693"/>
                  <a:pt x="489" y="685"/>
                  <a:pt x="489" y="676"/>
                </a:cubicBezTo>
                <a:cubicBezTo>
                  <a:pt x="489" y="405"/>
                  <a:pt x="489" y="405"/>
                  <a:pt x="489" y="405"/>
                </a:cubicBezTo>
                <a:cubicBezTo>
                  <a:pt x="489" y="396"/>
                  <a:pt x="482" y="388"/>
                  <a:pt x="472" y="388"/>
                </a:cubicBezTo>
                <a:cubicBezTo>
                  <a:pt x="131" y="388"/>
                  <a:pt x="131" y="388"/>
                  <a:pt x="131" y="388"/>
                </a:cubicBezTo>
                <a:cubicBezTo>
                  <a:pt x="131" y="304"/>
                  <a:pt x="131" y="304"/>
                  <a:pt x="131" y="304"/>
                </a:cubicBezTo>
                <a:cubicBezTo>
                  <a:pt x="131" y="301"/>
                  <a:pt x="130" y="297"/>
                  <a:pt x="128" y="295"/>
                </a:cubicBezTo>
                <a:cubicBezTo>
                  <a:pt x="134" y="291"/>
                  <a:pt x="139" y="286"/>
                  <a:pt x="143" y="280"/>
                </a:cubicBezTo>
                <a:cubicBezTo>
                  <a:pt x="157" y="287"/>
                  <a:pt x="172" y="291"/>
                  <a:pt x="188" y="291"/>
                </a:cubicBezTo>
                <a:cubicBezTo>
                  <a:pt x="201" y="291"/>
                  <a:pt x="214" y="288"/>
                  <a:pt x="227" y="282"/>
                </a:cubicBezTo>
                <a:cubicBezTo>
                  <a:pt x="248" y="273"/>
                  <a:pt x="265" y="255"/>
                  <a:pt x="274" y="234"/>
                </a:cubicBezTo>
                <a:cubicBezTo>
                  <a:pt x="299" y="248"/>
                  <a:pt x="329" y="252"/>
                  <a:pt x="357" y="244"/>
                </a:cubicBezTo>
                <a:cubicBezTo>
                  <a:pt x="375" y="238"/>
                  <a:pt x="391" y="227"/>
                  <a:pt x="404" y="212"/>
                </a:cubicBezTo>
                <a:cubicBezTo>
                  <a:pt x="418" y="226"/>
                  <a:pt x="436" y="234"/>
                  <a:pt x="456" y="234"/>
                </a:cubicBezTo>
                <a:cubicBezTo>
                  <a:pt x="480" y="234"/>
                  <a:pt x="503" y="222"/>
                  <a:pt x="517" y="202"/>
                </a:cubicBezTo>
                <a:cubicBezTo>
                  <a:pt x="549" y="206"/>
                  <a:pt x="577" y="181"/>
                  <a:pt x="577" y="149"/>
                </a:cubicBezTo>
                <a:cubicBezTo>
                  <a:pt x="577" y="119"/>
                  <a:pt x="553" y="95"/>
                  <a:pt x="524" y="95"/>
                </a:cubicBezTo>
                <a:close/>
                <a:moveTo>
                  <a:pt x="114" y="301"/>
                </a:moveTo>
                <a:cubicBezTo>
                  <a:pt x="115" y="301"/>
                  <a:pt x="117" y="302"/>
                  <a:pt x="117" y="304"/>
                </a:cubicBezTo>
                <a:cubicBezTo>
                  <a:pt x="117" y="395"/>
                  <a:pt x="117" y="395"/>
                  <a:pt x="117" y="395"/>
                </a:cubicBezTo>
                <a:cubicBezTo>
                  <a:pt x="117" y="399"/>
                  <a:pt x="120" y="402"/>
                  <a:pt x="124" y="402"/>
                </a:cubicBezTo>
                <a:cubicBezTo>
                  <a:pt x="472" y="402"/>
                  <a:pt x="472" y="402"/>
                  <a:pt x="472" y="402"/>
                </a:cubicBezTo>
                <a:cubicBezTo>
                  <a:pt x="474" y="402"/>
                  <a:pt x="475" y="403"/>
                  <a:pt x="475" y="405"/>
                </a:cubicBezTo>
                <a:cubicBezTo>
                  <a:pt x="475" y="676"/>
                  <a:pt x="475" y="676"/>
                  <a:pt x="475" y="676"/>
                </a:cubicBezTo>
                <a:cubicBezTo>
                  <a:pt x="475" y="678"/>
                  <a:pt x="474" y="679"/>
                  <a:pt x="472" y="679"/>
                </a:cubicBezTo>
                <a:cubicBezTo>
                  <a:pt x="17" y="679"/>
                  <a:pt x="17" y="679"/>
                  <a:pt x="17" y="679"/>
                </a:cubicBezTo>
                <a:cubicBezTo>
                  <a:pt x="15" y="679"/>
                  <a:pt x="14" y="678"/>
                  <a:pt x="14" y="676"/>
                </a:cubicBezTo>
                <a:cubicBezTo>
                  <a:pt x="14" y="304"/>
                  <a:pt x="14" y="304"/>
                  <a:pt x="14" y="304"/>
                </a:cubicBezTo>
                <a:cubicBezTo>
                  <a:pt x="14" y="302"/>
                  <a:pt x="15" y="301"/>
                  <a:pt x="17" y="301"/>
                </a:cubicBezTo>
                <a:cubicBezTo>
                  <a:pt x="27" y="301"/>
                  <a:pt x="27" y="301"/>
                  <a:pt x="27" y="301"/>
                </a:cubicBezTo>
                <a:cubicBezTo>
                  <a:pt x="106" y="301"/>
                  <a:pt x="106" y="301"/>
                  <a:pt x="106" y="301"/>
                </a:cubicBezTo>
                <a:lnTo>
                  <a:pt x="114" y="301"/>
                </a:lnTo>
                <a:close/>
                <a:moveTo>
                  <a:pt x="515" y="188"/>
                </a:moveTo>
                <a:cubicBezTo>
                  <a:pt x="512" y="187"/>
                  <a:pt x="509" y="188"/>
                  <a:pt x="507" y="191"/>
                </a:cubicBezTo>
                <a:cubicBezTo>
                  <a:pt x="496" y="209"/>
                  <a:pt x="477" y="220"/>
                  <a:pt x="456" y="220"/>
                </a:cubicBezTo>
                <a:cubicBezTo>
                  <a:pt x="437" y="220"/>
                  <a:pt x="420" y="211"/>
                  <a:pt x="409" y="197"/>
                </a:cubicBezTo>
                <a:cubicBezTo>
                  <a:pt x="407" y="195"/>
                  <a:pt x="405" y="194"/>
                  <a:pt x="403" y="194"/>
                </a:cubicBezTo>
                <a:cubicBezTo>
                  <a:pt x="401" y="194"/>
                  <a:pt x="399" y="195"/>
                  <a:pt x="397" y="197"/>
                </a:cubicBezTo>
                <a:cubicBezTo>
                  <a:pt x="386" y="213"/>
                  <a:pt x="371" y="224"/>
                  <a:pt x="353" y="230"/>
                </a:cubicBezTo>
                <a:cubicBezTo>
                  <a:pt x="344" y="233"/>
                  <a:pt x="335" y="234"/>
                  <a:pt x="326" y="234"/>
                </a:cubicBezTo>
                <a:cubicBezTo>
                  <a:pt x="308" y="234"/>
                  <a:pt x="290" y="228"/>
                  <a:pt x="275" y="217"/>
                </a:cubicBezTo>
                <a:cubicBezTo>
                  <a:pt x="273" y="216"/>
                  <a:pt x="271" y="216"/>
                  <a:pt x="269" y="216"/>
                </a:cubicBezTo>
                <a:cubicBezTo>
                  <a:pt x="267" y="217"/>
                  <a:pt x="265" y="219"/>
                  <a:pt x="264" y="221"/>
                </a:cubicBezTo>
                <a:cubicBezTo>
                  <a:pt x="257" y="242"/>
                  <a:pt x="242" y="260"/>
                  <a:pt x="221" y="270"/>
                </a:cubicBezTo>
                <a:cubicBezTo>
                  <a:pt x="210" y="274"/>
                  <a:pt x="199" y="277"/>
                  <a:pt x="188" y="277"/>
                </a:cubicBezTo>
                <a:cubicBezTo>
                  <a:pt x="172" y="277"/>
                  <a:pt x="157" y="272"/>
                  <a:pt x="144" y="264"/>
                </a:cubicBezTo>
                <a:cubicBezTo>
                  <a:pt x="142" y="263"/>
                  <a:pt x="140" y="262"/>
                  <a:pt x="138" y="263"/>
                </a:cubicBezTo>
                <a:cubicBezTo>
                  <a:pt x="136" y="264"/>
                  <a:pt x="134" y="265"/>
                  <a:pt x="134" y="267"/>
                </a:cubicBezTo>
                <a:cubicBezTo>
                  <a:pt x="129" y="279"/>
                  <a:pt x="118" y="287"/>
                  <a:pt x="106" y="287"/>
                </a:cubicBezTo>
                <a:cubicBezTo>
                  <a:pt x="34" y="287"/>
                  <a:pt x="34" y="287"/>
                  <a:pt x="34" y="287"/>
                </a:cubicBezTo>
                <a:cubicBezTo>
                  <a:pt x="37" y="263"/>
                  <a:pt x="53" y="242"/>
                  <a:pt x="76" y="233"/>
                </a:cubicBezTo>
                <a:cubicBezTo>
                  <a:pt x="79" y="232"/>
                  <a:pt x="81" y="228"/>
                  <a:pt x="80" y="225"/>
                </a:cubicBezTo>
                <a:cubicBezTo>
                  <a:pt x="79" y="222"/>
                  <a:pt x="79" y="219"/>
                  <a:pt x="79" y="216"/>
                </a:cubicBezTo>
                <a:cubicBezTo>
                  <a:pt x="79" y="197"/>
                  <a:pt x="94" y="182"/>
                  <a:pt x="113" y="182"/>
                </a:cubicBezTo>
                <a:cubicBezTo>
                  <a:pt x="118" y="182"/>
                  <a:pt x="122" y="183"/>
                  <a:pt x="127" y="185"/>
                </a:cubicBezTo>
                <a:cubicBezTo>
                  <a:pt x="130" y="186"/>
                  <a:pt x="133" y="185"/>
                  <a:pt x="135" y="182"/>
                </a:cubicBezTo>
                <a:cubicBezTo>
                  <a:pt x="139" y="177"/>
                  <a:pt x="144" y="172"/>
                  <a:pt x="149" y="167"/>
                </a:cubicBezTo>
                <a:cubicBezTo>
                  <a:pt x="152" y="166"/>
                  <a:pt x="153" y="163"/>
                  <a:pt x="152" y="160"/>
                </a:cubicBezTo>
                <a:cubicBezTo>
                  <a:pt x="149" y="149"/>
                  <a:pt x="147" y="138"/>
                  <a:pt x="147" y="127"/>
                </a:cubicBezTo>
                <a:cubicBezTo>
                  <a:pt x="147" y="64"/>
                  <a:pt x="198" y="14"/>
                  <a:pt x="260" y="14"/>
                </a:cubicBezTo>
                <a:cubicBezTo>
                  <a:pt x="298" y="14"/>
                  <a:pt x="333" y="33"/>
                  <a:pt x="354" y="64"/>
                </a:cubicBezTo>
                <a:cubicBezTo>
                  <a:pt x="356" y="66"/>
                  <a:pt x="358" y="67"/>
                  <a:pt x="360" y="67"/>
                </a:cubicBezTo>
                <a:cubicBezTo>
                  <a:pt x="362" y="68"/>
                  <a:pt x="364" y="67"/>
                  <a:pt x="365" y="65"/>
                </a:cubicBezTo>
                <a:cubicBezTo>
                  <a:pt x="380" y="48"/>
                  <a:pt x="401" y="38"/>
                  <a:pt x="423" y="38"/>
                </a:cubicBezTo>
                <a:cubicBezTo>
                  <a:pt x="462" y="38"/>
                  <a:pt x="494" y="69"/>
                  <a:pt x="497" y="107"/>
                </a:cubicBezTo>
                <a:cubicBezTo>
                  <a:pt x="497" y="110"/>
                  <a:pt x="498" y="112"/>
                  <a:pt x="500" y="113"/>
                </a:cubicBezTo>
                <a:cubicBezTo>
                  <a:pt x="502" y="114"/>
                  <a:pt x="505" y="114"/>
                  <a:pt x="507" y="113"/>
                </a:cubicBezTo>
                <a:cubicBezTo>
                  <a:pt x="512" y="111"/>
                  <a:pt x="518" y="109"/>
                  <a:pt x="524" y="109"/>
                </a:cubicBezTo>
                <a:cubicBezTo>
                  <a:pt x="545" y="109"/>
                  <a:pt x="563" y="127"/>
                  <a:pt x="563" y="149"/>
                </a:cubicBezTo>
                <a:cubicBezTo>
                  <a:pt x="563" y="174"/>
                  <a:pt x="541" y="193"/>
                  <a:pt x="515" y="188"/>
                </a:cubicBez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7181" name="Oval 19"/>
          <p:cNvSpPr>
            <a:spLocks noChangeArrowheads="1"/>
          </p:cNvSpPr>
          <p:nvPr/>
        </p:nvSpPr>
        <p:spPr bwMode="auto">
          <a:xfrm>
            <a:off x="1315706" y="3120088"/>
            <a:ext cx="1119124" cy="1119124"/>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7196" name="Freeform 34"/>
          <p:cNvSpPr>
            <a:spLocks noEditPoints="1"/>
          </p:cNvSpPr>
          <p:nvPr/>
        </p:nvSpPr>
        <p:spPr bwMode="auto">
          <a:xfrm>
            <a:off x="1496657" y="3315745"/>
            <a:ext cx="758117" cy="727363"/>
          </a:xfrm>
          <a:custGeom>
            <a:avLst/>
            <a:gdLst>
              <a:gd name="T0" fmla="*/ 641 w 720"/>
              <a:gd name="T1" fmla="*/ 515 h 691"/>
              <a:gd name="T2" fmla="*/ 440 w 720"/>
              <a:gd name="T3" fmla="*/ 623 h 691"/>
              <a:gd name="T4" fmla="*/ 434 w 720"/>
              <a:gd name="T5" fmla="*/ 619 h 691"/>
              <a:gd name="T6" fmla="*/ 102 w 720"/>
              <a:gd name="T7" fmla="*/ 28 h 691"/>
              <a:gd name="T8" fmla="*/ 11 w 720"/>
              <a:gd name="T9" fmla="*/ 65 h 691"/>
              <a:gd name="T10" fmla="*/ 4 w 720"/>
              <a:gd name="T11" fmla="*/ 53 h 691"/>
              <a:gd name="T12" fmla="*/ 106 w 720"/>
              <a:gd name="T13" fmla="*/ 15 h 691"/>
              <a:gd name="T14" fmla="*/ 443 w 720"/>
              <a:gd name="T15" fmla="*/ 606 h 691"/>
              <a:gd name="T16" fmla="*/ 644 w 720"/>
              <a:gd name="T17" fmla="*/ 506 h 691"/>
              <a:gd name="T18" fmla="*/ 391 w 720"/>
              <a:gd name="T19" fmla="*/ 656 h 691"/>
              <a:gd name="T20" fmla="*/ 344 w 720"/>
              <a:gd name="T21" fmla="*/ 691 h 691"/>
              <a:gd name="T22" fmla="*/ 321 w 720"/>
              <a:gd name="T23" fmla="*/ 599 h 691"/>
              <a:gd name="T24" fmla="*/ 387 w 720"/>
              <a:gd name="T25" fmla="*/ 619 h 691"/>
              <a:gd name="T26" fmla="*/ 344 w 720"/>
              <a:gd name="T27" fmla="*/ 607 h 691"/>
              <a:gd name="T28" fmla="*/ 314 w 720"/>
              <a:gd name="T29" fmla="*/ 659 h 691"/>
              <a:gd name="T30" fmla="*/ 361 w 720"/>
              <a:gd name="T31" fmla="*/ 673 h 691"/>
              <a:gd name="T32" fmla="*/ 375 w 720"/>
              <a:gd name="T33" fmla="*/ 626 h 691"/>
              <a:gd name="T34" fmla="*/ 470 w 720"/>
              <a:gd name="T35" fmla="*/ 546 h 691"/>
              <a:gd name="T36" fmla="*/ 465 w 720"/>
              <a:gd name="T37" fmla="*/ 546 h 691"/>
              <a:gd name="T38" fmla="*/ 245 w 720"/>
              <a:gd name="T39" fmla="*/ 142 h 691"/>
              <a:gd name="T40" fmla="*/ 492 w 720"/>
              <a:gd name="T41" fmla="*/ 1 h 691"/>
              <a:gd name="T42" fmla="*/ 501 w 720"/>
              <a:gd name="T43" fmla="*/ 3 h 691"/>
              <a:gd name="T44" fmla="*/ 715 w 720"/>
              <a:gd name="T45" fmla="*/ 414 h 691"/>
              <a:gd name="T46" fmla="*/ 362 w 720"/>
              <a:gd name="T47" fmla="*/ 330 h 691"/>
              <a:gd name="T48" fmla="*/ 492 w 720"/>
              <a:gd name="T49" fmla="*/ 16 h 691"/>
              <a:gd name="T50" fmla="*/ 702 w 720"/>
              <a:gd name="T51" fmla="*/ 405 h 691"/>
              <a:gd name="T52" fmla="*/ 369 w 720"/>
              <a:gd name="T53" fmla="*/ 342 h 691"/>
              <a:gd name="T54" fmla="*/ 702 w 720"/>
              <a:gd name="T55" fmla="*/ 405 h 691"/>
              <a:gd name="T56" fmla="*/ 465 w 720"/>
              <a:gd name="T57" fmla="*/ 92 h 691"/>
              <a:gd name="T58" fmla="*/ 342 w 720"/>
              <a:gd name="T59" fmla="*/ 151 h 691"/>
              <a:gd name="T60" fmla="*/ 345 w 720"/>
              <a:gd name="T61" fmla="*/ 164 h 691"/>
              <a:gd name="T62" fmla="*/ 463 w 720"/>
              <a:gd name="T63" fmla="*/ 102 h 691"/>
              <a:gd name="T64" fmla="*/ 563 w 720"/>
              <a:gd name="T65" fmla="*/ 288 h 691"/>
              <a:gd name="T66" fmla="*/ 446 w 720"/>
              <a:gd name="T67" fmla="*/ 359 h 691"/>
              <a:gd name="T68" fmla="*/ 455 w 720"/>
              <a:gd name="T69" fmla="*/ 362 h 691"/>
              <a:gd name="T70" fmla="*/ 572 w 720"/>
              <a:gd name="T71" fmla="*/ 291 h 6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20" h="691">
                <a:moveTo>
                  <a:pt x="644" y="506"/>
                </a:moveTo>
                <a:cubicBezTo>
                  <a:pt x="646" y="509"/>
                  <a:pt x="645" y="513"/>
                  <a:pt x="641" y="515"/>
                </a:cubicBezTo>
                <a:cubicBezTo>
                  <a:pt x="443" y="622"/>
                  <a:pt x="443" y="622"/>
                  <a:pt x="443" y="622"/>
                </a:cubicBezTo>
                <a:cubicBezTo>
                  <a:pt x="442" y="622"/>
                  <a:pt x="441" y="623"/>
                  <a:pt x="440" y="623"/>
                </a:cubicBezTo>
                <a:cubicBezTo>
                  <a:pt x="439" y="623"/>
                  <a:pt x="439" y="623"/>
                  <a:pt x="438" y="622"/>
                </a:cubicBezTo>
                <a:cubicBezTo>
                  <a:pt x="436" y="622"/>
                  <a:pt x="435" y="621"/>
                  <a:pt x="434" y="619"/>
                </a:cubicBezTo>
                <a:cubicBezTo>
                  <a:pt x="125" y="47"/>
                  <a:pt x="125" y="47"/>
                  <a:pt x="125" y="47"/>
                </a:cubicBezTo>
                <a:cubicBezTo>
                  <a:pt x="120" y="38"/>
                  <a:pt x="112" y="31"/>
                  <a:pt x="102" y="28"/>
                </a:cubicBezTo>
                <a:cubicBezTo>
                  <a:pt x="93" y="25"/>
                  <a:pt x="82" y="26"/>
                  <a:pt x="73" y="31"/>
                </a:cubicBezTo>
                <a:cubicBezTo>
                  <a:pt x="11" y="65"/>
                  <a:pt x="11" y="65"/>
                  <a:pt x="11" y="65"/>
                </a:cubicBezTo>
                <a:cubicBezTo>
                  <a:pt x="7" y="67"/>
                  <a:pt x="3" y="66"/>
                  <a:pt x="1" y="62"/>
                </a:cubicBezTo>
                <a:cubicBezTo>
                  <a:pt x="0" y="59"/>
                  <a:pt x="1" y="55"/>
                  <a:pt x="4" y="53"/>
                </a:cubicBezTo>
                <a:cubicBezTo>
                  <a:pt x="67" y="19"/>
                  <a:pt x="67" y="19"/>
                  <a:pt x="67" y="19"/>
                </a:cubicBezTo>
                <a:cubicBezTo>
                  <a:pt x="79" y="12"/>
                  <a:pt x="93" y="11"/>
                  <a:pt x="106" y="15"/>
                </a:cubicBezTo>
                <a:cubicBezTo>
                  <a:pt x="120" y="19"/>
                  <a:pt x="131" y="28"/>
                  <a:pt x="137" y="40"/>
                </a:cubicBezTo>
                <a:cubicBezTo>
                  <a:pt x="443" y="606"/>
                  <a:pt x="443" y="606"/>
                  <a:pt x="443" y="606"/>
                </a:cubicBezTo>
                <a:cubicBezTo>
                  <a:pt x="634" y="503"/>
                  <a:pt x="634" y="503"/>
                  <a:pt x="634" y="503"/>
                </a:cubicBezTo>
                <a:cubicBezTo>
                  <a:pt x="638" y="501"/>
                  <a:pt x="642" y="502"/>
                  <a:pt x="644" y="506"/>
                </a:cubicBezTo>
                <a:close/>
                <a:moveTo>
                  <a:pt x="387" y="619"/>
                </a:moveTo>
                <a:cubicBezTo>
                  <a:pt x="394" y="630"/>
                  <a:pt x="395" y="644"/>
                  <a:pt x="391" y="656"/>
                </a:cubicBezTo>
                <a:cubicBezTo>
                  <a:pt x="387" y="669"/>
                  <a:pt x="379" y="679"/>
                  <a:pt x="368" y="685"/>
                </a:cubicBezTo>
                <a:cubicBezTo>
                  <a:pt x="360" y="689"/>
                  <a:pt x="352" y="691"/>
                  <a:pt x="344" y="691"/>
                </a:cubicBezTo>
                <a:cubicBezTo>
                  <a:pt x="326" y="691"/>
                  <a:pt x="310" y="681"/>
                  <a:pt x="301" y="665"/>
                </a:cubicBezTo>
                <a:cubicBezTo>
                  <a:pt x="289" y="642"/>
                  <a:pt x="297" y="612"/>
                  <a:pt x="321" y="599"/>
                </a:cubicBezTo>
                <a:cubicBezTo>
                  <a:pt x="328" y="595"/>
                  <a:pt x="336" y="593"/>
                  <a:pt x="344" y="593"/>
                </a:cubicBezTo>
                <a:cubicBezTo>
                  <a:pt x="362" y="593"/>
                  <a:pt x="379" y="603"/>
                  <a:pt x="387" y="619"/>
                </a:cubicBezTo>
                <a:close/>
                <a:moveTo>
                  <a:pt x="375" y="626"/>
                </a:moveTo>
                <a:cubicBezTo>
                  <a:pt x="369" y="614"/>
                  <a:pt x="357" y="607"/>
                  <a:pt x="344" y="607"/>
                </a:cubicBezTo>
                <a:cubicBezTo>
                  <a:pt x="339" y="607"/>
                  <a:pt x="333" y="609"/>
                  <a:pt x="328" y="612"/>
                </a:cubicBezTo>
                <a:cubicBezTo>
                  <a:pt x="311" y="621"/>
                  <a:pt x="305" y="642"/>
                  <a:pt x="314" y="659"/>
                </a:cubicBezTo>
                <a:cubicBezTo>
                  <a:pt x="320" y="670"/>
                  <a:pt x="332" y="677"/>
                  <a:pt x="344" y="677"/>
                </a:cubicBezTo>
                <a:cubicBezTo>
                  <a:pt x="350" y="677"/>
                  <a:pt x="356" y="676"/>
                  <a:pt x="361" y="673"/>
                </a:cubicBezTo>
                <a:cubicBezTo>
                  <a:pt x="369" y="668"/>
                  <a:pt x="375" y="661"/>
                  <a:pt x="378" y="652"/>
                </a:cubicBezTo>
                <a:cubicBezTo>
                  <a:pt x="380" y="643"/>
                  <a:pt x="379" y="634"/>
                  <a:pt x="375" y="626"/>
                </a:cubicBezTo>
                <a:close/>
                <a:moveTo>
                  <a:pt x="715" y="414"/>
                </a:moveTo>
                <a:cubicBezTo>
                  <a:pt x="470" y="546"/>
                  <a:pt x="470" y="546"/>
                  <a:pt x="470" y="546"/>
                </a:cubicBezTo>
                <a:cubicBezTo>
                  <a:pt x="469" y="546"/>
                  <a:pt x="468" y="546"/>
                  <a:pt x="467" y="546"/>
                </a:cubicBezTo>
                <a:cubicBezTo>
                  <a:pt x="467" y="546"/>
                  <a:pt x="466" y="546"/>
                  <a:pt x="465" y="546"/>
                </a:cubicBezTo>
                <a:cubicBezTo>
                  <a:pt x="463" y="546"/>
                  <a:pt x="462" y="544"/>
                  <a:pt x="461" y="543"/>
                </a:cubicBezTo>
                <a:cubicBezTo>
                  <a:pt x="245" y="142"/>
                  <a:pt x="245" y="142"/>
                  <a:pt x="245" y="142"/>
                </a:cubicBezTo>
                <a:cubicBezTo>
                  <a:pt x="243" y="139"/>
                  <a:pt x="244" y="134"/>
                  <a:pt x="248" y="133"/>
                </a:cubicBezTo>
                <a:cubicBezTo>
                  <a:pt x="492" y="1"/>
                  <a:pt x="492" y="1"/>
                  <a:pt x="492" y="1"/>
                </a:cubicBezTo>
                <a:cubicBezTo>
                  <a:pt x="494" y="0"/>
                  <a:pt x="496" y="0"/>
                  <a:pt x="497" y="0"/>
                </a:cubicBezTo>
                <a:cubicBezTo>
                  <a:pt x="499" y="1"/>
                  <a:pt x="501" y="2"/>
                  <a:pt x="501" y="3"/>
                </a:cubicBezTo>
                <a:cubicBezTo>
                  <a:pt x="718" y="404"/>
                  <a:pt x="718" y="404"/>
                  <a:pt x="718" y="404"/>
                </a:cubicBezTo>
                <a:cubicBezTo>
                  <a:pt x="720" y="408"/>
                  <a:pt x="718" y="412"/>
                  <a:pt x="715" y="414"/>
                </a:cubicBezTo>
                <a:close/>
                <a:moveTo>
                  <a:pt x="260" y="142"/>
                </a:moveTo>
                <a:cubicBezTo>
                  <a:pt x="362" y="330"/>
                  <a:pt x="362" y="330"/>
                  <a:pt x="362" y="330"/>
                </a:cubicBezTo>
                <a:cubicBezTo>
                  <a:pt x="594" y="204"/>
                  <a:pt x="594" y="204"/>
                  <a:pt x="594" y="204"/>
                </a:cubicBezTo>
                <a:cubicBezTo>
                  <a:pt x="492" y="16"/>
                  <a:pt x="492" y="16"/>
                  <a:pt x="492" y="16"/>
                </a:cubicBezTo>
                <a:lnTo>
                  <a:pt x="260" y="142"/>
                </a:lnTo>
                <a:close/>
                <a:moveTo>
                  <a:pt x="702" y="405"/>
                </a:moveTo>
                <a:cubicBezTo>
                  <a:pt x="601" y="217"/>
                  <a:pt x="601" y="217"/>
                  <a:pt x="601" y="217"/>
                </a:cubicBezTo>
                <a:cubicBezTo>
                  <a:pt x="369" y="342"/>
                  <a:pt x="369" y="342"/>
                  <a:pt x="369" y="342"/>
                </a:cubicBezTo>
                <a:cubicBezTo>
                  <a:pt x="470" y="530"/>
                  <a:pt x="470" y="530"/>
                  <a:pt x="470" y="530"/>
                </a:cubicBezTo>
                <a:lnTo>
                  <a:pt x="702" y="405"/>
                </a:lnTo>
                <a:close/>
                <a:moveTo>
                  <a:pt x="463" y="102"/>
                </a:moveTo>
                <a:cubicBezTo>
                  <a:pt x="466" y="100"/>
                  <a:pt x="467" y="96"/>
                  <a:pt x="465" y="92"/>
                </a:cubicBezTo>
                <a:cubicBezTo>
                  <a:pt x="464" y="89"/>
                  <a:pt x="459" y="88"/>
                  <a:pt x="456" y="89"/>
                </a:cubicBezTo>
                <a:cubicBezTo>
                  <a:pt x="342" y="151"/>
                  <a:pt x="342" y="151"/>
                  <a:pt x="342" y="151"/>
                </a:cubicBezTo>
                <a:cubicBezTo>
                  <a:pt x="338" y="153"/>
                  <a:pt x="337" y="157"/>
                  <a:pt x="339" y="161"/>
                </a:cubicBezTo>
                <a:cubicBezTo>
                  <a:pt x="340" y="163"/>
                  <a:pt x="342" y="164"/>
                  <a:pt x="345" y="164"/>
                </a:cubicBezTo>
                <a:cubicBezTo>
                  <a:pt x="346" y="164"/>
                  <a:pt x="347" y="164"/>
                  <a:pt x="348" y="163"/>
                </a:cubicBezTo>
                <a:lnTo>
                  <a:pt x="463" y="102"/>
                </a:lnTo>
                <a:close/>
                <a:moveTo>
                  <a:pt x="572" y="291"/>
                </a:moveTo>
                <a:cubicBezTo>
                  <a:pt x="571" y="287"/>
                  <a:pt x="566" y="286"/>
                  <a:pt x="563" y="288"/>
                </a:cubicBezTo>
                <a:cubicBezTo>
                  <a:pt x="449" y="349"/>
                  <a:pt x="449" y="349"/>
                  <a:pt x="449" y="349"/>
                </a:cubicBezTo>
                <a:cubicBezTo>
                  <a:pt x="445" y="351"/>
                  <a:pt x="444" y="356"/>
                  <a:pt x="446" y="359"/>
                </a:cubicBezTo>
                <a:cubicBezTo>
                  <a:pt x="447" y="361"/>
                  <a:pt x="449" y="363"/>
                  <a:pt x="452" y="363"/>
                </a:cubicBezTo>
                <a:cubicBezTo>
                  <a:pt x="453" y="363"/>
                  <a:pt x="454" y="362"/>
                  <a:pt x="455" y="362"/>
                </a:cubicBezTo>
                <a:cubicBezTo>
                  <a:pt x="570" y="300"/>
                  <a:pt x="570" y="300"/>
                  <a:pt x="570" y="300"/>
                </a:cubicBezTo>
                <a:cubicBezTo>
                  <a:pt x="573" y="298"/>
                  <a:pt x="574" y="294"/>
                  <a:pt x="572" y="291"/>
                </a:cubicBez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7180" name="Oval 18"/>
          <p:cNvSpPr>
            <a:spLocks noChangeArrowheads="1"/>
          </p:cNvSpPr>
          <p:nvPr/>
        </p:nvSpPr>
        <p:spPr bwMode="auto">
          <a:xfrm>
            <a:off x="3073678" y="3120088"/>
            <a:ext cx="1119124" cy="1119124"/>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7197" name="Freeform 35"/>
          <p:cNvSpPr>
            <a:spLocks noEditPoints="1"/>
          </p:cNvSpPr>
          <p:nvPr/>
        </p:nvSpPr>
        <p:spPr bwMode="auto">
          <a:xfrm>
            <a:off x="3292512" y="3319756"/>
            <a:ext cx="681458" cy="717113"/>
          </a:xfrm>
          <a:custGeom>
            <a:avLst/>
            <a:gdLst>
              <a:gd name="T0" fmla="*/ 441 w 647"/>
              <a:gd name="T1" fmla="*/ 612 h 681"/>
              <a:gd name="T2" fmla="*/ 439 w 647"/>
              <a:gd name="T3" fmla="*/ 612 h 681"/>
              <a:gd name="T4" fmla="*/ 435 w 647"/>
              <a:gd name="T5" fmla="*/ 609 h 681"/>
              <a:gd name="T6" fmla="*/ 126 w 647"/>
              <a:gd name="T7" fmla="*/ 36 h 681"/>
              <a:gd name="T8" fmla="*/ 103 w 647"/>
              <a:gd name="T9" fmla="*/ 18 h 681"/>
              <a:gd name="T10" fmla="*/ 74 w 647"/>
              <a:gd name="T11" fmla="*/ 21 h 681"/>
              <a:gd name="T12" fmla="*/ 12 w 647"/>
              <a:gd name="T13" fmla="*/ 55 h 681"/>
              <a:gd name="T14" fmla="*/ 2 w 647"/>
              <a:gd name="T15" fmla="*/ 52 h 681"/>
              <a:gd name="T16" fmla="*/ 5 w 647"/>
              <a:gd name="T17" fmla="*/ 42 h 681"/>
              <a:gd name="T18" fmla="*/ 68 w 647"/>
              <a:gd name="T19" fmla="*/ 9 h 681"/>
              <a:gd name="T20" fmla="*/ 107 w 647"/>
              <a:gd name="T21" fmla="*/ 4 h 681"/>
              <a:gd name="T22" fmla="*/ 138 w 647"/>
              <a:gd name="T23" fmla="*/ 30 h 681"/>
              <a:gd name="T24" fmla="*/ 444 w 647"/>
              <a:gd name="T25" fmla="*/ 596 h 681"/>
              <a:gd name="T26" fmla="*/ 635 w 647"/>
              <a:gd name="T27" fmla="*/ 492 h 681"/>
              <a:gd name="T28" fmla="*/ 645 w 647"/>
              <a:gd name="T29" fmla="*/ 495 h 681"/>
              <a:gd name="T30" fmla="*/ 642 w 647"/>
              <a:gd name="T31" fmla="*/ 505 h 681"/>
              <a:gd name="T32" fmla="*/ 444 w 647"/>
              <a:gd name="T33" fmla="*/ 611 h 681"/>
              <a:gd name="T34" fmla="*/ 441 w 647"/>
              <a:gd name="T35" fmla="*/ 612 h 681"/>
              <a:gd name="T36" fmla="*/ 368 w 647"/>
              <a:gd name="T37" fmla="*/ 675 h 681"/>
              <a:gd name="T38" fmla="*/ 392 w 647"/>
              <a:gd name="T39" fmla="*/ 646 h 681"/>
              <a:gd name="T40" fmla="*/ 388 w 647"/>
              <a:gd name="T41" fmla="*/ 608 h 681"/>
              <a:gd name="T42" fmla="*/ 345 w 647"/>
              <a:gd name="T43" fmla="*/ 583 h 681"/>
              <a:gd name="T44" fmla="*/ 322 w 647"/>
              <a:gd name="T45" fmla="*/ 589 h 681"/>
              <a:gd name="T46" fmla="*/ 302 w 647"/>
              <a:gd name="T47" fmla="*/ 655 h 681"/>
              <a:gd name="T48" fmla="*/ 345 w 647"/>
              <a:gd name="T49" fmla="*/ 681 h 681"/>
              <a:gd name="T50" fmla="*/ 368 w 647"/>
              <a:gd name="T51" fmla="*/ 675 h 681"/>
              <a:gd name="T52" fmla="*/ 376 w 647"/>
              <a:gd name="T53" fmla="*/ 615 h 681"/>
              <a:gd name="T54" fmla="*/ 379 w 647"/>
              <a:gd name="T55" fmla="*/ 642 h 681"/>
              <a:gd name="T56" fmla="*/ 362 w 647"/>
              <a:gd name="T57" fmla="*/ 662 h 681"/>
              <a:gd name="T58" fmla="*/ 345 w 647"/>
              <a:gd name="T59" fmla="*/ 667 h 681"/>
              <a:gd name="T60" fmla="*/ 315 w 647"/>
              <a:gd name="T61" fmla="*/ 648 h 681"/>
              <a:gd name="T62" fmla="*/ 329 w 647"/>
              <a:gd name="T63" fmla="*/ 601 h 681"/>
              <a:gd name="T64" fmla="*/ 345 w 647"/>
              <a:gd name="T65" fmla="*/ 597 h 681"/>
              <a:gd name="T66" fmla="*/ 376 w 647"/>
              <a:gd name="T67" fmla="*/ 615 h 6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47" h="681">
                <a:moveTo>
                  <a:pt x="441" y="612"/>
                </a:moveTo>
                <a:cubicBezTo>
                  <a:pt x="440" y="612"/>
                  <a:pt x="440" y="612"/>
                  <a:pt x="439" y="612"/>
                </a:cubicBezTo>
                <a:cubicBezTo>
                  <a:pt x="437" y="611"/>
                  <a:pt x="436" y="610"/>
                  <a:pt x="435" y="609"/>
                </a:cubicBezTo>
                <a:cubicBezTo>
                  <a:pt x="126" y="36"/>
                  <a:pt x="126" y="36"/>
                  <a:pt x="126" y="36"/>
                </a:cubicBezTo>
                <a:cubicBezTo>
                  <a:pt x="121" y="27"/>
                  <a:pt x="113" y="21"/>
                  <a:pt x="103" y="18"/>
                </a:cubicBezTo>
                <a:cubicBezTo>
                  <a:pt x="94" y="15"/>
                  <a:pt x="83" y="16"/>
                  <a:pt x="74" y="21"/>
                </a:cubicBezTo>
                <a:cubicBezTo>
                  <a:pt x="12" y="55"/>
                  <a:pt x="12" y="55"/>
                  <a:pt x="12" y="55"/>
                </a:cubicBezTo>
                <a:cubicBezTo>
                  <a:pt x="8" y="56"/>
                  <a:pt x="4" y="55"/>
                  <a:pt x="2" y="52"/>
                </a:cubicBezTo>
                <a:cubicBezTo>
                  <a:pt x="0" y="48"/>
                  <a:pt x="2" y="44"/>
                  <a:pt x="5" y="42"/>
                </a:cubicBezTo>
                <a:cubicBezTo>
                  <a:pt x="68" y="9"/>
                  <a:pt x="68" y="9"/>
                  <a:pt x="68" y="9"/>
                </a:cubicBezTo>
                <a:cubicBezTo>
                  <a:pt x="80" y="2"/>
                  <a:pt x="94" y="0"/>
                  <a:pt x="107" y="4"/>
                </a:cubicBezTo>
                <a:cubicBezTo>
                  <a:pt x="121" y="8"/>
                  <a:pt x="132" y="17"/>
                  <a:pt x="138" y="30"/>
                </a:cubicBezTo>
                <a:cubicBezTo>
                  <a:pt x="444" y="596"/>
                  <a:pt x="444" y="596"/>
                  <a:pt x="444" y="596"/>
                </a:cubicBezTo>
                <a:cubicBezTo>
                  <a:pt x="635" y="492"/>
                  <a:pt x="635" y="492"/>
                  <a:pt x="635" y="492"/>
                </a:cubicBezTo>
                <a:cubicBezTo>
                  <a:pt x="639" y="491"/>
                  <a:pt x="643" y="492"/>
                  <a:pt x="645" y="495"/>
                </a:cubicBezTo>
                <a:cubicBezTo>
                  <a:pt x="647" y="499"/>
                  <a:pt x="645" y="503"/>
                  <a:pt x="642" y="505"/>
                </a:cubicBezTo>
                <a:cubicBezTo>
                  <a:pt x="444" y="611"/>
                  <a:pt x="444" y="611"/>
                  <a:pt x="444" y="611"/>
                </a:cubicBezTo>
                <a:cubicBezTo>
                  <a:pt x="443" y="612"/>
                  <a:pt x="442" y="612"/>
                  <a:pt x="441" y="612"/>
                </a:cubicBezTo>
                <a:close/>
                <a:moveTo>
                  <a:pt x="368" y="675"/>
                </a:moveTo>
                <a:cubicBezTo>
                  <a:pt x="380" y="668"/>
                  <a:pt x="388" y="658"/>
                  <a:pt x="392" y="646"/>
                </a:cubicBezTo>
                <a:cubicBezTo>
                  <a:pt x="396" y="633"/>
                  <a:pt x="394" y="620"/>
                  <a:pt x="388" y="608"/>
                </a:cubicBezTo>
                <a:cubicBezTo>
                  <a:pt x="380" y="593"/>
                  <a:pt x="363" y="583"/>
                  <a:pt x="345" y="583"/>
                </a:cubicBezTo>
                <a:cubicBezTo>
                  <a:pt x="337" y="583"/>
                  <a:pt x="329" y="585"/>
                  <a:pt x="322" y="589"/>
                </a:cubicBezTo>
                <a:cubicBezTo>
                  <a:pt x="298" y="601"/>
                  <a:pt x="289" y="631"/>
                  <a:pt x="302" y="655"/>
                </a:cubicBezTo>
                <a:cubicBezTo>
                  <a:pt x="311" y="671"/>
                  <a:pt x="327" y="681"/>
                  <a:pt x="345" y="681"/>
                </a:cubicBezTo>
                <a:cubicBezTo>
                  <a:pt x="353" y="681"/>
                  <a:pt x="361" y="678"/>
                  <a:pt x="368" y="675"/>
                </a:cubicBezTo>
                <a:close/>
                <a:moveTo>
                  <a:pt x="376" y="615"/>
                </a:moveTo>
                <a:cubicBezTo>
                  <a:pt x="380" y="623"/>
                  <a:pt x="381" y="633"/>
                  <a:pt x="379" y="642"/>
                </a:cubicBezTo>
                <a:cubicBezTo>
                  <a:pt x="376" y="651"/>
                  <a:pt x="370" y="658"/>
                  <a:pt x="362" y="662"/>
                </a:cubicBezTo>
                <a:cubicBezTo>
                  <a:pt x="357" y="665"/>
                  <a:pt x="351" y="667"/>
                  <a:pt x="345" y="667"/>
                </a:cubicBezTo>
                <a:cubicBezTo>
                  <a:pt x="332" y="667"/>
                  <a:pt x="321" y="659"/>
                  <a:pt x="315" y="648"/>
                </a:cubicBezTo>
                <a:cubicBezTo>
                  <a:pt x="305" y="631"/>
                  <a:pt x="312" y="610"/>
                  <a:pt x="329" y="601"/>
                </a:cubicBezTo>
                <a:cubicBezTo>
                  <a:pt x="334" y="598"/>
                  <a:pt x="339" y="597"/>
                  <a:pt x="345" y="597"/>
                </a:cubicBezTo>
                <a:cubicBezTo>
                  <a:pt x="358" y="597"/>
                  <a:pt x="370" y="604"/>
                  <a:pt x="376" y="615"/>
                </a:cubicBez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7182" name="Oval 20"/>
          <p:cNvSpPr>
            <a:spLocks noChangeArrowheads="1"/>
          </p:cNvSpPr>
          <p:nvPr/>
        </p:nvSpPr>
        <p:spPr bwMode="auto">
          <a:xfrm>
            <a:off x="10105564" y="1528549"/>
            <a:ext cx="1119124" cy="1119124"/>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6152" name="Freeform 39"/>
          <p:cNvSpPr>
            <a:spLocks noEditPoints="1"/>
          </p:cNvSpPr>
          <p:nvPr/>
        </p:nvSpPr>
        <p:spPr bwMode="auto">
          <a:xfrm>
            <a:off x="10329746" y="1715738"/>
            <a:ext cx="670761" cy="744300"/>
          </a:xfrm>
          <a:custGeom>
            <a:avLst/>
            <a:gdLst>
              <a:gd name="T0" fmla="*/ 78 w 637"/>
              <a:gd name="T1" fmla="*/ 429 h 707"/>
              <a:gd name="T2" fmla="*/ 71 w 637"/>
              <a:gd name="T3" fmla="*/ 7 h 707"/>
              <a:gd name="T4" fmla="*/ 588 w 637"/>
              <a:gd name="T5" fmla="*/ 0 h 707"/>
              <a:gd name="T6" fmla="*/ 595 w 637"/>
              <a:gd name="T7" fmla="*/ 422 h 707"/>
              <a:gd name="T8" fmla="*/ 85 w 637"/>
              <a:gd name="T9" fmla="*/ 415 h 707"/>
              <a:gd name="T10" fmla="*/ 581 w 637"/>
              <a:gd name="T11" fmla="*/ 14 h 707"/>
              <a:gd name="T12" fmla="*/ 85 w 637"/>
              <a:gd name="T13" fmla="*/ 415 h 707"/>
              <a:gd name="T14" fmla="*/ 267 w 637"/>
              <a:gd name="T15" fmla="*/ 113 h 707"/>
              <a:gd name="T16" fmla="*/ 267 w 637"/>
              <a:gd name="T17" fmla="*/ 60 h 707"/>
              <a:gd name="T18" fmla="*/ 426 w 637"/>
              <a:gd name="T19" fmla="*/ 86 h 707"/>
              <a:gd name="T20" fmla="*/ 267 w 637"/>
              <a:gd name="T21" fmla="*/ 74 h 707"/>
              <a:gd name="T22" fmla="*/ 267 w 637"/>
              <a:gd name="T23" fmla="*/ 99 h 707"/>
              <a:gd name="T24" fmla="*/ 412 w 637"/>
              <a:gd name="T25" fmla="*/ 86 h 707"/>
              <a:gd name="T26" fmla="*/ 267 w 637"/>
              <a:gd name="T27" fmla="*/ 74 h 707"/>
              <a:gd name="T28" fmla="*/ 64 w 637"/>
              <a:gd name="T29" fmla="*/ 601 h 707"/>
              <a:gd name="T30" fmla="*/ 147 w 637"/>
              <a:gd name="T31" fmla="*/ 601 h 707"/>
              <a:gd name="T32" fmla="*/ 106 w 637"/>
              <a:gd name="T33" fmla="*/ 574 h 707"/>
              <a:gd name="T34" fmla="*/ 106 w 637"/>
              <a:gd name="T35" fmla="*/ 629 h 707"/>
              <a:gd name="T36" fmla="*/ 106 w 637"/>
              <a:gd name="T37" fmla="*/ 574 h 707"/>
              <a:gd name="T38" fmla="*/ 198 w 637"/>
              <a:gd name="T39" fmla="*/ 601 h 707"/>
              <a:gd name="T40" fmla="*/ 282 w 637"/>
              <a:gd name="T41" fmla="*/ 601 h 707"/>
              <a:gd name="T42" fmla="*/ 240 w 637"/>
              <a:gd name="T43" fmla="*/ 574 h 707"/>
              <a:gd name="T44" fmla="*/ 240 w 637"/>
              <a:gd name="T45" fmla="*/ 629 h 707"/>
              <a:gd name="T46" fmla="*/ 240 w 637"/>
              <a:gd name="T47" fmla="*/ 574 h 707"/>
              <a:gd name="T48" fmla="*/ 333 w 637"/>
              <a:gd name="T49" fmla="*/ 601 h 707"/>
              <a:gd name="T50" fmla="*/ 416 w 637"/>
              <a:gd name="T51" fmla="*/ 601 h 707"/>
              <a:gd name="T52" fmla="*/ 375 w 637"/>
              <a:gd name="T53" fmla="*/ 574 h 707"/>
              <a:gd name="T54" fmla="*/ 375 w 637"/>
              <a:gd name="T55" fmla="*/ 629 h 707"/>
              <a:gd name="T56" fmla="*/ 375 w 637"/>
              <a:gd name="T57" fmla="*/ 574 h 707"/>
              <a:gd name="T58" fmla="*/ 468 w 637"/>
              <a:gd name="T59" fmla="*/ 601 h 707"/>
              <a:gd name="T60" fmla="*/ 551 w 637"/>
              <a:gd name="T61" fmla="*/ 601 h 707"/>
              <a:gd name="T62" fmla="*/ 509 w 637"/>
              <a:gd name="T63" fmla="*/ 574 h 707"/>
              <a:gd name="T64" fmla="*/ 509 w 637"/>
              <a:gd name="T65" fmla="*/ 629 h 707"/>
              <a:gd name="T66" fmla="*/ 509 w 637"/>
              <a:gd name="T67" fmla="*/ 574 h 707"/>
              <a:gd name="T68" fmla="*/ 630 w 637"/>
              <a:gd name="T69" fmla="*/ 693 h 707"/>
              <a:gd name="T70" fmla="*/ 14 w 637"/>
              <a:gd name="T71" fmla="*/ 601 h 707"/>
              <a:gd name="T72" fmla="*/ 630 w 637"/>
              <a:gd name="T73" fmla="*/ 509 h 707"/>
              <a:gd name="T74" fmla="*/ 630 w 637"/>
              <a:gd name="T75" fmla="*/ 495 h 707"/>
              <a:gd name="T76" fmla="*/ 0 w 637"/>
              <a:gd name="T77" fmla="*/ 601 h 707"/>
              <a:gd name="T78" fmla="*/ 630 w 637"/>
              <a:gd name="T79" fmla="*/ 707 h 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637" h="707">
                <a:moveTo>
                  <a:pt x="588" y="429"/>
                </a:moveTo>
                <a:cubicBezTo>
                  <a:pt x="78" y="429"/>
                  <a:pt x="78" y="429"/>
                  <a:pt x="78" y="429"/>
                </a:cubicBezTo>
                <a:cubicBezTo>
                  <a:pt x="75" y="429"/>
                  <a:pt x="71" y="425"/>
                  <a:pt x="71" y="422"/>
                </a:cubicBezTo>
                <a:cubicBezTo>
                  <a:pt x="71" y="7"/>
                  <a:pt x="71" y="7"/>
                  <a:pt x="71" y="7"/>
                </a:cubicBezTo>
                <a:cubicBezTo>
                  <a:pt x="71" y="3"/>
                  <a:pt x="75" y="0"/>
                  <a:pt x="78" y="0"/>
                </a:cubicBezTo>
                <a:cubicBezTo>
                  <a:pt x="588" y="0"/>
                  <a:pt x="588" y="0"/>
                  <a:pt x="588" y="0"/>
                </a:cubicBezTo>
                <a:cubicBezTo>
                  <a:pt x="592" y="0"/>
                  <a:pt x="595" y="3"/>
                  <a:pt x="595" y="7"/>
                </a:cubicBezTo>
                <a:cubicBezTo>
                  <a:pt x="595" y="422"/>
                  <a:pt x="595" y="422"/>
                  <a:pt x="595" y="422"/>
                </a:cubicBezTo>
                <a:cubicBezTo>
                  <a:pt x="595" y="425"/>
                  <a:pt x="592" y="429"/>
                  <a:pt x="588" y="429"/>
                </a:cubicBezTo>
                <a:close/>
                <a:moveTo>
                  <a:pt x="85" y="415"/>
                </a:moveTo>
                <a:cubicBezTo>
                  <a:pt x="581" y="415"/>
                  <a:pt x="581" y="415"/>
                  <a:pt x="581" y="415"/>
                </a:cubicBezTo>
                <a:cubicBezTo>
                  <a:pt x="581" y="14"/>
                  <a:pt x="581" y="14"/>
                  <a:pt x="581" y="14"/>
                </a:cubicBezTo>
                <a:cubicBezTo>
                  <a:pt x="85" y="14"/>
                  <a:pt x="85" y="14"/>
                  <a:pt x="85" y="14"/>
                </a:cubicBezTo>
                <a:lnTo>
                  <a:pt x="85" y="415"/>
                </a:lnTo>
                <a:close/>
                <a:moveTo>
                  <a:pt x="399" y="113"/>
                </a:moveTo>
                <a:cubicBezTo>
                  <a:pt x="267" y="113"/>
                  <a:pt x="267" y="113"/>
                  <a:pt x="267" y="113"/>
                </a:cubicBezTo>
                <a:cubicBezTo>
                  <a:pt x="252" y="113"/>
                  <a:pt x="240" y="101"/>
                  <a:pt x="240" y="86"/>
                </a:cubicBezTo>
                <a:cubicBezTo>
                  <a:pt x="240" y="72"/>
                  <a:pt x="252" y="60"/>
                  <a:pt x="267" y="60"/>
                </a:cubicBezTo>
                <a:cubicBezTo>
                  <a:pt x="399" y="60"/>
                  <a:pt x="399" y="60"/>
                  <a:pt x="399" y="60"/>
                </a:cubicBezTo>
                <a:cubicBezTo>
                  <a:pt x="414" y="60"/>
                  <a:pt x="426" y="72"/>
                  <a:pt x="426" y="86"/>
                </a:cubicBezTo>
                <a:cubicBezTo>
                  <a:pt x="426" y="101"/>
                  <a:pt x="414" y="113"/>
                  <a:pt x="399" y="113"/>
                </a:cubicBezTo>
                <a:close/>
                <a:moveTo>
                  <a:pt x="267" y="74"/>
                </a:moveTo>
                <a:cubicBezTo>
                  <a:pt x="260" y="74"/>
                  <a:pt x="254" y="79"/>
                  <a:pt x="254" y="86"/>
                </a:cubicBezTo>
                <a:cubicBezTo>
                  <a:pt x="254" y="93"/>
                  <a:pt x="260" y="99"/>
                  <a:pt x="267" y="99"/>
                </a:cubicBezTo>
                <a:cubicBezTo>
                  <a:pt x="399" y="99"/>
                  <a:pt x="399" y="99"/>
                  <a:pt x="399" y="99"/>
                </a:cubicBezTo>
                <a:cubicBezTo>
                  <a:pt x="406" y="99"/>
                  <a:pt x="412" y="93"/>
                  <a:pt x="412" y="86"/>
                </a:cubicBezTo>
                <a:cubicBezTo>
                  <a:pt x="412" y="79"/>
                  <a:pt x="406" y="74"/>
                  <a:pt x="399" y="74"/>
                </a:cubicBezTo>
                <a:lnTo>
                  <a:pt x="267" y="74"/>
                </a:lnTo>
                <a:close/>
                <a:moveTo>
                  <a:pt x="106" y="643"/>
                </a:moveTo>
                <a:cubicBezTo>
                  <a:pt x="83" y="643"/>
                  <a:pt x="64" y="624"/>
                  <a:pt x="64" y="601"/>
                </a:cubicBezTo>
                <a:cubicBezTo>
                  <a:pt x="64" y="578"/>
                  <a:pt x="83" y="560"/>
                  <a:pt x="106" y="560"/>
                </a:cubicBezTo>
                <a:cubicBezTo>
                  <a:pt x="129" y="560"/>
                  <a:pt x="147" y="578"/>
                  <a:pt x="147" y="601"/>
                </a:cubicBezTo>
                <a:cubicBezTo>
                  <a:pt x="147" y="624"/>
                  <a:pt x="129" y="643"/>
                  <a:pt x="106" y="643"/>
                </a:cubicBezTo>
                <a:close/>
                <a:moveTo>
                  <a:pt x="106" y="574"/>
                </a:moveTo>
                <a:cubicBezTo>
                  <a:pt x="90" y="574"/>
                  <a:pt x="78" y="586"/>
                  <a:pt x="78" y="601"/>
                </a:cubicBezTo>
                <a:cubicBezTo>
                  <a:pt x="78" y="616"/>
                  <a:pt x="90" y="629"/>
                  <a:pt x="106" y="629"/>
                </a:cubicBezTo>
                <a:cubicBezTo>
                  <a:pt x="121" y="629"/>
                  <a:pt x="133" y="616"/>
                  <a:pt x="133" y="601"/>
                </a:cubicBezTo>
                <a:cubicBezTo>
                  <a:pt x="133" y="586"/>
                  <a:pt x="121" y="574"/>
                  <a:pt x="106" y="574"/>
                </a:cubicBezTo>
                <a:close/>
                <a:moveTo>
                  <a:pt x="240" y="643"/>
                </a:moveTo>
                <a:cubicBezTo>
                  <a:pt x="217" y="643"/>
                  <a:pt x="198" y="624"/>
                  <a:pt x="198" y="601"/>
                </a:cubicBezTo>
                <a:cubicBezTo>
                  <a:pt x="198" y="578"/>
                  <a:pt x="217" y="560"/>
                  <a:pt x="240" y="560"/>
                </a:cubicBezTo>
                <a:cubicBezTo>
                  <a:pt x="263" y="560"/>
                  <a:pt x="282" y="578"/>
                  <a:pt x="282" y="601"/>
                </a:cubicBezTo>
                <a:cubicBezTo>
                  <a:pt x="282" y="624"/>
                  <a:pt x="263" y="643"/>
                  <a:pt x="240" y="643"/>
                </a:cubicBezTo>
                <a:close/>
                <a:moveTo>
                  <a:pt x="240" y="574"/>
                </a:moveTo>
                <a:cubicBezTo>
                  <a:pt x="225" y="574"/>
                  <a:pt x="212" y="586"/>
                  <a:pt x="212" y="601"/>
                </a:cubicBezTo>
                <a:cubicBezTo>
                  <a:pt x="212" y="616"/>
                  <a:pt x="225" y="629"/>
                  <a:pt x="240" y="629"/>
                </a:cubicBezTo>
                <a:cubicBezTo>
                  <a:pt x="255" y="629"/>
                  <a:pt x="268" y="616"/>
                  <a:pt x="268" y="601"/>
                </a:cubicBezTo>
                <a:cubicBezTo>
                  <a:pt x="268" y="586"/>
                  <a:pt x="255" y="574"/>
                  <a:pt x="240" y="574"/>
                </a:cubicBezTo>
                <a:close/>
                <a:moveTo>
                  <a:pt x="375" y="643"/>
                </a:moveTo>
                <a:cubicBezTo>
                  <a:pt x="352" y="643"/>
                  <a:pt x="333" y="624"/>
                  <a:pt x="333" y="601"/>
                </a:cubicBezTo>
                <a:cubicBezTo>
                  <a:pt x="333" y="578"/>
                  <a:pt x="352" y="560"/>
                  <a:pt x="375" y="560"/>
                </a:cubicBezTo>
                <a:cubicBezTo>
                  <a:pt x="398" y="560"/>
                  <a:pt x="416" y="578"/>
                  <a:pt x="416" y="601"/>
                </a:cubicBezTo>
                <a:cubicBezTo>
                  <a:pt x="416" y="624"/>
                  <a:pt x="398" y="643"/>
                  <a:pt x="375" y="643"/>
                </a:cubicBezTo>
                <a:close/>
                <a:moveTo>
                  <a:pt x="375" y="574"/>
                </a:moveTo>
                <a:cubicBezTo>
                  <a:pt x="359" y="574"/>
                  <a:pt x="347" y="586"/>
                  <a:pt x="347" y="601"/>
                </a:cubicBezTo>
                <a:cubicBezTo>
                  <a:pt x="347" y="616"/>
                  <a:pt x="359" y="629"/>
                  <a:pt x="375" y="629"/>
                </a:cubicBezTo>
                <a:cubicBezTo>
                  <a:pt x="390" y="629"/>
                  <a:pt x="402" y="616"/>
                  <a:pt x="402" y="601"/>
                </a:cubicBezTo>
                <a:cubicBezTo>
                  <a:pt x="402" y="586"/>
                  <a:pt x="390" y="574"/>
                  <a:pt x="375" y="574"/>
                </a:cubicBezTo>
                <a:close/>
                <a:moveTo>
                  <a:pt x="509" y="643"/>
                </a:moveTo>
                <a:cubicBezTo>
                  <a:pt x="486" y="643"/>
                  <a:pt x="468" y="624"/>
                  <a:pt x="468" y="601"/>
                </a:cubicBezTo>
                <a:cubicBezTo>
                  <a:pt x="468" y="578"/>
                  <a:pt x="486" y="560"/>
                  <a:pt x="509" y="560"/>
                </a:cubicBezTo>
                <a:cubicBezTo>
                  <a:pt x="532" y="560"/>
                  <a:pt x="551" y="578"/>
                  <a:pt x="551" y="601"/>
                </a:cubicBezTo>
                <a:cubicBezTo>
                  <a:pt x="551" y="624"/>
                  <a:pt x="532" y="643"/>
                  <a:pt x="509" y="643"/>
                </a:cubicBezTo>
                <a:close/>
                <a:moveTo>
                  <a:pt x="509" y="574"/>
                </a:moveTo>
                <a:cubicBezTo>
                  <a:pt x="494" y="574"/>
                  <a:pt x="482" y="586"/>
                  <a:pt x="482" y="601"/>
                </a:cubicBezTo>
                <a:cubicBezTo>
                  <a:pt x="482" y="616"/>
                  <a:pt x="494" y="629"/>
                  <a:pt x="509" y="629"/>
                </a:cubicBezTo>
                <a:cubicBezTo>
                  <a:pt x="524" y="629"/>
                  <a:pt x="537" y="616"/>
                  <a:pt x="537" y="601"/>
                </a:cubicBezTo>
                <a:cubicBezTo>
                  <a:pt x="537" y="586"/>
                  <a:pt x="524" y="574"/>
                  <a:pt x="509" y="574"/>
                </a:cubicBezTo>
                <a:close/>
                <a:moveTo>
                  <a:pt x="637" y="700"/>
                </a:moveTo>
                <a:cubicBezTo>
                  <a:pt x="637" y="696"/>
                  <a:pt x="634" y="693"/>
                  <a:pt x="630" y="693"/>
                </a:cubicBezTo>
                <a:cubicBezTo>
                  <a:pt x="106" y="693"/>
                  <a:pt x="106" y="693"/>
                  <a:pt x="106" y="693"/>
                </a:cubicBezTo>
                <a:cubicBezTo>
                  <a:pt x="55" y="693"/>
                  <a:pt x="14" y="652"/>
                  <a:pt x="14" y="601"/>
                </a:cubicBezTo>
                <a:cubicBezTo>
                  <a:pt x="14" y="551"/>
                  <a:pt x="55" y="509"/>
                  <a:pt x="106" y="509"/>
                </a:cubicBezTo>
                <a:cubicBezTo>
                  <a:pt x="630" y="509"/>
                  <a:pt x="630" y="509"/>
                  <a:pt x="630" y="509"/>
                </a:cubicBezTo>
                <a:cubicBezTo>
                  <a:pt x="634" y="509"/>
                  <a:pt x="637" y="506"/>
                  <a:pt x="637" y="502"/>
                </a:cubicBezTo>
                <a:cubicBezTo>
                  <a:pt x="637" y="498"/>
                  <a:pt x="634" y="495"/>
                  <a:pt x="630" y="495"/>
                </a:cubicBezTo>
                <a:cubicBezTo>
                  <a:pt x="106" y="495"/>
                  <a:pt x="106" y="495"/>
                  <a:pt x="106" y="495"/>
                </a:cubicBezTo>
                <a:cubicBezTo>
                  <a:pt x="47" y="495"/>
                  <a:pt x="0" y="543"/>
                  <a:pt x="0" y="601"/>
                </a:cubicBezTo>
                <a:cubicBezTo>
                  <a:pt x="0" y="660"/>
                  <a:pt x="47" y="707"/>
                  <a:pt x="106" y="707"/>
                </a:cubicBezTo>
                <a:cubicBezTo>
                  <a:pt x="630" y="707"/>
                  <a:pt x="630" y="707"/>
                  <a:pt x="630" y="707"/>
                </a:cubicBezTo>
                <a:cubicBezTo>
                  <a:pt x="634" y="707"/>
                  <a:pt x="637" y="704"/>
                  <a:pt x="637" y="700"/>
                </a:cubicBez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7171" name="Oval 9"/>
          <p:cNvSpPr>
            <a:spLocks noChangeArrowheads="1"/>
          </p:cNvSpPr>
          <p:nvPr/>
        </p:nvSpPr>
        <p:spPr bwMode="auto">
          <a:xfrm>
            <a:off x="8347593" y="4711628"/>
            <a:ext cx="1119124" cy="1119124"/>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7190" name="Freeform 28"/>
          <p:cNvSpPr>
            <a:spLocks noEditPoints="1"/>
          </p:cNvSpPr>
          <p:nvPr/>
        </p:nvSpPr>
        <p:spPr bwMode="auto">
          <a:xfrm>
            <a:off x="8566427" y="4916363"/>
            <a:ext cx="681458" cy="710101"/>
          </a:xfrm>
          <a:custGeom>
            <a:avLst/>
            <a:gdLst>
              <a:gd name="T0" fmla="*/ 633 w 647"/>
              <a:gd name="T1" fmla="*/ 245 h 674"/>
              <a:gd name="T2" fmla="*/ 546 w 647"/>
              <a:gd name="T3" fmla="*/ 172 h 674"/>
              <a:gd name="T4" fmla="*/ 536 w 647"/>
              <a:gd name="T5" fmla="*/ 173 h 674"/>
              <a:gd name="T6" fmla="*/ 565 w 647"/>
              <a:gd name="T7" fmla="*/ 124 h 674"/>
              <a:gd name="T8" fmla="*/ 331 w 647"/>
              <a:gd name="T9" fmla="*/ 15 h 674"/>
              <a:gd name="T10" fmla="*/ 324 w 647"/>
              <a:gd name="T11" fmla="*/ 83 h 674"/>
              <a:gd name="T12" fmla="*/ 317 w 647"/>
              <a:gd name="T13" fmla="*/ 15 h 674"/>
              <a:gd name="T14" fmla="*/ 82 w 647"/>
              <a:gd name="T15" fmla="*/ 124 h 674"/>
              <a:gd name="T16" fmla="*/ 111 w 647"/>
              <a:gd name="T17" fmla="*/ 173 h 674"/>
              <a:gd name="T18" fmla="*/ 101 w 647"/>
              <a:gd name="T19" fmla="*/ 172 h 674"/>
              <a:gd name="T20" fmla="*/ 14 w 647"/>
              <a:gd name="T21" fmla="*/ 245 h 674"/>
              <a:gd name="T22" fmla="*/ 6 w 647"/>
              <a:gd name="T23" fmla="*/ 250 h 674"/>
              <a:gd name="T24" fmla="*/ 67 w 647"/>
              <a:gd name="T25" fmla="*/ 120 h 674"/>
              <a:gd name="T26" fmla="*/ 69 w 647"/>
              <a:gd name="T27" fmla="*/ 118 h 674"/>
              <a:gd name="T28" fmla="*/ 324 w 647"/>
              <a:gd name="T29" fmla="*/ 0 h 674"/>
              <a:gd name="T30" fmla="*/ 324 w 647"/>
              <a:gd name="T31" fmla="*/ 0 h 674"/>
              <a:gd name="T32" fmla="*/ 526 w 647"/>
              <a:gd name="T33" fmla="*/ 68 h 674"/>
              <a:gd name="T34" fmla="*/ 579 w 647"/>
              <a:gd name="T35" fmla="*/ 118 h 674"/>
              <a:gd name="T36" fmla="*/ 646 w 647"/>
              <a:gd name="T37" fmla="*/ 241 h 674"/>
              <a:gd name="T38" fmla="*/ 607 w 647"/>
              <a:gd name="T39" fmla="*/ 505 h 674"/>
              <a:gd name="T40" fmla="*/ 324 w 647"/>
              <a:gd name="T41" fmla="*/ 660 h 674"/>
              <a:gd name="T42" fmla="*/ 40 w 647"/>
              <a:gd name="T43" fmla="*/ 505 h 674"/>
              <a:gd name="T44" fmla="*/ 324 w 647"/>
              <a:gd name="T45" fmla="*/ 674 h 674"/>
              <a:gd name="T46" fmla="*/ 607 w 647"/>
              <a:gd name="T47" fmla="*/ 505 h 674"/>
              <a:gd name="T48" fmla="*/ 403 w 647"/>
              <a:gd name="T49" fmla="*/ 439 h 674"/>
              <a:gd name="T50" fmla="*/ 446 w 647"/>
              <a:gd name="T51" fmla="*/ 516 h 674"/>
              <a:gd name="T52" fmla="*/ 206 w 647"/>
              <a:gd name="T53" fmla="*/ 518 h 674"/>
              <a:gd name="T54" fmla="*/ 200 w 647"/>
              <a:gd name="T55" fmla="*/ 510 h 674"/>
              <a:gd name="T56" fmla="*/ 391 w 647"/>
              <a:gd name="T57" fmla="*/ 431 h 674"/>
              <a:gd name="T58" fmla="*/ 552 w 647"/>
              <a:gd name="T59" fmla="*/ 273 h 674"/>
              <a:gd name="T60" fmla="*/ 389 w 647"/>
              <a:gd name="T61" fmla="*/ 446 h 674"/>
              <a:gd name="T62" fmla="*/ 387 w 647"/>
              <a:gd name="T63" fmla="*/ 445 h 674"/>
              <a:gd name="T64" fmla="*/ 216 w 647"/>
              <a:gd name="T65" fmla="*/ 504 h 674"/>
              <a:gd name="T66" fmla="*/ 389 w 647"/>
              <a:gd name="T67" fmla="*/ 446 h 6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47" h="674">
                <a:moveTo>
                  <a:pt x="641" y="250"/>
                </a:moveTo>
                <a:cubicBezTo>
                  <a:pt x="638" y="251"/>
                  <a:pt x="634" y="249"/>
                  <a:pt x="633" y="245"/>
                </a:cubicBezTo>
                <a:cubicBezTo>
                  <a:pt x="621" y="205"/>
                  <a:pt x="601" y="167"/>
                  <a:pt x="574" y="135"/>
                </a:cubicBezTo>
                <a:cubicBezTo>
                  <a:pt x="546" y="172"/>
                  <a:pt x="546" y="172"/>
                  <a:pt x="546" y="172"/>
                </a:cubicBezTo>
                <a:cubicBezTo>
                  <a:pt x="544" y="174"/>
                  <a:pt x="542" y="174"/>
                  <a:pt x="540" y="174"/>
                </a:cubicBezTo>
                <a:cubicBezTo>
                  <a:pt x="539" y="174"/>
                  <a:pt x="537" y="174"/>
                  <a:pt x="536" y="173"/>
                </a:cubicBezTo>
                <a:cubicBezTo>
                  <a:pt x="533" y="171"/>
                  <a:pt x="532" y="166"/>
                  <a:pt x="535" y="163"/>
                </a:cubicBezTo>
                <a:cubicBezTo>
                  <a:pt x="565" y="124"/>
                  <a:pt x="565" y="124"/>
                  <a:pt x="565" y="124"/>
                </a:cubicBezTo>
                <a:cubicBezTo>
                  <a:pt x="551" y="107"/>
                  <a:pt x="535" y="93"/>
                  <a:pt x="518" y="80"/>
                </a:cubicBezTo>
                <a:cubicBezTo>
                  <a:pt x="464" y="38"/>
                  <a:pt x="399" y="16"/>
                  <a:pt x="331" y="15"/>
                </a:cubicBezTo>
                <a:cubicBezTo>
                  <a:pt x="331" y="76"/>
                  <a:pt x="331" y="76"/>
                  <a:pt x="331" y="76"/>
                </a:cubicBezTo>
                <a:cubicBezTo>
                  <a:pt x="331" y="79"/>
                  <a:pt x="327" y="83"/>
                  <a:pt x="324" y="83"/>
                </a:cubicBezTo>
                <a:cubicBezTo>
                  <a:pt x="320" y="83"/>
                  <a:pt x="317" y="79"/>
                  <a:pt x="317" y="76"/>
                </a:cubicBezTo>
                <a:cubicBezTo>
                  <a:pt x="317" y="15"/>
                  <a:pt x="317" y="15"/>
                  <a:pt x="317" y="15"/>
                </a:cubicBezTo>
                <a:cubicBezTo>
                  <a:pt x="248" y="16"/>
                  <a:pt x="184" y="38"/>
                  <a:pt x="129" y="80"/>
                </a:cubicBezTo>
                <a:cubicBezTo>
                  <a:pt x="112" y="93"/>
                  <a:pt x="96" y="107"/>
                  <a:pt x="82" y="124"/>
                </a:cubicBezTo>
                <a:cubicBezTo>
                  <a:pt x="112" y="163"/>
                  <a:pt x="112" y="163"/>
                  <a:pt x="112" y="163"/>
                </a:cubicBezTo>
                <a:cubicBezTo>
                  <a:pt x="115" y="166"/>
                  <a:pt x="114" y="171"/>
                  <a:pt x="111" y="173"/>
                </a:cubicBezTo>
                <a:cubicBezTo>
                  <a:pt x="110" y="174"/>
                  <a:pt x="108" y="174"/>
                  <a:pt x="107" y="174"/>
                </a:cubicBezTo>
                <a:cubicBezTo>
                  <a:pt x="105" y="174"/>
                  <a:pt x="103" y="174"/>
                  <a:pt x="101" y="172"/>
                </a:cubicBezTo>
                <a:cubicBezTo>
                  <a:pt x="73" y="135"/>
                  <a:pt x="73" y="135"/>
                  <a:pt x="73" y="135"/>
                </a:cubicBezTo>
                <a:cubicBezTo>
                  <a:pt x="46" y="167"/>
                  <a:pt x="26" y="205"/>
                  <a:pt x="14" y="245"/>
                </a:cubicBezTo>
                <a:cubicBezTo>
                  <a:pt x="14" y="248"/>
                  <a:pt x="11" y="250"/>
                  <a:pt x="8" y="250"/>
                </a:cubicBezTo>
                <a:cubicBezTo>
                  <a:pt x="7" y="250"/>
                  <a:pt x="6" y="250"/>
                  <a:pt x="6" y="250"/>
                </a:cubicBezTo>
                <a:cubicBezTo>
                  <a:pt x="2" y="248"/>
                  <a:pt x="0" y="245"/>
                  <a:pt x="1" y="241"/>
                </a:cubicBezTo>
                <a:cubicBezTo>
                  <a:pt x="14" y="197"/>
                  <a:pt x="37" y="155"/>
                  <a:pt x="67" y="120"/>
                </a:cubicBezTo>
                <a:cubicBezTo>
                  <a:pt x="67" y="119"/>
                  <a:pt x="68" y="118"/>
                  <a:pt x="68" y="118"/>
                </a:cubicBezTo>
                <a:cubicBezTo>
                  <a:pt x="68" y="118"/>
                  <a:pt x="69" y="118"/>
                  <a:pt x="69" y="118"/>
                </a:cubicBezTo>
                <a:cubicBezTo>
                  <a:pt x="84" y="99"/>
                  <a:pt x="102" y="83"/>
                  <a:pt x="121" y="68"/>
                </a:cubicBezTo>
                <a:cubicBezTo>
                  <a:pt x="179" y="24"/>
                  <a:pt x="250" y="0"/>
                  <a:pt x="324" y="0"/>
                </a:cubicBezTo>
                <a:cubicBezTo>
                  <a:pt x="324" y="0"/>
                  <a:pt x="324" y="0"/>
                  <a:pt x="324" y="0"/>
                </a:cubicBezTo>
                <a:cubicBezTo>
                  <a:pt x="324" y="0"/>
                  <a:pt x="324" y="0"/>
                  <a:pt x="324" y="0"/>
                </a:cubicBezTo>
                <a:cubicBezTo>
                  <a:pt x="324" y="0"/>
                  <a:pt x="324" y="0"/>
                  <a:pt x="324" y="0"/>
                </a:cubicBezTo>
                <a:cubicBezTo>
                  <a:pt x="398" y="0"/>
                  <a:pt x="468" y="24"/>
                  <a:pt x="526" y="68"/>
                </a:cubicBezTo>
                <a:cubicBezTo>
                  <a:pt x="546" y="83"/>
                  <a:pt x="563" y="99"/>
                  <a:pt x="579" y="118"/>
                </a:cubicBezTo>
                <a:cubicBezTo>
                  <a:pt x="579" y="118"/>
                  <a:pt x="579" y="118"/>
                  <a:pt x="579" y="118"/>
                </a:cubicBezTo>
                <a:cubicBezTo>
                  <a:pt x="579" y="118"/>
                  <a:pt x="580" y="119"/>
                  <a:pt x="581" y="120"/>
                </a:cubicBezTo>
                <a:cubicBezTo>
                  <a:pt x="610" y="155"/>
                  <a:pt x="633" y="197"/>
                  <a:pt x="646" y="241"/>
                </a:cubicBezTo>
                <a:cubicBezTo>
                  <a:pt x="647" y="245"/>
                  <a:pt x="645" y="248"/>
                  <a:pt x="641" y="250"/>
                </a:cubicBezTo>
                <a:close/>
                <a:moveTo>
                  <a:pt x="607" y="505"/>
                </a:moveTo>
                <a:cubicBezTo>
                  <a:pt x="603" y="503"/>
                  <a:pt x="599" y="504"/>
                  <a:pt x="597" y="508"/>
                </a:cubicBezTo>
                <a:cubicBezTo>
                  <a:pt x="537" y="603"/>
                  <a:pt x="435" y="660"/>
                  <a:pt x="324" y="660"/>
                </a:cubicBezTo>
                <a:cubicBezTo>
                  <a:pt x="212" y="660"/>
                  <a:pt x="110" y="603"/>
                  <a:pt x="50" y="508"/>
                </a:cubicBezTo>
                <a:cubicBezTo>
                  <a:pt x="48" y="504"/>
                  <a:pt x="44" y="503"/>
                  <a:pt x="40" y="505"/>
                </a:cubicBezTo>
                <a:cubicBezTo>
                  <a:pt x="37" y="507"/>
                  <a:pt x="36" y="512"/>
                  <a:pt x="38" y="515"/>
                </a:cubicBezTo>
                <a:cubicBezTo>
                  <a:pt x="100" y="614"/>
                  <a:pt x="207" y="674"/>
                  <a:pt x="324" y="674"/>
                </a:cubicBezTo>
                <a:cubicBezTo>
                  <a:pt x="440" y="674"/>
                  <a:pt x="547" y="614"/>
                  <a:pt x="609" y="515"/>
                </a:cubicBezTo>
                <a:cubicBezTo>
                  <a:pt x="611" y="512"/>
                  <a:pt x="610" y="507"/>
                  <a:pt x="607" y="505"/>
                </a:cubicBezTo>
                <a:close/>
                <a:moveTo>
                  <a:pt x="552" y="283"/>
                </a:moveTo>
                <a:cubicBezTo>
                  <a:pt x="403" y="439"/>
                  <a:pt x="403" y="439"/>
                  <a:pt x="403" y="439"/>
                </a:cubicBezTo>
                <a:cubicBezTo>
                  <a:pt x="425" y="456"/>
                  <a:pt x="441" y="481"/>
                  <a:pt x="447" y="510"/>
                </a:cubicBezTo>
                <a:cubicBezTo>
                  <a:pt x="448" y="512"/>
                  <a:pt x="447" y="514"/>
                  <a:pt x="446" y="516"/>
                </a:cubicBezTo>
                <a:cubicBezTo>
                  <a:pt x="445" y="517"/>
                  <a:pt x="443" y="518"/>
                  <a:pt x="441" y="518"/>
                </a:cubicBezTo>
                <a:cubicBezTo>
                  <a:pt x="206" y="518"/>
                  <a:pt x="206" y="518"/>
                  <a:pt x="206" y="518"/>
                </a:cubicBezTo>
                <a:cubicBezTo>
                  <a:pt x="204" y="518"/>
                  <a:pt x="202" y="517"/>
                  <a:pt x="201" y="516"/>
                </a:cubicBezTo>
                <a:cubicBezTo>
                  <a:pt x="200" y="514"/>
                  <a:pt x="199" y="512"/>
                  <a:pt x="200" y="510"/>
                </a:cubicBezTo>
                <a:cubicBezTo>
                  <a:pt x="213" y="452"/>
                  <a:pt x="264" y="411"/>
                  <a:pt x="324" y="411"/>
                </a:cubicBezTo>
                <a:cubicBezTo>
                  <a:pt x="348" y="411"/>
                  <a:pt x="371" y="418"/>
                  <a:pt x="391" y="431"/>
                </a:cubicBezTo>
                <a:cubicBezTo>
                  <a:pt x="542" y="273"/>
                  <a:pt x="542" y="273"/>
                  <a:pt x="542" y="273"/>
                </a:cubicBezTo>
                <a:cubicBezTo>
                  <a:pt x="545" y="270"/>
                  <a:pt x="549" y="270"/>
                  <a:pt x="552" y="273"/>
                </a:cubicBezTo>
                <a:cubicBezTo>
                  <a:pt x="555" y="275"/>
                  <a:pt x="555" y="280"/>
                  <a:pt x="552" y="283"/>
                </a:cubicBezTo>
                <a:close/>
                <a:moveTo>
                  <a:pt x="389" y="446"/>
                </a:moveTo>
                <a:cubicBezTo>
                  <a:pt x="388" y="446"/>
                  <a:pt x="388" y="445"/>
                  <a:pt x="387" y="445"/>
                </a:cubicBezTo>
                <a:cubicBezTo>
                  <a:pt x="387" y="445"/>
                  <a:pt x="387" y="445"/>
                  <a:pt x="387" y="445"/>
                </a:cubicBezTo>
                <a:cubicBezTo>
                  <a:pt x="369" y="432"/>
                  <a:pt x="347" y="425"/>
                  <a:pt x="324" y="425"/>
                </a:cubicBezTo>
                <a:cubicBezTo>
                  <a:pt x="274" y="425"/>
                  <a:pt x="230" y="457"/>
                  <a:pt x="216" y="504"/>
                </a:cubicBezTo>
                <a:cubicBezTo>
                  <a:pt x="431" y="504"/>
                  <a:pt x="431" y="504"/>
                  <a:pt x="431" y="504"/>
                </a:cubicBezTo>
                <a:cubicBezTo>
                  <a:pt x="424" y="480"/>
                  <a:pt x="409" y="460"/>
                  <a:pt x="389" y="446"/>
                </a:cubicBez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7168" name="Oval 7"/>
          <p:cNvSpPr>
            <a:spLocks noChangeArrowheads="1"/>
          </p:cNvSpPr>
          <p:nvPr/>
        </p:nvSpPr>
        <p:spPr bwMode="auto">
          <a:xfrm>
            <a:off x="1315706" y="4711628"/>
            <a:ext cx="1119124" cy="1119124"/>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7193" name="Freeform 31"/>
          <p:cNvSpPr>
            <a:spLocks noEditPoints="1"/>
          </p:cNvSpPr>
          <p:nvPr/>
        </p:nvSpPr>
        <p:spPr bwMode="auto">
          <a:xfrm>
            <a:off x="1611644" y="4903427"/>
            <a:ext cx="527249" cy="734634"/>
          </a:xfrm>
          <a:custGeom>
            <a:avLst/>
            <a:gdLst>
              <a:gd name="T0" fmla="*/ 208 w 501"/>
              <a:gd name="T1" fmla="*/ 697 h 697"/>
              <a:gd name="T2" fmla="*/ 206 w 501"/>
              <a:gd name="T3" fmla="*/ 697 h 697"/>
              <a:gd name="T4" fmla="*/ 0 w 501"/>
              <a:gd name="T5" fmla="*/ 454 h 697"/>
              <a:gd name="T6" fmla="*/ 77 w 501"/>
              <a:gd name="T7" fmla="*/ 283 h 697"/>
              <a:gd name="T8" fmla="*/ 130 w 501"/>
              <a:gd name="T9" fmla="*/ 206 h 697"/>
              <a:gd name="T10" fmla="*/ 190 w 501"/>
              <a:gd name="T11" fmla="*/ 7 h 697"/>
              <a:gd name="T12" fmla="*/ 194 w 501"/>
              <a:gd name="T13" fmla="*/ 1 h 697"/>
              <a:gd name="T14" fmla="*/ 201 w 501"/>
              <a:gd name="T15" fmla="*/ 1 h 697"/>
              <a:gd name="T16" fmla="*/ 501 w 501"/>
              <a:gd name="T17" fmla="*/ 410 h 697"/>
              <a:gd name="T18" fmla="*/ 307 w 501"/>
              <a:gd name="T19" fmla="*/ 692 h 697"/>
              <a:gd name="T20" fmla="*/ 300 w 501"/>
              <a:gd name="T21" fmla="*/ 690 h 697"/>
              <a:gd name="T22" fmla="*/ 299 w 501"/>
              <a:gd name="T23" fmla="*/ 683 h 697"/>
              <a:gd name="T24" fmla="*/ 328 w 501"/>
              <a:gd name="T25" fmla="*/ 570 h 697"/>
              <a:gd name="T26" fmla="*/ 259 w 501"/>
              <a:gd name="T27" fmla="*/ 458 h 697"/>
              <a:gd name="T28" fmla="*/ 209 w 501"/>
              <a:gd name="T29" fmla="*/ 546 h 697"/>
              <a:gd name="T30" fmla="*/ 177 w 501"/>
              <a:gd name="T31" fmla="*/ 611 h 697"/>
              <a:gd name="T32" fmla="*/ 213 w 501"/>
              <a:gd name="T33" fmla="*/ 685 h 697"/>
              <a:gd name="T34" fmla="*/ 215 w 501"/>
              <a:gd name="T35" fmla="*/ 690 h 697"/>
              <a:gd name="T36" fmla="*/ 208 w 501"/>
              <a:gd name="T37" fmla="*/ 697 h 697"/>
              <a:gd name="T38" fmla="*/ 208 w 501"/>
              <a:gd name="T39" fmla="*/ 697 h 697"/>
              <a:gd name="T40" fmla="*/ 203 w 501"/>
              <a:gd name="T41" fmla="*/ 19 h 697"/>
              <a:gd name="T42" fmla="*/ 143 w 501"/>
              <a:gd name="T43" fmla="*/ 213 h 697"/>
              <a:gd name="T44" fmla="*/ 87 w 501"/>
              <a:gd name="T45" fmla="*/ 292 h 697"/>
              <a:gd name="T46" fmla="*/ 14 w 501"/>
              <a:gd name="T47" fmla="*/ 454 h 697"/>
              <a:gd name="T48" fmla="*/ 188 w 501"/>
              <a:gd name="T49" fmla="*/ 676 h 697"/>
              <a:gd name="T50" fmla="*/ 163 w 501"/>
              <a:gd name="T51" fmla="*/ 611 h 697"/>
              <a:gd name="T52" fmla="*/ 198 w 501"/>
              <a:gd name="T53" fmla="*/ 538 h 697"/>
              <a:gd name="T54" fmla="*/ 249 w 501"/>
              <a:gd name="T55" fmla="*/ 445 h 697"/>
              <a:gd name="T56" fmla="*/ 253 w 501"/>
              <a:gd name="T57" fmla="*/ 440 h 697"/>
              <a:gd name="T58" fmla="*/ 259 w 501"/>
              <a:gd name="T59" fmla="*/ 441 h 697"/>
              <a:gd name="T60" fmla="*/ 342 w 501"/>
              <a:gd name="T61" fmla="*/ 570 h 697"/>
              <a:gd name="T62" fmla="*/ 318 w 501"/>
              <a:gd name="T63" fmla="*/ 674 h 697"/>
              <a:gd name="T64" fmla="*/ 487 w 501"/>
              <a:gd name="T65" fmla="*/ 410 h 697"/>
              <a:gd name="T66" fmla="*/ 203 w 501"/>
              <a:gd name="T67" fmla="*/ 19 h 6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01" h="697">
                <a:moveTo>
                  <a:pt x="208" y="697"/>
                </a:moveTo>
                <a:cubicBezTo>
                  <a:pt x="207" y="697"/>
                  <a:pt x="207" y="697"/>
                  <a:pt x="206" y="697"/>
                </a:cubicBezTo>
                <a:cubicBezTo>
                  <a:pt x="83" y="658"/>
                  <a:pt x="0" y="561"/>
                  <a:pt x="0" y="454"/>
                </a:cubicBezTo>
                <a:cubicBezTo>
                  <a:pt x="0" y="379"/>
                  <a:pt x="39" y="330"/>
                  <a:pt x="77" y="283"/>
                </a:cubicBezTo>
                <a:cubicBezTo>
                  <a:pt x="96" y="259"/>
                  <a:pt x="115" y="234"/>
                  <a:pt x="130" y="206"/>
                </a:cubicBezTo>
                <a:cubicBezTo>
                  <a:pt x="170" y="129"/>
                  <a:pt x="185" y="48"/>
                  <a:pt x="190" y="7"/>
                </a:cubicBezTo>
                <a:cubicBezTo>
                  <a:pt x="191" y="4"/>
                  <a:pt x="192" y="2"/>
                  <a:pt x="194" y="1"/>
                </a:cubicBezTo>
                <a:cubicBezTo>
                  <a:pt x="196" y="0"/>
                  <a:pt x="199" y="0"/>
                  <a:pt x="201" y="1"/>
                </a:cubicBezTo>
                <a:cubicBezTo>
                  <a:pt x="308" y="61"/>
                  <a:pt x="501" y="249"/>
                  <a:pt x="501" y="410"/>
                </a:cubicBezTo>
                <a:cubicBezTo>
                  <a:pt x="501" y="577"/>
                  <a:pt x="382" y="672"/>
                  <a:pt x="307" y="692"/>
                </a:cubicBezTo>
                <a:cubicBezTo>
                  <a:pt x="304" y="693"/>
                  <a:pt x="301" y="692"/>
                  <a:pt x="300" y="690"/>
                </a:cubicBezTo>
                <a:cubicBezTo>
                  <a:pt x="298" y="688"/>
                  <a:pt x="297" y="685"/>
                  <a:pt x="299" y="683"/>
                </a:cubicBezTo>
                <a:cubicBezTo>
                  <a:pt x="313" y="652"/>
                  <a:pt x="328" y="602"/>
                  <a:pt x="328" y="570"/>
                </a:cubicBezTo>
                <a:cubicBezTo>
                  <a:pt x="328" y="530"/>
                  <a:pt x="306" y="494"/>
                  <a:pt x="259" y="458"/>
                </a:cubicBezTo>
                <a:cubicBezTo>
                  <a:pt x="247" y="497"/>
                  <a:pt x="227" y="523"/>
                  <a:pt x="209" y="546"/>
                </a:cubicBezTo>
                <a:cubicBezTo>
                  <a:pt x="191" y="570"/>
                  <a:pt x="177" y="588"/>
                  <a:pt x="177" y="611"/>
                </a:cubicBezTo>
                <a:cubicBezTo>
                  <a:pt x="177" y="640"/>
                  <a:pt x="204" y="676"/>
                  <a:pt x="213" y="685"/>
                </a:cubicBezTo>
                <a:cubicBezTo>
                  <a:pt x="214" y="686"/>
                  <a:pt x="215" y="688"/>
                  <a:pt x="215" y="690"/>
                </a:cubicBezTo>
                <a:cubicBezTo>
                  <a:pt x="215" y="694"/>
                  <a:pt x="212" y="697"/>
                  <a:pt x="208" y="697"/>
                </a:cubicBezTo>
                <a:cubicBezTo>
                  <a:pt x="208" y="697"/>
                  <a:pt x="208" y="697"/>
                  <a:pt x="208" y="697"/>
                </a:cubicBezTo>
                <a:close/>
                <a:moveTo>
                  <a:pt x="203" y="19"/>
                </a:moveTo>
                <a:cubicBezTo>
                  <a:pt x="196" y="63"/>
                  <a:pt x="181" y="140"/>
                  <a:pt x="143" y="213"/>
                </a:cubicBezTo>
                <a:cubicBezTo>
                  <a:pt x="127" y="242"/>
                  <a:pt x="107" y="267"/>
                  <a:pt x="87" y="292"/>
                </a:cubicBezTo>
                <a:cubicBezTo>
                  <a:pt x="50" y="339"/>
                  <a:pt x="14" y="384"/>
                  <a:pt x="14" y="454"/>
                </a:cubicBezTo>
                <a:cubicBezTo>
                  <a:pt x="14" y="548"/>
                  <a:pt x="83" y="635"/>
                  <a:pt x="188" y="676"/>
                </a:cubicBezTo>
                <a:cubicBezTo>
                  <a:pt x="176" y="658"/>
                  <a:pt x="163" y="633"/>
                  <a:pt x="163" y="611"/>
                </a:cubicBezTo>
                <a:cubicBezTo>
                  <a:pt x="163" y="583"/>
                  <a:pt x="179" y="562"/>
                  <a:pt x="198" y="538"/>
                </a:cubicBezTo>
                <a:cubicBezTo>
                  <a:pt x="217" y="513"/>
                  <a:pt x="238" y="486"/>
                  <a:pt x="249" y="445"/>
                </a:cubicBezTo>
                <a:cubicBezTo>
                  <a:pt x="249" y="443"/>
                  <a:pt x="251" y="441"/>
                  <a:pt x="253" y="440"/>
                </a:cubicBezTo>
                <a:cubicBezTo>
                  <a:pt x="255" y="439"/>
                  <a:pt x="258" y="440"/>
                  <a:pt x="259" y="441"/>
                </a:cubicBezTo>
                <a:cubicBezTo>
                  <a:pt x="315" y="481"/>
                  <a:pt x="342" y="523"/>
                  <a:pt x="342" y="570"/>
                </a:cubicBezTo>
                <a:cubicBezTo>
                  <a:pt x="342" y="600"/>
                  <a:pt x="330" y="642"/>
                  <a:pt x="318" y="674"/>
                </a:cubicBezTo>
                <a:cubicBezTo>
                  <a:pt x="388" y="647"/>
                  <a:pt x="487" y="559"/>
                  <a:pt x="487" y="410"/>
                </a:cubicBezTo>
                <a:cubicBezTo>
                  <a:pt x="487" y="259"/>
                  <a:pt x="309" y="82"/>
                  <a:pt x="203" y="19"/>
                </a:cubicBez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7173" name="Oval 11"/>
          <p:cNvSpPr>
            <a:spLocks noChangeArrowheads="1"/>
          </p:cNvSpPr>
          <p:nvPr/>
        </p:nvSpPr>
        <p:spPr bwMode="auto">
          <a:xfrm>
            <a:off x="4831649" y="4711628"/>
            <a:ext cx="1119124" cy="1119124"/>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7198" name="Freeform 36"/>
          <p:cNvSpPr>
            <a:spLocks noEditPoints="1"/>
          </p:cNvSpPr>
          <p:nvPr/>
        </p:nvSpPr>
        <p:spPr bwMode="auto">
          <a:xfrm>
            <a:off x="5154774" y="4897183"/>
            <a:ext cx="472430" cy="748015"/>
          </a:xfrm>
          <a:custGeom>
            <a:avLst/>
            <a:gdLst>
              <a:gd name="T0" fmla="*/ 225 w 449"/>
              <a:gd name="T1" fmla="*/ 0 h 710"/>
              <a:gd name="T2" fmla="*/ 0 w 449"/>
              <a:gd name="T3" fmla="*/ 225 h 710"/>
              <a:gd name="T4" fmla="*/ 68 w 449"/>
              <a:gd name="T5" fmla="*/ 395 h 710"/>
              <a:gd name="T6" fmla="*/ 108 w 449"/>
              <a:gd name="T7" fmla="*/ 545 h 710"/>
              <a:gd name="T8" fmla="*/ 108 w 449"/>
              <a:gd name="T9" fmla="*/ 621 h 710"/>
              <a:gd name="T10" fmla="*/ 142 w 449"/>
              <a:gd name="T11" fmla="*/ 655 h 710"/>
              <a:gd name="T12" fmla="*/ 159 w 449"/>
              <a:gd name="T13" fmla="*/ 655 h 710"/>
              <a:gd name="T14" fmla="*/ 225 w 449"/>
              <a:gd name="T15" fmla="*/ 710 h 710"/>
              <a:gd name="T16" fmla="*/ 290 w 449"/>
              <a:gd name="T17" fmla="*/ 655 h 710"/>
              <a:gd name="T18" fmla="*/ 307 w 449"/>
              <a:gd name="T19" fmla="*/ 655 h 710"/>
              <a:gd name="T20" fmla="*/ 341 w 449"/>
              <a:gd name="T21" fmla="*/ 621 h 710"/>
              <a:gd name="T22" fmla="*/ 341 w 449"/>
              <a:gd name="T23" fmla="*/ 545 h 710"/>
              <a:gd name="T24" fmla="*/ 381 w 449"/>
              <a:gd name="T25" fmla="*/ 395 h 710"/>
              <a:gd name="T26" fmla="*/ 449 w 449"/>
              <a:gd name="T27" fmla="*/ 225 h 710"/>
              <a:gd name="T28" fmla="*/ 225 w 449"/>
              <a:gd name="T29" fmla="*/ 0 h 710"/>
              <a:gd name="T30" fmla="*/ 225 w 449"/>
              <a:gd name="T31" fmla="*/ 696 h 710"/>
              <a:gd name="T32" fmla="*/ 173 w 449"/>
              <a:gd name="T33" fmla="*/ 655 h 710"/>
              <a:gd name="T34" fmla="*/ 276 w 449"/>
              <a:gd name="T35" fmla="*/ 655 h 710"/>
              <a:gd name="T36" fmla="*/ 225 w 449"/>
              <a:gd name="T37" fmla="*/ 696 h 710"/>
              <a:gd name="T38" fmla="*/ 307 w 449"/>
              <a:gd name="T39" fmla="*/ 641 h 710"/>
              <a:gd name="T40" fmla="*/ 142 w 449"/>
              <a:gd name="T41" fmla="*/ 641 h 710"/>
              <a:gd name="T42" fmla="*/ 122 w 449"/>
              <a:gd name="T43" fmla="*/ 621 h 710"/>
              <a:gd name="T44" fmla="*/ 122 w 449"/>
              <a:gd name="T45" fmla="*/ 552 h 710"/>
              <a:gd name="T46" fmla="*/ 327 w 449"/>
              <a:gd name="T47" fmla="*/ 552 h 710"/>
              <a:gd name="T48" fmla="*/ 327 w 449"/>
              <a:gd name="T49" fmla="*/ 621 h 710"/>
              <a:gd name="T50" fmla="*/ 307 w 449"/>
              <a:gd name="T51" fmla="*/ 641 h 710"/>
              <a:gd name="T52" fmla="*/ 371 w 449"/>
              <a:gd name="T53" fmla="*/ 385 h 710"/>
              <a:gd name="T54" fmla="*/ 327 w 449"/>
              <a:gd name="T55" fmla="*/ 538 h 710"/>
              <a:gd name="T56" fmla="*/ 232 w 449"/>
              <a:gd name="T57" fmla="*/ 538 h 710"/>
              <a:gd name="T58" fmla="*/ 232 w 449"/>
              <a:gd name="T59" fmla="*/ 306 h 710"/>
              <a:gd name="T60" fmla="*/ 295 w 449"/>
              <a:gd name="T61" fmla="*/ 262 h 710"/>
              <a:gd name="T62" fmla="*/ 314 w 449"/>
              <a:gd name="T63" fmla="*/ 219 h 710"/>
              <a:gd name="T64" fmla="*/ 309 w 449"/>
              <a:gd name="T65" fmla="*/ 210 h 710"/>
              <a:gd name="T66" fmla="*/ 300 w 449"/>
              <a:gd name="T67" fmla="*/ 215 h 710"/>
              <a:gd name="T68" fmla="*/ 225 w 449"/>
              <a:gd name="T69" fmla="*/ 292 h 710"/>
              <a:gd name="T70" fmla="*/ 149 w 449"/>
              <a:gd name="T71" fmla="*/ 215 h 710"/>
              <a:gd name="T72" fmla="*/ 141 w 449"/>
              <a:gd name="T73" fmla="*/ 210 h 710"/>
              <a:gd name="T74" fmla="*/ 135 w 449"/>
              <a:gd name="T75" fmla="*/ 219 h 710"/>
              <a:gd name="T76" fmla="*/ 154 w 449"/>
              <a:gd name="T77" fmla="*/ 262 h 710"/>
              <a:gd name="T78" fmla="*/ 218 w 449"/>
              <a:gd name="T79" fmla="*/ 306 h 710"/>
              <a:gd name="T80" fmla="*/ 218 w 449"/>
              <a:gd name="T81" fmla="*/ 538 h 710"/>
              <a:gd name="T82" fmla="*/ 122 w 449"/>
              <a:gd name="T83" fmla="*/ 538 h 710"/>
              <a:gd name="T84" fmla="*/ 78 w 449"/>
              <a:gd name="T85" fmla="*/ 385 h 710"/>
              <a:gd name="T86" fmla="*/ 14 w 449"/>
              <a:gd name="T87" fmla="*/ 225 h 710"/>
              <a:gd name="T88" fmla="*/ 225 w 449"/>
              <a:gd name="T89" fmla="*/ 14 h 710"/>
              <a:gd name="T90" fmla="*/ 435 w 449"/>
              <a:gd name="T91" fmla="*/ 225 h 710"/>
              <a:gd name="T92" fmla="*/ 371 w 449"/>
              <a:gd name="T93" fmla="*/ 385 h 7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49" h="710">
                <a:moveTo>
                  <a:pt x="225" y="0"/>
                </a:moveTo>
                <a:cubicBezTo>
                  <a:pt x="101" y="0"/>
                  <a:pt x="0" y="101"/>
                  <a:pt x="0" y="225"/>
                </a:cubicBezTo>
                <a:cubicBezTo>
                  <a:pt x="0" y="287"/>
                  <a:pt x="25" y="348"/>
                  <a:pt x="68" y="395"/>
                </a:cubicBezTo>
                <a:cubicBezTo>
                  <a:pt x="80" y="407"/>
                  <a:pt x="108" y="447"/>
                  <a:pt x="108" y="545"/>
                </a:cubicBezTo>
                <a:cubicBezTo>
                  <a:pt x="108" y="621"/>
                  <a:pt x="108" y="621"/>
                  <a:pt x="108" y="621"/>
                </a:cubicBezTo>
                <a:cubicBezTo>
                  <a:pt x="108" y="639"/>
                  <a:pt x="123" y="655"/>
                  <a:pt x="142" y="655"/>
                </a:cubicBezTo>
                <a:cubicBezTo>
                  <a:pt x="159" y="655"/>
                  <a:pt x="159" y="655"/>
                  <a:pt x="159" y="655"/>
                </a:cubicBezTo>
                <a:cubicBezTo>
                  <a:pt x="162" y="686"/>
                  <a:pt x="190" y="710"/>
                  <a:pt x="225" y="710"/>
                </a:cubicBezTo>
                <a:cubicBezTo>
                  <a:pt x="259" y="710"/>
                  <a:pt x="287" y="686"/>
                  <a:pt x="290" y="655"/>
                </a:cubicBezTo>
                <a:cubicBezTo>
                  <a:pt x="307" y="655"/>
                  <a:pt x="307" y="655"/>
                  <a:pt x="307" y="655"/>
                </a:cubicBezTo>
                <a:cubicBezTo>
                  <a:pt x="326" y="655"/>
                  <a:pt x="341" y="639"/>
                  <a:pt x="341" y="621"/>
                </a:cubicBezTo>
                <a:cubicBezTo>
                  <a:pt x="341" y="545"/>
                  <a:pt x="341" y="545"/>
                  <a:pt x="341" y="545"/>
                </a:cubicBezTo>
                <a:cubicBezTo>
                  <a:pt x="341" y="447"/>
                  <a:pt x="369" y="407"/>
                  <a:pt x="381" y="395"/>
                </a:cubicBezTo>
                <a:cubicBezTo>
                  <a:pt x="424" y="348"/>
                  <a:pt x="449" y="287"/>
                  <a:pt x="449" y="225"/>
                </a:cubicBezTo>
                <a:cubicBezTo>
                  <a:pt x="449" y="101"/>
                  <a:pt x="349" y="0"/>
                  <a:pt x="225" y="0"/>
                </a:cubicBezTo>
                <a:close/>
                <a:moveTo>
                  <a:pt x="225" y="696"/>
                </a:moveTo>
                <a:cubicBezTo>
                  <a:pt x="198" y="696"/>
                  <a:pt x="176" y="678"/>
                  <a:pt x="173" y="655"/>
                </a:cubicBezTo>
                <a:cubicBezTo>
                  <a:pt x="276" y="655"/>
                  <a:pt x="276" y="655"/>
                  <a:pt x="276" y="655"/>
                </a:cubicBezTo>
                <a:cubicBezTo>
                  <a:pt x="273" y="678"/>
                  <a:pt x="251" y="696"/>
                  <a:pt x="225" y="696"/>
                </a:cubicBezTo>
                <a:close/>
                <a:moveTo>
                  <a:pt x="307" y="641"/>
                </a:moveTo>
                <a:cubicBezTo>
                  <a:pt x="142" y="641"/>
                  <a:pt x="142" y="641"/>
                  <a:pt x="142" y="641"/>
                </a:cubicBezTo>
                <a:cubicBezTo>
                  <a:pt x="131" y="641"/>
                  <a:pt x="122" y="632"/>
                  <a:pt x="122" y="621"/>
                </a:cubicBezTo>
                <a:cubicBezTo>
                  <a:pt x="122" y="552"/>
                  <a:pt x="122" y="552"/>
                  <a:pt x="122" y="552"/>
                </a:cubicBezTo>
                <a:cubicBezTo>
                  <a:pt x="327" y="552"/>
                  <a:pt x="327" y="552"/>
                  <a:pt x="327" y="552"/>
                </a:cubicBezTo>
                <a:cubicBezTo>
                  <a:pt x="327" y="621"/>
                  <a:pt x="327" y="621"/>
                  <a:pt x="327" y="621"/>
                </a:cubicBezTo>
                <a:cubicBezTo>
                  <a:pt x="327" y="632"/>
                  <a:pt x="318" y="641"/>
                  <a:pt x="307" y="641"/>
                </a:cubicBezTo>
                <a:close/>
                <a:moveTo>
                  <a:pt x="371" y="385"/>
                </a:moveTo>
                <a:cubicBezTo>
                  <a:pt x="355" y="402"/>
                  <a:pt x="329" y="444"/>
                  <a:pt x="327" y="538"/>
                </a:cubicBezTo>
                <a:cubicBezTo>
                  <a:pt x="232" y="538"/>
                  <a:pt x="232" y="538"/>
                  <a:pt x="232" y="538"/>
                </a:cubicBezTo>
                <a:cubicBezTo>
                  <a:pt x="232" y="306"/>
                  <a:pt x="232" y="306"/>
                  <a:pt x="232" y="306"/>
                </a:cubicBezTo>
                <a:cubicBezTo>
                  <a:pt x="257" y="304"/>
                  <a:pt x="279" y="289"/>
                  <a:pt x="295" y="262"/>
                </a:cubicBezTo>
                <a:cubicBezTo>
                  <a:pt x="309" y="241"/>
                  <a:pt x="314" y="219"/>
                  <a:pt x="314" y="219"/>
                </a:cubicBezTo>
                <a:cubicBezTo>
                  <a:pt x="315" y="215"/>
                  <a:pt x="312" y="211"/>
                  <a:pt x="309" y="210"/>
                </a:cubicBezTo>
                <a:cubicBezTo>
                  <a:pt x="305" y="209"/>
                  <a:pt x="301" y="212"/>
                  <a:pt x="300" y="215"/>
                </a:cubicBezTo>
                <a:cubicBezTo>
                  <a:pt x="300" y="216"/>
                  <a:pt x="281" y="292"/>
                  <a:pt x="225" y="292"/>
                </a:cubicBezTo>
                <a:cubicBezTo>
                  <a:pt x="168" y="292"/>
                  <a:pt x="149" y="216"/>
                  <a:pt x="149" y="215"/>
                </a:cubicBezTo>
                <a:cubicBezTo>
                  <a:pt x="148" y="212"/>
                  <a:pt x="144" y="209"/>
                  <a:pt x="141" y="210"/>
                </a:cubicBezTo>
                <a:cubicBezTo>
                  <a:pt x="137" y="211"/>
                  <a:pt x="134" y="215"/>
                  <a:pt x="135" y="219"/>
                </a:cubicBezTo>
                <a:cubicBezTo>
                  <a:pt x="136" y="219"/>
                  <a:pt x="141" y="241"/>
                  <a:pt x="154" y="262"/>
                </a:cubicBezTo>
                <a:cubicBezTo>
                  <a:pt x="170" y="289"/>
                  <a:pt x="192" y="304"/>
                  <a:pt x="218" y="306"/>
                </a:cubicBezTo>
                <a:cubicBezTo>
                  <a:pt x="218" y="538"/>
                  <a:pt x="218" y="538"/>
                  <a:pt x="218" y="538"/>
                </a:cubicBezTo>
                <a:cubicBezTo>
                  <a:pt x="122" y="538"/>
                  <a:pt x="122" y="538"/>
                  <a:pt x="122" y="538"/>
                </a:cubicBezTo>
                <a:cubicBezTo>
                  <a:pt x="121" y="444"/>
                  <a:pt x="94" y="402"/>
                  <a:pt x="78" y="385"/>
                </a:cubicBezTo>
                <a:cubicBezTo>
                  <a:pt x="37" y="341"/>
                  <a:pt x="14" y="283"/>
                  <a:pt x="14" y="225"/>
                </a:cubicBezTo>
                <a:cubicBezTo>
                  <a:pt x="14" y="109"/>
                  <a:pt x="108" y="14"/>
                  <a:pt x="225" y="14"/>
                </a:cubicBezTo>
                <a:cubicBezTo>
                  <a:pt x="341" y="14"/>
                  <a:pt x="435" y="109"/>
                  <a:pt x="435" y="225"/>
                </a:cubicBezTo>
                <a:cubicBezTo>
                  <a:pt x="435" y="283"/>
                  <a:pt x="412" y="341"/>
                  <a:pt x="371" y="385"/>
                </a:cubicBez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5" name="Oval 6"/>
          <p:cNvSpPr>
            <a:spLocks noChangeArrowheads="1"/>
          </p:cNvSpPr>
          <p:nvPr/>
        </p:nvSpPr>
        <p:spPr bwMode="auto">
          <a:xfrm>
            <a:off x="3073678" y="4711628"/>
            <a:ext cx="1119124" cy="1119124"/>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7199" name="Freeform 37"/>
          <p:cNvSpPr>
            <a:spLocks noEditPoints="1"/>
          </p:cNvSpPr>
          <p:nvPr/>
        </p:nvSpPr>
        <p:spPr bwMode="auto">
          <a:xfrm>
            <a:off x="3390562" y="4876218"/>
            <a:ext cx="485355" cy="789944"/>
          </a:xfrm>
          <a:custGeom>
            <a:avLst/>
            <a:gdLst>
              <a:gd name="T0" fmla="*/ 155 w 461"/>
              <a:gd name="T1" fmla="*/ 661 h 750"/>
              <a:gd name="T2" fmla="*/ 155 w 461"/>
              <a:gd name="T3" fmla="*/ 594 h 750"/>
              <a:gd name="T4" fmla="*/ 340 w 461"/>
              <a:gd name="T5" fmla="*/ 627 h 750"/>
              <a:gd name="T6" fmla="*/ 155 w 461"/>
              <a:gd name="T7" fmla="*/ 608 h 750"/>
              <a:gd name="T8" fmla="*/ 155 w 461"/>
              <a:gd name="T9" fmla="*/ 647 h 750"/>
              <a:gd name="T10" fmla="*/ 326 w 461"/>
              <a:gd name="T11" fmla="*/ 627 h 750"/>
              <a:gd name="T12" fmla="*/ 155 w 461"/>
              <a:gd name="T13" fmla="*/ 608 h 750"/>
              <a:gd name="T14" fmla="*/ 155 w 461"/>
              <a:gd name="T15" fmla="*/ 715 h 750"/>
              <a:gd name="T16" fmla="*/ 155 w 461"/>
              <a:gd name="T17" fmla="*/ 647 h 750"/>
              <a:gd name="T18" fmla="*/ 340 w 461"/>
              <a:gd name="T19" fmla="*/ 681 h 750"/>
              <a:gd name="T20" fmla="*/ 155 w 461"/>
              <a:gd name="T21" fmla="*/ 661 h 750"/>
              <a:gd name="T22" fmla="*/ 155 w 461"/>
              <a:gd name="T23" fmla="*/ 701 h 750"/>
              <a:gd name="T24" fmla="*/ 326 w 461"/>
              <a:gd name="T25" fmla="*/ 681 h 750"/>
              <a:gd name="T26" fmla="*/ 155 w 461"/>
              <a:gd name="T27" fmla="*/ 661 h 750"/>
              <a:gd name="T28" fmla="*/ 296 w 461"/>
              <a:gd name="T29" fmla="*/ 701 h 750"/>
              <a:gd name="T30" fmla="*/ 230 w 461"/>
              <a:gd name="T31" fmla="*/ 736 h 750"/>
              <a:gd name="T32" fmla="*/ 165 w 461"/>
              <a:gd name="T33" fmla="*/ 701 h 750"/>
              <a:gd name="T34" fmla="*/ 230 w 461"/>
              <a:gd name="T35" fmla="*/ 750 h 750"/>
              <a:gd name="T36" fmla="*/ 303 w 461"/>
              <a:gd name="T37" fmla="*/ 554 h 750"/>
              <a:gd name="T38" fmla="*/ 95 w 461"/>
              <a:gd name="T39" fmla="*/ 491 h 750"/>
              <a:gd name="T40" fmla="*/ 65 w 461"/>
              <a:gd name="T41" fmla="*/ 391 h 750"/>
              <a:gd name="T42" fmla="*/ 231 w 461"/>
              <a:gd name="T43" fmla="*/ 0 h 750"/>
              <a:gd name="T44" fmla="*/ 396 w 461"/>
              <a:gd name="T45" fmla="*/ 391 h 750"/>
              <a:gd name="T46" fmla="*/ 366 w 461"/>
              <a:gd name="T47" fmla="*/ 491 h 750"/>
              <a:gd name="T48" fmla="*/ 231 w 461"/>
              <a:gd name="T49" fmla="*/ 14 h 750"/>
              <a:gd name="T50" fmla="*/ 75 w 461"/>
              <a:gd name="T51" fmla="*/ 381 h 750"/>
              <a:gd name="T52" fmla="*/ 109 w 461"/>
              <a:gd name="T53" fmla="*/ 491 h 750"/>
              <a:gd name="T54" fmla="*/ 303 w 461"/>
              <a:gd name="T55" fmla="*/ 540 h 750"/>
              <a:gd name="T56" fmla="*/ 352 w 461"/>
              <a:gd name="T57" fmla="*/ 448 h 750"/>
              <a:gd name="T58" fmla="*/ 447 w 461"/>
              <a:gd name="T59" fmla="*/ 231 h 750"/>
              <a:gd name="T60" fmla="*/ 306 w 461"/>
              <a:gd name="T61" fmla="*/ 608 h 750"/>
              <a:gd name="T62" fmla="*/ 121 w 461"/>
              <a:gd name="T63" fmla="*/ 574 h 750"/>
              <a:gd name="T64" fmla="*/ 306 w 461"/>
              <a:gd name="T65" fmla="*/ 540 h 750"/>
              <a:gd name="T66" fmla="*/ 306 w 461"/>
              <a:gd name="T67" fmla="*/ 608 h 750"/>
              <a:gd name="T68" fmla="*/ 135 w 461"/>
              <a:gd name="T69" fmla="*/ 574 h 750"/>
              <a:gd name="T70" fmla="*/ 306 w 461"/>
              <a:gd name="T71" fmla="*/ 594 h 750"/>
              <a:gd name="T72" fmla="*/ 306 w 461"/>
              <a:gd name="T73" fmla="*/ 554 h 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1" h="750">
                <a:moveTo>
                  <a:pt x="306" y="661"/>
                </a:moveTo>
                <a:cubicBezTo>
                  <a:pt x="155" y="661"/>
                  <a:pt x="155" y="661"/>
                  <a:pt x="155" y="661"/>
                </a:cubicBezTo>
                <a:cubicBezTo>
                  <a:pt x="137" y="661"/>
                  <a:pt x="121" y="646"/>
                  <a:pt x="121" y="627"/>
                </a:cubicBezTo>
                <a:cubicBezTo>
                  <a:pt x="121" y="609"/>
                  <a:pt x="137" y="594"/>
                  <a:pt x="155" y="594"/>
                </a:cubicBezTo>
                <a:cubicBezTo>
                  <a:pt x="306" y="594"/>
                  <a:pt x="306" y="594"/>
                  <a:pt x="306" y="594"/>
                </a:cubicBezTo>
                <a:cubicBezTo>
                  <a:pt x="324" y="594"/>
                  <a:pt x="340" y="609"/>
                  <a:pt x="340" y="627"/>
                </a:cubicBezTo>
                <a:cubicBezTo>
                  <a:pt x="340" y="646"/>
                  <a:pt x="324" y="661"/>
                  <a:pt x="306" y="661"/>
                </a:cubicBezTo>
                <a:close/>
                <a:moveTo>
                  <a:pt x="155" y="608"/>
                </a:moveTo>
                <a:cubicBezTo>
                  <a:pt x="144" y="608"/>
                  <a:pt x="135" y="617"/>
                  <a:pt x="135" y="627"/>
                </a:cubicBezTo>
                <a:cubicBezTo>
                  <a:pt x="135" y="638"/>
                  <a:pt x="144" y="647"/>
                  <a:pt x="155" y="647"/>
                </a:cubicBezTo>
                <a:cubicBezTo>
                  <a:pt x="306" y="647"/>
                  <a:pt x="306" y="647"/>
                  <a:pt x="306" y="647"/>
                </a:cubicBezTo>
                <a:cubicBezTo>
                  <a:pt x="317" y="647"/>
                  <a:pt x="326" y="638"/>
                  <a:pt x="326" y="627"/>
                </a:cubicBezTo>
                <a:cubicBezTo>
                  <a:pt x="326" y="617"/>
                  <a:pt x="317" y="608"/>
                  <a:pt x="306" y="608"/>
                </a:cubicBezTo>
                <a:lnTo>
                  <a:pt x="155" y="608"/>
                </a:lnTo>
                <a:close/>
                <a:moveTo>
                  <a:pt x="306" y="715"/>
                </a:moveTo>
                <a:cubicBezTo>
                  <a:pt x="155" y="715"/>
                  <a:pt x="155" y="715"/>
                  <a:pt x="155" y="715"/>
                </a:cubicBezTo>
                <a:cubicBezTo>
                  <a:pt x="137" y="715"/>
                  <a:pt x="121" y="700"/>
                  <a:pt x="121" y="681"/>
                </a:cubicBezTo>
                <a:cubicBezTo>
                  <a:pt x="121" y="662"/>
                  <a:pt x="137" y="647"/>
                  <a:pt x="155" y="647"/>
                </a:cubicBezTo>
                <a:cubicBezTo>
                  <a:pt x="306" y="647"/>
                  <a:pt x="306" y="647"/>
                  <a:pt x="306" y="647"/>
                </a:cubicBezTo>
                <a:cubicBezTo>
                  <a:pt x="324" y="647"/>
                  <a:pt x="340" y="662"/>
                  <a:pt x="340" y="681"/>
                </a:cubicBezTo>
                <a:cubicBezTo>
                  <a:pt x="340" y="700"/>
                  <a:pt x="324" y="715"/>
                  <a:pt x="306" y="715"/>
                </a:cubicBezTo>
                <a:close/>
                <a:moveTo>
                  <a:pt x="155" y="661"/>
                </a:moveTo>
                <a:cubicBezTo>
                  <a:pt x="144" y="661"/>
                  <a:pt x="135" y="670"/>
                  <a:pt x="135" y="681"/>
                </a:cubicBezTo>
                <a:cubicBezTo>
                  <a:pt x="135" y="692"/>
                  <a:pt x="144" y="701"/>
                  <a:pt x="155" y="701"/>
                </a:cubicBezTo>
                <a:cubicBezTo>
                  <a:pt x="306" y="701"/>
                  <a:pt x="306" y="701"/>
                  <a:pt x="306" y="701"/>
                </a:cubicBezTo>
                <a:cubicBezTo>
                  <a:pt x="317" y="701"/>
                  <a:pt x="326" y="692"/>
                  <a:pt x="326" y="681"/>
                </a:cubicBezTo>
                <a:cubicBezTo>
                  <a:pt x="326" y="670"/>
                  <a:pt x="317" y="661"/>
                  <a:pt x="306" y="661"/>
                </a:cubicBezTo>
                <a:lnTo>
                  <a:pt x="155" y="661"/>
                </a:lnTo>
                <a:close/>
                <a:moveTo>
                  <a:pt x="303" y="708"/>
                </a:moveTo>
                <a:cubicBezTo>
                  <a:pt x="303" y="704"/>
                  <a:pt x="300" y="701"/>
                  <a:pt x="296" y="701"/>
                </a:cubicBezTo>
                <a:cubicBezTo>
                  <a:pt x="293" y="701"/>
                  <a:pt x="289" y="704"/>
                  <a:pt x="289" y="708"/>
                </a:cubicBezTo>
                <a:cubicBezTo>
                  <a:pt x="289" y="721"/>
                  <a:pt x="265" y="736"/>
                  <a:pt x="230" y="736"/>
                </a:cubicBezTo>
                <a:cubicBezTo>
                  <a:pt x="196" y="736"/>
                  <a:pt x="172" y="721"/>
                  <a:pt x="172" y="708"/>
                </a:cubicBezTo>
                <a:cubicBezTo>
                  <a:pt x="172" y="704"/>
                  <a:pt x="169" y="701"/>
                  <a:pt x="165" y="701"/>
                </a:cubicBezTo>
                <a:cubicBezTo>
                  <a:pt x="161" y="701"/>
                  <a:pt x="158" y="704"/>
                  <a:pt x="158" y="708"/>
                </a:cubicBezTo>
                <a:cubicBezTo>
                  <a:pt x="158" y="731"/>
                  <a:pt x="190" y="750"/>
                  <a:pt x="230" y="750"/>
                </a:cubicBezTo>
                <a:cubicBezTo>
                  <a:pt x="271" y="750"/>
                  <a:pt x="303" y="731"/>
                  <a:pt x="303" y="708"/>
                </a:cubicBezTo>
                <a:close/>
                <a:moveTo>
                  <a:pt x="303" y="554"/>
                </a:moveTo>
                <a:cubicBezTo>
                  <a:pt x="158" y="554"/>
                  <a:pt x="158" y="554"/>
                  <a:pt x="158" y="554"/>
                </a:cubicBezTo>
                <a:cubicBezTo>
                  <a:pt x="123" y="554"/>
                  <a:pt x="95" y="526"/>
                  <a:pt x="95" y="491"/>
                </a:cubicBezTo>
                <a:cubicBezTo>
                  <a:pt x="95" y="448"/>
                  <a:pt x="95" y="448"/>
                  <a:pt x="95" y="448"/>
                </a:cubicBezTo>
                <a:cubicBezTo>
                  <a:pt x="95" y="424"/>
                  <a:pt x="85" y="410"/>
                  <a:pt x="65" y="391"/>
                </a:cubicBezTo>
                <a:cubicBezTo>
                  <a:pt x="24" y="350"/>
                  <a:pt x="0" y="292"/>
                  <a:pt x="0" y="231"/>
                </a:cubicBezTo>
                <a:cubicBezTo>
                  <a:pt x="0" y="104"/>
                  <a:pt x="104" y="0"/>
                  <a:pt x="231" y="0"/>
                </a:cubicBezTo>
                <a:cubicBezTo>
                  <a:pt x="358" y="0"/>
                  <a:pt x="461" y="104"/>
                  <a:pt x="461" y="231"/>
                </a:cubicBezTo>
                <a:cubicBezTo>
                  <a:pt x="461" y="292"/>
                  <a:pt x="437" y="350"/>
                  <a:pt x="396" y="391"/>
                </a:cubicBezTo>
                <a:cubicBezTo>
                  <a:pt x="376" y="410"/>
                  <a:pt x="366" y="424"/>
                  <a:pt x="366" y="448"/>
                </a:cubicBezTo>
                <a:cubicBezTo>
                  <a:pt x="366" y="491"/>
                  <a:pt x="366" y="491"/>
                  <a:pt x="366" y="491"/>
                </a:cubicBezTo>
                <a:cubicBezTo>
                  <a:pt x="366" y="526"/>
                  <a:pt x="338" y="554"/>
                  <a:pt x="303" y="554"/>
                </a:cubicBezTo>
                <a:close/>
                <a:moveTo>
                  <a:pt x="231" y="14"/>
                </a:moveTo>
                <a:cubicBezTo>
                  <a:pt x="111" y="14"/>
                  <a:pt x="14" y="111"/>
                  <a:pt x="14" y="231"/>
                </a:cubicBezTo>
                <a:cubicBezTo>
                  <a:pt x="14" y="288"/>
                  <a:pt x="36" y="343"/>
                  <a:pt x="75" y="381"/>
                </a:cubicBezTo>
                <a:cubicBezTo>
                  <a:pt x="96" y="402"/>
                  <a:pt x="109" y="420"/>
                  <a:pt x="109" y="448"/>
                </a:cubicBezTo>
                <a:cubicBezTo>
                  <a:pt x="109" y="491"/>
                  <a:pt x="109" y="491"/>
                  <a:pt x="109" y="491"/>
                </a:cubicBezTo>
                <a:cubicBezTo>
                  <a:pt x="109" y="518"/>
                  <a:pt x="131" y="540"/>
                  <a:pt x="158" y="540"/>
                </a:cubicBezTo>
                <a:cubicBezTo>
                  <a:pt x="303" y="540"/>
                  <a:pt x="303" y="540"/>
                  <a:pt x="303" y="540"/>
                </a:cubicBezTo>
                <a:cubicBezTo>
                  <a:pt x="330" y="540"/>
                  <a:pt x="352" y="518"/>
                  <a:pt x="352" y="491"/>
                </a:cubicBezTo>
                <a:cubicBezTo>
                  <a:pt x="352" y="448"/>
                  <a:pt x="352" y="448"/>
                  <a:pt x="352" y="448"/>
                </a:cubicBezTo>
                <a:cubicBezTo>
                  <a:pt x="352" y="420"/>
                  <a:pt x="365" y="402"/>
                  <a:pt x="386" y="381"/>
                </a:cubicBezTo>
                <a:cubicBezTo>
                  <a:pt x="425" y="343"/>
                  <a:pt x="447" y="288"/>
                  <a:pt x="447" y="231"/>
                </a:cubicBezTo>
                <a:cubicBezTo>
                  <a:pt x="447" y="111"/>
                  <a:pt x="350" y="14"/>
                  <a:pt x="231" y="14"/>
                </a:cubicBezTo>
                <a:close/>
                <a:moveTo>
                  <a:pt x="306" y="608"/>
                </a:moveTo>
                <a:cubicBezTo>
                  <a:pt x="155" y="608"/>
                  <a:pt x="155" y="608"/>
                  <a:pt x="155" y="608"/>
                </a:cubicBezTo>
                <a:cubicBezTo>
                  <a:pt x="137" y="608"/>
                  <a:pt x="121" y="592"/>
                  <a:pt x="121" y="574"/>
                </a:cubicBezTo>
                <a:cubicBezTo>
                  <a:pt x="121" y="555"/>
                  <a:pt x="137" y="540"/>
                  <a:pt x="155" y="540"/>
                </a:cubicBezTo>
                <a:cubicBezTo>
                  <a:pt x="306" y="540"/>
                  <a:pt x="306" y="540"/>
                  <a:pt x="306" y="540"/>
                </a:cubicBezTo>
                <a:cubicBezTo>
                  <a:pt x="324" y="540"/>
                  <a:pt x="340" y="555"/>
                  <a:pt x="340" y="574"/>
                </a:cubicBezTo>
                <a:cubicBezTo>
                  <a:pt x="340" y="592"/>
                  <a:pt x="324" y="608"/>
                  <a:pt x="306" y="608"/>
                </a:cubicBezTo>
                <a:close/>
                <a:moveTo>
                  <a:pt x="155" y="554"/>
                </a:moveTo>
                <a:cubicBezTo>
                  <a:pt x="144" y="554"/>
                  <a:pt x="135" y="563"/>
                  <a:pt x="135" y="574"/>
                </a:cubicBezTo>
                <a:cubicBezTo>
                  <a:pt x="135" y="585"/>
                  <a:pt x="144" y="594"/>
                  <a:pt x="155" y="594"/>
                </a:cubicBezTo>
                <a:cubicBezTo>
                  <a:pt x="306" y="594"/>
                  <a:pt x="306" y="594"/>
                  <a:pt x="306" y="594"/>
                </a:cubicBezTo>
                <a:cubicBezTo>
                  <a:pt x="317" y="594"/>
                  <a:pt x="326" y="585"/>
                  <a:pt x="326" y="574"/>
                </a:cubicBezTo>
                <a:cubicBezTo>
                  <a:pt x="326" y="563"/>
                  <a:pt x="317" y="554"/>
                  <a:pt x="306" y="554"/>
                </a:cubicBezTo>
                <a:lnTo>
                  <a:pt x="155" y="554"/>
                </a:ln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7172" name="Oval 10"/>
          <p:cNvSpPr>
            <a:spLocks noChangeArrowheads="1"/>
          </p:cNvSpPr>
          <p:nvPr/>
        </p:nvSpPr>
        <p:spPr bwMode="auto">
          <a:xfrm>
            <a:off x="6589621" y="4711628"/>
            <a:ext cx="1119124" cy="1119124"/>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6146" name="Freeform 38"/>
          <p:cNvSpPr>
            <a:spLocks noEditPoints="1"/>
          </p:cNvSpPr>
          <p:nvPr/>
        </p:nvSpPr>
        <p:spPr bwMode="auto">
          <a:xfrm>
            <a:off x="6912745" y="4897183"/>
            <a:ext cx="472876" cy="748015"/>
          </a:xfrm>
          <a:custGeom>
            <a:avLst/>
            <a:gdLst>
              <a:gd name="T0" fmla="*/ 225 w 449"/>
              <a:gd name="T1" fmla="*/ 0 h 710"/>
              <a:gd name="T2" fmla="*/ 0 w 449"/>
              <a:gd name="T3" fmla="*/ 225 h 710"/>
              <a:gd name="T4" fmla="*/ 68 w 449"/>
              <a:gd name="T5" fmla="*/ 395 h 710"/>
              <a:gd name="T6" fmla="*/ 108 w 449"/>
              <a:gd name="T7" fmla="*/ 545 h 710"/>
              <a:gd name="T8" fmla="*/ 108 w 449"/>
              <a:gd name="T9" fmla="*/ 621 h 710"/>
              <a:gd name="T10" fmla="*/ 142 w 449"/>
              <a:gd name="T11" fmla="*/ 655 h 710"/>
              <a:gd name="T12" fmla="*/ 159 w 449"/>
              <a:gd name="T13" fmla="*/ 655 h 710"/>
              <a:gd name="T14" fmla="*/ 225 w 449"/>
              <a:gd name="T15" fmla="*/ 710 h 710"/>
              <a:gd name="T16" fmla="*/ 290 w 449"/>
              <a:gd name="T17" fmla="*/ 655 h 710"/>
              <a:gd name="T18" fmla="*/ 307 w 449"/>
              <a:gd name="T19" fmla="*/ 655 h 710"/>
              <a:gd name="T20" fmla="*/ 341 w 449"/>
              <a:gd name="T21" fmla="*/ 621 h 710"/>
              <a:gd name="T22" fmla="*/ 341 w 449"/>
              <a:gd name="T23" fmla="*/ 545 h 710"/>
              <a:gd name="T24" fmla="*/ 381 w 449"/>
              <a:gd name="T25" fmla="*/ 395 h 710"/>
              <a:gd name="T26" fmla="*/ 449 w 449"/>
              <a:gd name="T27" fmla="*/ 225 h 710"/>
              <a:gd name="T28" fmla="*/ 225 w 449"/>
              <a:gd name="T29" fmla="*/ 0 h 710"/>
              <a:gd name="T30" fmla="*/ 225 w 449"/>
              <a:gd name="T31" fmla="*/ 696 h 710"/>
              <a:gd name="T32" fmla="*/ 173 w 449"/>
              <a:gd name="T33" fmla="*/ 655 h 710"/>
              <a:gd name="T34" fmla="*/ 276 w 449"/>
              <a:gd name="T35" fmla="*/ 655 h 710"/>
              <a:gd name="T36" fmla="*/ 225 w 449"/>
              <a:gd name="T37" fmla="*/ 696 h 710"/>
              <a:gd name="T38" fmla="*/ 307 w 449"/>
              <a:gd name="T39" fmla="*/ 641 h 710"/>
              <a:gd name="T40" fmla="*/ 142 w 449"/>
              <a:gd name="T41" fmla="*/ 641 h 710"/>
              <a:gd name="T42" fmla="*/ 122 w 449"/>
              <a:gd name="T43" fmla="*/ 621 h 710"/>
              <a:gd name="T44" fmla="*/ 122 w 449"/>
              <a:gd name="T45" fmla="*/ 552 h 710"/>
              <a:gd name="T46" fmla="*/ 327 w 449"/>
              <a:gd name="T47" fmla="*/ 552 h 710"/>
              <a:gd name="T48" fmla="*/ 327 w 449"/>
              <a:gd name="T49" fmla="*/ 621 h 710"/>
              <a:gd name="T50" fmla="*/ 307 w 449"/>
              <a:gd name="T51" fmla="*/ 641 h 710"/>
              <a:gd name="T52" fmla="*/ 371 w 449"/>
              <a:gd name="T53" fmla="*/ 385 h 710"/>
              <a:gd name="T54" fmla="*/ 327 w 449"/>
              <a:gd name="T55" fmla="*/ 538 h 710"/>
              <a:gd name="T56" fmla="*/ 230 w 449"/>
              <a:gd name="T57" fmla="*/ 538 h 710"/>
              <a:gd name="T58" fmla="*/ 219 w 449"/>
              <a:gd name="T59" fmla="*/ 459 h 710"/>
              <a:gd name="T60" fmla="*/ 222 w 449"/>
              <a:gd name="T61" fmla="*/ 459 h 710"/>
              <a:gd name="T62" fmla="*/ 325 w 449"/>
              <a:gd name="T63" fmla="*/ 338 h 710"/>
              <a:gd name="T64" fmla="*/ 305 w 449"/>
              <a:gd name="T65" fmla="*/ 269 h 710"/>
              <a:gd name="T66" fmla="*/ 271 w 449"/>
              <a:gd name="T67" fmla="*/ 132 h 710"/>
              <a:gd name="T68" fmla="*/ 268 w 449"/>
              <a:gd name="T69" fmla="*/ 126 h 710"/>
              <a:gd name="T70" fmla="*/ 261 w 449"/>
              <a:gd name="T71" fmla="*/ 126 h 710"/>
              <a:gd name="T72" fmla="*/ 120 w 449"/>
              <a:gd name="T73" fmla="*/ 324 h 710"/>
              <a:gd name="T74" fmla="*/ 141 w 449"/>
              <a:gd name="T75" fmla="*/ 414 h 710"/>
              <a:gd name="T76" fmla="*/ 205 w 449"/>
              <a:gd name="T77" fmla="*/ 457 h 710"/>
              <a:gd name="T78" fmla="*/ 216 w 449"/>
              <a:gd name="T79" fmla="*/ 538 h 710"/>
              <a:gd name="T80" fmla="*/ 122 w 449"/>
              <a:gd name="T81" fmla="*/ 538 h 710"/>
              <a:gd name="T82" fmla="*/ 78 w 449"/>
              <a:gd name="T83" fmla="*/ 385 h 710"/>
              <a:gd name="T84" fmla="*/ 14 w 449"/>
              <a:gd name="T85" fmla="*/ 225 h 710"/>
              <a:gd name="T86" fmla="*/ 225 w 449"/>
              <a:gd name="T87" fmla="*/ 14 h 710"/>
              <a:gd name="T88" fmla="*/ 435 w 449"/>
              <a:gd name="T89" fmla="*/ 225 h 710"/>
              <a:gd name="T90" fmla="*/ 371 w 449"/>
              <a:gd name="T91" fmla="*/ 385 h 710"/>
              <a:gd name="T92" fmla="*/ 231 w 449"/>
              <a:gd name="T93" fmla="*/ 301 h 710"/>
              <a:gd name="T94" fmla="*/ 226 w 449"/>
              <a:gd name="T95" fmla="*/ 292 h 710"/>
              <a:gd name="T96" fmla="*/ 218 w 449"/>
              <a:gd name="T97" fmla="*/ 298 h 710"/>
              <a:gd name="T98" fmla="*/ 205 w 449"/>
              <a:gd name="T99" fmla="*/ 443 h 710"/>
              <a:gd name="T100" fmla="*/ 153 w 449"/>
              <a:gd name="T101" fmla="*/ 406 h 710"/>
              <a:gd name="T102" fmla="*/ 134 w 449"/>
              <a:gd name="T103" fmla="*/ 326 h 710"/>
              <a:gd name="T104" fmla="*/ 257 w 449"/>
              <a:gd name="T105" fmla="*/ 144 h 710"/>
              <a:gd name="T106" fmla="*/ 292 w 449"/>
              <a:gd name="T107" fmla="*/ 274 h 710"/>
              <a:gd name="T108" fmla="*/ 311 w 449"/>
              <a:gd name="T109" fmla="*/ 338 h 710"/>
              <a:gd name="T110" fmla="*/ 222 w 449"/>
              <a:gd name="T111" fmla="*/ 445 h 710"/>
              <a:gd name="T112" fmla="*/ 219 w 449"/>
              <a:gd name="T113" fmla="*/ 445 h 710"/>
              <a:gd name="T114" fmla="*/ 231 w 449"/>
              <a:gd name="T115" fmla="*/ 301 h 7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49" h="710">
                <a:moveTo>
                  <a:pt x="225" y="0"/>
                </a:moveTo>
                <a:cubicBezTo>
                  <a:pt x="101" y="0"/>
                  <a:pt x="0" y="101"/>
                  <a:pt x="0" y="225"/>
                </a:cubicBezTo>
                <a:cubicBezTo>
                  <a:pt x="0" y="287"/>
                  <a:pt x="25" y="348"/>
                  <a:pt x="68" y="395"/>
                </a:cubicBezTo>
                <a:cubicBezTo>
                  <a:pt x="80" y="407"/>
                  <a:pt x="108" y="447"/>
                  <a:pt x="108" y="545"/>
                </a:cubicBezTo>
                <a:cubicBezTo>
                  <a:pt x="108" y="621"/>
                  <a:pt x="108" y="621"/>
                  <a:pt x="108" y="621"/>
                </a:cubicBezTo>
                <a:cubicBezTo>
                  <a:pt x="108" y="639"/>
                  <a:pt x="123" y="655"/>
                  <a:pt x="142" y="655"/>
                </a:cubicBezTo>
                <a:cubicBezTo>
                  <a:pt x="159" y="655"/>
                  <a:pt x="159" y="655"/>
                  <a:pt x="159" y="655"/>
                </a:cubicBezTo>
                <a:cubicBezTo>
                  <a:pt x="162" y="686"/>
                  <a:pt x="190" y="710"/>
                  <a:pt x="225" y="710"/>
                </a:cubicBezTo>
                <a:cubicBezTo>
                  <a:pt x="259" y="710"/>
                  <a:pt x="287" y="686"/>
                  <a:pt x="290" y="655"/>
                </a:cubicBezTo>
                <a:cubicBezTo>
                  <a:pt x="307" y="655"/>
                  <a:pt x="307" y="655"/>
                  <a:pt x="307" y="655"/>
                </a:cubicBezTo>
                <a:cubicBezTo>
                  <a:pt x="326" y="655"/>
                  <a:pt x="341" y="639"/>
                  <a:pt x="341" y="621"/>
                </a:cubicBezTo>
                <a:cubicBezTo>
                  <a:pt x="341" y="545"/>
                  <a:pt x="341" y="545"/>
                  <a:pt x="341" y="545"/>
                </a:cubicBezTo>
                <a:cubicBezTo>
                  <a:pt x="341" y="447"/>
                  <a:pt x="369" y="407"/>
                  <a:pt x="381" y="395"/>
                </a:cubicBezTo>
                <a:cubicBezTo>
                  <a:pt x="424" y="348"/>
                  <a:pt x="449" y="287"/>
                  <a:pt x="449" y="225"/>
                </a:cubicBezTo>
                <a:cubicBezTo>
                  <a:pt x="449" y="101"/>
                  <a:pt x="348" y="0"/>
                  <a:pt x="225" y="0"/>
                </a:cubicBezTo>
                <a:close/>
                <a:moveTo>
                  <a:pt x="225" y="696"/>
                </a:moveTo>
                <a:cubicBezTo>
                  <a:pt x="198" y="696"/>
                  <a:pt x="176" y="678"/>
                  <a:pt x="173" y="655"/>
                </a:cubicBezTo>
                <a:cubicBezTo>
                  <a:pt x="276" y="655"/>
                  <a:pt x="276" y="655"/>
                  <a:pt x="276" y="655"/>
                </a:cubicBezTo>
                <a:cubicBezTo>
                  <a:pt x="273" y="678"/>
                  <a:pt x="251" y="696"/>
                  <a:pt x="225" y="696"/>
                </a:cubicBezTo>
                <a:close/>
                <a:moveTo>
                  <a:pt x="307" y="641"/>
                </a:moveTo>
                <a:cubicBezTo>
                  <a:pt x="142" y="641"/>
                  <a:pt x="142" y="641"/>
                  <a:pt x="142" y="641"/>
                </a:cubicBezTo>
                <a:cubicBezTo>
                  <a:pt x="131" y="641"/>
                  <a:pt x="122" y="632"/>
                  <a:pt x="122" y="621"/>
                </a:cubicBezTo>
                <a:cubicBezTo>
                  <a:pt x="122" y="552"/>
                  <a:pt x="122" y="552"/>
                  <a:pt x="122" y="552"/>
                </a:cubicBezTo>
                <a:cubicBezTo>
                  <a:pt x="327" y="552"/>
                  <a:pt x="327" y="552"/>
                  <a:pt x="327" y="552"/>
                </a:cubicBezTo>
                <a:cubicBezTo>
                  <a:pt x="327" y="621"/>
                  <a:pt x="327" y="621"/>
                  <a:pt x="327" y="621"/>
                </a:cubicBezTo>
                <a:cubicBezTo>
                  <a:pt x="327" y="632"/>
                  <a:pt x="318" y="641"/>
                  <a:pt x="307" y="641"/>
                </a:cubicBezTo>
                <a:close/>
                <a:moveTo>
                  <a:pt x="371" y="385"/>
                </a:moveTo>
                <a:cubicBezTo>
                  <a:pt x="355" y="402"/>
                  <a:pt x="329" y="444"/>
                  <a:pt x="327" y="538"/>
                </a:cubicBezTo>
                <a:cubicBezTo>
                  <a:pt x="230" y="538"/>
                  <a:pt x="230" y="538"/>
                  <a:pt x="230" y="538"/>
                </a:cubicBezTo>
                <a:cubicBezTo>
                  <a:pt x="224" y="510"/>
                  <a:pt x="221" y="484"/>
                  <a:pt x="219" y="459"/>
                </a:cubicBezTo>
                <a:cubicBezTo>
                  <a:pt x="220" y="459"/>
                  <a:pt x="221" y="459"/>
                  <a:pt x="222" y="459"/>
                </a:cubicBezTo>
                <a:cubicBezTo>
                  <a:pt x="277" y="459"/>
                  <a:pt x="324" y="404"/>
                  <a:pt x="325" y="338"/>
                </a:cubicBezTo>
                <a:cubicBezTo>
                  <a:pt x="325" y="317"/>
                  <a:pt x="316" y="295"/>
                  <a:pt x="305" y="269"/>
                </a:cubicBezTo>
                <a:cubicBezTo>
                  <a:pt x="290" y="233"/>
                  <a:pt x="271" y="189"/>
                  <a:pt x="271" y="132"/>
                </a:cubicBezTo>
                <a:cubicBezTo>
                  <a:pt x="271" y="130"/>
                  <a:pt x="270" y="127"/>
                  <a:pt x="268" y="126"/>
                </a:cubicBezTo>
                <a:cubicBezTo>
                  <a:pt x="266" y="125"/>
                  <a:pt x="263" y="125"/>
                  <a:pt x="261" y="126"/>
                </a:cubicBezTo>
                <a:cubicBezTo>
                  <a:pt x="197" y="159"/>
                  <a:pt x="127" y="258"/>
                  <a:pt x="120" y="324"/>
                </a:cubicBezTo>
                <a:cubicBezTo>
                  <a:pt x="116" y="357"/>
                  <a:pt x="124" y="389"/>
                  <a:pt x="141" y="414"/>
                </a:cubicBezTo>
                <a:cubicBezTo>
                  <a:pt x="157" y="437"/>
                  <a:pt x="180" y="452"/>
                  <a:pt x="205" y="457"/>
                </a:cubicBezTo>
                <a:cubicBezTo>
                  <a:pt x="207" y="483"/>
                  <a:pt x="210" y="510"/>
                  <a:pt x="216" y="538"/>
                </a:cubicBezTo>
                <a:cubicBezTo>
                  <a:pt x="122" y="538"/>
                  <a:pt x="122" y="538"/>
                  <a:pt x="122" y="538"/>
                </a:cubicBezTo>
                <a:cubicBezTo>
                  <a:pt x="121" y="444"/>
                  <a:pt x="94" y="402"/>
                  <a:pt x="78" y="385"/>
                </a:cubicBezTo>
                <a:cubicBezTo>
                  <a:pt x="37" y="341"/>
                  <a:pt x="14" y="283"/>
                  <a:pt x="14" y="225"/>
                </a:cubicBezTo>
                <a:cubicBezTo>
                  <a:pt x="14" y="109"/>
                  <a:pt x="108" y="14"/>
                  <a:pt x="225" y="14"/>
                </a:cubicBezTo>
                <a:cubicBezTo>
                  <a:pt x="341" y="14"/>
                  <a:pt x="435" y="109"/>
                  <a:pt x="435" y="225"/>
                </a:cubicBezTo>
                <a:cubicBezTo>
                  <a:pt x="435" y="283"/>
                  <a:pt x="412" y="341"/>
                  <a:pt x="371" y="385"/>
                </a:cubicBezTo>
                <a:close/>
                <a:moveTo>
                  <a:pt x="231" y="301"/>
                </a:moveTo>
                <a:cubicBezTo>
                  <a:pt x="232" y="297"/>
                  <a:pt x="230" y="293"/>
                  <a:pt x="226" y="292"/>
                </a:cubicBezTo>
                <a:cubicBezTo>
                  <a:pt x="222" y="292"/>
                  <a:pt x="218" y="294"/>
                  <a:pt x="218" y="298"/>
                </a:cubicBezTo>
                <a:cubicBezTo>
                  <a:pt x="210" y="341"/>
                  <a:pt x="203" y="389"/>
                  <a:pt x="205" y="443"/>
                </a:cubicBezTo>
                <a:cubicBezTo>
                  <a:pt x="184" y="438"/>
                  <a:pt x="166" y="425"/>
                  <a:pt x="153" y="406"/>
                </a:cubicBezTo>
                <a:cubicBezTo>
                  <a:pt x="137" y="384"/>
                  <a:pt x="130" y="355"/>
                  <a:pt x="134" y="326"/>
                </a:cubicBezTo>
                <a:cubicBezTo>
                  <a:pt x="140" y="267"/>
                  <a:pt x="201" y="180"/>
                  <a:pt x="257" y="144"/>
                </a:cubicBezTo>
                <a:cubicBezTo>
                  <a:pt x="260" y="198"/>
                  <a:pt x="277" y="240"/>
                  <a:pt x="292" y="274"/>
                </a:cubicBezTo>
                <a:cubicBezTo>
                  <a:pt x="302" y="299"/>
                  <a:pt x="311" y="320"/>
                  <a:pt x="311" y="338"/>
                </a:cubicBezTo>
                <a:cubicBezTo>
                  <a:pt x="310" y="396"/>
                  <a:pt x="270" y="445"/>
                  <a:pt x="222" y="445"/>
                </a:cubicBezTo>
                <a:cubicBezTo>
                  <a:pt x="221" y="445"/>
                  <a:pt x="220" y="445"/>
                  <a:pt x="219" y="445"/>
                </a:cubicBezTo>
                <a:cubicBezTo>
                  <a:pt x="217" y="391"/>
                  <a:pt x="224" y="343"/>
                  <a:pt x="231" y="301"/>
                </a:cubicBez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endParaRPr lang="en-US" sz="1836"/>
          </a:p>
        </p:txBody>
      </p:sp>
    </p:spTree>
    <p:extLst>
      <p:ext uri="{BB962C8B-B14F-4D97-AF65-F5344CB8AC3E}">
        <p14:creationId xmlns:p14="http://schemas.microsoft.com/office/powerpoint/2010/main" val="1234637800"/>
      </p:ext>
    </p:extLst>
  </p:cSld>
  <p:clrMapOvr>
    <a:masterClrMapping/>
  </p:clrMapOvr>
  <p:transition>
    <p:fade/>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edical Science</a:t>
            </a:r>
          </a:p>
        </p:txBody>
      </p:sp>
      <p:sp>
        <p:nvSpPr>
          <p:cNvPr id="14" name="Oval 14"/>
          <p:cNvSpPr>
            <a:spLocks noChangeArrowheads="1"/>
          </p:cNvSpPr>
          <p:nvPr/>
        </p:nvSpPr>
        <p:spPr bwMode="auto">
          <a:xfrm>
            <a:off x="10105564" y="1528549"/>
            <a:ext cx="1119124" cy="1119124"/>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22" name="Freeform 22"/>
          <p:cNvSpPr>
            <a:spLocks noEditPoints="1"/>
          </p:cNvSpPr>
          <p:nvPr/>
        </p:nvSpPr>
        <p:spPr bwMode="auto">
          <a:xfrm>
            <a:off x="10278046" y="1729635"/>
            <a:ext cx="774161" cy="699118"/>
          </a:xfrm>
          <a:custGeom>
            <a:avLst/>
            <a:gdLst>
              <a:gd name="T0" fmla="*/ 562 w 735"/>
              <a:gd name="T1" fmla="*/ 157 h 664"/>
              <a:gd name="T2" fmla="*/ 322 w 735"/>
              <a:gd name="T3" fmla="*/ 98 h 664"/>
              <a:gd name="T4" fmla="*/ 278 w 735"/>
              <a:gd name="T5" fmla="*/ 56 h 664"/>
              <a:gd name="T6" fmla="*/ 203 w 735"/>
              <a:gd name="T7" fmla="*/ 246 h 664"/>
              <a:gd name="T8" fmla="*/ 184 w 735"/>
              <a:gd name="T9" fmla="*/ 487 h 664"/>
              <a:gd name="T10" fmla="*/ 168 w 735"/>
              <a:gd name="T11" fmla="*/ 545 h 664"/>
              <a:gd name="T12" fmla="*/ 305 w 735"/>
              <a:gd name="T13" fmla="*/ 601 h 664"/>
              <a:gd name="T14" fmla="*/ 532 w 735"/>
              <a:gd name="T15" fmla="*/ 664 h 664"/>
              <a:gd name="T16" fmla="*/ 532 w 735"/>
              <a:gd name="T17" fmla="*/ 436 h 664"/>
              <a:gd name="T18" fmla="*/ 685 w 735"/>
              <a:gd name="T19" fmla="*/ 400 h 664"/>
              <a:gd name="T20" fmla="*/ 544 w 735"/>
              <a:gd name="T21" fmla="*/ 35 h 664"/>
              <a:gd name="T22" fmla="*/ 428 w 735"/>
              <a:gd name="T23" fmla="*/ 237 h 664"/>
              <a:gd name="T24" fmla="*/ 447 w 735"/>
              <a:gd name="T25" fmla="*/ 387 h 664"/>
              <a:gd name="T26" fmla="*/ 315 w 735"/>
              <a:gd name="T27" fmla="*/ 431 h 664"/>
              <a:gd name="T28" fmla="*/ 288 w 735"/>
              <a:gd name="T29" fmla="*/ 295 h 664"/>
              <a:gd name="T30" fmla="*/ 420 w 735"/>
              <a:gd name="T31" fmla="*/ 250 h 664"/>
              <a:gd name="T32" fmla="*/ 447 w 735"/>
              <a:gd name="T33" fmla="*/ 387 h 664"/>
              <a:gd name="T34" fmla="*/ 437 w 735"/>
              <a:gd name="T35" fmla="*/ 430 h 664"/>
              <a:gd name="T36" fmla="*/ 411 w 735"/>
              <a:gd name="T37" fmla="*/ 446 h 664"/>
              <a:gd name="T38" fmla="*/ 368 w 735"/>
              <a:gd name="T39" fmla="*/ 446 h 664"/>
              <a:gd name="T40" fmla="*/ 223 w 735"/>
              <a:gd name="T41" fmla="*/ 424 h 664"/>
              <a:gd name="T42" fmla="*/ 298 w 735"/>
              <a:gd name="T43" fmla="*/ 431 h 664"/>
              <a:gd name="T44" fmla="*/ 298 w 735"/>
              <a:gd name="T45" fmla="*/ 251 h 664"/>
              <a:gd name="T46" fmla="*/ 324 w 735"/>
              <a:gd name="T47" fmla="*/ 236 h 664"/>
              <a:gd name="T48" fmla="*/ 368 w 735"/>
              <a:gd name="T49" fmla="*/ 235 h 664"/>
              <a:gd name="T50" fmla="*/ 437 w 735"/>
              <a:gd name="T51" fmla="*/ 251 h 664"/>
              <a:gd name="T52" fmla="*/ 459 w 735"/>
              <a:gd name="T53" fmla="*/ 288 h 664"/>
              <a:gd name="T54" fmla="*/ 296 w 735"/>
              <a:gd name="T55" fmla="*/ 98 h 664"/>
              <a:gd name="T56" fmla="*/ 313 w 735"/>
              <a:gd name="T57" fmla="*/ 81 h 664"/>
              <a:gd name="T58" fmla="*/ 269 w 735"/>
              <a:gd name="T59" fmla="*/ 66 h 664"/>
              <a:gd name="T60" fmla="*/ 312 w 735"/>
              <a:gd name="T61" fmla="*/ 108 h 664"/>
              <a:gd name="T62" fmla="*/ 218 w 735"/>
              <a:gd name="T63" fmla="*/ 244 h 664"/>
              <a:gd name="T64" fmla="*/ 209 w 735"/>
              <a:gd name="T65" fmla="*/ 259 h 664"/>
              <a:gd name="T66" fmla="*/ 14 w 735"/>
              <a:gd name="T67" fmla="*/ 341 h 664"/>
              <a:gd name="T68" fmla="*/ 182 w 735"/>
              <a:gd name="T69" fmla="*/ 535 h 664"/>
              <a:gd name="T70" fmla="*/ 296 w 735"/>
              <a:gd name="T71" fmla="*/ 591 h 664"/>
              <a:gd name="T72" fmla="*/ 182 w 735"/>
              <a:gd name="T73" fmla="*/ 549 h 664"/>
              <a:gd name="T74" fmla="*/ 218 w 735"/>
              <a:gd name="T75" fmla="*/ 437 h 664"/>
              <a:gd name="T76" fmla="*/ 296 w 735"/>
              <a:gd name="T77" fmla="*/ 591 h 664"/>
              <a:gd name="T78" fmla="*/ 440 w 735"/>
              <a:gd name="T79" fmla="*/ 591 h 664"/>
              <a:gd name="T80" fmla="*/ 517 w 735"/>
              <a:gd name="T81" fmla="*/ 438 h 664"/>
              <a:gd name="T82" fmla="*/ 637 w 735"/>
              <a:gd name="T83" fmla="*/ 400 h 664"/>
              <a:gd name="T84" fmla="*/ 654 w 735"/>
              <a:gd name="T85" fmla="*/ 418 h 664"/>
              <a:gd name="T86" fmla="*/ 623 w 735"/>
              <a:gd name="T87" fmla="*/ 400 h 664"/>
              <a:gd name="T88" fmla="*/ 488 w 735"/>
              <a:gd name="T89" fmla="*/ 341 h 664"/>
              <a:gd name="T90" fmla="*/ 679 w 735"/>
              <a:gd name="T91" fmla="*/ 382 h 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35" h="664">
                <a:moveTo>
                  <a:pt x="735" y="341"/>
                </a:moveTo>
                <a:cubicBezTo>
                  <a:pt x="735" y="295"/>
                  <a:pt x="646" y="262"/>
                  <a:pt x="532" y="246"/>
                </a:cubicBezTo>
                <a:cubicBezTo>
                  <a:pt x="544" y="215"/>
                  <a:pt x="555" y="184"/>
                  <a:pt x="562" y="157"/>
                </a:cubicBezTo>
                <a:cubicBezTo>
                  <a:pt x="575" y="106"/>
                  <a:pt x="584" y="42"/>
                  <a:pt x="551" y="23"/>
                </a:cubicBezTo>
                <a:cubicBezTo>
                  <a:pt x="512" y="0"/>
                  <a:pt x="439" y="60"/>
                  <a:pt x="368" y="152"/>
                </a:cubicBezTo>
                <a:cubicBezTo>
                  <a:pt x="352" y="132"/>
                  <a:pt x="337" y="114"/>
                  <a:pt x="322" y="98"/>
                </a:cubicBezTo>
                <a:cubicBezTo>
                  <a:pt x="325" y="93"/>
                  <a:pt x="327" y="87"/>
                  <a:pt x="327" y="81"/>
                </a:cubicBezTo>
                <a:cubicBezTo>
                  <a:pt x="327" y="64"/>
                  <a:pt x="313" y="50"/>
                  <a:pt x="296" y="50"/>
                </a:cubicBezTo>
                <a:cubicBezTo>
                  <a:pt x="289" y="50"/>
                  <a:pt x="283" y="52"/>
                  <a:pt x="278" y="56"/>
                </a:cubicBezTo>
                <a:cubicBezTo>
                  <a:pt x="238" y="22"/>
                  <a:pt x="205" y="10"/>
                  <a:pt x="184" y="23"/>
                </a:cubicBezTo>
                <a:cubicBezTo>
                  <a:pt x="151" y="42"/>
                  <a:pt x="160" y="106"/>
                  <a:pt x="173" y="157"/>
                </a:cubicBezTo>
                <a:cubicBezTo>
                  <a:pt x="180" y="184"/>
                  <a:pt x="191" y="215"/>
                  <a:pt x="203" y="246"/>
                </a:cubicBezTo>
                <a:cubicBezTo>
                  <a:pt x="89" y="262"/>
                  <a:pt x="0" y="295"/>
                  <a:pt x="0" y="341"/>
                </a:cubicBezTo>
                <a:cubicBezTo>
                  <a:pt x="0" y="386"/>
                  <a:pt x="89" y="419"/>
                  <a:pt x="203" y="435"/>
                </a:cubicBezTo>
                <a:cubicBezTo>
                  <a:pt x="196" y="453"/>
                  <a:pt x="190" y="470"/>
                  <a:pt x="184" y="487"/>
                </a:cubicBezTo>
                <a:cubicBezTo>
                  <a:pt x="184" y="487"/>
                  <a:pt x="183" y="487"/>
                  <a:pt x="182" y="487"/>
                </a:cubicBezTo>
                <a:cubicBezTo>
                  <a:pt x="165" y="487"/>
                  <a:pt x="151" y="501"/>
                  <a:pt x="151" y="518"/>
                </a:cubicBezTo>
                <a:cubicBezTo>
                  <a:pt x="151" y="530"/>
                  <a:pt x="158" y="540"/>
                  <a:pt x="168" y="545"/>
                </a:cubicBezTo>
                <a:cubicBezTo>
                  <a:pt x="155" y="606"/>
                  <a:pt x="160" y="645"/>
                  <a:pt x="184" y="659"/>
                </a:cubicBezTo>
                <a:cubicBezTo>
                  <a:pt x="190" y="662"/>
                  <a:pt x="196" y="664"/>
                  <a:pt x="203" y="664"/>
                </a:cubicBezTo>
                <a:cubicBezTo>
                  <a:pt x="235" y="664"/>
                  <a:pt x="275" y="632"/>
                  <a:pt x="305" y="601"/>
                </a:cubicBezTo>
                <a:cubicBezTo>
                  <a:pt x="326" y="581"/>
                  <a:pt x="347" y="557"/>
                  <a:pt x="368" y="530"/>
                </a:cubicBezTo>
                <a:cubicBezTo>
                  <a:pt x="388" y="557"/>
                  <a:pt x="409" y="581"/>
                  <a:pt x="430" y="601"/>
                </a:cubicBezTo>
                <a:cubicBezTo>
                  <a:pt x="460" y="632"/>
                  <a:pt x="500" y="664"/>
                  <a:pt x="532" y="664"/>
                </a:cubicBezTo>
                <a:cubicBezTo>
                  <a:pt x="539" y="664"/>
                  <a:pt x="545" y="662"/>
                  <a:pt x="551" y="659"/>
                </a:cubicBezTo>
                <a:cubicBezTo>
                  <a:pt x="584" y="640"/>
                  <a:pt x="575" y="576"/>
                  <a:pt x="562" y="525"/>
                </a:cubicBezTo>
                <a:cubicBezTo>
                  <a:pt x="555" y="497"/>
                  <a:pt x="545" y="467"/>
                  <a:pt x="532" y="436"/>
                </a:cubicBezTo>
                <a:cubicBezTo>
                  <a:pt x="567" y="431"/>
                  <a:pt x="599" y="424"/>
                  <a:pt x="628" y="416"/>
                </a:cubicBezTo>
                <a:cubicBezTo>
                  <a:pt x="633" y="425"/>
                  <a:pt x="643" y="432"/>
                  <a:pt x="654" y="432"/>
                </a:cubicBezTo>
                <a:cubicBezTo>
                  <a:pt x="671" y="432"/>
                  <a:pt x="685" y="418"/>
                  <a:pt x="685" y="400"/>
                </a:cubicBezTo>
                <a:cubicBezTo>
                  <a:pt x="685" y="399"/>
                  <a:pt x="685" y="397"/>
                  <a:pt x="685" y="395"/>
                </a:cubicBezTo>
                <a:cubicBezTo>
                  <a:pt x="718" y="379"/>
                  <a:pt x="735" y="361"/>
                  <a:pt x="735" y="341"/>
                </a:cubicBezTo>
                <a:close/>
                <a:moveTo>
                  <a:pt x="544" y="35"/>
                </a:moveTo>
                <a:cubicBezTo>
                  <a:pt x="563" y="46"/>
                  <a:pt x="565" y="90"/>
                  <a:pt x="549" y="153"/>
                </a:cubicBezTo>
                <a:cubicBezTo>
                  <a:pt x="541" y="181"/>
                  <a:pt x="531" y="212"/>
                  <a:pt x="517" y="244"/>
                </a:cubicBezTo>
                <a:cubicBezTo>
                  <a:pt x="489" y="241"/>
                  <a:pt x="458" y="238"/>
                  <a:pt x="428" y="237"/>
                </a:cubicBezTo>
                <a:cubicBezTo>
                  <a:pt x="411" y="210"/>
                  <a:pt x="394" y="186"/>
                  <a:pt x="376" y="163"/>
                </a:cubicBezTo>
                <a:cubicBezTo>
                  <a:pt x="451" y="66"/>
                  <a:pt x="517" y="19"/>
                  <a:pt x="544" y="35"/>
                </a:cubicBezTo>
                <a:close/>
                <a:moveTo>
                  <a:pt x="447" y="387"/>
                </a:moveTo>
                <a:cubicBezTo>
                  <a:pt x="438" y="402"/>
                  <a:pt x="429" y="417"/>
                  <a:pt x="420" y="431"/>
                </a:cubicBezTo>
                <a:cubicBezTo>
                  <a:pt x="403" y="432"/>
                  <a:pt x="385" y="432"/>
                  <a:pt x="368" y="432"/>
                </a:cubicBezTo>
                <a:cubicBezTo>
                  <a:pt x="350" y="432"/>
                  <a:pt x="332" y="432"/>
                  <a:pt x="315" y="431"/>
                </a:cubicBezTo>
                <a:cubicBezTo>
                  <a:pt x="306" y="417"/>
                  <a:pt x="297" y="402"/>
                  <a:pt x="288" y="387"/>
                </a:cubicBezTo>
                <a:cubicBezTo>
                  <a:pt x="279" y="371"/>
                  <a:pt x="271" y="356"/>
                  <a:pt x="263" y="341"/>
                </a:cubicBezTo>
                <a:cubicBezTo>
                  <a:pt x="271" y="326"/>
                  <a:pt x="279" y="310"/>
                  <a:pt x="288" y="295"/>
                </a:cubicBezTo>
                <a:cubicBezTo>
                  <a:pt x="297" y="280"/>
                  <a:pt x="306" y="265"/>
                  <a:pt x="315" y="250"/>
                </a:cubicBezTo>
                <a:cubicBezTo>
                  <a:pt x="332" y="250"/>
                  <a:pt x="350" y="249"/>
                  <a:pt x="368" y="249"/>
                </a:cubicBezTo>
                <a:cubicBezTo>
                  <a:pt x="385" y="249"/>
                  <a:pt x="403" y="250"/>
                  <a:pt x="420" y="250"/>
                </a:cubicBezTo>
                <a:cubicBezTo>
                  <a:pt x="429" y="265"/>
                  <a:pt x="438" y="280"/>
                  <a:pt x="447" y="295"/>
                </a:cubicBezTo>
                <a:cubicBezTo>
                  <a:pt x="456" y="310"/>
                  <a:pt x="464" y="326"/>
                  <a:pt x="472" y="341"/>
                </a:cubicBezTo>
                <a:cubicBezTo>
                  <a:pt x="464" y="356"/>
                  <a:pt x="456" y="371"/>
                  <a:pt x="447" y="387"/>
                </a:cubicBezTo>
                <a:close/>
                <a:moveTo>
                  <a:pt x="480" y="356"/>
                </a:moveTo>
                <a:cubicBezTo>
                  <a:pt x="492" y="379"/>
                  <a:pt x="502" y="402"/>
                  <a:pt x="512" y="424"/>
                </a:cubicBezTo>
                <a:cubicBezTo>
                  <a:pt x="488" y="427"/>
                  <a:pt x="463" y="429"/>
                  <a:pt x="437" y="430"/>
                </a:cubicBezTo>
                <a:cubicBezTo>
                  <a:pt x="444" y="418"/>
                  <a:pt x="452" y="406"/>
                  <a:pt x="459" y="394"/>
                </a:cubicBezTo>
                <a:cubicBezTo>
                  <a:pt x="466" y="381"/>
                  <a:pt x="473" y="368"/>
                  <a:pt x="480" y="356"/>
                </a:cubicBezTo>
                <a:close/>
                <a:moveTo>
                  <a:pt x="411" y="446"/>
                </a:moveTo>
                <a:cubicBezTo>
                  <a:pt x="396" y="467"/>
                  <a:pt x="382" y="488"/>
                  <a:pt x="368" y="507"/>
                </a:cubicBezTo>
                <a:cubicBezTo>
                  <a:pt x="353" y="488"/>
                  <a:pt x="339" y="467"/>
                  <a:pt x="324" y="446"/>
                </a:cubicBezTo>
                <a:cubicBezTo>
                  <a:pt x="339" y="446"/>
                  <a:pt x="353" y="446"/>
                  <a:pt x="368" y="446"/>
                </a:cubicBezTo>
                <a:cubicBezTo>
                  <a:pt x="382" y="446"/>
                  <a:pt x="396" y="446"/>
                  <a:pt x="411" y="446"/>
                </a:cubicBezTo>
                <a:close/>
                <a:moveTo>
                  <a:pt x="298" y="431"/>
                </a:moveTo>
                <a:cubicBezTo>
                  <a:pt x="272" y="429"/>
                  <a:pt x="247" y="427"/>
                  <a:pt x="223" y="424"/>
                </a:cubicBezTo>
                <a:cubicBezTo>
                  <a:pt x="233" y="402"/>
                  <a:pt x="243" y="379"/>
                  <a:pt x="255" y="356"/>
                </a:cubicBezTo>
                <a:cubicBezTo>
                  <a:pt x="262" y="368"/>
                  <a:pt x="269" y="381"/>
                  <a:pt x="276" y="394"/>
                </a:cubicBezTo>
                <a:cubicBezTo>
                  <a:pt x="283" y="406"/>
                  <a:pt x="291" y="418"/>
                  <a:pt x="298" y="431"/>
                </a:cubicBezTo>
                <a:close/>
                <a:moveTo>
                  <a:pt x="255" y="326"/>
                </a:moveTo>
                <a:cubicBezTo>
                  <a:pt x="243" y="302"/>
                  <a:pt x="233" y="280"/>
                  <a:pt x="223" y="257"/>
                </a:cubicBezTo>
                <a:cubicBezTo>
                  <a:pt x="247" y="255"/>
                  <a:pt x="272" y="252"/>
                  <a:pt x="298" y="251"/>
                </a:cubicBezTo>
                <a:cubicBezTo>
                  <a:pt x="291" y="263"/>
                  <a:pt x="283" y="276"/>
                  <a:pt x="276" y="288"/>
                </a:cubicBezTo>
                <a:cubicBezTo>
                  <a:pt x="269" y="301"/>
                  <a:pt x="262" y="313"/>
                  <a:pt x="255" y="326"/>
                </a:cubicBezTo>
                <a:close/>
                <a:moveTo>
                  <a:pt x="324" y="236"/>
                </a:moveTo>
                <a:cubicBezTo>
                  <a:pt x="339" y="214"/>
                  <a:pt x="353" y="193"/>
                  <a:pt x="367" y="174"/>
                </a:cubicBezTo>
                <a:cubicBezTo>
                  <a:pt x="382" y="194"/>
                  <a:pt x="396" y="214"/>
                  <a:pt x="411" y="236"/>
                </a:cubicBezTo>
                <a:cubicBezTo>
                  <a:pt x="396" y="236"/>
                  <a:pt x="382" y="235"/>
                  <a:pt x="368" y="235"/>
                </a:cubicBezTo>
                <a:cubicBezTo>
                  <a:pt x="353" y="235"/>
                  <a:pt x="339" y="236"/>
                  <a:pt x="324" y="236"/>
                </a:cubicBezTo>
                <a:close/>
                <a:moveTo>
                  <a:pt x="459" y="288"/>
                </a:moveTo>
                <a:cubicBezTo>
                  <a:pt x="452" y="276"/>
                  <a:pt x="444" y="263"/>
                  <a:pt x="437" y="251"/>
                </a:cubicBezTo>
                <a:cubicBezTo>
                  <a:pt x="463" y="252"/>
                  <a:pt x="488" y="255"/>
                  <a:pt x="512" y="257"/>
                </a:cubicBezTo>
                <a:cubicBezTo>
                  <a:pt x="502" y="280"/>
                  <a:pt x="492" y="303"/>
                  <a:pt x="480" y="326"/>
                </a:cubicBezTo>
                <a:cubicBezTo>
                  <a:pt x="473" y="313"/>
                  <a:pt x="466" y="301"/>
                  <a:pt x="459" y="288"/>
                </a:cubicBezTo>
                <a:close/>
                <a:moveTo>
                  <a:pt x="313" y="81"/>
                </a:moveTo>
                <a:cubicBezTo>
                  <a:pt x="313" y="86"/>
                  <a:pt x="311" y="90"/>
                  <a:pt x="308" y="94"/>
                </a:cubicBezTo>
                <a:cubicBezTo>
                  <a:pt x="304" y="97"/>
                  <a:pt x="300" y="98"/>
                  <a:pt x="296" y="98"/>
                </a:cubicBezTo>
                <a:cubicBezTo>
                  <a:pt x="287" y="98"/>
                  <a:pt x="279" y="90"/>
                  <a:pt x="279" y="81"/>
                </a:cubicBezTo>
                <a:cubicBezTo>
                  <a:pt x="279" y="72"/>
                  <a:pt x="287" y="64"/>
                  <a:pt x="296" y="64"/>
                </a:cubicBezTo>
                <a:cubicBezTo>
                  <a:pt x="305" y="64"/>
                  <a:pt x="313" y="72"/>
                  <a:pt x="313" y="81"/>
                </a:cubicBezTo>
                <a:close/>
                <a:moveTo>
                  <a:pt x="187" y="153"/>
                </a:moveTo>
                <a:cubicBezTo>
                  <a:pt x="170" y="90"/>
                  <a:pt x="172" y="46"/>
                  <a:pt x="191" y="35"/>
                </a:cubicBezTo>
                <a:cubicBezTo>
                  <a:pt x="206" y="26"/>
                  <a:pt x="234" y="37"/>
                  <a:pt x="269" y="66"/>
                </a:cubicBezTo>
                <a:cubicBezTo>
                  <a:pt x="266" y="70"/>
                  <a:pt x="265" y="76"/>
                  <a:pt x="265" y="81"/>
                </a:cubicBezTo>
                <a:cubicBezTo>
                  <a:pt x="265" y="98"/>
                  <a:pt x="279" y="112"/>
                  <a:pt x="296" y="112"/>
                </a:cubicBezTo>
                <a:cubicBezTo>
                  <a:pt x="302" y="112"/>
                  <a:pt x="307" y="111"/>
                  <a:pt x="312" y="108"/>
                </a:cubicBezTo>
                <a:cubicBezTo>
                  <a:pt x="328" y="124"/>
                  <a:pt x="343" y="143"/>
                  <a:pt x="359" y="163"/>
                </a:cubicBezTo>
                <a:cubicBezTo>
                  <a:pt x="341" y="186"/>
                  <a:pt x="324" y="211"/>
                  <a:pt x="307" y="237"/>
                </a:cubicBezTo>
                <a:cubicBezTo>
                  <a:pt x="277" y="238"/>
                  <a:pt x="247" y="241"/>
                  <a:pt x="218" y="244"/>
                </a:cubicBezTo>
                <a:cubicBezTo>
                  <a:pt x="205" y="212"/>
                  <a:pt x="194" y="181"/>
                  <a:pt x="187" y="153"/>
                </a:cubicBezTo>
                <a:close/>
                <a:moveTo>
                  <a:pt x="14" y="341"/>
                </a:moveTo>
                <a:cubicBezTo>
                  <a:pt x="14" y="309"/>
                  <a:pt x="88" y="275"/>
                  <a:pt x="209" y="259"/>
                </a:cubicBezTo>
                <a:cubicBezTo>
                  <a:pt x="220" y="286"/>
                  <a:pt x="233" y="313"/>
                  <a:pt x="247" y="341"/>
                </a:cubicBezTo>
                <a:cubicBezTo>
                  <a:pt x="233" y="368"/>
                  <a:pt x="220" y="396"/>
                  <a:pt x="209" y="422"/>
                </a:cubicBezTo>
                <a:cubicBezTo>
                  <a:pt x="88" y="406"/>
                  <a:pt x="14" y="373"/>
                  <a:pt x="14" y="341"/>
                </a:cubicBezTo>
                <a:close/>
                <a:moveTo>
                  <a:pt x="182" y="501"/>
                </a:moveTo>
                <a:cubicBezTo>
                  <a:pt x="192" y="501"/>
                  <a:pt x="199" y="508"/>
                  <a:pt x="199" y="518"/>
                </a:cubicBezTo>
                <a:cubicBezTo>
                  <a:pt x="199" y="527"/>
                  <a:pt x="192" y="535"/>
                  <a:pt x="182" y="535"/>
                </a:cubicBezTo>
                <a:cubicBezTo>
                  <a:pt x="173" y="535"/>
                  <a:pt x="165" y="527"/>
                  <a:pt x="165" y="518"/>
                </a:cubicBezTo>
                <a:cubicBezTo>
                  <a:pt x="165" y="508"/>
                  <a:pt x="173" y="501"/>
                  <a:pt x="182" y="501"/>
                </a:cubicBezTo>
                <a:close/>
                <a:moveTo>
                  <a:pt x="296" y="591"/>
                </a:moveTo>
                <a:cubicBezTo>
                  <a:pt x="249" y="637"/>
                  <a:pt x="210" y="658"/>
                  <a:pt x="191" y="647"/>
                </a:cubicBezTo>
                <a:cubicBezTo>
                  <a:pt x="174" y="637"/>
                  <a:pt x="170" y="601"/>
                  <a:pt x="182" y="549"/>
                </a:cubicBezTo>
                <a:cubicBezTo>
                  <a:pt x="182" y="549"/>
                  <a:pt x="182" y="549"/>
                  <a:pt x="182" y="549"/>
                </a:cubicBezTo>
                <a:cubicBezTo>
                  <a:pt x="199" y="549"/>
                  <a:pt x="213" y="535"/>
                  <a:pt x="213" y="518"/>
                </a:cubicBezTo>
                <a:cubicBezTo>
                  <a:pt x="213" y="506"/>
                  <a:pt x="207" y="496"/>
                  <a:pt x="198" y="491"/>
                </a:cubicBezTo>
                <a:cubicBezTo>
                  <a:pt x="204" y="474"/>
                  <a:pt x="210" y="456"/>
                  <a:pt x="218" y="437"/>
                </a:cubicBezTo>
                <a:cubicBezTo>
                  <a:pt x="247" y="441"/>
                  <a:pt x="277" y="443"/>
                  <a:pt x="307" y="445"/>
                </a:cubicBezTo>
                <a:cubicBezTo>
                  <a:pt x="324" y="471"/>
                  <a:pt x="341" y="496"/>
                  <a:pt x="359" y="519"/>
                </a:cubicBezTo>
                <a:cubicBezTo>
                  <a:pt x="337" y="546"/>
                  <a:pt x="316" y="571"/>
                  <a:pt x="296" y="591"/>
                </a:cubicBezTo>
                <a:close/>
                <a:moveTo>
                  <a:pt x="549" y="528"/>
                </a:moveTo>
                <a:cubicBezTo>
                  <a:pt x="565" y="592"/>
                  <a:pt x="563" y="636"/>
                  <a:pt x="544" y="647"/>
                </a:cubicBezTo>
                <a:cubicBezTo>
                  <a:pt x="525" y="658"/>
                  <a:pt x="486" y="637"/>
                  <a:pt x="440" y="591"/>
                </a:cubicBezTo>
                <a:cubicBezTo>
                  <a:pt x="419" y="571"/>
                  <a:pt x="398" y="546"/>
                  <a:pt x="376" y="519"/>
                </a:cubicBezTo>
                <a:cubicBezTo>
                  <a:pt x="394" y="496"/>
                  <a:pt x="411" y="471"/>
                  <a:pt x="428" y="445"/>
                </a:cubicBezTo>
                <a:cubicBezTo>
                  <a:pt x="459" y="444"/>
                  <a:pt x="489" y="441"/>
                  <a:pt x="517" y="438"/>
                </a:cubicBezTo>
                <a:cubicBezTo>
                  <a:pt x="531" y="470"/>
                  <a:pt x="541" y="500"/>
                  <a:pt x="549" y="528"/>
                </a:cubicBezTo>
                <a:close/>
                <a:moveTo>
                  <a:pt x="654" y="418"/>
                </a:moveTo>
                <a:cubicBezTo>
                  <a:pt x="645" y="418"/>
                  <a:pt x="637" y="410"/>
                  <a:pt x="637" y="400"/>
                </a:cubicBezTo>
                <a:cubicBezTo>
                  <a:pt x="637" y="391"/>
                  <a:pt x="645" y="383"/>
                  <a:pt x="654" y="383"/>
                </a:cubicBezTo>
                <a:cubicBezTo>
                  <a:pt x="664" y="383"/>
                  <a:pt x="671" y="391"/>
                  <a:pt x="671" y="400"/>
                </a:cubicBezTo>
                <a:cubicBezTo>
                  <a:pt x="671" y="410"/>
                  <a:pt x="664" y="418"/>
                  <a:pt x="654" y="418"/>
                </a:cubicBezTo>
                <a:close/>
                <a:moveTo>
                  <a:pt x="679" y="382"/>
                </a:moveTo>
                <a:cubicBezTo>
                  <a:pt x="674" y="375"/>
                  <a:pt x="665" y="369"/>
                  <a:pt x="654" y="369"/>
                </a:cubicBezTo>
                <a:cubicBezTo>
                  <a:pt x="637" y="369"/>
                  <a:pt x="623" y="383"/>
                  <a:pt x="623" y="400"/>
                </a:cubicBezTo>
                <a:cubicBezTo>
                  <a:pt x="623" y="401"/>
                  <a:pt x="623" y="402"/>
                  <a:pt x="623" y="403"/>
                </a:cubicBezTo>
                <a:cubicBezTo>
                  <a:pt x="595" y="411"/>
                  <a:pt x="562" y="417"/>
                  <a:pt x="526" y="422"/>
                </a:cubicBezTo>
                <a:cubicBezTo>
                  <a:pt x="515" y="396"/>
                  <a:pt x="502" y="368"/>
                  <a:pt x="488" y="341"/>
                </a:cubicBezTo>
                <a:cubicBezTo>
                  <a:pt x="502" y="313"/>
                  <a:pt x="515" y="286"/>
                  <a:pt x="526" y="259"/>
                </a:cubicBezTo>
                <a:cubicBezTo>
                  <a:pt x="647" y="275"/>
                  <a:pt x="721" y="309"/>
                  <a:pt x="721" y="341"/>
                </a:cubicBezTo>
                <a:cubicBezTo>
                  <a:pt x="721" y="355"/>
                  <a:pt x="706" y="369"/>
                  <a:pt x="679" y="382"/>
                </a:cubicBez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15" name="Oval 15"/>
          <p:cNvSpPr>
            <a:spLocks noChangeArrowheads="1"/>
          </p:cNvSpPr>
          <p:nvPr/>
        </p:nvSpPr>
        <p:spPr bwMode="auto">
          <a:xfrm>
            <a:off x="8347593" y="1528549"/>
            <a:ext cx="1119124" cy="1119124"/>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23" name="Freeform 23"/>
          <p:cNvSpPr>
            <a:spLocks noEditPoints="1"/>
          </p:cNvSpPr>
          <p:nvPr/>
        </p:nvSpPr>
        <p:spPr bwMode="auto">
          <a:xfrm>
            <a:off x="8567938" y="1808554"/>
            <a:ext cx="678432" cy="560008"/>
          </a:xfrm>
          <a:custGeom>
            <a:avLst/>
            <a:gdLst>
              <a:gd name="T0" fmla="*/ 582 w 644"/>
              <a:gd name="T1" fmla="*/ 134 h 532"/>
              <a:gd name="T2" fmla="*/ 429 w 644"/>
              <a:gd name="T3" fmla="*/ 94 h 532"/>
              <a:gd name="T4" fmla="*/ 398 w 644"/>
              <a:gd name="T5" fmla="*/ 0 h 532"/>
              <a:gd name="T6" fmla="*/ 216 w 644"/>
              <a:gd name="T7" fmla="*/ 30 h 532"/>
              <a:gd name="T8" fmla="*/ 116 w 644"/>
              <a:gd name="T9" fmla="*/ 94 h 532"/>
              <a:gd name="T10" fmla="*/ 11 w 644"/>
              <a:gd name="T11" fmla="*/ 305 h 532"/>
              <a:gd name="T12" fmla="*/ 0 w 644"/>
              <a:gd name="T13" fmla="*/ 488 h 532"/>
              <a:gd name="T14" fmla="*/ 600 w 644"/>
              <a:gd name="T15" fmla="*/ 532 h 532"/>
              <a:gd name="T16" fmla="*/ 644 w 644"/>
              <a:gd name="T17" fmla="*/ 378 h 532"/>
              <a:gd name="T18" fmla="*/ 230 w 644"/>
              <a:gd name="T19" fmla="*/ 30 h 532"/>
              <a:gd name="T20" fmla="*/ 398 w 644"/>
              <a:gd name="T21" fmla="*/ 14 h 532"/>
              <a:gd name="T22" fmla="*/ 415 w 644"/>
              <a:gd name="T23" fmla="*/ 94 h 532"/>
              <a:gd name="T24" fmla="*/ 230 w 644"/>
              <a:gd name="T25" fmla="*/ 30 h 532"/>
              <a:gd name="T26" fmla="*/ 600 w 644"/>
              <a:gd name="T27" fmla="*/ 518 h 532"/>
              <a:gd name="T28" fmla="*/ 14 w 644"/>
              <a:gd name="T29" fmla="*/ 488 h 532"/>
              <a:gd name="T30" fmla="*/ 25 w 644"/>
              <a:gd name="T31" fmla="*/ 309 h 532"/>
              <a:gd name="T32" fmla="*/ 116 w 644"/>
              <a:gd name="T33" fmla="*/ 108 h 532"/>
              <a:gd name="T34" fmla="*/ 568 w 644"/>
              <a:gd name="T35" fmla="*/ 138 h 532"/>
              <a:gd name="T36" fmla="*/ 630 w 644"/>
              <a:gd name="T37" fmla="*/ 378 h 532"/>
              <a:gd name="T38" fmla="*/ 444 w 644"/>
              <a:gd name="T39" fmla="*/ 256 h 532"/>
              <a:gd name="T40" fmla="*/ 359 w 644"/>
              <a:gd name="T41" fmla="*/ 172 h 532"/>
              <a:gd name="T42" fmla="*/ 292 w 644"/>
              <a:gd name="T43" fmla="*/ 165 h 532"/>
              <a:gd name="T44" fmla="*/ 285 w 644"/>
              <a:gd name="T45" fmla="*/ 256 h 532"/>
              <a:gd name="T46" fmla="*/ 193 w 644"/>
              <a:gd name="T47" fmla="*/ 263 h 532"/>
              <a:gd name="T48" fmla="*/ 200 w 644"/>
              <a:gd name="T49" fmla="*/ 331 h 532"/>
              <a:gd name="T50" fmla="*/ 285 w 644"/>
              <a:gd name="T51" fmla="*/ 415 h 532"/>
              <a:gd name="T52" fmla="*/ 352 w 644"/>
              <a:gd name="T53" fmla="*/ 422 h 532"/>
              <a:gd name="T54" fmla="*/ 359 w 644"/>
              <a:gd name="T55" fmla="*/ 331 h 532"/>
              <a:gd name="T56" fmla="*/ 451 w 644"/>
              <a:gd name="T57" fmla="*/ 324 h 532"/>
              <a:gd name="T58" fmla="*/ 444 w 644"/>
              <a:gd name="T59" fmla="*/ 256 h 532"/>
              <a:gd name="T60" fmla="*/ 352 w 644"/>
              <a:gd name="T61" fmla="*/ 317 h 532"/>
              <a:gd name="T62" fmla="*/ 345 w 644"/>
              <a:gd name="T63" fmla="*/ 408 h 532"/>
              <a:gd name="T64" fmla="*/ 299 w 644"/>
              <a:gd name="T65" fmla="*/ 324 h 532"/>
              <a:gd name="T66" fmla="*/ 207 w 644"/>
              <a:gd name="T67" fmla="*/ 317 h 532"/>
              <a:gd name="T68" fmla="*/ 292 w 644"/>
              <a:gd name="T69" fmla="*/ 270 h 532"/>
              <a:gd name="T70" fmla="*/ 299 w 644"/>
              <a:gd name="T71" fmla="*/ 179 h 532"/>
              <a:gd name="T72" fmla="*/ 345 w 644"/>
              <a:gd name="T73" fmla="*/ 263 h 532"/>
              <a:gd name="T74" fmla="*/ 437 w 644"/>
              <a:gd name="T75" fmla="*/ 270 h 5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44" h="532">
                <a:moveTo>
                  <a:pt x="633" y="305"/>
                </a:moveTo>
                <a:cubicBezTo>
                  <a:pt x="582" y="134"/>
                  <a:pt x="582" y="134"/>
                  <a:pt x="582" y="134"/>
                </a:cubicBezTo>
                <a:cubicBezTo>
                  <a:pt x="575" y="112"/>
                  <a:pt x="551" y="94"/>
                  <a:pt x="528" y="94"/>
                </a:cubicBezTo>
                <a:cubicBezTo>
                  <a:pt x="429" y="94"/>
                  <a:pt x="429" y="94"/>
                  <a:pt x="429" y="94"/>
                </a:cubicBezTo>
                <a:cubicBezTo>
                  <a:pt x="429" y="30"/>
                  <a:pt x="429" y="30"/>
                  <a:pt x="429" y="30"/>
                </a:cubicBezTo>
                <a:cubicBezTo>
                  <a:pt x="429" y="14"/>
                  <a:pt x="415" y="0"/>
                  <a:pt x="398" y="0"/>
                </a:cubicBezTo>
                <a:cubicBezTo>
                  <a:pt x="246" y="0"/>
                  <a:pt x="246" y="0"/>
                  <a:pt x="246" y="0"/>
                </a:cubicBezTo>
                <a:cubicBezTo>
                  <a:pt x="229" y="0"/>
                  <a:pt x="216" y="14"/>
                  <a:pt x="216" y="30"/>
                </a:cubicBezTo>
                <a:cubicBezTo>
                  <a:pt x="216" y="94"/>
                  <a:pt x="216" y="94"/>
                  <a:pt x="216" y="94"/>
                </a:cubicBezTo>
                <a:cubicBezTo>
                  <a:pt x="116" y="94"/>
                  <a:pt x="116" y="94"/>
                  <a:pt x="116" y="94"/>
                </a:cubicBezTo>
                <a:cubicBezTo>
                  <a:pt x="93" y="94"/>
                  <a:pt x="69" y="112"/>
                  <a:pt x="62" y="134"/>
                </a:cubicBezTo>
                <a:cubicBezTo>
                  <a:pt x="11" y="305"/>
                  <a:pt x="11" y="305"/>
                  <a:pt x="11" y="305"/>
                </a:cubicBezTo>
                <a:cubicBezTo>
                  <a:pt x="5" y="325"/>
                  <a:pt x="0" y="358"/>
                  <a:pt x="0" y="378"/>
                </a:cubicBezTo>
                <a:cubicBezTo>
                  <a:pt x="0" y="488"/>
                  <a:pt x="0" y="488"/>
                  <a:pt x="0" y="488"/>
                </a:cubicBezTo>
                <a:cubicBezTo>
                  <a:pt x="0" y="512"/>
                  <a:pt x="20" y="532"/>
                  <a:pt x="44" y="532"/>
                </a:cubicBezTo>
                <a:cubicBezTo>
                  <a:pt x="600" y="532"/>
                  <a:pt x="600" y="532"/>
                  <a:pt x="600" y="532"/>
                </a:cubicBezTo>
                <a:cubicBezTo>
                  <a:pt x="624" y="532"/>
                  <a:pt x="644" y="512"/>
                  <a:pt x="644" y="488"/>
                </a:cubicBezTo>
                <a:cubicBezTo>
                  <a:pt x="644" y="378"/>
                  <a:pt x="644" y="378"/>
                  <a:pt x="644" y="378"/>
                </a:cubicBezTo>
                <a:cubicBezTo>
                  <a:pt x="644" y="358"/>
                  <a:pt x="639" y="325"/>
                  <a:pt x="633" y="305"/>
                </a:cubicBezTo>
                <a:close/>
                <a:moveTo>
                  <a:pt x="230" y="30"/>
                </a:moveTo>
                <a:cubicBezTo>
                  <a:pt x="230" y="21"/>
                  <a:pt x="237" y="14"/>
                  <a:pt x="246" y="14"/>
                </a:cubicBezTo>
                <a:cubicBezTo>
                  <a:pt x="398" y="14"/>
                  <a:pt x="398" y="14"/>
                  <a:pt x="398" y="14"/>
                </a:cubicBezTo>
                <a:cubicBezTo>
                  <a:pt x="407" y="14"/>
                  <a:pt x="415" y="21"/>
                  <a:pt x="415" y="30"/>
                </a:cubicBezTo>
                <a:cubicBezTo>
                  <a:pt x="415" y="94"/>
                  <a:pt x="415" y="94"/>
                  <a:pt x="415" y="94"/>
                </a:cubicBezTo>
                <a:cubicBezTo>
                  <a:pt x="230" y="94"/>
                  <a:pt x="230" y="94"/>
                  <a:pt x="230" y="94"/>
                </a:cubicBezTo>
                <a:lnTo>
                  <a:pt x="230" y="30"/>
                </a:lnTo>
                <a:close/>
                <a:moveTo>
                  <a:pt x="630" y="488"/>
                </a:moveTo>
                <a:cubicBezTo>
                  <a:pt x="630" y="504"/>
                  <a:pt x="616" y="518"/>
                  <a:pt x="600" y="518"/>
                </a:cubicBezTo>
                <a:cubicBezTo>
                  <a:pt x="44" y="518"/>
                  <a:pt x="44" y="518"/>
                  <a:pt x="44" y="518"/>
                </a:cubicBezTo>
                <a:cubicBezTo>
                  <a:pt x="28" y="518"/>
                  <a:pt x="14" y="504"/>
                  <a:pt x="14" y="488"/>
                </a:cubicBezTo>
                <a:cubicBezTo>
                  <a:pt x="14" y="378"/>
                  <a:pt x="14" y="378"/>
                  <a:pt x="14" y="378"/>
                </a:cubicBezTo>
                <a:cubicBezTo>
                  <a:pt x="14" y="359"/>
                  <a:pt x="19" y="327"/>
                  <a:pt x="25" y="309"/>
                </a:cubicBezTo>
                <a:cubicBezTo>
                  <a:pt x="76" y="138"/>
                  <a:pt x="76" y="138"/>
                  <a:pt x="76" y="138"/>
                </a:cubicBezTo>
                <a:cubicBezTo>
                  <a:pt x="81" y="122"/>
                  <a:pt x="99" y="108"/>
                  <a:pt x="116" y="108"/>
                </a:cubicBezTo>
                <a:cubicBezTo>
                  <a:pt x="528" y="108"/>
                  <a:pt x="528" y="108"/>
                  <a:pt x="528" y="108"/>
                </a:cubicBezTo>
                <a:cubicBezTo>
                  <a:pt x="545" y="108"/>
                  <a:pt x="564" y="122"/>
                  <a:pt x="568" y="138"/>
                </a:cubicBezTo>
                <a:cubicBezTo>
                  <a:pt x="619" y="309"/>
                  <a:pt x="619" y="309"/>
                  <a:pt x="619" y="309"/>
                </a:cubicBezTo>
                <a:cubicBezTo>
                  <a:pt x="625" y="327"/>
                  <a:pt x="630" y="359"/>
                  <a:pt x="630" y="378"/>
                </a:cubicBezTo>
                <a:lnTo>
                  <a:pt x="630" y="488"/>
                </a:lnTo>
                <a:close/>
                <a:moveTo>
                  <a:pt x="444" y="256"/>
                </a:moveTo>
                <a:cubicBezTo>
                  <a:pt x="359" y="256"/>
                  <a:pt x="359" y="256"/>
                  <a:pt x="359" y="256"/>
                </a:cubicBezTo>
                <a:cubicBezTo>
                  <a:pt x="359" y="172"/>
                  <a:pt x="359" y="172"/>
                  <a:pt x="359" y="172"/>
                </a:cubicBezTo>
                <a:cubicBezTo>
                  <a:pt x="359" y="168"/>
                  <a:pt x="356" y="165"/>
                  <a:pt x="352" y="165"/>
                </a:cubicBezTo>
                <a:cubicBezTo>
                  <a:pt x="292" y="165"/>
                  <a:pt x="292" y="165"/>
                  <a:pt x="292" y="165"/>
                </a:cubicBezTo>
                <a:cubicBezTo>
                  <a:pt x="288" y="165"/>
                  <a:pt x="285" y="168"/>
                  <a:pt x="285" y="172"/>
                </a:cubicBezTo>
                <a:cubicBezTo>
                  <a:pt x="285" y="256"/>
                  <a:pt x="285" y="256"/>
                  <a:pt x="285" y="256"/>
                </a:cubicBezTo>
                <a:cubicBezTo>
                  <a:pt x="200" y="256"/>
                  <a:pt x="200" y="256"/>
                  <a:pt x="200" y="256"/>
                </a:cubicBezTo>
                <a:cubicBezTo>
                  <a:pt x="197" y="256"/>
                  <a:pt x="193" y="260"/>
                  <a:pt x="193" y="263"/>
                </a:cubicBezTo>
                <a:cubicBezTo>
                  <a:pt x="193" y="324"/>
                  <a:pt x="193" y="324"/>
                  <a:pt x="193" y="324"/>
                </a:cubicBezTo>
                <a:cubicBezTo>
                  <a:pt x="193" y="328"/>
                  <a:pt x="197" y="331"/>
                  <a:pt x="200" y="331"/>
                </a:cubicBezTo>
                <a:cubicBezTo>
                  <a:pt x="285" y="331"/>
                  <a:pt x="285" y="331"/>
                  <a:pt x="285" y="331"/>
                </a:cubicBezTo>
                <a:cubicBezTo>
                  <a:pt x="285" y="415"/>
                  <a:pt x="285" y="415"/>
                  <a:pt x="285" y="415"/>
                </a:cubicBezTo>
                <a:cubicBezTo>
                  <a:pt x="285" y="419"/>
                  <a:pt x="288" y="422"/>
                  <a:pt x="292" y="422"/>
                </a:cubicBezTo>
                <a:cubicBezTo>
                  <a:pt x="352" y="422"/>
                  <a:pt x="352" y="422"/>
                  <a:pt x="352" y="422"/>
                </a:cubicBezTo>
                <a:cubicBezTo>
                  <a:pt x="356" y="422"/>
                  <a:pt x="359" y="419"/>
                  <a:pt x="359" y="415"/>
                </a:cubicBezTo>
                <a:cubicBezTo>
                  <a:pt x="359" y="331"/>
                  <a:pt x="359" y="331"/>
                  <a:pt x="359" y="331"/>
                </a:cubicBezTo>
                <a:cubicBezTo>
                  <a:pt x="444" y="331"/>
                  <a:pt x="444" y="331"/>
                  <a:pt x="444" y="331"/>
                </a:cubicBezTo>
                <a:cubicBezTo>
                  <a:pt x="448" y="331"/>
                  <a:pt x="451" y="328"/>
                  <a:pt x="451" y="324"/>
                </a:cubicBezTo>
                <a:cubicBezTo>
                  <a:pt x="451" y="263"/>
                  <a:pt x="451" y="263"/>
                  <a:pt x="451" y="263"/>
                </a:cubicBezTo>
                <a:cubicBezTo>
                  <a:pt x="451" y="260"/>
                  <a:pt x="448" y="256"/>
                  <a:pt x="444" y="256"/>
                </a:cubicBezTo>
                <a:close/>
                <a:moveTo>
                  <a:pt x="437" y="317"/>
                </a:moveTo>
                <a:cubicBezTo>
                  <a:pt x="352" y="317"/>
                  <a:pt x="352" y="317"/>
                  <a:pt x="352" y="317"/>
                </a:cubicBezTo>
                <a:cubicBezTo>
                  <a:pt x="348" y="317"/>
                  <a:pt x="345" y="320"/>
                  <a:pt x="345" y="324"/>
                </a:cubicBezTo>
                <a:cubicBezTo>
                  <a:pt x="345" y="408"/>
                  <a:pt x="345" y="408"/>
                  <a:pt x="345" y="408"/>
                </a:cubicBezTo>
                <a:cubicBezTo>
                  <a:pt x="299" y="408"/>
                  <a:pt x="299" y="408"/>
                  <a:pt x="299" y="408"/>
                </a:cubicBezTo>
                <a:cubicBezTo>
                  <a:pt x="299" y="324"/>
                  <a:pt x="299" y="324"/>
                  <a:pt x="299" y="324"/>
                </a:cubicBezTo>
                <a:cubicBezTo>
                  <a:pt x="299" y="320"/>
                  <a:pt x="296" y="317"/>
                  <a:pt x="292" y="317"/>
                </a:cubicBezTo>
                <a:cubicBezTo>
                  <a:pt x="207" y="317"/>
                  <a:pt x="207" y="317"/>
                  <a:pt x="207" y="317"/>
                </a:cubicBezTo>
                <a:cubicBezTo>
                  <a:pt x="207" y="270"/>
                  <a:pt x="207" y="270"/>
                  <a:pt x="207" y="270"/>
                </a:cubicBezTo>
                <a:cubicBezTo>
                  <a:pt x="292" y="270"/>
                  <a:pt x="292" y="270"/>
                  <a:pt x="292" y="270"/>
                </a:cubicBezTo>
                <a:cubicBezTo>
                  <a:pt x="296" y="270"/>
                  <a:pt x="299" y="267"/>
                  <a:pt x="299" y="263"/>
                </a:cubicBezTo>
                <a:cubicBezTo>
                  <a:pt x="299" y="179"/>
                  <a:pt x="299" y="179"/>
                  <a:pt x="299" y="179"/>
                </a:cubicBezTo>
                <a:cubicBezTo>
                  <a:pt x="345" y="179"/>
                  <a:pt x="345" y="179"/>
                  <a:pt x="345" y="179"/>
                </a:cubicBezTo>
                <a:cubicBezTo>
                  <a:pt x="345" y="263"/>
                  <a:pt x="345" y="263"/>
                  <a:pt x="345" y="263"/>
                </a:cubicBezTo>
                <a:cubicBezTo>
                  <a:pt x="345" y="267"/>
                  <a:pt x="348" y="270"/>
                  <a:pt x="352" y="270"/>
                </a:cubicBezTo>
                <a:cubicBezTo>
                  <a:pt x="437" y="270"/>
                  <a:pt x="437" y="270"/>
                  <a:pt x="437" y="270"/>
                </a:cubicBezTo>
                <a:lnTo>
                  <a:pt x="437" y="317"/>
                </a:ln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21" name="Oval 21"/>
          <p:cNvSpPr>
            <a:spLocks noChangeArrowheads="1"/>
          </p:cNvSpPr>
          <p:nvPr/>
        </p:nvSpPr>
        <p:spPr bwMode="auto">
          <a:xfrm>
            <a:off x="1315706" y="1528549"/>
            <a:ext cx="1119124" cy="1119124"/>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24" name="Freeform 24"/>
          <p:cNvSpPr>
            <a:spLocks noEditPoints="1"/>
          </p:cNvSpPr>
          <p:nvPr/>
        </p:nvSpPr>
        <p:spPr bwMode="auto">
          <a:xfrm>
            <a:off x="1583440" y="1779127"/>
            <a:ext cx="583657" cy="619307"/>
          </a:xfrm>
          <a:custGeom>
            <a:avLst/>
            <a:gdLst>
              <a:gd name="T0" fmla="*/ 368 w 554"/>
              <a:gd name="T1" fmla="*/ 128 h 588"/>
              <a:gd name="T2" fmla="*/ 390 w 554"/>
              <a:gd name="T3" fmla="*/ 69 h 588"/>
              <a:gd name="T4" fmla="*/ 397 w 554"/>
              <a:gd name="T5" fmla="*/ 7 h 588"/>
              <a:gd name="T6" fmla="*/ 157 w 554"/>
              <a:gd name="T7" fmla="*/ 0 h 588"/>
              <a:gd name="T8" fmla="*/ 150 w 554"/>
              <a:gd name="T9" fmla="*/ 62 h 588"/>
              <a:gd name="T10" fmla="*/ 186 w 554"/>
              <a:gd name="T11" fmla="*/ 69 h 588"/>
              <a:gd name="T12" fmla="*/ 24 w 554"/>
              <a:gd name="T13" fmla="*/ 459 h 588"/>
              <a:gd name="T14" fmla="*/ 70 w 554"/>
              <a:gd name="T15" fmla="*/ 588 h 588"/>
              <a:gd name="T16" fmla="*/ 540 w 554"/>
              <a:gd name="T17" fmla="*/ 564 h 588"/>
              <a:gd name="T18" fmla="*/ 164 w 554"/>
              <a:gd name="T19" fmla="*/ 14 h 588"/>
              <a:gd name="T20" fmla="*/ 383 w 554"/>
              <a:gd name="T21" fmla="*/ 55 h 588"/>
              <a:gd name="T22" fmla="*/ 193 w 554"/>
              <a:gd name="T23" fmla="*/ 55 h 588"/>
              <a:gd name="T24" fmla="*/ 164 w 554"/>
              <a:gd name="T25" fmla="*/ 14 h 588"/>
              <a:gd name="T26" fmla="*/ 484 w 554"/>
              <a:gd name="T27" fmla="*/ 574 h 588"/>
              <a:gd name="T28" fmla="*/ 26 w 554"/>
              <a:gd name="T29" fmla="*/ 557 h 588"/>
              <a:gd name="T30" fmla="*/ 199 w 554"/>
              <a:gd name="T31" fmla="*/ 133 h 588"/>
              <a:gd name="T32" fmla="*/ 200 w 554"/>
              <a:gd name="T33" fmla="*/ 69 h 588"/>
              <a:gd name="T34" fmla="*/ 354 w 554"/>
              <a:gd name="T35" fmla="*/ 129 h 588"/>
              <a:gd name="T36" fmla="*/ 517 w 554"/>
              <a:gd name="T37" fmla="*/ 464 h 588"/>
              <a:gd name="T38" fmla="*/ 421 w 554"/>
              <a:gd name="T39" fmla="*/ 332 h 588"/>
              <a:gd name="T40" fmla="*/ 421 w 554"/>
              <a:gd name="T41" fmla="*/ 331 h 588"/>
              <a:gd name="T42" fmla="*/ 420 w 554"/>
              <a:gd name="T43" fmla="*/ 330 h 588"/>
              <a:gd name="T44" fmla="*/ 419 w 554"/>
              <a:gd name="T45" fmla="*/ 329 h 588"/>
              <a:gd name="T46" fmla="*/ 418 w 554"/>
              <a:gd name="T47" fmla="*/ 328 h 588"/>
              <a:gd name="T48" fmla="*/ 417 w 554"/>
              <a:gd name="T49" fmla="*/ 327 h 588"/>
              <a:gd name="T50" fmla="*/ 413 w 554"/>
              <a:gd name="T51" fmla="*/ 327 h 588"/>
              <a:gd name="T52" fmla="*/ 277 w 554"/>
              <a:gd name="T53" fmla="*/ 226 h 588"/>
              <a:gd name="T54" fmla="*/ 144 w 554"/>
              <a:gd name="T55" fmla="*/ 327 h 588"/>
              <a:gd name="T56" fmla="*/ 133 w 554"/>
              <a:gd name="T57" fmla="*/ 330 h 588"/>
              <a:gd name="T58" fmla="*/ 133 w 554"/>
              <a:gd name="T59" fmla="*/ 332 h 588"/>
              <a:gd name="T60" fmla="*/ 277 w 554"/>
              <a:gd name="T61" fmla="*/ 527 h 588"/>
              <a:gd name="T62" fmla="*/ 421 w 554"/>
              <a:gd name="T63" fmla="*/ 332 h 588"/>
              <a:gd name="T64" fmla="*/ 277 w 554"/>
              <a:gd name="T65" fmla="*/ 240 h 588"/>
              <a:gd name="T66" fmla="*/ 280 w 554"/>
              <a:gd name="T67" fmla="*/ 404 h 588"/>
              <a:gd name="T68" fmla="*/ 277 w 554"/>
              <a:gd name="T69" fmla="*/ 240 h 588"/>
              <a:gd name="T70" fmla="*/ 145 w 554"/>
              <a:gd name="T71" fmla="*/ 341 h 588"/>
              <a:gd name="T72" fmla="*/ 249 w 554"/>
              <a:gd name="T73" fmla="*/ 506 h 588"/>
              <a:gd name="T74" fmla="*/ 140 w 554"/>
              <a:gd name="T75" fmla="*/ 376 h 588"/>
              <a:gd name="T76" fmla="*/ 263 w 554"/>
              <a:gd name="T77" fmla="*/ 513 h 588"/>
              <a:gd name="T78" fmla="*/ 409 w 554"/>
              <a:gd name="T79" fmla="*/ 341 h 588"/>
              <a:gd name="T80" fmla="*/ 277 w 554"/>
              <a:gd name="T81" fmla="*/ 513 h 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4" h="588">
                <a:moveTo>
                  <a:pt x="530" y="458"/>
                </a:moveTo>
                <a:cubicBezTo>
                  <a:pt x="368" y="128"/>
                  <a:pt x="368" y="128"/>
                  <a:pt x="368" y="128"/>
                </a:cubicBezTo>
                <a:cubicBezTo>
                  <a:pt x="368" y="69"/>
                  <a:pt x="368" y="69"/>
                  <a:pt x="368" y="69"/>
                </a:cubicBezTo>
                <a:cubicBezTo>
                  <a:pt x="390" y="69"/>
                  <a:pt x="390" y="69"/>
                  <a:pt x="390" y="69"/>
                </a:cubicBezTo>
                <a:cubicBezTo>
                  <a:pt x="393" y="69"/>
                  <a:pt x="397" y="66"/>
                  <a:pt x="397" y="62"/>
                </a:cubicBezTo>
                <a:cubicBezTo>
                  <a:pt x="397" y="7"/>
                  <a:pt x="397" y="7"/>
                  <a:pt x="397" y="7"/>
                </a:cubicBezTo>
                <a:cubicBezTo>
                  <a:pt x="397" y="3"/>
                  <a:pt x="393" y="0"/>
                  <a:pt x="390" y="0"/>
                </a:cubicBezTo>
                <a:cubicBezTo>
                  <a:pt x="157" y="0"/>
                  <a:pt x="157" y="0"/>
                  <a:pt x="157" y="0"/>
                </a:cubicBezTo>
                <a:cubicBezTo>
                  <a:pt x="154" y="0"/>
                  <a:pt x="150" y="3"/>
                  <a:pt x="150" y="7"/>
                </a:cubicBezTo>
                <a:cubicBezTo>
                  <a:pt x="150" y="62"/>
                  <a:pt x="150" y="62"/>
                  <a:pt x="150" y="62"/>
                </a:cubicBezTo>
                <a:cubicBezTo>
                  <a:pt x="150" y="66"/>
                  <a:pt x="154" y="69"/>
                  <a:pt x="157" y="69"/>
                </a:cubicBezTo>
                <a:cubicBezTo>
                  <a:pt x="186" y="69"/>
                  <a:pt x="186" y="69"/>
                  <a:pt x="186" y="69"/>
                </a:cubicBezTo>
                <a:cubicBezTo>
                  <a:pt x="186" y="128"/>
                  <a:pt x="186" y="128"/>
                  <a:pt x="186" y="128"/>
                </a:cubicBezTo>
                <a:cubicBezTo>
                  <a:pt x="24" y="459"/>
                  <a:pt x="24" y="459"/>
                  <a:pt x="24" y="459"/>
                </a:cubicBezTo>
                <a:cubicBezTo>
                  <a:pt x="3" y="507"/>
                  <a:pt x="0" y="543"/>
                  <a:pt x="14" y="564"/>
                </a:cubicBezTo>
                <a:cubicBezTo>
                  <a:pt x="25" y="580"/>
                  <a:pt x="43" y="588"/>
                  <a:pt x="70" y="588"/>
                </a:cubicBezTo>
                <a:cubicBezTo>
                  <a:pt x="484" y="588"/>
                  <a:pt x="484" y="588"/>
                  <a:pt x="484" y="588"/>
                </a:cubicBezTo>
                <a:cubicBezTo>
                  <a:pt x="511" y="588"/>
                  <a:pt x="529" y="580"/>
                  <a:pt x="540" y="564"/>
                </a:cubicBezTo>
                <a:cubicBezTo>
                  <a:pt x="554" y="543"/>
                  <a:pt x="551" y="507"/>
                  <a:pt x="530" y="458"/>
                </a:cubicBezTo>
                <a:close/>
                <a:moveTo>
                  <a:pt x="164" y="14"/>
                </a:moveTo>
                <a:cubicBezTo>
                  <a:pt x="383" y="14"/>
                  <a:pt x="383" y="14"/>
                  <a:pt x="383" y="14"/>
                </a:cubicBezTo>
                <a:cubicBezTo>
                  <a:pt x="383" y="55"/>
                  <a:pt x="383" y="55"/>
                  <a:pt x="383" y="55"/>
                </a:cubicBezTo>
                <a:cubicBezTo>
                  <a:pt x="361" y="55"/>
                  <a:pt x="361" y="55"/>
                  <a:pt x="361" y="55"/>
                </a:cubicBezTo>
                <a:cubicBezTo>
                  <a:pt x="193" y="55"/>
                  <a:pt x="193" y="55"/>
                  <a:pt x="193" y="55"/>
                </a:cubicBezTo>
                <a:cubicBezTo>
                  <a:pt x="164" y="55"/>
                  <a:pt x="164" y="55"/>
                  <a:pt x="164" y="55"/>
                </a:cubicBezTo>
                <a:lnTo>
                  <a:pt x="164" y="14"/>
                </a:lnTo>
                <a:close/>
                <a:moveTo>
                  <a:pt x="528" y="557"/>
                </a:moveTo>
                <a:cubicBezTo>
                  <a:pt x="520" y="568"/>
                  <a:pt x="506" y="574"/>
                  <a:pt x="484" y="574"/>
                </a:cubicBezTo>
                <a:cubicBezTo>
                  <a:pt x="70" y="574"/>
                  <a:pt x="70" y="574"/>
                  <a:pt x="70" y="574"/>
                </a:cubicBezTo>
                <a:cubicBezTo>
                  <a:pt x="48" y="574"/>
                  <a:pt x="33" y="568"/>
                  <a:pt x="26" y="557"/>
                </a:cubicBezTo>
                <a:cubicBezTo>
                  <a:pt x="15" y="539"/>
                  <a:pt x="18" y="507"/>
                  <a:pt x="37" y="465"/>
                </a:cubicBezTo>
                <a:cubicBezTo>
                  <a:pt x="199" y="133"/>
                  <a:pt x="199" y="133"/>
                  <a:pt x="199" y="133"/>
                </a:cubicBezTo>
                <a:cubicBezTo>
                  <a:pt x="200" y="132"/>
                  <a:pt x="200" y="131"/>
                  <a:pt x="200" y="129"/>
                </a:cubicBezTo>
                <a:cubicBezTo>
                  <a:pt x="200" y="69"/>
                  <a:pt x="200" y="69"/>
                  <a:pt x="200" y="69"/>
                </a:cubicBezTo>
                <a:cubicBezTo>
                  <a:pt x="354" y="69"/>
                  <a:pt x="354" y="69"/>
                  <a:pt x="354" y="69"/>
                </a:cubicBezTo>
                <a:cubicBezTo>
                  <a:pt x="354" y="129"/>
                  <a:pt x="354" y="129"/>
                  <a:pt x="354" y="129"/>
                </a:cubicBezTo>
                <a:cubicBezTo>
                  <a:pt x="354" y="131"/>
                  <a:pt x="354" y="132"/>
                  <a:pt x="354" y="133"/>
                </a:cubicBezTo>
                <a:cubicBezTo>
                  <a:pt x="517" y="464"/>
                  <a:pt x="517" y="464"/>
                  <a:pt x="517" y="464"/>
                </a:cubicBezTo>
                <a:cubicBezTo>
                  <a:pt x="536" y="507"/>
                  <a:pt x="539" y="539"/>
                  <a:pt x="528" y="557"/>
                </a:cubicBezTo>
                <a:close/>
                <a:moveTo>
                  <a:pt x="421" y="332"/>
                </a:moveTo>
                <a:cubicBezTo>
                  <a:pt x="421" y="332"/>
                  <a:pt x="421" y="332"/>
                  <a:pt x="421" y="332"/>
                </a:cubicBezTo>
                <a:cubicBezTo>
                  <a:pt x="421" y="331"/>
                  <a:pt x="421" y="331"/>
                  <a:pt x="421" y="331"/>
                </a:cubicBezTo>
                <a:cubicBezTo>
                  <a:pt x="421" y="331"/>
                  <a:pt x="420" y="331"/>
                  <a:pt x="420" y="330"/>
                </a:cubicBezTo>
                <a:cubicBezTo>
                  <a:pt x="420" y="330"/>
                  <a:pt x="420" y="330"/>
                  <a:pt x="420" y="330"/>
                </a:cubicBezTo>
                <a:cubicBezTo>
                  <a:pt x="420" y="330"/>
                  <a:pt x="420" y="329"/>
                  <a:pt x="420" y="329"/>
                </a:cubicBezTo>
                <a:cubicBezTo>
                  <a:pt x="419" y="329"/>
                  <a:pt x="419" y="329"/>
                  <a:pt x="419" y="329"/>
                </a:cubicBezTo>
                <a:cubicBezTo>
                  <a:pt x="419" y="329"/>
                  <a:pt x="419" y="328"/>
                  <a:pt x="419" y="328"/>
                </a:cubicBezTo>
                <a:cubicBezTo>
                  <a:pt x="418" y="328"/>
                  <a:pt x="418" y="328"/>
                  <a:pt x="418" y="328"/>
                </a:cubicBezTo>
                <a:cubicBezTo>
                  <a:pt x="418" y="328"/>
                  <a:pt x="418" y="328"/>
                  <a:pt x="418" y="328"/>
                </a:cubicBezTo>
                <a:cubicBezTo>
                  <a:pt x="417" y="327"/>
                  <a:pt x="417" y="327"/>
                  <a:pt x="417" y="327"/>
                </a:cubicBezTo>
                <a:cubicBezTo>
                  <a:pt x="417" y="327"/>
                  <a:pt x="416" y="327"/>
                  <a:pt x="416" y="327"/>
                </a:cubicBezTo>
                <a:cubicBezTo>
                  <a:pt x="415" y="327"/>
                  <a:pt x="414" y="327"/>
                  <a:pt x="413" y="327"/>
                </a:cubicBezTo>
                <a:cubicBezTo>
                  <a:pt x="390" y="329"/>
                  <a:pt x="368" y="335"/>
                  <a:pt x="348" y="345"/>
                </a:cubicBezTo>
                <a:cubicBezTo>
                  <a:pt x="333" y="277"/>
                  <a:pt x="293" y="226"/>
                  <a:pt x="277" y="226"/>
                </a:cubicBezTo>
                <a:cubicBezTo>
                  <a:pt x="262" y="226"/>
                  <a:pt x="215" y="271"/>
                  <a:pt x="204" y="341"/>
                </a:cubicBezTo>
                <a:cubicBezTo>
                  <a:pt x="185" y="333"/>
                  <a:pt x="165" y="328"/>
                  <a:pt x="144" y="327"/>
                </a:cubicBezTo>
                <a:cubicBezTo>
                  <a:pt x="144" y="326"/>
                  <a:pt x="143" y="326"/>
                  <a:pt x="142" y="325"/>
                </a:cubicBezTo>
                <a:cubicBezTo>
                  <a:pt x="138" y="324"/>
                  <a:pt x="134" y="326"/>
                  <a:pt x="133" y="330"/>
                </a:cubicBezTo>
                <a:cubicBezTo>
                  <a:pt x="133" y="330"/>
                  <a:pt x="133" y="331"/>
                  <a:pt x="133" y="331"/>
                </a:cubicBezTo>
                <a:cubicBezTo>
                  <a:pt x="133" y="332"/>
                  <a:pt x="133" y="332"/>
                  <a:pt x="133" y="332"/>
                </a:cubicBezTo>
                <a:cubicBezTo>
                  <a:pt x="128" y="346"/>
                  <a:pt x="126" y="361"/>
                  <a:pt x="126" y="376"/>
                </a:cubicBezTo>
                <a:cubicBezTo>
                  <a:pt x="126" y="460"/>
                  <a:pt x="194" y="527"/>
                  <a:pt x="277" y="527"/>
                </a:cubicBezTo>
                <a:cubicBezTo>
                  <a:pt x="360" y="527"/>
                  <a:pt x="428" y="460"/>
                  <a:pt x="428" y="376"/>
                </a:cubicBezTo>
                <a:cubicBezTo>
                  <a:pt x="428" y="361"/>
                  <a:pt x="425" y="346"/>
                  <a:pt x="421" y="332"/>
                </a:cubicBezTo>
                <a:cubicBezTo>
                  <a:pt x="421" y="332"/>
                  <a:pt x="421" y="332"/>
                  <a:pt x="421" y="332"/>
                </a:cubicBezTo>
                <a:close/>
                <a:moveTo>
                  <a:pt x="277" y="240"/>
                </a:moveTo>
                <a:cubicBezTo>
                  <a:pt x="285" y="243"/>
                  <a:pt x="322" y="285"/>
                  <a:pt x="335" y="352"/>
                </a:cubicBezTo>
                <a:cubicBezTo>
                  <a:pt x="314" y="365"/>
                  <a:pt x="295" y="383"/>
                  <a:pt x="280" y="404"/>
                </a:cubicBezTo>
                <a:cubicBezTo>
                  <a:pt x="264" y="380"/>
                  <a:pt x="242" y="361"/>
                  <a:pt x="217" y="348"/>
                </a:cubicBezTo>
                <a:cubicBezTo>
                  <a:pt x="226" y="282"/>
                  <a:pt x="268" y="242"/>
                  <a:pt x="277" y="240"/>
                </a:cubicBezTo>
                <a:close/>
                <a:moveTo>
                  <a:pt x="140" y="376"/>
                </a:moveTo>
                <a:cubicBezTo>
                  <a:pt x="140" y="364"/>
                  <a:pt x="142" y="352"/>
                  <a:pt x="145" y="341"/>
                </a:cubicBezTo>
                <a:cubicBezTo>
                  <a:pt x="197" y="345"/>
                  <a:pt x="244" y="373"/>
                  <a:pt x="272" y="417"/>
                </a:cubicBezTo>
                <a:cubicBezTo>
                  <a:pt x="257" y="444"/>
                  <a:pt x="249" y="474"/>
                  <a:pt x="249" y="506"/>
                </a:cubicBezTo>
                <a:cubicBezTo>
                  <a:pt x="249" y="507"/>
                  <a:pt x="249" y="509"/>
                  <a:pt x="249" y="510"/>
                </a:cubicBezTo>
                <a:cubicBezTo>
                  <a:pt x="187" y="497"/>
                  <a:pt x="140" y="442"/>
                  <a:pt x="140" y="376"/>
                </a:cubicBezTo>
                <a:close/>
                <a:moveTo>
                  <a:pt x="277" y="513"/>
                </a:moveTo>
                <a:cubicBezTo>
                  <a:pt x="272" y="513"/>
                  <a:pt x="267" y="513"/>
                  <a:pt x="263" y="513"/>
                </a:cubicBezTo>
                <a:cubicBezTo>
                  <a:pt x="263" y="510"/>
                  <a:pt x="263" y="508"/>
                  <a:pt x="263" y="506"/>
                </a:cubicBezTo>
                <a:cubicBezTo>
                  <a:pt x="263" y="422"/>
                  <a:pt x="326" y="351"/>
                  <a:pt x="409" y="341"/>
                </a:cubicBezTo>
                <a:cubicBezTo>
                  <a:pt x="412" y="353"/>
                  <a:pt x="414" y="365"/>
                  <a:pt x="414" y="376"/>
                </a:cubicBezTo>
                <a:cubicBezTo>
                  <a:pt x="414" y="452"/>
                  <a:pt x="352" y="513"/>
                  <a:pt x="277" y="513"/>
                </a:cubicBez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20" name="Oval 20"/>
          <p:cNvSpPr>
            <a:spLocks noChangeArrowheads="1"/>
          </p:cNvSpPr>
          <p:nvPr/>
        </p:nvSpPr>
        <p:spPr bwMode="auto">
          <a:xfrm>
            <a:off x="3073678" y="1528549"/>
            <a:ext cx="1119124" cy="1119124"/>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25" name="Freeform 25"/>
          <p:cNvSpPr>
            <a:spLocks noEditPoints="1"/>
          </p:cNvSpPr>
          <p:nvPr/>
        </p:nvSpPr>
        <p:spPr bwMode="auto">
          <a:xfrm>
            <a:off x="3341091" y="1779127"/>
            <a:ext cx="583406" cy="619307"/>
          </a:xfrm>
          <a:custGeom>
            <a:avLst/>
            <a:gdLst>
              <a:gd name="T0" fmla="*/ 417 w 554"/>
              <a:gd name="T1" fmla="*/ 228 h 588"/>
              <a:gd name="T2" fmla="*/ 368 w 554"/>
              <a:gd name="T3" fmla="*/ 128 h 588"/>
              <a:gd name="T4" fmla="*/ 390 w 554"/>
              <a:gd name="T5" fmla="*/ 69 h 588"/>
              <a:gd name="T6" fmla="*/ 397 w 554"/>
              <a:gd name="T7" fmla="*/ 7 h 588"/>
              <a:gd name="T8" fmla="*/ 158 w 554"/>
              <a:gd name="T9" fmla="*/ 0 h 588"/>
              <a:gd name="T10" fmla="*/ 151 w 554"/>
              <a:gd name="T11" fmla="*/ 62 h 588"/>
              <a:gd name="T12" fmla="*/ 186 w 554"/>
              <a:gd name="T13" fmla="*/ 69 h 588"/>
              <a:gd name="T14" fmla="*/ 140 w 554"/>
              <a:gd name="T15" fmla="*/ 223 h 588"/>
              <a:gd name="T16" fmla="*/ 24 w 554"/>
              <a:gd name="T17" fmla="*/ 459 h 588"/>
              <a:gd name="T18" fmla="*/ 70 w 554"/>
              <a:gd name="T19" fmla="*/ 588 h 588"/>
              <a:gd name="T20" fmla="*/ 540 w 554"/>
              <a:gd name="T21" fmla="*/ 564 h 588"/>
              <a:gd name="T22" fmla="*/ 165 w 554"/>
              <a:gd name="T23" fmla="*/ 14 h 588"/>
              <a:gd name="T24" fmla="*/ 383 w 554"/>
              <a:gd name="T25" fmla="*/ 55 h 588"/>
              <a:gd name="T26" fmla="*/ 193 w 554"/>
              <a:gd name="T27" fmla="*/ 55 h 588"/>
              <a:gd name="T28" fmla="*/ 165 w 554"/>
              <a:gd name="T29" fmla="*/ 14 h 588"/>
              <a:gd name="T30" fmla="*/ 200 w 554"/>
              <a:gd name="T31" fmla="*/ 129 h 588"/>
              <a:gd name="T32" fmla="*/ 354 w 554"/>
              <a:gd name="T33" fmla="*/ 69 h 588"/>
              <a:gd name="T34" fmla="*/ 355 w 554"/>
              <a:gd name="T35" fmla="*/ 133 h 588"/>
              <a:gd name="T36" fmla="*/ 366 w 554"/>
              <a:gd name="T37" fmla="*/ 243 h 588"/>
              <a:gd name="T38" fmla="*/ 321 w 554"/>
              <a:gd name="T39" fmla="*/ 221 h 588"/>
              <a:gd name="T40" fmla="*/ 316 w 554"/>
              <a:gd name="T41" fmla="*/ 224 h 588"/>
              <a:gd name="T42" fmla="*/ 238 w 554"/>
              <a:gd name="T43" fmla="*/ 224 h 588"/>
              <a:gd name="T44" fmla="*/ 188 w 554"/>
              <a:gd name="T45" fmla="*/ 243 h 588"/>
              <a:gd name="T46" fmla="*/ 200 w 554"/>
              <a:gd name="T47" fmla="*/ 133 h 588"/>
              <a:gd name="T48" fmla="*/ 484 w 554"/>
              <a:gd name="T49" fmla="*/ 574 h 588"/>
              <a:gd name="T50" fmla="*/ 26 w 554"/>
              <a:gd name="T51" fmla="*/ 557 h 588"/>
              <a:gd name="T52" fmla="*/ 147 w 554"/>
              <a:gd name="T53" fmla="*/ 241 h 588"/>
              <a:gd name="T54" fmla="*/ 233 w 554"/>
              <a:gd name="T55" fmla="*/ 239 h 588"/>
              <a:gd name="T56" fmla="*/ 321 w 554"/>
              <a:gd name="T57" fmla="*/ 239 h 588"/>
              <a:gd name="T58" fmla="*/ 366 w 554"/>
              <a:gd name="T59" fmla="*/ 257 h 588"/>
              <a:gd name="T60" fmla="*/ 517 w 554"/>
              <a:gd name="T61" fmla="*/ 464 h 588"/>
              <a:gd name="T62" fmla="*/ 222 w 554"/>
              <a:gd name="T63" fmla="*/ 384 h 588"/>
              <a:gd name="T64" fmla="*/ 222 w 554"/>
              <a:gd name="T65" fmla="*/ 470 h 588"/>
              <a:gd name="T66" fmla="*/ 222 w 554"/>
              <a:gd name="T67" fmla="*/ 384 h 588"/>
              <a:gd name="T68" fmla="*/ 193 w 554"/>
              <a:gd name="T69" fmla="*/ 427 h 588"/>
              <a:gd name="T70" fmla="*/ 250 w 554"/>
              <a:gd name="T71" fmla="*/ 427 h 588"/>
              <a:gd name="T72" fmla="*/ 352 w 554"/>
              <a:gd name="T73" fmla="*/ 314 h 588"/>
              <a:gd name="T74" fmla="*/ 352 w 554"/>
              <a:gd name="T75" fmla="*/ 434 h 588"/>
              <a:gd name="T76" fmla="*/ 352 w 554"/>
              <a:gd name="T77" fmla="*/ 314 h 588"/>
              <a:gd name="T78" fmla="*/ 306 w 554"/>
              <a:gd name="T79" fmla="*/ 374 h 588"/>
              <a:gd name="T80" fmla="*/ 398 w 554"/>
              <a:gd name="T81" fmla="*/ 374 h 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54" h="588">
                <a:moveTo>
                  <a:pt x="530" y="458"/>
                </a:moveTo>
                <a:cubicBezTo>
                  <a:pt x="417" y="228"/>
                  <a:pt x="417" y="228"/>
                  <a:pt x="417" y="228"/>
                </a:cubicBezTo>
                <a:cubicBezTo>
                  <a:pt x="417" y="226"/>
                  <a:pt x="416" y="224"/>
                  <a:pt x="414" y="223"/>
                </a:cubicBezTo>
                <a:cubicBezTo>
                  <a:pt x="368" y="128"/>
                  <a:pt x="368" y="128"/>
                  <a:pt x="368" y="128"/>
                </a:cubicBezTo>
                <a:cubicBezTo>
                  <a:pt x="368" y="69"/>
                  <a:pt x="368" y="69"/>
                  <a:pt x="368" y="69"/>
                </a:cubicBezTo>
                <a:cubicBezTo>
                  <a:pt x="390" y="69"/>
                  <a:pt x="390" y="69"/>
                  <a:pt x="390" y="69"/>
                </a:cubicBezTo>
                <a:cubicBezTo>
                  <a:pt x="394" y="69"/>
                  <a:pt x="397" y="66"/>
                  <a:pt x="397" y="62"/>
                </a:cubicBezTo>
                <a:cubicBezTo>
                  <a:pt x="397" y="7"/>
                  <a:pt x="397" y="7"/>
                  <a:pt x="397" y="7"/>
                </a:cubicBezTo>
                <a:cubicBezTo>
                  <a:pt x="397" y="3"/>
                  <a:pt x="394" y="0"/>
                  <a:pt x="390" y="0"/>
                </a:cubicBezTo>
                <a:cubicBezTo>
                  <a:pt x="158" y="0"/>
                  <a:pt x="158" y="0"/>
                  <a:pt x="158" y="0"/>
                </a:cubicBezTo>
                <a:cubicBezTo>
                  <a:pt x="154" y="0"/>
                  <a:pt x="151" y="3"/>
                  <a:pt x="151" y="7"/>
                </a:cubicBezTo>
                <a:cubicBezTo>
                  <a:pt x="151" y="62"/>
                  <a:pt x="151" y="62"/>
                  <a:pt x="151" y="62"/>
                </a:cubicBezTo>
                <a:cubicBezTo>
                  <a:pt x="151" y="66"/>
                  <a:pt x="154" y="69"/>
                  <a:pt x="158" y="69"/>
                </a:cubicBezTo>
                <a:cubicBezTo>
                  <a:pt x="186" y="69"/>
                  <a:pt x="186" y="69"/>
                  <a:pt x="186" y="69"/>
                </a:cubicBezTo>
                <a:cubicBezTo>
                  <a:pt x="186" y="128"/>
                  <a:pt x="186" y="128"/>
                  <a:pt x="186" y="128"/>
                </a:cubicBezTo>
                <a:cubicBezTo>
                  <a:pt x="140" y="223"/>
                  <a:pt x="140" y="223"/>
                  <a:pt x="140" y="223"/>
                </a:cubicBezTo>
                <a:cubicBezTo>
                  <a:pt x="138" y="224"/>
                  <a:pt x="137" y="226"/>
                  <a:pt x="137" y="228"/>
                </a:cubicBezTo>
                <a:cubicBezTo>
                  <a:pt x="24" y="459"/>
                  <a:pt x="24" y="459"/>
                  <a:pt x="24" y="459"/>
                </a:cubicBezTo>
                <a:cubicBezTo>
                  <a:pt x="3" y="507"/>
                  <a:pt x="0" y="543"/>
                  <a:pt x="14" y="564"/>
                </a:cubicBezTo>
                <a:cubicBezTo>
                  <a:pt x="25" y="580"/>
                  <a:pt x="43" y="588"/>
                  <a:pt x="70" y="588"/>
                </a:cubicBezTo>
                <a:cubicBezTo>
                  <a:pt x="484" y="588"/>
                  <a:pt x="484" y="588"/>
                  <a:pt x="484" y="588"/>
                </a:cubicBezTo>
                <a:cubicBezTo>
                  <a:pt x="511" y="588"/>
                  <a:pt x="530" y="580"/>
                  <a:pt x="540" y="564"/>
                </a:cubicBezTo>
                <a:cubicBezTo>
                  <a:pt x="554" y="543"/>
                  <a:pt x="551" y="507"/>
                  <a:pt x="530" y="458"/>
                </a:cubicBezTo>
                <a:close/>
                <a:moveTo>
                  <a:pt x="165" y="14"/>
                </a:moveTo>
                <a:cubicBezTo>
                  <a:pt x="383" y="14"/>
                  <a:pt x="383" y="14"/>
                  <a:pt x="383" y="14"/>
                </a:cubicBezTo>
                <a:cubicBezTo>
                  <a:pt x="383" y="55"/>
                  <a:pt x="383" y="55"/>
                  <a:pt x="383" y="55"/>
                </a:cubicBezTo>
                <a:cubicBezTo>
                  <a:pt x="361" y="55"/>
                  <a:pt x="361" y="55"/>
                  <a:pt x="361" y="55"/>
                </a:cubicBezTo>
                <a:cubicBezTo>
                  <a:pt x="193" y="55"/>
                  <a:pt x="193" y="55"/>
                  <a:pt x="193" y="55"/>
                </a:cubicBezTo>
                <a:cubicBezTo>
                  <a:pt x="165" y="55"/>
                  <a:pt x="165" y="55"/>
                  <a:pt x="165" y="55"/>
                </a:cubicBezTo>
                <a:lnTo>
                  <a:pt x="165" y="14"/>
                </a:lnTo>
                <a:close/>
                <a:moveTo>
                  <a:pt x="200" y="133"/>
                </a:moveTo>
                <a:cubicBezTo>
                  <a:pt x="200" y="132"/>
                  <a:pt x="200" y="131"/>
                  <a:pt x="200" y="129"/>
                </a:cubicBezTo>
                <a:cubicBezTo>
                  <a:pt x="200" y="69"/>
                  <a:pt x="200" y="69"/>
                  <a:pt x="200" y="69"/>
                </a:cubicBezTo>
                <a:cubicBezTo>
                  <a:pt x="354" y="69"/>
                  <a:pt x="354" y="69"/>
                  <a:pt x="354" y="69"/>
                </a:cubicBezTo>
                <a:cubicBezTo>
                  <a:pt x="354" y="129"/>
                  <a:pt x="354" y="129"/>
                  <a:pt x="354" y="129"/>
                </a:cubicBezTo>
                <a:cubicBezTo>
                  <a:pt x="354" y="131"/>
                  <a:pt x="354" y="132"/>
                  <a:pt x="355" y="133"/>
                </a:cubicBezTo>
                <a:cubicBezTo>
                  <a:pt x="401" y="228"/>
                  <a:pt x="401" y="228"/>
                  <a:pt x="401" y="228"/>
                </a:cubicBezTo>
                <a:cubicBezTo>
                  <a:pt x="392" y="238"/>
                  <a:pt x="379" y="243"/>
                  <a:pt x="366" y="243"/>
                </a:cubicBezTo>
                <a:cubicBezTo>
                  <a:pt x="350" y="243"/>
                  <a:pt x="336" y="237"/>
                  <a:pt x="327" y="224"/>
                </a:cubicBezTo>
                <a:cubicBezTo>
                  <a:pt x="326" y="222"/>
                  <a:pt x="324" y="221"/>
                  <a:pt x="321" y="221"/>
                </a:cubicBezTo>
                <a:cubicBezTo>
                  <a:pt x="321" y="221"/>
                  <a:pt x="321" y="221"/>
                  <a:pt x="321" y="221"/>
                </a:cubicBezTo>
                <a:cubicBezTo>
                  <a:pt x="319" y="221"/>
                  <a:pt x="317" y="222"/>
                  <a:pt x="316" y="224"/>
                </a:cubicBezTo>
                <a:cubicBezTo>
                  <a:pt x="307" y="236"/>
                  <a:pt x="292" y="243"/>
                  <a:pt x="277" y="243"/>
                </a:cubicBezTo>
                <a:cubicBezTo>
                  <a:pt x="262" y="243"/>
                  <a:pt x="247" y="236"/>
                  <a:pt x="238" y="224"/>
                </a:cubicBezTo>
                <a:cubicBezTo>
                  <a:pt x="236" y="220"/>
                  <a:pt x="230" y="220"/>
                  <a:pt x="227" y="224"/>
                </a:cubicBezTo>
                <a:cubicBezTo>
                  <a:pt x="218" y="236"/>
                  <a:pt x="204" y="243"/>
                  <a:pt x="188" y="243"/>
                </a:cubicBezTo>
                <a:cubicBezTo>
                  <a:pt x="175" y="243"/>
                  <a:pt x="162" y="238"/>
                  <a:pt x="153" y="228"/>
                </a:cubicBezTo>
                <a:lnTo>
                  <a:pt x="200" y="133"/>
                </a:lnTo>
                <a:close/>
                <a:moveTo>
                  <a:pt x="528" y="557"/>
                </a:moveTo>
                <a:cubicBezTo>
                  <a:pt x="521" y="568"/>
                  <a:pt x="506" y="574"/>
                  <a:pt x="484" y="574"/>
                </a:cubicBezTo>
                <a:cubicBezTo>
                  <a:pt x="70" y="574"/>
                  <a:pt x="70" y="574"/>
                  <a:pt x="70" y="574"/>
                </a:cubicBezTo>
                <a:cubicBezTo>
                  <a:pt x="48" y="574"/>
                  <a:pt x="34" y="568"/>
                  <a:pt x="26" y="557"/>
                </a:cubicBezTo>
                <a:cubicBezTo>
                  <a:pt x="15" y="539"/>
                  <a:pt x="18" y="507"/>
                  <a:pt x="37" y="465"/>
                </a:cubicBezTo>
                <a:cubicBezTo>
                  <a:pt x="147" y="241"/>
                  <a:pt x="147" y="241"/>
                  <a:pt x="147" y="241"/>
                </a:cubicBezTo>
                <a:cubicBezTo>
                  <a:pt x="158" y="251"/>
                  <a:pt x="173" y="257"/>
                  <a:pt x="188" y="257"/>
                </a:cubicBezTo>
                <a:cubicBezTo>
                  <a:pt x="205" y="257"/>
                  <a:pt x="221" y="251"/>
                  <a:pt x="233" y="239"/>
                </a:cubicBezTo>
                <a:cubicBezTo>
                  <a:pt x="244" y="251"/>
                  <a:pt x="260" y="257"/>
                  <a:pt x="277" y="257"/>
                </a:cubicBezTo>
                <a:cubicBezTo>
                  <a:pt x="294" y="257"/>
                  <a:pt x="310" y="251"/>
                  <a:pt x="321" y="239"/>
                </a:cubicBezTo>
                <a:cubicBezTo>
                  <a:pt x="333" y="251"/>
                  <a:pt x="348" y="257"/>
                  <a:pt x="365" y="257"/>
                </a:cubicBezTo>
                <a:cubicBezTo>
                  <a:pt x="365" y="257"/>
                  <a:pt x="366" y="257"/>
                  <a:pt x="366" y="257"/>
                </a:cubicBezTo>
                <a:cubicBezTo>
                  <a:pt x="382" y="257"/>
                  <a:pt x="396" y="251"/>
                  <a:pt x="408" y="241"/>
                </a:cubicBezTo>
                <a:cubicBezTo>
                  <a:pt x="517" y="464"/>
                  <a:pt x="517" y="464"/>
                  <a:pt x="517" y="464"/>
                </a:cubicBezTo>
                <a:cubicBezTo>
                  <a:pt x="536" y="507"/>
                  <a:pt x="540" y="539"/>
                  <a:pt x="528" y="557"/>
                </a:cubicBezTo>
                <a:close/>
                <a:moveTo>
                  <a:pt x="222" y="384"/>
                </a:moveTo>
                <a:cubicBezTo>
                  <a:pt x="198" y="384"/>
                  <a:pt x="179" y="403"/>
                  <a:pt x="179" y="427"/>
                </a:cubicBezTo>
                <a:cubicBezTo>
                  <a:pt x="179" y="450"/>
                  <a:pt x="198" y="470"/>
                  <a:pt x="222" y="470"/>
                </a:cubicBezTo>
                <a:cubicBezTo>
                  <a:pt x="245" y="470"/>
                  <a:pt x="264" y="450"/>
                  <a:pt x="264" y="427"/>
                </a:cubicBezTo>
                <a:cubicBezTo>
                  <a:pt x="264" y="403"/>
                  <a:pt x="245" y="384"/>
                  <a:pt x="222" y="384"/>
                </a:cubicBezTo>
                <a:close/>
                <a:moveTo>
                  <a:pt x="222" y="456"/>
                </a:moveTo>
                <a:cubicBezTo>
                  <a:pt x="206" y="456"/>
                  <a:pt x="193" y="443"/>
                  <a:pt x="193" y="427"/>
                </a:cubicBezTo>
                <a:cubicBezTo>
                  <a:pt x="193" y="411"/>
                  <a:pt x="206" y="398"/>
                  <a:pt x="222" y="398"/>
                </a:cubicBezTo>
                <a:cubicBezTo>
                  <a:pt x="238" y="398"/>
                  <a:pt x="250" y="411"/>
                  <a:pt x="250" y="427"/>
                </a:cubicBezTo>
                <a:cubicBezTo>
                  <a:pt x="250" y="443"/>
                  <a:pt x="238" y="456"/>
                  <a:pt x="222" y="456"/>
                </a:cubicBezTo>
                <a:close/>
                <a:moveTo>
                  <a:pt x="352" y="314"/>
                </a:moveTo>
                <a:cubicBezTo>
                  <a:pt x="319" y="314"/>
                  <a:pt x="292" y="341"/>
                  <a:pt x="292" y="374"/>
                </a:cubicBezTo>
                <a:cubicBezTo>
                  <a:pt x="292" y="407"/>
                  <a:pt x="319" y="434"/>
                  <a:pt x="352" y="434"/>
                </a:cubicBezTo>
                <a:cubicBezTo>
                  <a:pt x="385" y="434"/>
                  <a:pt x="412" y="407"/>
                  <a:pt x="412" y="374"/>
                </a:cubicBezTo>
                <a:cubicBezTo>
                  <a:pt x="412" y="341"/>
                  <a:pt x="385" y="314"/>
                  <a:pt x="352" y="314"/>
                </a:cubicBezTo>
                <a:close/>
                <a:moveTo>
                  <a:pt x="352" y="420"/>
                </a:moveTo>
                <a:cubicBezTo>
                  <a:pt x="327" y="420"/>
                  <a:pt x="306" y="400"/>
                  <a:pt x="306" y="374"/>
                </a:cubicBezTo>
                <a:cubicBezTo>
                  <a:pt x="306" y="349"/>
                  <a:pt x="327" y="328"/>
                  <a:pt x="352" y="328"/>
                </a:cubicBezTo>
                <a:cubicBezTo>
                  <a:pt x="378" y="328"/>
                  <a:pt x="398" y="349"/>
                  <a:pt x="398" y="374"/>
                </a:cubicBezTo>
                <a:cubicBezTo>
                  <a:pt x="398" y="400"/>
                  <a:pt x="378" y="420"/>
                  <a:pt x="352" y="420"/>
                </a:cubicBez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17" name="Oval 17"/>
          <p:cNvSpPr>
            <a:spLocks noChangeArrowheads="1"/>
          </p:cNvSpPr>
          <p:nvPr/>
        </p:nvSpPr>
        <p:spPr bwMode="auto">
          <a:xfrm>
            <a:off x="4831649" y="1528549"/>
            <a:ext cx="1119124" cy="1119124"/>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26" name="Freeform 26"/>
          <p:cNvSpPr>
            <a:spLocks noEditPoints="1"/>
          </p:cNvSpPr>
          <p:nvPr/>
        </p:nvSpPr>
        <p:spPr bwMode="auto">
          <a:xfrm>
            <a:off x="5037111" y="1733648"/>
            <a:ext cx="705079" cy="708926"/>
          </a:xfrm>
          <a:custGeom>
            <a:avLst/>
            <a:gdLst>
              <a:gd name="T0" fmla="*/ 504 w 670"/>
              <a:gd name="T1" fmla="*/ 3 h 673"/>
              <a:gd name="T2" fmla="*/ 455 w 670"/>
              <a:gd name="T3" fmla="*/ 42 h 673"/>
              <a:gd name="T4" fmla="*/ 455 w 670"/>
              <a:gd name="T5" fmla="*/ 52 h 673"/>
              <a:gd name="T6" fmla="*/ 434 w 670"/>
              <a:gd name="T7" fmla="*/ 114 h 673"/>
              <a:gd name="T8" fmla="*/ 70 w 670"/>
              <a:gd name="T9" fmla="*/ 239 h 673"/>
              <a:gd name="T10" fmla="*/ 3 w 670"/>
              <a:gd name="T11" fmla="*/ 301 h 673"/>
              <a:gd name="T12" fmla="*/ 319 w 670"/>
              <a:gd name="T13" fmla="*/ 649 h 673"/>
              <a:gd name="T14" fmla="*/ 366 w 670"/>
              <a:gd name="T15" fmla="*/ 673 h 673"/>
              <a:gd name="T16" fmla="*/ 559 w 670"/>
              <a:gd name="T17" fmla="*/ 249 h 673"/>
              <a:gd name="T18" fmla="*/ 562 w 670"/>
              <a:gd name="T19" fmla="*/ 242 h 673"/>
              <a:gd name="T20" fmla="*/ 619 w 670"/>
              <a:gd name="T21" fmla="*/ 216 h 673"/>
              <a:gd name="T22" fmla="*/ 629 w 670"/>
              <a:gd name="T23" fmla="*/ 216 h 673"/>
              <a:gd name="T24" fmla="*/ 670 w 670"/>
              <a:gd name="T25" fmla="*/ 172 h 673"/>
              <a:gd name="T26" fmla="*/ 430 w 670"/>
              <a:gd name="T27" fmla="*/ 585 h 673"/>
              <a:gd name="T28" fmla="*/ 329 w 670"/>
              <a:gd name="T29" fmla="*/ 639 h 673"/>
              <a:gd name="T30" fmla="*/ 17 w 670"/>
              <a:gd name="T31" fmla="*/ 304 h 673"/>
              <a:gd name="T32" fmla="*/ 121 w 670"/>
              <a:gd name="T33" fmla="*/ 274 h 673"/>
              <a:gd name="T34" fmla="*/ 169 w 670"/>
              <a:gd name="T35" fmla="*/ 256 h 673"/>
              <a:gd name="T36" fmla="*/ 265 w 670"/>
              <a:gd name="T37" fmla="*/ 256 h 673"/>
              <a:gd name="T38" fmla="*/ 361 w 670"/>
              <a:gd name="T39" fmla="*/ 256 h 673"/>
              <a:gd name="T40" fmla="*/ 410 w 670"/>
              <a:gd name="T41" fmla="*/ 274 h 673"/>
              <a:gd name="T42" fmla="*/ 505 w 670"/>
              <a:gd name="T43" fmla="*/ 275 h 673"/>
              <a:gd name="T44" fmla="*/ 539 w 670"/>
              <a:gd name="T45" fmla="*/ 266 h 673"/>
              <a:gd name="T46" fmla="*/ 593 w 670"/>
              <a:gd name="T47" fmla="*/ 190 h 673"/>
              <a:gd name="T48" fmla="*/ 549 w 670"/>
              <a:gd name="T49" fmla="*/ 236 h 673"/>
              <a:gd name="T50" fmla="*/ 506 w 670"/>
              <a:gd name="T51" fmla="*/ 261 h 673"/>
              <a:gd name="T52" fmla="*/ 463 w 670"/>
              <a:gd name="T53" fmla="*/ 241 h 673"/>
              <a:gd name="T54" fmla="*/ 452 w 670"/>
              <a:gd name="T55" fmla="*/ 241 h 673"/>
              <a:gd name="T56" fmla="*/ 410 w 670"/>
              <a:gd name="T57" fmla="*/ 260 h 673"/>
              <a:gd name="T58" fmla="*/ 362 w 670"/>
              <a:gd name="T59" fmla="*/ 238 h 673"/>
              <a:gd name="T60" fmla="*/ 356 w 670"/>
              <a:gd name="T61" fmla="*/ 241 h 673"/>
              <a:gd name="T62" fmla="*/ 271 w 670"/>
              <a:gd name="T63" fmla="*/ 241 h 673"/>
              <a:gd name="T64" fmla="*/ 217 w 670"/>
              <a:gd name="T65" fmla="*/ 261 h 673"/>
              <a:gd name="T66" fmla="*/ 175 w 670"/>
              <a:gd name="T67" fmla="*/ 241 h 673"/>
              <a:gd name="T68" fmla="*/ 164 w 670"/>
              <a:gd name="T69" fmla="*/ 241 h 673"/>
              <a:gd name="T70" fmla="*/ 121 w 670"/>
              <a:gd name="T71" fmla="*/ 260 h 673"/>
              <a:gd name="T72" fmla="*/ 90 w 670"/>
              <a:gd name="T73" fmla="*/ 246 h 673"/>
              <a:gd name="T74" fmla="*/ 442 w 670"/>
              <a:gd name="T75" fmla="*/ 125 h 673"/>
              <a:gd name="T76" fmla="*/ 551 w 670"/>
              <a:gd name="T77" fmla="*/ 148 h 673"/>
              <a:gd name="T78" fmla="*/ 624 w 670"/>
              <a:gd name="T79" fmla="*/ 201 h 673"/>
              <a:gd name="T80" fmla="*/ 490 w 670"/>
              <a:gd name="T81" fmla="*/ 67 h 673"/>
              <a:gd name="T82" fmla="*/ 470 w 670"/>
              <a:gd name="T83" fmla="*/ 47 h 673"/>
              <a:gd name="T84" fmla="*/ 653 w 670"/>
              <a:gd name="T85" fmla="*/ 172 h 673"/>
              <a:gd name="T86" fmla="*/ 247 w 670"/>
              <a:gd name="T87" fmla="*/ 307 h 673"/>
              <a:gd name="T88" fmla="*/ 217 w 670"/>
              <a:gd name="T89" fmla="*/ 380 h 673"/>
              <a:gd name="T90" fmla="*/ 277 w 670"/>
              <a:gd name="T91" fmla="*/ 380 h 673"/>
              <a:gd name="T92" fmla="*/ 247 w 670"/>
              <a:gd name="T93" fmla="*/ 307 h 673"/>
              <a:gd name="T94" fmla="*/ 247 w 670"/>
              <a:gd name="T95" fmla="*/ 379 h 673"/>
              <a:gd name="T96" fmla="*/ 227 w 670"/>
              <a:gd name="T97" fmla="*/ 330 h 673"/>
              <a:gd name="T98" fmla="*/ 267 w 670"/>
              <a:gd name="T99" fmla="*/ 330 h 673"/>
              <a:gd name="T100" fmla="*/ 377 w 670"/>
              <a:gd name="T101" fmla="*/ 345 h 673"/>
              <a:gd name="T102" fmla="*/ 334 w 670"/>
              <a:gd name="T103" fmla="*/ 448 h 673"/>
              <a:gd name="T104" fmla="*/ 419 w 670"/>
              <a:gd name="T105" fmla="*/ 448 h 673"/>
              <a:gd name="T106" fmla="*/ 377 w 670"/>
              <a:gd name="T107" fmla="*/ 345 h 673"/>
              <a:gd name="T108" fmla="*/ 377 w 670"/>
              <a:gd name="T109" fmla="*/ 451 h 673"/>
              <a:gd name="T110" fmla="*/ 344 w 670"/>
              <a:gd name="T111" fmla="*/ 372 h 673"/>
              <a:gd name="T112" fmla="*/ 409 w 670"/>
              <a:gd name="T113" fmla="*/ 372 h 6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70" h="673">
                <a:moveTo>
                  <a:pt x="668" y="167"/>
                </a:moveTo>
                <a:cubicBezTo>
                  <a:pt x="504" y="3"/>
                  <a:pt x="504" y="3"/>
                  <a:pt x="504" y="3"/>
                </a:cubicBezTo>
                <a:cubicBezTo>
                  <a:pt x="501" y="0"/>
                  <a:pt x="497" y="0"/>
                  <a:pt x="494" y="3"/>
                </a:cubicBezTo>
                <a:cubicBezTo>
                  <a:pt x="455" y="42"/>
                  <a:pt x="455" y="42"/>
                  <a:pt x="455" y="42"/>
                </a:cubicBezTo>
                <a:cubicBezTo>
                  <a:pt x="453" y="43"/>
                  <a:pt x="453" y="45"/>
                  <a:pt x="453" y="47"/>
                </a:cubicBezTo>
                <a:cubicBezTo>
                  <a:pt x="453" y="49"/>
                  <a:pt x="453" y="50"/>
                  <a:pt x="455" y="52"/>
                </a:cubicBezTo>
                <a:cubicBezTo>
                  <a:pt x="475" y="72"/>
                  <a:pt x="475" y="72"/>
                  <a:pt x="475" y="72"/>
                </a:cubicBezTo>
                <a:cubicBezTo>
                  <a:pt x="434" y="114"/>
                  <a:pt x="434" y="114"/>
                  <a:pt x="434" y="114"/>
                </a:cubicBezTo>
                <a:cubicBezTo>
                  <a:pt x="85" y="233"/>
                  <a:pt x="85" y="233"/>
                  <a:pt x="85" y="233"/>
                </a:cubicBezTo>
                <a:cubicBezTo>
                  <a:pt x="80" y="235"/>
                  <a:pt x="75" y="237"/>
                  <a:pt x="70" y="239"/>
                </a:cubicBezTo>
                <a:cubicBezTo>
                  <a:pt x="70" y="239"/>
                  <a:pt x="70" y="239"/>
                  <a:pt x="70" y="239"/>
                </a:cubicBezTo>
                <a:cubicBezTo>
                  <a:pt x="31" y="257"/>
                  <a:pt x="8" y="278"/>
                  <a:pt x="3" y="301"/>
                </a:cubicBezTo>
                <a:cubicBezTo>
                  <a:pt x="0" y="319"/>
                  <a:pt x="7" y="338"/>
                  <a:pt x="26" y="357"/>
                </a:cubicBezTo>
                <a:cubicBezTo>
                  <a:pt x="319" y="649"/>
                  <a:pt x="319" y="649"/>
                  <a:pt x="319" y="649"/>
                </a:cubicBezTo>
                <a:cubicBezTo>
                  <a:pt x="334" y="665"/>
                  <a:pt x="350" y="673"/>
                  <a:pt x="366" y="673"/>
                </a:cubicBezTo>
                <a:cubicBezTo>
                  <a:pt x="366" y="673"/>
                  <a:pt x="366" y="673"/>
                  <a:pt x="366" y="673"/>
                </a:cubicBezTo>
                <a:cubicBezTo>
                  <a:pt x="395" y="673"/>
                  <a:pt x="421" y="645"/>
                  <a:pt x="443" y="590"/>
                </a:cubicBezTo>
                <a:cubicBezTo>
                  <a:pt x="559" y="249"/>
                  <a:pt x="559" y="249"/>
                  <a:pt x="559" y="249"/>
                </a:cubicBezTo>
                <a:cubicBezTo>
                  <a:pt x="560" y="248"/>
                  <a:pt x="560" y="247"/>
                  <a:pt x="561" y="246"/>
                </a:cubicBezTo>
                <a:cubicBezTo>
                  <a:pt x="562" y="242"/>
                  <a:pt x="562" y="242"/>
                  <a:pt x="562" y="242"/>
                </a:cubicBezTo>
                <a:cubicBezTo>
                  <a:pt x="603" y="200"/>
                  <a:pt x="603" y="200"/>
                  <a:pt x="603" y="200"/>
                </a:cubicBezTo>
                <a:cubicBezTo>
                  <a:pt x="619" y="216"/>
                  <a:pt x="619" y="216"/>
                  <a:pt x="619" y="216"/>
                </a:cubicBezTo>
                <a:cubicBezTo>
                  <a:pt x="620" y="217"/>
                  <a:pt x="622" y="218"/>
                  <a:pt x="624" y="218"/>
                </a:cubicBezTo>
                <a:cubicBezTo>
                  <a:pt x="626" y="218"/>
                  <a:pt x="627" y="217"/>
                  <a:pt x="629" y="216"/>
                </a:cubicBezTo>
                <a:cubicBezTo>
                  <a:pt x="668" y="177"/>
                  <a:pt x="668" y="177"/>
                  <a:pt x="668" y="177"/>
                </a:cubicBezTo>
                <a:cubicBezTo>
                  <a:pt x="669" y="175"/>
                  <a:pt x="670" y="174"/>
                  <a:pt x="670" y="172"/>
                </a:cubicBezTo>
                <a:cubicBezTo>
                  <a:pt x="670" y="170"/>
                  <a:pt x="669" y="168"/>
                  <a:pt x="668" y="167"/>
                </a:cubicBezTo>
                <a:close/>
                <a:moveTo>
                  <a:pt x="430" y="585"/>
                </a:moveTo>
                <a:cubicBezTo>
                  <a:pt x="416" y="619"/>
                  <a:pt x="394" y="659"/>
                  <a:pt x="366" y="659"/>
                </a:cubicBezTo>
                <a:cubicBezTo>
                  <a:pt x="354" y="659"/>
                  <a:pt x="342" y="652"/>
                  <a:pt x="329" y="639"/>
                </a:cubicBezTo>
                <a:cubicBezTo>
                  <a:pt x="36" y="347"/>
                  <a:pt x="36" y="347"/>
                  <a:pt x="36" y="347"/>
                </a:cubicBezTo>
                <a:cubicBezTo>
                  <a:pt x="21" y="331"/>
                  <a:pt x="14" y="317"/>
                  <a:pt x="17" y="304"/>
                </a:cubicBezTo>
                <a:cubicBezTo>
                  <a:pt x="21" y="286"/>
                  <a:pt x="39" y="269"/>
                  <a:pt x="72" y="254"/>
                </a:cubicBezTo>
                <a:cubicBezTo>
                  <a:pt x="84" y="267"/>
                  <a:pt x="102" y="274"/>
                  <a:pt x="121" y="274"/>
                </a:cubicBezTo>
                <a:cubicBezTo>
                  <a:pt x="121" y="274"/>
                  <a:pt x="121" y="274"/>
                  <a:pt x="121" y="274"/>
                </a:cubicBezTo>
                <a:cubicBezTo>
                  <a:pt x="140" y="274"/>
                  <a:pt x="157" y="268"/>
                  <a:pt x="169" y="256"/>
                </a:cubicBezTo>
                <a:cubicBezTo>
                  <a:pt x="182" y="268"/>
                  <a:pt x="199" y="275"/>
                  <a:pt x="218" y="275"/>
                </a:cubicBezTo>
                <a:cubicBezTo>
                  <a:pt x="236" y="274"/>
                  <a:pt x="253" y="268"/>
                  <a:pt x="265" y="256"/>
                </a:cubicBezTo>
                <a:cubicBezTo>
                  <a:pt x="278" y="268"/>
                  <a:pt x="295" y="274"/>
                  <a:pt x="313" y="274"/>
                </a:cubicBezTo>
                <a:cubicBezTo>
                  <a:pt x="332" y="274"/>
                  <a:pt x="349" y="268"/>
                  <a:pt x="361" y="256"/>
                </a:cubicBezTo>
                <a:cubicBezTo>
                  <a:pt x="374" y="268"/>
                  <a:pt x="391" y="274"/>
                  <a:pt x="410" y="274"/>
                </a:cubicBezTo>
                <a:cubicBezTo>
                  <a:pt x="410" y="274"/>
                  <a:pt x="410" y="274"/>
                  <a:pt x="410" y="274"/>
                </a:cubicBezTo>
                <a:cubicBezTo>
                  <a:pt x="428" y="274"/>
                  <a:pt x="445" y="268"/>
                  <a:pt x="458" y="256"/>
                </a:cubicBezTo>
                <a:cubicBezTo>
                  <a:pt x="470" y="268"/>
                  <a:pt x="487" y="275"/>
                  <a:pt x="505" y="275"/>
                </a:cubicBezTo>
                <a:cubicBezTo>
                  <a:pt x="505" y="275"/>
                  <a:pt x="505" y="275"/>
                  <a:pt x="506" y="275"/>
                </a:cubicBezTo>
                <a:cubicBezTo>
                  <a:pt x="518" y="274"/>
                  <a:pt x="529" y="271"/>
                  <a:pt x="539" y="266"/>
                </a:cubicBezTo>
                <a:lnTo>
                  <a:pt x="430" y="585"/>
                </a:lnTo>
                <a:close/>
                <a:moveTo>
                  <a:pt x="593" y="190"/>
                </a:moveTo>
                <a:cubicBezTo>
                  <a:pt x="551" y="233"/>
                  <a:pt x="551" y="233"/>
                  <a:pt x="551" y="233"/>
                </a:cubicBezTo>
                <a:cubicBezTo>
                  <a:pt x="550" y="234"/>
                  <a:pt x="550" y="235"/>
                  <a:pt x="549" y="236"/>
                </a:cubicBezTo>
                <a:cubicBezTo>
                  <a:pt x="547" y="242"/>
                  <a:pt x="547" y="242"/>
                  <a:pt x="547" y="242"/>
                </a:cubicBezTo>
                <a:cubicBezTo>
                  <a:pt x="537" y="254"/>
                  <a:pt x="522" y="260"/>
                  <a:pt x="506" y="261"/>
                </a:cubicBezTo>
                <a:cubicBezTo>
                  <a:pt x="505" y="261"/>
                  <a:pt x="505" y="261"/>
                  <a:pt x="505" y="261"/>
                </a:cubicBezTo>
                <a:cubicBezTo>
                  <a:pt x="488" y="261"/>
                  <a:pt x="473" y="254"/>
                  <a:pt x="463" y="241"/>
                </a:cubicBezTo>
                <a:cubicBezTo>
                  <a:pt x="462" y="239"/>
                  <a:pt x="460" y="238"/>
                  <a:pt x="458" y="238"/>
                </a:cubicBezTo>
                <a:cubicBezTo>
                  <a:pt x="455" y="238"/>
                  <a:pt x="453" y="239"/>
                  <a:pt x="452" y="241"/>
                </a:cubicBezTo>
                <a:cubicBezTo>
                  <a:pt x="442" y="253"/>
                  <a:pt x="426" y="260"/>
                  <a:pt x="410" y="260"/>
                </a:cubicBezTo>
                <a:cubicBezTo>
                  <a:pt x="410" y="260"/>
                  <a:pt x="410" y="260"/>
                  <a:pt x="410" y="260"/>
                </a:cubicBezTo>
                <a:cubicBezTo>
                  <a:pt x="393" y="260"/>
                  <a:pt x="377" y="253"/>
                  <a:pt x="367" y="241"/>
                </a:cubicBezTo>
                <a:cubicBezTo>
                  <a:pt x="366" y="239"/>
                  <a:pt x="364" y="238"/>
                  <a:pt x="362" y="238"/>
                </a:cubicBezTo>
                <a:cubicBezTo>
                  <a:pt x="362" y="238"/>
                  <a:pt x="362" y="238"/>
                  <a:pt x="362" y="238"/>
                </a:cubicBezTo>
                <a:cubicBezTo>
                  <a:pt x="359" y="238"/>
                  <a:pt x="357" y="239"/>
                  <a:pt x="356" y="241"/>
                </a:cubicBezTo>
                <a:cubicBezTo>
                  <a:pt x="346" y="253"/>
                  <a:pt x="330" y="260"/>
                  <a:pt x="313" y="260"/>
                </a:cubicBezTo>
                <a:cubicBezTo>
                  <a:pt x="297" y="260"/>
                  <a:pt x="281" y="253"/>
                  <a:pt x="271" y="241"/>
                </a:cubicBezTo>
                <a:cubicBezTo>
                  <a:pt x="268" y="238"/>
                  <a:pt x="263" y="238"/>
                  <a:pt x="260" y="241"/>
                </a:cubicBezTo>
                <a:cubicBezTo>
                  <a:pt x="250" y="253"/>
                  <a:pt x="235" y="260"/>
                  <a:pt x="217" y="261"/>
                </a:cubicBezTo>
                <a:cubicBezTo>
                  <a:pt x="217" y="261"/>
                  <a:pt x="217" y="261"/>
                  <a:pt x="217" y="261"/>
                </a:cubicBezTo>
                <a:cubicBezTo>
                  <a:pt x="200" y="261"/>
                  <a:pt x="185" y="254"/>
                  <a:pt x="175" y="241"/>
                </a:cubicBezTo>
                <a:cubicBezTo>
                  <a:pt x="174" y="239"/>
                  <a:pt x="172" y="238"/>
                  <a:pt x="169" y="238"/>
                </a:cubicBezTo>
                <a:cubicBezTo>
                  <a:pt x="167" y="238"/>
                  <a:pt x="165" y="239"/>
                  <a:pt x="164" y="241"/>
                </a:cubicBezTo>
                <a:cubicBezTo>
                  <a:pt x="154" y="253"/>
                  <a:pt x="138" y="260"/>
                  <a:pt x="121" y="260"/>
                </a:cubicBezTo>
                <a:cubicBezTo>
                  <a:pt x="121" y="260"/>
                  <a:pt x="121" y="260"/>
                  <a:pt x="121" y="260"/>
                </a:cubicBezTo>
                <a:cubicBezTo>
                  <a:pt x="108" y="260"/>
                  <a:pt x="95" y="256"/>
                  <a:pt x="86" y="248"/>
                </a:cubicBezTo>
                <a:cubicBezTo>
                  <a:pt x="87" y="247"/>
                  <a:pt x="88" y="247"/>
                  <a:pt x="90" y="246"/>
                </a:cubicBezTo>
                <a:cubicBezTo>
                  <a:pt x="440" y="126"/>
                  <a:pt x="440" y="126"/>
                  <a:pt x="440" y="126"/>
                </a:cubicBezTo>
                <a:cubicBezTo>
                  <a:pt x="441" y="126"/>
                  <a:pt x="442" y="125"/>
                  <a:pt x="442" y="125"/>
                </a:cubicBezTo>
                <a:cubicBezTo>
                  <a:pt x="485" y="82"/>
                  <a:pt x="485" y="82"/>
                  <a:pt x="485" y="82"/>
                </a:cubicBezTo>
                <a:cubicBezTo>
                  <a:pt x="551" y="148"/>
                  <a:pt x="551" y="148"/>
                  <a:pt x="551" y="148"/>
                </a:cubicBezTo>
                <a:lnTo>
                  <a:pt x="593" y="190"/>
                </a:lnTo>
                <a:close/>
                <a:moveTo>
                  <a:pt x="624" y="201"/>
                </a:moveTo>
                <a:cubicBezTo>
                  <a:pt x="599" y="176"/>
                  <a:pt x="599" y="176"/>
                  <a:pt x="599" y="176"/>
                </a:cubicBezTo>
                <a:cubicBezTo>
                  <a:pt x="490" y="67"/>
                  <a:pt x="490" y="67"/>
                  <a:pt x="490" y="67"/>
                </a:cubicBezTo>
                <a:cubicBezTo>
                  <a:pt x="490" y="67"/>
                  <a:pt x="490" y="67"/>
                  <a:pt x="490" y="67"/>
                </a:cubicBezTo>
                <a:cubicBezTo>
                  <a:pt x="470" y="47"/>
                  <a:pt x="470" y="47"/>
                  <a:pt x="470" y="47"/>
                </a:cubicBezTo>
                <a:cubicBezTo>
                  <a:pt x="499" y="17"/>
                  <a:pt x="499" y="17"/>
                  <a:pt x="499" y="17"/>
                </a:cubicBezTo>
                <a:cubicBezTo>
                  <a:pt x="653" y="172"/>
                  <a:pt x="653" y="172"/>
                  <a:pt x="653" y="172"/>
                </a:cubicBezTo>
                <a:lnTo>
                  <a:pt x="624" y="201"/>
                </a:lnTo>
                <a:close/>
                <a:moveTo>
                  <a:pt x="247" y="307"/>
                </a:moveTo>
                <a:cubicBezTo>
                  <a:pt x="236" y="307"/>
                  <a:pt x="225" y="312"/>
                  <a:pt x="217" y="320"/>
                </a:cubicBezTo>
                <a:cubicBezTo>
                  <a:pt x="200" y="337"/>
                  <a:pt x="200" y="364"/>
                  <a:pt x="217" y="380"/>
                </a:cubicBezTo>
                <a:cubicBezTo>
                  <a:pt x="225" y="388"/>
                  <a:pt x="236" y="393"/>
                  <a:pt x="247" y="393"/>
                </a:cubicBezTo>
                <a:cubicBezTo>
                  <a:pt x="258" y="393"/>
                  <a:pt x="269" y="388"/>
                  <a:pt x="277" y="380"/>
                </a:cubicBezTo>
                <a:cubicBezTo>
                  <a:pt x="294" y="364"/>
                  <a:pt x="294" y="337"/>
                  <a:pt x="277" y="320"/>
                </a:cubicBezTo>
                <a:cubicBezTo>
                  <a:pt x="269" y="312"/>
                  <a:pt x="258" y="307"/>
                  <a:pt x="247" y="307"/>
                </a:cubicBezTo>
                <a:close/>
                <a:moveTo>
                  <a:pt x="267" y="370"/>
                </a:moveTo>
                <a:cubicBezTo>
                  <a:pt x="262" y="376"/>
                  <a:pt x="255" y="379"/>
                  <a:pt x="247" y="379"/>
                </a:cubicBezTo>
                <a:cubicBezTo>
                  <a:pt x="239" y="379"/>
                  <a:pt x="232" y="376"/>
                  <a:pt x="227" y="370"/>
                </a:cubicBezTo>
                <a:cubicBezTo>
                  <a:pt x="216" y="359"/>
                  <a:pt x="216" y="341"/>
                  <a:pt x="227" y="330"/>
                </a:cubicBezTo>
                <a:cubicBezTo>
                  <a:pt x="232" y="324"/>
                  <a:pt x="239" y="321"/>
                  <a:pt x="247" y="321"/>
                </a:cubicBezTo>
                <a:cubicBezTo>
                  <a:pt x="255" y="321"/>
                  <a:pt x="262" y="324"/>
                  <a:pt x="267" y="330"/>
                </a:cubicBezTo>
                <a:cubicBezTo>
                  <a:pt x="279" y="341"/>
                  <a:pt x="279" y="359"/>
                  <a:pt x="267" y="370"/>
                </a:cubicBezTo>
                <a:close/>
                <a:moveTo>
                  <a:pt x="377" y="345"/>
                </a:moveTo>
                <a:cubicBezTo>
                  <a:pt x="361" y="345"/>
                  <a:pt x="346" y="351"/>
                  <a:pt x="334" y="363"/>
                </a:cubicBezTo>
                <a:cubicBezTo>
                  <a:pt x="311" y="386"/>
                  <a:pt x="311" y="424"/>
                  <a:pt x="334" y="448"/>
                </a:cubicBezTo>
                <a:cubicBezTo>
                  <a:pt x="346" y="459"/>
                  <a:pt x="361" y="465"/>
                  <a:pt x="377" y="465"/>
                </a:cubicBezTo>
                <a:cubicBezTo>
                  <a:pt x="393" y="465"/>
                  <a:pt x="408" y="459"/>
                  <a:pt x="419" y="448"/>
                </a:cubicBezTo>
                <a:cubicBezTo>
                  <a:pt x="443" y="424"/>
                  <a:pt x="443" y="386"/>
                  <a:pt x="419" y="363"/>
                </a:cubicBezTo>
                <a:cubicBezTo>
                  <a:pt x="408" y="351"/>
                  <a:pt x="393" y="345"/>
                  <a:pt x="377" y="345"/>
                </a:cubicBezTo>
                <a:close/>
                <a:moveTo>
                  <a:pt x="409" y="438"/>
                </a:moveTo>
                <a:cubicBezTo>
                  <a:pt x="401" y="446"/>
                  <a:pt x="389" y="451"/>
                  <a:pt x="377" y="451"/>
                </a:cubicBezTo>
                <a:cubicBezTo>
                  <a:pt x="364" y="451"/>
                  <a:pt x="353" y="446"/>
                  <a:pt x="344" y="438"/>
                </a:cubicBezTo>
                <a:cubicBezTo>
                  <a:pt x="326" y="420"/>
                  <a:pt x="326" y="390"/>
                  <a:pt x="344" y="372"/>
                </a:cubicBezTo>
                <a:cubicBezTo>
                  <a:pt x="353" y="364"/>
                  <a:pt x="364" y="359"/>
                  <a:pt x="377" y="359"/>
                </a:cubicBezTo>
                <a:cubicBezTo>
                  <a:pt x="389" y="359"/>
                  <a:pt x="401" y="364"/>
                  <a:pt x="409" y="372"/>
                </a:cubicBezTo>
                <a:cubicBezTo>
                  <a:pt x="427" y="390"/>
                  <a:pt x="427" y="420"/>
                  <a:pt x="409" y="438"/>
                </a:cubicBez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16" name="Oval 16"/>
          <p:cNvSpPr>
            <a:spLocks noChangeArrowheads="1"/>
          </p:cNvSpPr>
          <p:nvPr/>
        </p:nvSpPr>
        <p:spPr bwMode="auto">
          <a:xfrm>
            <a:off x="6589621" y="1528549"/>
            <a:ext cx="1119124" cy="1119124"/>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27" name="Freeform 27"/>
          <p:cNvSpPr>
            <a:spLocks noEditPoints="1"/>
          </p:cNvSpPr>
          <p:nvPr/>
        </p:nvSpPr>
        <p:spPr bwMode="auto">
          <a:xfrm>
            <a:off x="6873525" y="1784477"/>
            <a:ext cx="621290" cy="655869"/>
          </a:xfrm>
          <a:custGeom>
            <a:avLst/>
            <a:gdLst>
              <a:gd name="T0" fmla="*/ 3 w 590"/>
              <a:gd name="T1" fmla="*/ 492 h 623"/>
              <a:gd name="T2" fmla="*/ 189 w 590"/>
              <a:gd name="T3" fmla="*/ 375 h 623"/>
              <a:gd name="T4" fmla="*/ 218 w 590"/>
              <a:gd name="T5" fmla="*/ 227 h 623"/>
              <a:gd name="T6" fmla="*/ 135 w 590"/>
              <a:gd name="T7" fmla="*/ 140 h 623"/>
              <a:gd name="T8" fmla="*/ 0 w 590"/>
              <a:gd name="T9" fmla="*/ 81 h 623"/>
              <a:gd name="T10" fmla="*/ 162 w 590"/>
              <a:gd name="T11" fmla="*/ 81 h 623"/>
              <a:gd name="T12" fmla="*/ 248 w 590"/>
              <a:gd name="T13" fmla="*/ 153 h 623"/>
              <a:gd name="T14" fmla="*/ 417 w 590"/>
              <a:gd name="T15" fmla="*/ 172 h 623"/>
              <a:gd name="T16" fmla="*/ 528 w 590"/>
              <a:gd name="T17" fmla="*/ 99 h 623"/>
              <a:gd name="T18" fmla="*/ 528 w 590"/>
              <a:gd name="T19" fmla="*/ 222 h 623"/>
              <a:gd name="T20" fmla="*/ 432 w 590"/>
              <a:gd name="T21" fmla="*/ 216 h 623"/>
              <a:gd name="T22" fmla="*/ 325 w 590"/>
              <a:gd name="T23" fmla="*/ 334 h 623"/>
              <a:gd name="T24" fmla="*/ 228 w 590"/>
              <a:gd name="T25" fmla="*/ 402 h 623"/>
              <a:gd name="T26" fmla="*/ 134 w 590"/>
              <a:gd name="T27" fmla="*/ 623 h 623"/>
              <a:gd name="T28" fmla="*/ 17 w 590"/>
              <a:gd name="T29" fmla="*/ 492 h 623"/>
              <a:gd name="T30" fmla="*/ 250 w 590"/>
              <a:gd name="T31" fmla="*/ 492 h 623"/>
              <a:gd name="T32" fmla="*/ 213 w 590"/>
              <a:gd name="T33" fmla="*/ 399 h 623"/>
              <a:gd name="T34" fmla="*/ 284 w 590"/>
              <a:gd name="T35" fmla="*/ 310 h 623"/>
              <a:gd name="T36" fmla="*/ 419 w 590"/>
              <a:gd name="T37" fmla="*/ 227 h 623"/>
              <a:gd name="T38" fmla="*/ 422 w 590"/>
              <a:gd name="T39" fmla="*/ 205 h 623"/>
              <a:gd name="T40" fmla="*/ 490 w 590"/>
              <a:gd name="T41" fmla="*/ 188 h 623"/>
              <a:gd name="T42" fmla="*/ 576 w 590"/>
              <a:gd name="T43" fmla="*/ 160 h 623"/>
              <a:gd name="T44" fmla="*/ 481 w 590"/>
              <a:gd name="T45" fmla="*/ 160 h 623"/>
              <a:gd name="T46" fmla="*/ 476 w 590"/>
              <a:gd name="T47" fmla="*/ 167 h 623"/>
              <a:gd name="T48" fmla="*/ 408 w 590"/>
              <a:gd name="T49" fmla="*/ 183 h 623"/>
              <a:gd name="T50" fmla="*/ 254 w 590"/>
              <a:gd name="T51" fmla="*/ 166 h 623"/>
              <a:gd name="T52" fmla="*/ 147 w 590"/>
              <a:gd name="T53" fmla="*/ 109 h 623"/>
              <a:gd name="T54" fmla="*/ 148 w 590"/>
              <a:gd name="T55" fmla="*/ 81 h 623"/>
              <a:gd name="T56" fmla="*/ 14 w 590"/>
              <a:gd name="T57" fmla="*/ 81 h 623"/>
              <a:gd name="T58" fmla="*/ 129 w 590"/>
              <a:gd name="T59" fmla="*/ 127 h 623"/>
              <a:gd name="T60" fmla="*/ 236 w 590"/>
              <a:gd name="T61" fmla="*/ 184 h 623"/>
              <a:gd name="T62" fmla="*/ 232 w 590"/>
              <a:gd name="T63" fmla="*/ 227 h 623"/>
              <a:gd name="T64" fmla="*/ 260 w 590"/>
              <a:gd name="T65" fmla="*/ 301 h 623"/>
              <a:gd name="T66" fmla="*/ 188 w 590"/>
              <a:gd name="T67" fmla="*/ 390 h 6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90" h="623">
                <a:moveTo>
                  <a:pt x="134" y="623"/>
                </a:moveTo>
                <a:cubicBezTo>
                  <a:pt x="62" y="623"/>
                  <a:pt x="3" y="564"/>
                  <a:pt x="3" y="492"/>
                </a:cubicBezTo>
                <a:cubicBezTo>
                  <a:pt x="3" y="421"/>
                  <a:pt x="62" y="362"/>
                  <a:pt x="134" y="362"/>
                </a:cubicBezTo>
                <a:cubicBezTo>
                  <a:pt x="153" y="362"/>
                  <a:pt x="172" y="366"/>
                  <a:pt x="189" y="375"/>
                </a:cubicBezTo>
                <a:cubicBezTo>
                  <a:pt x="245" y="298"/>
                  <a:pt x="245" y="298"/>
                  <a:pt x="245" y="298"/>
                </a:cubicBezTo>
                <a:cubicBezTo>
                  <a:pt x="228" y="278"/>
                  <a:pt x="218" y="253"/>
                  <a:pt x="218" y="227"/>
                </a:cubicBezTo>
                <a:cubicBezTo>
                  <a:pt x="218" y="215"/>
                  <a:pt x="220" y="204"/>
                  <a:pt x="224" y="193"/>
                </a:cubicBezTo>
                <a:cubicBezTo>
                  <a:pt x="135" y="140"/>
                  <a:pt x="135" y="140"/>
                  <a:pt x="135" y="140"/>
                </a:cubicBezTo>
                <a:cubicBezTo>
                  <a:pt x="120" y="154"/>
                  <a:pt x="101" y="162"/>
                  <a:pt x="81" y="162"/>
                </a:cubicBezTo>
                <a:cubicBezTo>
                  <a:pt x="36" y="162"/>
                  <a:pt x="0" y="125"/>
                  <a:pt x="0" y="81"/>
                </a:cubicBezTo>
                <a:cubicBezTo>
                  <a:pt x="0" y="36"/>
                  <a:pt x="36" y="0"/>
                  <a:pt x="81" y="0"/>
                </a:cubicBezTo>
                <a:cubicBezTo>
                  <a:pt x="125" y="0"/>
                  <a:pt x="162" y="36"/>
                  <a:pt x="162" y="81"/>
                </a:cubicBezTo>
                <a:cubicBezTo>
                  <a:pt x="162" y="87"/>
                  <a:pt x="161" y="94"/>
                  <a:pt x="159" y="100"/>
                </a:cubicBezTo>
                <a:cubicBezTo>
                  <a:pt x="248" y="153"/>
                  <a:pt x="248" y="153"/>
                  <a:pt x="248" y="153"/>
                </a:cubicBezTo>
                <a:cubicBezTo>
                  <a:pt x="268" y="132"/>
                  <a:pt x="296" y="119"/>
                  <a:pt x="325" y="119"/>
                </a:cubicBezTo>
                <a:cubicBezTo>
                  <a:pt x="363" y="119"/>
                  <a:pt x="398" y="139"/>
                  <a:pt x="417" y="172"/>
                </a:cubicBezTo>
                <a:cubicBezTo>
                  <a:pt x="467" y="156"/>
                  <a:pt x="467" y="156"/>
                  <a:pt x="467" y="156"/>
                </a:cubicBezTo>
                <a:cubicBezTo>
                  <a:pt x="469" y="124"/>
                  <a:pt x="496" y="99"/>
                  <a:pt x="528" y="99"/>
                </a:cubicBezTo>
                <a:cubicBezTo>
                  <a:pt x="562" y="99"/>
                  <a:pt x="590" y="126"/>
                  <a:pt x="590" y="160"/>
                </a:cubicBezTo>
                <a:cubicBezTo>
                  <a:pt x="590" y="194"/>
                  <a:pt x="562" y="222"/>
                  <a:pt x="528" y="222"/>
                </a:cubicBezTo>
                <a:cubicBezTo>
                  <a:pt x="510" y="222"/>
                  <a:pt x="493" y="214"/>
                  <a:pt x="482" y="200"/>
                </a:cubicBezTo>
                <a:cubicBezTo>
                  <a:pt x="432" y="216"/>
                  <a:pt x="432" y="216"/>
                  <a:pt x="432" y="216"/>
                </a:cubicBezTo>
                <a:cubicBezTo>
                  <a:pt x="432" y="220"/>
                  <a:pt x="433" y="223"/>
                  <a:pt x="433" y="227"/>
                </a:cubicBezTo>
                <a:cubicBezTo>
                  <a:pt x="433" y="286"/>
                  <a:pt x="384" y="334"/>
                  <a:pt x="325" y="334"/>
                </a:cubicBezTo>
                <a:cubicBezTo>
                  <a:pt x="311" y="334"/>
                  <a:pt x="297" y="331"/>
                  <a:pt x="283" y="325"/>
                </a:cubicBezTo>
                <a:cubicBezTo>
                  <a:pt x="228" y="402"/>
                  <a:pt x="228" y="402"/>
                  <a:pt x="228" y="402"/>
                </a:cubicBezTo>
                <a:cubicBezTo>
                  <a:pt x="251" y="427"/>
                  <a:pt x="264" y="458"/>
                  <a:pt x="264" y="492"/>
                </a:cubicBezTo>
                <a:cubicBezTo>
                  <a:pt x="264" y="564"/>
                  <a:pt x="205" y="623"/>
                  <a:pt x="134" y="623"/>
                </a:cubicBezTo>
                <a:close/>
                <a:moveTo>
                  <a:pt x="134" y="376"/>
                </a:moveTo>
                <a:cubicBezTo>
                  <a:pt x="69" y="376"/>
                  <a:pt x="17" y="428"/>
                  <a:pt x="17" y="492"/>
                </a:cubicBezTo>
                <a:cubicBezTo>
                  <a:pt x="17" y="557"/>
                  <a:pt x="69" y="609"/>
                  <a:pt x="134" y="609"/>
                </a:cubicBezTo>
                <a:cubicBezTo>
                  <a:pt x="198" y="609"/>
                  <a:pt x="250" y="557"/>
                  <a:pt x="250" y="492"/>
                </a:cubicBezTo>
                <a:cubicBezTo>
                  <a:pt x="250" y="460"/>
                  <a:pt x="237" y="430"/>
                  <a:pt x="214" y="408"/>
                </a:cubicBezTo>
                <a:cubicBezTo>
                  <a:pt x="211" y="406"/>
                  <a:pt x="211" y="402"/>
                  <a:pt x="213" y="399"/>
                </a:cubicBezTo>
                <a:cubicBezTo>
                  <a:pt x="275" y="312"/>
                  <a:pt x="275" y="312"/>
                  <a:pt x="275" y="312"/>
                </a:cubicBezTo>
                <a:cubicBezTo>
                  <a:pt x="277" y="309"/>
                  <a:pt x="281" y="308"/>
                  <a:pt x="284" y="310"/>
                </a:cubicBezTo>
                <a:cubicBezTo>
                  <a:pt x="297" y="316"/>
                  <a:pt x="311" y="320"/>
                  <a:pt x="325" y="320"/>
                </a:cubicBezTo>
                <a:cubicBezTo>
                  <a:pt x="377" y="320"/>
                  <a:pt x="419" y="278"/>
                  <a:pt x="419" y="227"/>
                </a:cubicBezTo>
                <a:cubicBezTo>
                  <a:pt x="419" y="222"/>
                  <a:pt x="418" y="218"/>
                  <a:pt x="417" y="213"/>
                </a:cubicBezTo>
                <a:cubicBezTo>
                  <a:pt x="417" y="209"/>
                  <a:pt x="419" y="206"/>
                  <a:pt x="422" y="205"/>
                </a:cubicBezTo>
                <a:cubicBezTo>
                  <a:pt x="482" y="185"/>
                  <a:pt x="482" y="185"/>
                  <a:pt x="482" y="185"/>
                </a:cubicBezTo>
                <a:cubicBezTo>
                  <a:pt x="485" y="184"/>
                  <a:pt x="488" y="185"/>
                  <a:pt x="490" y="188"/>
                </a:cubicBezTo>
                <a:cubicBezTo>
                  <a:pt x="499" y="200"/>
                  <a:pt x="513" y="208"/>
                  <a:pt x="528" y="208"/>
                </a:cubicBezTo>
                <a:cubicBezTo>
                  <a:pt x="555" y="208"/>
                  <a:pt x="576" y="186"/>
                  <a:pt x="576" y="160"/>
                </a:cubicBezTo>
                <a:cubicBezTo>
                  <a:pt x="576" y="134"/>
                  <a:pt x="555" y="113"/>
                  <a:pt x="528" y="113"/>
                </a:cubicBezTo>
                <a:cubicBezTo>
                  <a:pt x="502" y="113"/>
                  <a:pt x="481" y="134"/>
                  <a:pt x="481" y="160"/>
                </a:cubicBezTo>
                <a:cubicBezTo>
                  <a:pt x="481" y="161"/>
                  <a:pt x="481" y="161"/>
                  <a:pt x="481" y="161"/>
                </a:cubicBezTo>
                <a:cubicBezTo>
                  <a:pt x="481" y="164"/>
                  <a:pt x="479" y="166"/>
                  <a:pt x="476" y="167"/>
                </a:cubicBezTo>
                <a:cubicBezTo>
                  <a:pt x="416" y="187"/>
                  <a:pt x="416" y="187"/>
                  <a:pt x="416" y="187"/>
                </a:cubicBezTo>
                <a:cubicBezTo>
                  <a:pt x="413" y="188"/>
                  <a:pt x="409" y="186"/>
                  <a:pt x="408" y="183"/>
                </a:cubicBezTo>
                <a:cubicBezTo>
                  <a:pt x="392" y="153"/>
                  <a:pt x="360" y="133"/>
                  <a:pt x="325" y="133"/>
                </a:cubicBezTo>
                <a:cubicBezTo>
                  <a:pt x="298" y="133"/>
                  <a:pt x="272" y="145"/>
                  <a:pt x="254" y="166"/>
                </a:cubicBezTo>
                <a:cubicBezTo>
                  <a:pt x="252" y="169"/>
                  <a:pt x="248" y="170"/>
                  <a:pt x="245" y="168"/>
                </a:cubicBezTo>
                <a:cubicBezTo>
                  <a:pt x="147" y="109"/>
                  <a:pt x="147" y="109"/>
                  <a:pt x="147" y="109"/>
                </a:cubicBezTo>
                <a:cubicBezTo>
                  <a:pt x="145" y="108"/>
                  <a:pt x="143" y="104"/>
                  <a:pt x="144" y="101"/>
                </a:cubicBezTo>
                <a:cubicBezTo>
                  <a:pt x="146" y="95"/>
                  <a:pt x="148" y="88"/>
                  <a:pt x="148" y="81"/>
                </a:cubicBezTo>
                <a:cubicBezTo>
                  <a:pt x="148" y="44"/>
                  <a:pt x="118" y="14"/>
                  <a:pt x="81" y="14"/>
                </a:cubicBezTo>
                <a:cubicBezTo>
                  <a:pt x="44" y="14"/>
                  <a:pt x="14" y="44"/>
                  <a:pt x="14" y="81"/>
                </a:cubicBezTo>
                <a:cubicBezTo>
                  <a:pt x="14" y="118"/>
                  <a:pt x="44" y="148"/>
                  <a:pt x="81" y="148"/>
                </a:cubicBezTo>
                <a:cubicBezTo>
                  <a:pt x="99" y="148"/>
                  <a:pt x="116" y="140"/>
                  <a:pt x="129" y="127"/>
                </a:cubicBezTo>
                <a:cubicBezTo>
                  <a:pt x="131" y="125"/>
                  <a:pt x="135" y="124"/>
                  <a:pt x="138" y="126"/>
                </a:cubicBezTo>
                <a:cubicBezTo>
                  <a:pt x="236" y="184"/>
                  <a:pt x="236" y="184"/>
                  <a:pt x="236" y="184"/>
                </a:cubicBezTo>
                <a:cubicBezTo>
                  <a:pt x="239" y="186"/>
                  <a:pt x="240" y="190"/>
                  <a:pt x="239" y="193"/>
                </a:cubicBezTo>
                <a:cubicBezTo>
                  <a:pt x="234" y="204"/>
                  <a:pt x="232" y="215"/>
                  <a:pt x="232" y="227"/>
                </a:cubicBezTo>
                <a:cubicBezTo>
                  <a:pt x="232" y="251"/>
                  <a:pt x="242" y="274"/>
                  <a:pt x="259" y="292"/>
                </a:cubicBezTo>
                <a:cubicBezTo>
                  <a:pt x="262" y="294"/>
                  <a:pt x="262" y="298"/>
                  <a:pt x="260" y="301"/>
                </a:cubicBezTo>
                <a:cubicBezTo>
                  <a:pt x="197" y="388"/>
                  <a:pt x="197" y="388"/>
                  <a:pt x="197" y="388"/>
                </a:cubicBezTo>
                <a:cubicBezTo>
                  <a:pt x="195" y="391"/>
                  <a:pt x="191" y="391"/>
                  <a:pt x="188" y="390"/>
                </a:cubicBezTo>
                <a:cubicBezTo>
                  <a:pt x="172" y="381"/>
                  <a:pt x="153" y="376"/>
                  <a:pt x="134" y="376"/>
                </a:cubicBez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6" name="Oval 6"/>
          <p:cNvSpPr>
            <a:spLocks noChangeArrowheads="1"/>
          </p:cNvSpPr>
          <p:nvPr/>
        </p:nvSpPr>
        <p:spPr bwMode="auto">
          <a:xfrm>
            <a:off x="3073678" y="4719249"/>
            <a:ext cx="1119124" cy="1119124"/>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28" name="Freeform 28"/>
          <p:cNvSpPr>
            <a:spLocks noEditPoints="1"/>
          </p:cNvSpPr>
          <p:nvPr/>
        </p:nvSpPr>
        <p:spPr bwMode="auto">
          <a:xfrm>
            <a:off x="3312567" y="4915140"/>
            <a:ext cx="711765" cy="680042"/>
          </a:xfrm>
          <a:custGeom>
            <a:avLst/>
            <a:gdLst>
              <a:gd name="T0" fmla="*/ 676 w 676"/>
              <a:gd name="T1" fmla="*/ 390 h 645"/>
              <a:gd name="T2" fmla="*/ 675 w 676"/>
              <a:gd name="T3" fmla="*/ 388 h 645"/>
              <a:gd name="T4" fmla="*/ 516 w 676"/>
              <a:gd name="T5" fmla="*/ 186 h 645"/>
              <a:gd name="T6" fmla="*/ 374 w 676"/>
              <a:gd name="T7" fmla="*/ 133 h 645"/>
              <a:gd name="T8" fmla="*/ 281 w 676"/>
              <a:gd name="T9" fmla="*/ 133 h 645"/>
              <a:gd name="T10" fmla="*/ 7 w 676"/>
              <a:gd name="T11" fmla="*/ 186 h 645"/>
              <a:gd name="T12" fmla="*/ 0 w 676"/>
              <a:gd name="T13" fmla="*/ 563 h 645"/>
              <a:gd name="T14" fmla="*/ 86 w 676"/>
              <a:gd name="T15" fmla="*/ 570 h 645"/>
              <a:gd name="T16" fmla="*/ 249 w 676"/>
              <a:gd name="T17" fmla="*/ 570 h 645"/>
              <a:gd name="T18" fmla="*/ 511 w 676"/>
              <a:gd name="T19" fmla="*/ 645 h 645"/>
              <a:gd name="T20" fmla="*/ 669 w 676"/>
              <a:gd name="T21" fmla="*/ 570 h 645"/>
              <a:gd name="T22" fmla="*/ 676 w 676"/>
              <a:gd name="T23" fmla="*/ 393 h 645"/>
              <a:gd name="T24" fmla="*/ 655 w 676"/>
              <a:gd name="T25" fmla="*/ 386 h 645"/>
              <a:gd name="T26" fmla="*/ 461 w 676"/>
              <a:gd name="T27" fmla="*/ 248 h 645"/>
              <a:gd name="T28" fmla="*/ 655 w 676"/>
              <a:gd name="T29" fmla="*/ 386 h 645"/>
              <a:gd name="T30" fmla="*/ 327 w 676"/>
              <a:gd name="T31" fmla="*/ 100 h 645"/>
              <a:gd name="T32" fmla="*/ 360 w 676"/>
              <a:gd name="T33" fmla="*/ 186 h 645"/>
              <a:gd name="T34" fmla="*/ 295 w 676"/>
              <a:gd name="T35" fmla="*/ 133 h 645"/>
              <a:gd name="T36" fmla="*/ 100 w 676"/>
              <a:gd name="T37" fmla="*/ 563 h 645"/>
              <a:gd name="T38" fmla="*/ 235 w 676"/>
              <a:gd name="T39" fmla="*/ 563 h 645"/>
              <a:gd name="T40" fmla="*/ 511 w 676"/>
              <a:gd name="T41" fmla="*/ 631 h 645"/>
              <a:gd name="T42" fmla="*/ 444 w 676"/>
              <a:gd name="T43" fmla="*/ 563 h 645"/>
              <a:gd name="T44" fmla="*/ 511 w 676"/>
              <a:gd name="T45" fmla="*/ 495 h 645"/>
              <a:gd name="T46" fmla="*/ 511 w 676"/>
              <a:gd name="T47" fmla="*/ 631 h 645"/>
              <a:gd name="T48" fmla="*/ 511 w 676"/>
              <a:gd name="T49" fmla="*/ 481 h 645"/>
              <a:gd name="T50" fmla="*/ 249 w 676"/>
              <a:gd name="T51" fmla="*/ 556 h 645"/>
              <a:gd name="T52" fmla="*/ 86 w 676"/>
              <a:gd name="T53" fmla="*/ 556 h 645"/>
              <a:gd name="T54" fmla="*/ 14 w 676"/>
              <a:gd name="T55" fmla="*/ 200 h 645"/>
              <a:gd name="T56" fmla="*/ 539 w 676"/>
              <a:gd name="T57" fmla="*/ 234 h 645"/>
              <a:gd name="T58" fmla="*/ 447 w 676"/>
              <a:gd name="T59" fmla="*/ 241 h 645"/>
              <a:gd name="T60" fmla="*/ 454 w 676"/>
              <a:gd name="T61" fmla="*/ 400 h 645"/>
              <a:gd name="T62" fmla="*/ 662 w 676"/>
              <a:gd name="T63" fmla="*/ 556 h 645"/>
              <a:gd name="T64" fmla="*/ 185 w 676"/>
              <a:gd name="T65" fmla="*/ 143 h 645"/>
              <a:gd name="T66" fmla="*/ 235 w 676"/>
              <a:gd name="T67" fmla="*/ 136 h 645"/>
              <a:gd name="T68" fmla="*/ 235 w 676"/>
              <a:gd name="T69" fmla="*/ 150 h 645"/>
              <a:gd name="T70" fmla="*/ 185 w 676"/>
              <a:gd name="T71" fmla="*/ 143 h 645"/>
              <a:gd name="T72" fmla="*/ 463 w 676"/>
              <a:gd name="T73" fmla="*/ 136 h 645"/>
              <a:gd name="T74" fmla="*/ 463 w 676"/>
              <a:gd name="T75" fmla="*/ 150 h 645"/>
              <a:gd name="T76" fmla="*/ 413 w 676"/>
              <a:gd name="T77" fmla="*/ 143 h 645"/>
              <a:gd name="T78" fmla="*/ 226 w 676"/>
              <a:gd name="T79" fmla="*/ 52 h 645"/>
              <a:gd name="T80" fmla="*/ 236 w 676"/>
              <a:gd name="T81" fmla="*/ 42 h 645"/>
              <a:gd name="T82" fmla="*/ 267 w 676"/>
              <a:gd name="T83" fmla="*/ 82 h 645"/>
              <a:gd name="T84" fmla="*/ 257 w 676"/>
              <a:gd name="T85" fmla="*/ 82 h 645"/>
              <a:gd name="T86" fmla="*/ 388 w 676"/>
              <a:gd name="T87" fmla="*/ 82 h 645"/>
              <a:gd name="T88" fmla="*/ 418 w 676"/>
              <a:gd name="T89" fmla="*/ 42 h 645"/>
              <a:gd name="T90" fmla="*/ 428 w 676"/>
              <a:gd name="T91" fmla="*/ 52 h 645"/>
              <a:gd name="T92" fmla="*/ 393 w 676"/>
              <a:gd name="T93" fmla="*/ 85 h 645"/>
              <a:gd name="T94" fmla="*/ 320 w 676"/>
              <a:gd name="T95" fmla="*/ 50 h 645"/>
              <a:gd name="T96" fmla="*/ 327 w 676"/>
              <a:gd name="T97" fmla="*/ 0 h 645"/>
              <a:gd name="T98" fmla="*/ 334 w 676"/>
              <a:gd name="T99" fmla="*/ 50 h 645"/>
              <a:gd name="T100" fmla="*/ 320 w 676"/>
              <a:gd name="T101" fmla="*/ 50 h 645"/>
              <a:gd name="T102" fmla="*/ 201 w 676"/>
              <a:gd name="T103" fmla="*/ 332 h 645"/>
              <a:gd name="T104" fmla="*/ 141 w 676"/>
              <a:gd name="T105" fmla="*/ 393 h 645"/>
              <a:gd name="T106" fmla="*/ 127 w 676"/>
              <a:gd name="T107" fmla="*/ 393 h 645"/>
              <a:gd name="T108" fmla="*/ 66 w 676"/>
              <a:gd name="T109" fmla="*/ 332 h 645"/>
              <a:gd name="T110" fmla="*/ 66 w 676"/>
              <a:gd name="T111" fmla="*/ 318 h 645"/>
              <a:gd name="T112" fmla="*/ 127 w 676"/>
              <a:gd name="T113" fmla="*/ 258 h 645"/>
              <a:gd name="T114" fmla="*/ 141 w 676"/>
              <a:gd name="T115" fmla="*/ 258 h 645"/>
              <a:gd name="T116" fmla="*/ 201 w 676"/>
              <a:gd name="T117" fmla="*/ 318 h 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76" h="645">
                <a:moveTo>
                  <a:pt x="676" y="391"/>
                </a:moveTo>
                <a:cubicBezTo>
                  <a:pt x="676" y="390"/>
                  <a:pt x="676" y="390"/>
                  <a:pt x="676" y="390"/>
                </a:cubicBezTo>
                <a:cubicBezTo>
                  <a:pt x="675" y="390"/>
                  <a:pt x="675" y="389"/>
                  <a:pt x="675" y="388"/>
                </a:cubicBezTo>
                <a:cubicBezTo>
                  <a:pt x="675" y="388"/>
                  <a:pt x="675" y="388"/>
                  <a:pt x="675" y="388"/>
                </a:cubicBezTo>
                <a:cubicBezTo>
                  <a:pt x="521" y="189"/>
                  <a:pt x="521" y="189"/>
                  <a:pt x="521" y="189"/>
                </a:cubicBezTo>
                <a:cubicBezTo>
                  <a:pt x="520" y="187"/>
                  <a:pt x="518" y="186"/>
                  <a:pt x="516" y="186"/>
                </a:cubicBezTo>
                <a:cubicBezTo>
                  <a:pt x="374" y="186"/>
                  <a:pt x="374" y="186"/>
                  <a:pt x="374" y="186"/>
                </a:cubicBezTo>
                <a:cubicBezTo>
                  <a:pt x="374" y="133"/>
                  <a:pt x="374" y="133"/>
                  <a:pt x="374" y="133"/>
                </a:cubicBezTo>
                <a:cubicBezTo>
                  <a:pt x="374" y="107"/>
                  <a:pt x="353" y="86"/>
                  <a:pt x="327" y="86"/>
                </a:cubicBezTo>
                <a:cubicBezTo>
                  <a:pt x="302" y="86"/>
                  <a:pt x="281" y="107"/>
                  <a:pt x="281" y="133"/>
                </a:cubicBezTo>
                <a:cubicBezTo>
                  <a:pt x="281" y="186"/>
                  <a:pt x="281" y="186"/>
                  <a:pt x="281" y="186"/>
                </a:cubicBezTo>
                <a:cubicBezTo>
                  <a:pt x="7" y="186"/>
                  <a:pt x="7" y="186"/>
                  <a:pt x="7" y="186"/>
                </a:cubicBezTo>
                <a:cubicBezTo>
                  <a:pt x="3" y="186"/>
                  <a:pt x="0" y="189"/>
                  <a:pt x="0" y="193"/>
                </a:cubicBezTo>
                <a:cubicBezTo>
                  <a:pt x="0" y="563"/>
                  <a:pt x="0" y="563"/>
                  <a:pt x="0" y="563"/>
                </a:cubicBezTo>
                <a:cubicBezTo>
                  <a:pt x="0" y="567"/>
                  <a:pt x="3" y="570"/>
                  <a:pt x="7" y="570"/>
                </a:cubicBezTo>
                <a:cubicBezTo>
                  <a:pt x="86" y="570"/>
                  <a:pt x="86" y="570"/>
                  <a:pt x="86" y="570"/>
                </a:cubicBezTo>
                <a:cubicBezTo>
                  <a:pt x="90" y="612"/>
                  <a:pt x="125" y="645"/>
                  <a:pt x="167" y="645"/>
                </a:cubicBezTo>
                <a:cubicBezTo>
                  <a:pt x="210" y="645"/>
                  <a:pt x="245" y="612"/>
                  <a:pt x="249" y="570"/>
                </a:cubicBezTo>
                <a:cubicBezTo>
                  <a:pt x="430" y="570"/>
                  <a:pt x="430" y="570"/>
                  <a:pt x="430" y="570"/>
                </a:cubicBezTo>
                <a:cubicBezTo>
                  <a:pt x="433" y="612"/>
                  <a:pt x="468" y="645"/>
                  <a:pt x="511" y="645"/>
                </a:cubicBezTo>
                <a:cubicBezTo>
                  <a:pt x="554" y="645"/>
                  <a:pt x="589" y="612"/>
                  <a:pt x="593" y="570"/>
                </a:cubicBezTo>
                <a:cubicBezTo>
                  <a:pt x="669" y="570"/>
                  <a:pt x="669" y="570"/>
                  <a:pt x="669" y="570"/>
                </a:cubicBezTo>
                <a:cubicBezTo>
                  <a:pt x="673" y="570"/>
                  <a:pt x="676" y="567"/>
                  <a:pt x="676" y="563"/>
                </a:cubicBezTo>
                <a:cubicBezTo>
                  <a:pt x="676" y="393"/>
                  <a:pt x="676" y="393"/>
                  <a:pt x="676" y="393"/>
                </a:cubicBezTo>
                <a:cubicBezTo>
                  <a:pt x="676" y="392"/>
                  <a:pt x="676" y="391"/>
                  <a:pt x="676" y="391"/>
                </a:cubicBezTo>
                <a:close/>
                <a:moveTo>
                  <a:pt x="655" y="386"/>
                </a:moveTo>
                <a:cubicBezTo>
                  <a:pt x="461" y="386"/>
                  <a:pt x="461" y="386"/>
                  <a:pt x="461" y="386"/>
                </a:cubicBezTo>
                <a:cubicBezTo>
                  <a:pt x="461" y="248"/>
                  <a:pt x="461" y="248"/>
                  <a:pt x="461" y="248"/>
                </a:cubicBezTo>
                <a:cubicBezTo>
                  <a:pt x="549" y="248"/>
                  <a:pt x="549" y="248"/>
                  <a:pt x="549" y="248"/>
                </a:cubicBezTo>
                <a:lnTo>
                  <a:pt x="655" y="386"/>
                </a:lnTo>
                <a:close/>
                <a:moveTo>
                  <a:pt x="295" y="133"/>
                </a:moveTo>
                <a:cubicBezTo>
                  <a:pt x="295" y="115"/>
                  <a:pt x="309" y="100"/>
                  <a:pt x="327" y="100"/>
                </a:cubicBezTo>
                <a:cubicBezTo>
                  <a:pt x="345" y="100"/>
                  <a:pt x="360" y="115"/>
                  <a:pt x="360" y="133"/>
                </a:cubicBezTo>
                <a:cubicBezTo>
                  <a:pt x="360" y="186"/>
                  <a:pt x="360" y="186"/>
                  <a:pt x="360" y="186"/>
                </a:cubicBezTo>
                <a:cubicBezTo>
                  <a:pt x="295" y="186"/>
                  <a:pt x="295" y="186"/>
                  <a:pt x="295" y="186"/>
                </a:cubicBezTo>
                <a:lnTo>
                  <a:pt x="295" y="133"/>
                </a:lnTo>
                <a:close/>
                <a:moveTo>
                  <a:pt x="167" y="631"/>
                </a:moveTo>
                <a:cubicBezTo>
                  <a:pt x="130" y="631"/>
                  <a:pt x="100" y="600"/>
                  <a:pt x="100" y="563"/>
                </a:cubicBezTo>
                <a:cubicBezTo>
                  <a:pt x="100" y="526"/>
                  <a:pt x="130" y="495"/>
                  <a:pt x="167" y="495"/>
                </a:cubicBezTo>
                <a:cubicBezTo>
                  <a:pt x="205" y="495"/>
                  <a:pt x="235" y="526"/>
                  <a:pt x="235" y="563"/>
                </a:cubicBezTo>
                <a:cubicBezTo>
                  <a:pt x="235" y="600"/>
                  <a:pt x="205" y="631"/>
                  <a:pt x="167" y="631"/>
                </a:cubicBezTo>
                <a:close/>
                <a:moveTo>
                  <a:pt x="511" y="631"/>
                </a:moveTo>
                <a:cubicBezTo>
                  <a:pt x="475" y="631"/>
                  <a:pt x="445" y="602"/>
                  <a:pt x="444" y="566"/>
                </a:cubicBezTo>
                <a:cubicBezTo>
                  <a:pt x="444" y="565"/>
                  <a:pt x="444" y="564"/>
                  <a:pt x="444" y="563"/>
                </a:cubicBezTo>
                <a:cubicBezTo>
                  <a:pt x="444" y="562"/>
                  <a:pt x="444" y="561"/>
                  <a:pt x="444" y="560"/>
                </a:cubicBezTo>
                <a:cubicBezTo>
                  <a:pt x="445" y="524"/>
                  <a:pt x="475" y="495"/>
                  <a:pt x="511" y="495"/>
                </a:cubicBezTo>
                <a:cubicBezTo>
                  <a:pt x="549" y="495"/>
                  <a:pt x="579" y="526"/>
                  <a:pt x="579" y="563"/>
                </a:cubicBezTo>
                <a:cubicBezTo>
                  <a:pt x="579" y="600"/>
                  <a:pt x="549" y="631"/>
                  <a:pt x="511" y="631"/>
                </a:cubicBezTo>
                <a:close/>
                <a:moveTo>
                  <a:pt x="593" y="556"/>
                </a:moveTo>
                <a:cubicBezTo>
                  <a:pt x="589" y="514"/>
                  <a:pt x="554" y="481"/>
                  <a:pt x="511" y="481"/>
                </a:cubicBezTo>
                <a:cubicBezTo>
                  <a:pt x="468" y="481"/>
                  <a:pt x="433" y="514"/>
                  <a:pt x="430" y="556"/>
                </a:cubicBezTo>
                <a:cubicBezTo>
                  <a:pt x="249" y="556"/>
                  <a:pt x="249" y="556"/>
                  <a:pt x="249" y="556"/>
                </a:cubicBezTo>
                <a:cubicBezTo>
                  <a:pt x="245" y="514"/>
                  <a:pt x="210" y="481"/>
                  <a:pt x="167" y="481"/>
                </a:cubicBezTo>
                <a:cubicBezTo>
                  <a:pt x="125" y="481"/>
                  <a:pt x="90" y="514"/>
                  <a:pt x="86" y="556"/>
                </a:cubicBezTo>
                <a:cubicBezTo>
                  <a:pt x="14" y="556"/>
                  <a:pt x="14" y="556"/>
                  <a:pt x="14" y="556"/>
                </a:cubicBezTo>
                <a:cubicBezTo>
                  <a:pt x="14" y="200"/>
                  <a:pt x="14" y="200"/>
                  <a:pt x="14" y="200"/>
                </a:cubicBezTo>
                <a:cubicBezTo>
                  <a:pt x="512" y="200"/>
                  <a:pt x="512" y="200"/>
                  <a:pt x="512" y="200"/>
                </a:cubicBezTo>
                <a:cubicBezTo>
                  <a:pt x="539" y="234"/>
                  <a:pt x="539" y="234"/>
                  <a:pt x="539" y="234"/>
                </a:cubicBezTo>
                <a:cubicBezTo>
                  <a:pt x="454" y="234"/>
                  <a:pt x="454" y="234"/>
                  <a:pt x="454" y="234"/>
                </a:cubicBezTo>
                <a:cubicBezTo>
                  <a:pt x="450" y="234"/>
                  <a:pt x="447" y="237"/>
                  <a:pt x="447" y="241"/>
                </a:cubicBezTo>
                <a:cubicBezTo>
                  <a:pt x="447" y="393"/>
                  <a:pt x="447" y="393"/>
                  <a:pt x="447" y="393"/>
                </a:cubicBezTo>
                <a:cubicBezTo>
                  <a:pt x="447" y="396"/>
                  <a:pt x="450" y="400"/>
                  <a:pt x="454" y="400"/>
                </a:cubicBezTo>
                <a:cubicBezTo>
                  <a:pt x="662" y="400"/>
                  <a:pt x="662" y="400"/>
                  <a:pt x="662" y="400"/>
                </a:cubicBezTo>
                <a:cubicBezTo>
                  <a:pt x="662" y="556"/>
                  <a:pt x="662" y="556"/>
                  <a:pt x="662" y="556"/>
                </a:cubicBezTo>
                <a:lnTo>
                  <a:pt x="593" y="556"/>
                </a:lnTo>
                <a:close/>
                <a:moveTo>
                  <a:pt x="185" y="143"/>
                </a:moveTo>
                <a:cubicBezTo>
                  <a:pt x="185" y="139"/>
                  <a:pt x="188" y="136"/>
                  <a:pt x="192" y="136"/>
                </a:cubicBezTo>
                <a:cubicBezTo>
                  <a:pt x="235" y="136"/>
                  <a:pt x="235" y="136"/>
                  <a:pt x="235" y="136"/>
                </a:cubicBezTo>
                <a:cubicBezTo>
                  <a:pt x="239" y="136"/>
                  <a:pt x="242" y="139"/>
                  <a:pt x="242" y="143"/>
                </a:cubicBezTo>
                <a:cubicBezTo>
                  <a:pt x="242" y="147"/>
                  <a:pt x="239" y="150"/>
                  <a:pt x="235" y="150"/>
                </a:cubicBezTo>
                <a:cubicBezTo>
                  <a:pt x="192" y="150"/>
                  <a:pt x="192" y="150"/>
                  <a:pt x="192" y="150"/>
                </a:cubicBezTo>
                <a:cubicBezTo>
                  <a:pt x="188" y="150"/>
                  <a:pt x="185" y="147"/>
                  <a:pt x="185" y="143"/>
                </a:cubicBezTo>
                <a:close/>
                <a:moveTo>
                  <a:pt x="420" y="136"/>
                </a:moveTo>
                <a:cubicBezTo>
                  <a:pt x="463" y="136"/>
                  <a:pt x="463" y="136"/>
                  <a:pt x="463" y="136"/>
                </a:cubicBezTo>
                <a:cubicBezTo>
                  <a:pt x="467" y="136"/>
                  <a:pt x="470" y="139"/>
                  <a:pt x="470" y="143"/>
                </a:cubicBezTo>
                <a:cubicBezTo>
                  <a:pt x="470" y="147"/>
                  <a:pt x="467" y="150"/>
                  <a:pt x="463" y="150"/>
                </a:cubicBezTo>
                <a:cubicBezTo>
                  <a:pt x="420" y="150"/>
                  <a:pt x="420" y="150"/>
                  <a:pt x="420" y="150"/>
                </a:cubicBezTo>
                <a:cubicBezTo>
                  <a:pt x="416" y="150"/>
                  <a:pt x="413" y="147"/>
                  <a:pt x="413" y="143"/>
                </a:cubicBezTo>
                <a:cubicBezTo>
                  <a:pt x="413" y="139"/>
                  <a:pt x="416" y="136"/>
                  <a:pt x="420" y="136"/>
                </a:cubicBezTo>
                <a:close/>
                <a:moveTo>
                  <a:pt x="226" y="52"/>
                </a:moveTo>
                <a:cubicBezTo>
                  <a:pt x="224" y="49"/>
                  <a:pt x="224" y="45"/>
                  <a:pt x="226" y="42"/>
                </a:cubicBezTo>
                <a:cubicBezTo>
                  <a:pt x="229" y="39"/>
                  <a:pt x="234" y="39"/>
                  <a:pt x="236" y="42"/>
                </a:cubicBezTo>
                <a:cubicBezTo>
                  <a:pt x="267" y="73"/>
                  <a:pt x="267" y="73"/>
                  <a:pt x="267" y="73"/>
                </a:cubicBezTo>
                <a:cubicBezTo>
                  <a:pt x="270" y="75"/>
                  <a:pt x="270" y="80"/>
                  <a:pt x="267" y="82"/>
                </a:cubicBezTo>
                <a:cubicBezTo>
                  <a:pt x="265" y="84"/>
                  <a:pt x="264" y="85"/>
                  <a:pt x="262" y="85"/>
                </a:cubicBezTo>
                <a:cubicBezTo>
                  <a:pt x="260" y="85"/>
                  <a:pt x="258" y="84"/>
                  <a:pt x="257" y="82"/>
                </a:cubicBezTo>
                <a:lnTo>
                  <a:pt x="226" y="52"/>
                </a:lnTo>
                <a:close/>
                <a:moveTo>
                  <a:pt x="388" y="82"/>
                </a:moveTo>
                <a:cubicBezTo>
                  <a:pt x="385" y="80"/>
                  <a:pt x="385" y="75"/>
                  <a:pt x="388" y="73"/>
                </a:cubicBezTo>
                <a:cubicBezTo>
                  <a:pt x="418" y="42"/>
                  <a:pt x="418" y="42"/>
                  <a:pt x="418" y="42"/>
                </a:cubicBezTo>
                <a:cubicBezTo>
                  <a:pt x="421" y="39"/>
                  <a:pt x="425" y="39"/>
                  <a:pt x="428" y="42"/>
                </a:cubicBezTo>
                <a:cubicBezTo>
                  <a:pt x="431" y="45"/>
                  <a:pt x="431" y="49"/>
                  <a:pt x="428" y="52"/>
                </a:cubicBezTo>
                <a:cubicBezTo>
                  <a:pt x="398" y="82"/>
                  <a:pt x="398" y="82"/>
                  <a:pt x="398" y="82"/>
                </a:cubicBezTo>
                <a:cubicBezTo>
                  <a:pt x="396" y="84"/>
                  <a:pt x="395" y="85"/>
                  <a:pt x="393" y="85"/>
                </a:cubicBezTo>
                <a:cubicBezTo>
                  <a:pt x="391" y="85"/>
                  <a:pt x="389" y="84"/>
                  <a:pt x="388" y="82"/>
                </a:cubicBezTo>
                <a:close/>
                <a:moveTo>
                  <a:pt x="320" y="50"/>
                </a:moveTo>
                <a:cubicBezTo>
                  <a:pt x="320" y="7"/>
                  <a:pt x="320" y="7"/>
                  <a:pt x="320" y="7"/>
                </a:cubicBezTo>
                <a:cubicBezTo>
                  <a:pt x="320" y="4"/>
                  <a:pt x="323" y="0"/>
                  <a:pt x="327" y="0"/>
                </a:cubicBezTo>
                <a:cubicBezTo>
                  <a:pt x="331" y="0"/>
                  <a:pt x="334" y="4"/>
                  <a:pt x="334" y="7"/>
                </a:cubicBezTo>
                <a:cubicBezTo>
                  <a:pt x="334" y="50"/>
                  <a:pt x="334" y="50"/>
                  <a:pt x="334" y="50"/>
                </a:cubicBezTo>
                <a:cubicBezTo>
                  <a:pt x="334" y="54"/>
                  <a:pt x="331" y="57"/>
                  <a:pt x="327" y="57"/>
                </a:cubicBezTo>
                <a:cubicBezTo>
                  <a:pt x="323" y="57"/>
                  <a:pt x="320" y="54"/>
                  <a:pt x="320" y="50"/>
                </a:cubicBezTo>
                <a:close/>
                <a:moveTo>
                  <a:pt x="208" y="325"/>
                </a:moveTo>
                <a:cubicBezTo>
                  <a:pt x="208" y="329"/>
                  <a:pt x="205" y="332"/>
                  <a:pt x="201" y="332"/>
                </a:cubicBezTo>
                <a:cubicBezTo>
                  <a:pt x="141" y="332"/>
                  <a:pt x="141" y="332"/>
                  <a:pt x="141" y="332"/>
                </a:cubicBezTo>
                <a:cubicBezTo>
                  <a:pt x="141" y="393"/>
                  <a:pt x="141" y="393"/>
                  <a:pt x="141" y="393"/>
                </a:cubicBezTo>
                <a:cubicBezTo>
                  <a:pt x="141" y="396"/>
                  <a:pt x="137" y="400"/>
                  <a:pt x="134" y="400"/>
                </a:cubicBezTo>
                <a:cubicBezTo>
                  <a:pt x="130" y="400"/>
                  <a:pt x="127" y="396"/>
                  <a:pt x="127" y="393"/>
                </a:cubicBezTo>
                <a:cubicBezTo>
                  <a:pt x="127" y="332"/>
                  <a:pt x="127" y="332"/>
                  <a:pt x="127" y="332"/>
                </a:cubicBezTo>
                <a:cubicBezTo>
                  <a:pt x="66" y="332"/>
                  <a:pt x="66" y="332"/>
                  <a:pt x="66" y="332"/>
                </a:cubicBezTo>
                <a:cubicBezTo>
                  <a:pt x="62" y="332"/>
                  <a:pt x="59" y="329"/>
                  <a:pt x="59" y="325"/>
                </a:cubicBezTo>
                <a:cubicBezTo>
                  <a:pt x="59" y="321"/>
                  <a:pt x="62" y="318"/>
                  <a:pt x="66" y="318"/>
                </a:cubicBezTo>
                <a:cubicBezTo>
                  <a:pt x="127" y="318"/>
                  <a:pt x="127" y="318"/>
                  <a:pt x="127" y="318"/>
                </a:cubicBezTo>
                <a:cubicBezTo>
                  <a:pt x="127" y="258"/>
                  <a:pt x="127" y="258"/>
                  <a:pt x="127" y="258"/>
                </a:cubicBezTo>
                <a:cubicBezTo>
                  <a:pt x="127" y="254"/>
                  <a:pt x="130" y="251"/>
                  <a:pt x="134" y="251"/>
                </a:cubicBezTo>
                <a:cubicBezTo>
                  <a:pt x="137" y="251"/>
                  <a:pt x="141" y="254"/>
                  <a:pt x="141" y="258"/>
                </a:cubicBezTo>
                <a:cubicBezTo>
                  <a:pt x="141" y="318"/>
                  <a:pt x="141" y="318"/>
                  <a:pt x="141" y="318"/>
                </a:cubicBezTo>
                <a:cubicBezTo>
                  <a:pt x="201" y="318"/>
                  <a:pt x="201" y="318"/>
                  <a:pt x="201" y="318"/>
                </a:cubicBezTo>
                <a:cubicBezTo>
                  <a:pt x="205" y="318"/>
                  <a:pt x="208" y="321"/>
                  <a:pt x="208" y="325"/>
                </a:cubicBez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19" name="Oval 19"/>
          <p:cNvSpPr>
            <a:spLocks noChangeArrowheads="1"/>
          </p:cNvSpPr>
          <p:nvPr/>
        </p:nvSpPr>
        <p:spPr bwMode="auto">
          <a:xfrm>
            <a:off x="1315706" y="3120088"/>
            <a:ext cx="1119124" cy="1119124"/>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29" name="Freeform 29"/>
          <p:cNvSpPr>
            <a:spLocks noEditPoints="1"/>
          </p:cNvSpPr>
          <p:nvPr/>
        </p:nvSpPr>
        <p:spPr bwMode="auto">
          <a:xfrm>
            <a:off x="1600948" y="3312703"/>
            <a:ext cx="548643" cy="733896"/>
          </a:xfrm>
          <a:custGeom>
            <a:avLst/>
            <a:gdLst>
              <a:gd name="T0" fmla="*/ 361 w 521"/>
              <a:gd name="T1" fmla="*/ 395 h 697"/>
              <a:gd name="T2" fmla="*/ 434 w 521"/>
              <a:gd name="T3" fmla="*/ 146 h 697"/>
              <a:gd name="T4" fmla="*/ 363 w 521"/>
              <a:gd name="T5" fmla="*/ 18 h 697"/>
              <a:gd name="T6" fmla="*/ 159 w 521"/>
              <a:gd name="T7" fmla="*/ 18 h 697"/>
              <a:gd name="T8" fmla="*/ 87 w 521"/>
              <a:gd name="T9" fmla="*/ 146 h 697"/>
              <a:gd name="T10" fmla="*/ 161 w 521"/>
              <a:gd name="T11" fmla="*/ 395 h 697"/>
              <a:gd name="T12" fmla="*/ 4 w 521"/>
              <a:gd name="T13" fmla="*/ 605 h 697"/>
              <a:gd name="T14" fmla="*/ 113 w 521"/>
              <a:gd name="T15" fmla="*/ 697 h 697"/>
              <a:gd name="T16" fmla="*/ 118 w 521"/>
              <a:gd name="T17" fmla="*/ 695 h 697"/>
              <a:gd name="T18" fmla="*/ 404 w 521"/>
              <a:gd name="T19" fmla="*/ 695 h 697"/>
              <a:gd name="T20" fmla="*/ 409 w 521"/>
              <a:gd name="T21" fmla="*/ 697 h 697"/>
              <a:gd name="T22" fmla="*/ 518 w 521"/>
              <a:gd name="T23" fmla="*/ 605 h 697"/>
              <a:gd name="T24" fmla="*/ 422 w 521"/>
              <a:gd name="T25" fmla="*/ 152 h 697"/>
              <a:gd name="T26" fmla="*/ 352 w 521"/>
              <a:gd name="T27" fmla="*/ 384 h 697"/>
              <a:gd name="T28" fmla="*/ 356 w 521"/>
              <a:gd name="T29" fmla="*/ 171 h 697"/>
              <a:gd name="T30" fmla="*/ 366 w 521"/>
              <a:gd name="T31" fmla="*/ 155 h 697"/>
              <a:gd name="T32" fmla="*/ 409 w 521"/>
              <a:gd name="T33" fmla="*/ 125 h 697"/>
              <a:gd name="T34" fmla="*/ 177 w 521"/>
              <a:gd name="T35" fmla="*/ 163 h 697"/>
              <a:gd name="T36" fmla="*/ 261 w 521"/>
              <a:gd name="T37" fmla="*/ 143 h 697"/>
              <a:gd name="T38" fmla="*/ 345 w 521"/>
              <a:gd name="T39" fmla="*/ 163 h 697"/>
              <a:gd name="T40" fmla="*/ 177 w 521"/>
              <a:gd name="T41" fmla="*/ 163 h 697"/>
              <a:gd name="T42" fmla="*/ 167 w 521"/>
              <a:gd name="T43" fmla="*/ 29 h 697"/>
              <a:gd name="T44" fmla="*/ 261 w 521"/>
              <a:gd name="T45" fmla="*/ 14 h 697"/>
              <a:gd name="T46" fmla="*/ 367 w 521"/>
              <a:gd name="T47" fmla="*/ 63 h 697"/>
              <a:gd name="T48" fmla="*/ 261 w 521"/>
              <a:gd name="T49" fmla="*/ 129 h 697"/>
              <a:gd name="T50" fmla="*/ 155 w 521"/>
              <a:gd name="T51" fmla="*/ 63 h 697"/>
              <a:gd name="T52" fmla="*/ 18 w 521"/>
              <a:gd name="T53" fmla="*/ 599 h 697"/>
              <a:gd name="T54" fmla="*/ 252 w 521"/>
              <a:gd name="T55" fmla="*/ 507 h 697"/>
              <a:gd name="T56" fmla="*/ 410 w 521"/>
              <a:gd name="T57" fmla="*/ 680 h 697"/>
              <a:gd name="T58" fmla="*/ 175 w 521"/>
              <a:gd name="T59" fmla="*/ 391 h 697"/>
              <a:gd name="T60" fmla="*/ 100 w 521"/>
              <a:gd name="T61" fmla="*/ 152 h 697"/>
              <a:gd name="T62" fmla="*/ 140 w 521"/>
              <a:gd name="T63" fmla="*/ 69 h 697"/>
              <a:gd name="T64" fmla="*/ 156 w 521"/>
              <a:gd name="T65" fmla="*/ 157 h 697"/>
              <a:gd name="T66" fmla="*/ 166 w 521"/>
              <a:gd name="T67" fmla="*/ 171 h 697"/>
              <a:gd name="T68" fmla="*/ 346 w 521"/>
              <a:gd name="T69" fmla="*/ 400 h 697"/>
              <a:gd name="T70" fmla="*/ 410 w 521"/>
              <a:gd name="T71" fmla="*/ 680 h 6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21" h="697">
                <a:moveTo>
                  <a:pt x="519" y="596"/>
                </a:moveTo>
                <a:cubicBezTo>
                  <a:pt x="519" y="596"/>
                  <a:pt x="442" y="498"/>
                  <a:pt x="361" y="395"/>
                </a:cubicBezTo>
                <a:cubicBezTo>
                  <a:pt x="387" y="362"/>
                  <a:pt x="402" y="344"/>
                  <a:pt x="414" y="329"/>
                </a:cubicBezTo>
                <a:cubicBezTo>
                  <a:pt x="458" y="274"/>
                  <a:pt x="465" y="210"/>
                  <a:pt x="434" y="146"/>
                </a:cubicBezTo>
                <a:cubicBezTo>
                  <a:pt x="430" y="137"/>
                  <a:pt x="426" y="128"/>
                  <a:pt x="422" y="119"/>
                </a:cubicBezTo>
                <a:cubicBezTo>
                  <a:pt x="401" y="74"/>
                  <a:pt x="381" y="31"/>
                  <a:pt x="363" y="18"/>
                </a:cubicBezTo>
                <a:cubicBezTo>
                  <a:pt x="342" y="2"/>
                  <a:pt x="285" y="0"/>
                  <a:pt x="261" y="0"/>
                </a:cubicBezTo>
                <a:cubicBezTo>
                  <a:pt x="237" y="0"/>
                  <a:pt x="180" y="2"/>
                  <a:pt x="159" y="18"/>
                </a:cubicBezTo>
                <a:cubicBezTo>
                  <a:pt x="141" y="31"/>
                  <a:pt x="121" y="74"/>
                  <a:pt x="100" y="119"/>
                </a:cubicBezTo>
                <a:cubicBezTo>
                  <a:pt x="96" y="128"/>
                  <a:pt x="92" y="137"/>
                  <a:pt x="87" y="146"/>
                </a:cubicBezTo>
                <a:cubicBezTo>
                  <a:pt x="57" y="210"/>
                  <a:pt x="64" y="274"/>
                  <a:pt x="108" y="329"/>
                </a:cubicBezTo>
                <a:cubicBezTo>
                  <a:pt x="118" y="342"/>
                  <a:pt x="138" y="366"/>
                  <a:pt x="161" y="395"/>
                </a:cubicBezTo>
                <a:cubicBezTo>
                  <a:pt x="3" y="596"/>
                  <a:pt x="3" y="596"/>
                  <a:pt x="3" y="596"/>
                </a:cubicBezTo>
                <a:cubicBezTo>
                  <a:pt x="0" y="599"/>
                  <a:pt x="1" y="603"/>
                  <a:pt x="4" y="605"/>
                </a:cubicBezTo>
                <a:cubicBezTo>
                  <a:pt x="108" y="696"/>
                  <a:pt x="108" y="696"/>
                  <a:pt x="108" y="696"/>
                </a:cubicBezTo>
                <a:cubicBezTo>
                  <a:pt x="109" y="697"/>
                  <a:pt x="111" y="697"/>
                  <a:pt x="113" y="697"/>
                </a:cubicBezTo>
                <a:cubicBezTo>
                  <a:pt x="113" y="697"/>
                  <a:pt x="113" y="697"/>
                  <a:pt x="113" y="697"/>
                </a:cubicBezTo>
                <a:cubicBezTo>
                  <a:pt x="115" y="697"/>
                  <a:pt x="117" y="696"/>
                  <a:pt x="118" y="695"/>
                </a:cubicBezTo>
                <a:cubicBezTo>
                  <a:pt x="118" y="695"/>
                  <a:pt x="185" y="612"/>
                  <a:pt x="261" y="519"/>
                </a:cubicBezTo>
                <a:cubicBezTo>
                  <a:pt x="333" y="608"/>
                  <a:pt x="402" y="693"/>
                  <a:pt x="404" y="695"/>
                </a:cubicBezTo>
                <a:cubicBezTo>
                  <a:pt x="405" y="696"/>
                  <a:pt x="407" y="697"/>
                  <a:pt x="409" y="697"/>
                </a:cubicBezTo>
                <a:cubicBezTo>
                  <a:pt x="409" y="697"/>
                  <a:pt x="409" y="697"/>
                  <a:pt x="409" y="697"/>
                </a:cubicBezTo>
                <a:cubicBezTo>
                  <a:pt x="411" y="697"/>
                  <a:pt x="412" y="697"/>
                  <a:pt x="414" y="696"/>
                </a:cubicBezTo>
                <a:cubicBezTo>
                  <a:pt x="518" y="605"/>
                  <a:pt x="518" y="605"/>
                  <a:pt x="518" y="605"/>
                </a:cubicBezTo>
                <a:cubicBezTo>
                  <a:pt x="521" y="603"/>
                  <a:pt x="521" y="599"/>
                  <a:pt x="519" y="596"/>
                </a:cubicBezTo>
                <a:close/>
                <a:moveTo>
                  <a:pt x="422" y="152"/>
                </a:moveTo>
                <a:cubicBezTo>
                  <a:pt x="451" y="212"/>
                  <a:pt x="444" y="269"/>
                  <a:pt x="403" y="321"/>
                </a:cubicBezTo>
                <a:cubicBezTo>
                  <a:pt x="391" y="335"/>
                  <a:pt x="377" y="352"/>
                  <a:pt x="352" y="384"/>
                </a:cubicBezTo>
                <a:cubicBezTo>
                  <a:pt x="324" y="348"/>
                  <a:pt x="295" y="313"/>
                  <a:pt x="270" y="280"/>
                </a:cubicBezTo>
                <a:cubicBezTo>
                  <a:pt x="312" y="227"/>
                  <a:pt x="343" y="188"/>
                  <a:pt x="356" y="171"/>
                </a:cubicBezTo>
                <a:cubicBezTo>
                  <a:pt x="359" y="167"/>
                  <a:pt x="363" y="162"/>
                  <a:pt x="366" y="156"/>
                </a:cubicBezTo>
                <a:cubicBezTo>
                  <a:pt x="366" y="156"/>
                  <a:pt x="366" y="155"/>
                  <a:pt x="366" y="155"/>
                </a:cubicBezTo>
                <a:cubicBezTo>
                  <a:pt x="381" y="127"/>
                  <a:pt x="384" y="94"/>
                  <a:pt x="382" y="69"/>
                </a:cubicBezTo>
                <a:cubicBezTo>
                  <a:pt x="391" y="85"/>
                  <a:pt x="400" y="105"/>
                  <a:pt x="409" y="125"/>
                </a:cubicBezTo>
                <a:cubicBezTo>
                  <a:pt x="413" y="134"/>
                  <a:pt x="418" y="143"/>
                  <a:pt x="422" y="152"/>
                </a:cubicBezTo>
                <a:close/>
                <a:moveTo>
                  <a:pt x="177" y="163"/>
                </a:moveTo>
                <a:cubicBezTo>
                  <a:pt x="175" y="160"/>
                  <a:pt x="173" y="158"/>
                  <a:pt x="171" y="155"/>
                </a:cubicBezTo>
                <a:cubicBezTo>
                  <a:pt x="190" y="146"/>
                  <a:pt x="228" y="143"/>
                  <a:pt x="261" y="143"/>
                </a:cubicBezTo>
                <a:cubicBezTo>
                  <a:pt x="293" y="143"/>
                  <a:pt x="332" y="146"/>
                  <a:pt x="350" y="155"/>
                </a:cubicBezTo>
                <a:cubicBezTo>
                  <a:pt x="349" y="158"/>
                  <a:pt x="347" y="160"/>
                  <a:pt x="345" y="163"/>
                </a:cubicBezTo>
                <a:cubicBezTo>
                  <a:pt x="332" y="179"/>
                  <a:pt x="302" y="217"/>
                  <a:pt x="261" y="269"/>
                </a:cubicBezTo>
                <a:cubicBezTo>
                  <a:pt x="221" y="219"/>
                  <a:pt x="189" y="179"/>
                  <a:pt x="177" y="163"/>
                </a:cubicBezTo>
                <a:close/>
                <a:moveTo>
                  <a:pt x="155" y="63"/>
                </a:moveTo>
                <a:cubicBezTo>
                  <a:pt x="157" y="43"/>
                  <a:pt x="163" y="32"/>
                  <a:pt x="167" y="29"/>
                </a:cubicBezTo>
                <a:cubicBezTo>
                  <a:pt x="167" y="29"/>
                  <a:pt x="167" y="29"/>
                  <a:pt x="167" y="29"/>
                </a:cubicBezTo>
                <a:cubicBezTo>
                  <a:pt x="182" y="18"/>
                  <a:pt x="225" y="14"/>
                  <a:pt x="261" y="14"/>
                </a:cubicBezTo>
                <a:cubicBezTo>
                  <a:pt x="297" y="14"/>
                  <a:pt x="340" y="18"/>
                  <a:pt x="354" y="29"/>
                </a:cubicBezTo>
                <a:cubicBezTo>
                  <a:pt x="359" y="32"/>
                  <a:pt x="365" y="43"/>
                  <a:pt x="367" y="63"/>
                </a:cubicBezTo>
                <a:cubicBezTo>
                  <a:pt x="370" y="85"/>
                  <a:pt x="368" y="116"/>
                  <a:pt x="357" y="143"/>
                </a:cubicBezTo>
                <a:cubicBezTo>
                  <a:pt x="332" y="130"/>
                  <a:pt x="282" y="129"/>
                  <a:pt x="261" y="129"/>
                </a:cubicBezTo>
                <a:cubicBezTo>
                  <a:pt x="239" y="129"/>
                  <a:pt x="190" y="130"/>
                  <a:pt x="165" y="142"/>
                </a:cubicBezTo>
                <a:cubicBezTo>
                  <a:pt x="153" y="116"/>
                  <a:pt x="152" y="85"/>
                  <a:pt x="155" y="63"/>
                </a:cubicBezTo>
                <a:close/>
                <a:moveTo>
                  <a:pt x="112" y="680"/>
                </a:moveTo>
                <a:cubicBezTo>
                  <a:pt x="18" y="599"/>
                  <a:pt x="18" y="599"/>
                  <a:pt x="18" y="599"/>
                </a:cubicBezTo>
                <a:cubicBezTo>
                  <a:pt x="170" y="406"/>
                  <a:pt x="170" y="406"/>
                  <a:pt x="170" y="406"/>
                </a:cubicBezTo>
                <a:cubicBezTo>
                  <a:pt x="195" y="437"/>
                  <a:pt x="223" y="472"/>
                  <a:pt x="252" y="507"/>
                </a:cubicBezTo>
                <a:cubicBezTo>
                  <a:pt x="187" y="587"/>
                  <a:pt x="128" y="660"/>
                  <a:pt x="112" y="680"/>
                </a:cubicBezTo>
                <a:close/>
                <a:moveTo>
                  <a:pt x="410" y="680"/>
                </a:moveTo>
                <a:cubicBezTo>
                  <a:pt x="384" y="649"/>
                  <a:pt x="256" y="490"/>
                  <a:pt x="175" y="391"/>
                </a:cubicBezTo>
                <a:cubicBezTo>
                  <a:pt x="175" y="391"/>
                  <a:pt x="175" y="391"/>
                  <a:pt x="175" y="391"/>
                </a:cubicBezTo>
                <a:cubicBezTo>
                  <a:pt x="150" y="360"/>
                  <a:pt x="130" y="334"/>
                  <a:pt x="119" y="321"/>
                </a:cubicBezTo>
                <a:cubicBezTo>
                  <a:pt x="78" y="269"/>
                  <a:pt x="71" y="212"/>
                  <a:pt x="100" y="152"/>
                </a:cubicBezTo>
                <a:cubicBezTo>
                  <a:pt x="104" y="143"/>
                  <a:pt x="108" y="134"/>
                  <a:pt x="113" y="125"/>
                </a:cubicBezTo>
                <a:cubicBezTo>
                  <a:pt x="122" y="105"/>
                  <a:pt x="131" y="85"/>
                  <a:pt x="140" y="69"/>
                </a:cubicBezTo>
                <a:cubicBezTo>
                  <a:pt x="138" y="94"/>
                  <a:pt x="141" y="126"/>
                  <a:pt x="155" y="154"/>
                </a:cubicBezTo>
                <a:cubicBezTo>
                  <a:pt x="155" y="155"/>
                  <a:pt x="155" y="156"/>
                  <a:pt x="156" y="157"/>
                </a:cubicBezTo>
                <a:cubicBezTo>
                  <a:pt x="156" y="157"/>
                  <a:pt x="157" y="157"/>
                  <a:pt x="157" y="157"/>
                </a:cubicBezTo>
                <a:cubicBezTo>
                  <a:pt x="160" y="162"/>
                  <a:pt x="163" y="167"/>
                  <a:pt x="166" y="171"/>
                </a:cubicBezTo>
                <a:cubicBezTo>
                  <a:pt x="188" y="199"/>
                  <a:pt x="269" y="301"/>
                  <a:pt x="346" y="399"/>
                </a:cubicBezTo>
                <a:cubicBezTo>
                  <a:pt x="346" y="400"/>
                  <a:pt x="346" y="400"/>
                  <a:pt x="346" y="400"/>
                </a:cubicBezTo>
                <a:cubicBezTo>
                  <a:pt x="418" y="490"/>
                  <a:pt x="487" y="577"/>
                  <a:pt x="504" y="599"/>
                </a:cubicBezTo>
                <a:lnTo>
                  <a:pt x="410" y="680"/>
                </a:ln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11" name="Oval 11"/>
          <p:cNvSpPr>
            <a:spLocks noChangeArrowheads="1"/>
          </p:cNvSpPr>
          <p:nvPr/>
        </p:nvSpPr>
        <p:spPr bwMode="auto">
          <a:xfrm>
            <a:off x="4831649" y="4719249"/>
            <a:ext cx="1119124" cy="1119124"/>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30" name="Freeform 30"/>
          <p:cNvSpPr>
            <a:spLocks noEditPoints="1"/>
          </p:cNvSpPr>
          <p:nvPr/>
        </p:nvSpPr>
        <p:spPr bwMode="auto">
          <a:xfrm>
            <a:off x="5127587" y="4990105"/>
            <a:ext cx="602126" cy="625157"/>
          </a:xfrm>
          <a:custGeom>
            <a:avLst/>
            <a:gdLst>
              <a:gd name="T0" fmla="*/ 462 w 572"/>
              <a:gd name="T1" fmla="*/ 374 h 593"/>
              <a:gd name="T2" fmla="*/ 517 w 572"/>
              <a:gd name="T3" fmla="*/ 374 h 593"/>
              <a:gd name="T4" fmla="*/ 489 w 572"/>
              <a:gd name="T5" fmla="*/ 387 h 593"/>
              <a:gd name="T6" fmla="*/ 489 w 572"/>
              <a:gd name="T7" fmla="*/ 361 h 593"/>
              <a:gd name="T8" fmla="*/ 489 w 572"/>
              <a:gd name="T9" fmla="*/ 387 h 593"/>
              <a:gd name="T10" fmla="*/ 489 w 572"/>
              <a:gd name="T11" fmla="*/ 291 h 593"/>
              <a:gd name="T12" fmla="*/ 481 w 572"/>
              <a:gd name="T13" fmla="*/ 456 h 593"/>
              <a:gd name="T14" fmla="*/ 169 w 572"/>
              <a:gd name="T15" fmla="*/ 424 h 593"/>
              <a:gd name="T16" fmla="*/ 200 w 572"/>
              <a:gd name="T17" fmla="*/ 350 h 593"/>
              <a:gd name="T18" fmla="*/ 316 w 572"/>
              <a:gd name="T19" fmla="*/ 129 h 593"/>
              <a:gd name="T20" fmla="*/ 316 w 572"/>
              <a:gd name="T21" fmla="*/ 44 h 593"/>
              <a:gd name="T22" fmla="*/ 289 w 572"/>
              <a:gd name="T23" fmla="*/ 32 h 593"/>
              <a:gd name="T24" fmla="*/ 227 w 572"/>
              <a:gd name="T25" fmla="*/ 32 h 593"/>
              <a:gd name="T26" fmla="*/ 285 w 572"/>
              <a:gd name="T27" fmla="*/ 47 h 593"/>
              <a:gd name="T28" fmla="*/ 268 w 572"/>
              <a:gd name="T29" fmla="*/ 247 h 593"/>
              <a:gd name="T30" fmla="*/ 159 w 572"/>
              <a:gd name="T31" fmla="*/ 330 h 593"/>
              <a:gd name="T32" fmla="*/ 55 w 572"/>
              <a:gd name="T33" fmla="*/ 247 h 593"/>
              <a:gd name="T34" fmla="*/ 38 w 572"/>
              <a:gd name="T35" fmla="*/ 47 h 593"/>
              <a:gd name="T36" fmla="*/ 97 w 572"/>
              <a:gd name="T37" fmla="*/ 32 h 593"/>
              <a:gd name="T38" fmla="*/ 34 w 572"/>
              <a:gd name="T39" fmla="*/ 32 h 593"/>
              <a:gd name="T40" fmla="*/ 7 w 572"/>
              <a:gd name="T41" fmla="*/ 44 h 593"/>
              <a:gd name="T42" fmla="*/ 7 w 572"/>
              <a:gd name="T43" fmla="*/ 129 h 593"/>
              <a:gd name="T44" fmla="*/ 123 w 572"/>
              <a:gd name="T45" fmla="*/ 350 h 593"/>
              <a:gd name="T46" fmla="*/ 155 w 572"/>
              <a:gd name="T47" fmla="*/ 424 h 593"/>
              <a:gd name="T48" fmla="*/ 495 w 572"/>
              <a:gd name="T49" fmla="*/ 456 h 593"/>
              <a:gd name="T50" fmla="*/ 258 w 572"/>
              <a:gd name="T51" fmla="*/ 49 h 593"/>
              <a:gd name="T52" fmla="*/ 258 w 572"/>
              <a:gd name="T53" fmla="*/ 14 h 593"/>
              <a:gd name="T54" fmla="*/ 258 w 572"/>
              <a:gd name="T55" fmla="*/ 49 h 593"/>
              <a:gd name="T56" fmla="*/ 83 w 572"/>
              <a:gd name="T57" fmla="*/ 32 h 593"/>
              <a:gd name="T58" fmla="*/ 48 w 572"/>
              <a:gd name="T59" fmla="*/ 32 h 593"/>
              <a:gd name="T60" fmla="*/ 145 w 572"/>
              <a:gd name="T61" fmla="*/ 383 h 593"/>
              <a:gd name="T62" fmla="*/ 159 w 572"/>
              <a:gd name="T63" fmla="*/ 344 h 593"/>
              <a:gd name="T64" fmla="*/ 186 w 572"/>
              <a:gd name="T65" fmla="*/ 350 h 593"/>
              <a:gd name="T66" fmla="*/ 145 w 572"/>
              <a:gd name="T67" fmla="*/ 383 h 593"/>
              <a:gd name="T68" fmla="*/ 421 w 572"/>
              <a:gd name="T69" fmla="*/ 374 h 593"/>
              <a:gd name="T70" fmla="*/ 558 w 572"/>
              <a:gd name="T71" fmla="*/ 374 h 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72" h="593">
                <a:moveTo>
                  <a:pt x="489" y="347"/>
                </a:moveTo>
                <a:cubicBezTo>
                  <a:pt x="474" y="347"/>
                  <a:pt x="462" y="359"/>
                  <a:pt x="462" y="374"/>
                </a:cubicBezTo>
                <a:cubicBezTo>
                  <a:pt x="462" y="389"/>
                  <a:pt x="474" y="401"/>
                  <a:pt x="489" y="401"/>
                </a:cubicBezTo>
                <a:cubicBezTo>
                  <a:pt x="504" y="401"/>
                  <a:pt x="517" y="389"/>
                  <a:pt x="517" y="374"/>
                </a:cubicBezTo>
                <a:cubicBezTo>
                  <a:pt x="517" y="359"/>
                  <a:pt x="504" y="347"/>
                  <a:pt x="489" y="347"/>
                </a:cubicBezTo>
                <a:close/>
                <a:moveTo>
                  <a:pt x="489" y="387"/>
                </a:moveTo>
                <a:cubicBezTo>
                  <a:pt x="482" y="387"/>
                  <a:pt x="476" y="381"/>
                  <a:pt x="476" y="374"/>
                </a:cubicBezTo>
                <a:cubicBezTo>
                  <a:pt x="476" y="367"/>
                  <a:pt x="482" y="361"/>
                  <a:pt x="489" y="361"/>
                </a:cubicBezTo>
                <a:cubicBezTo>
                  <a:pt x="497" y="361"/>
                  <a:pt x="503" y="367"/>
                  <a:pt x="503" y="374"/>
                </a:cubicBezTo>
                <a:cubicBezTo>
                  <a:pt x="503" y="381"/>
                  <a:pt x="497" y="387"/>
                  <a:pt x="489" y="387"/>
                </a:cubicBezTo>
                <a:close/>
                <a:moveTo>
                  <a:pt x="572" y="374"/>
                </a:moveTo>
                <a:cubicBezTo>
                  <a:pt x="572" y="328"/>
                  <a:pt x="535" y="291"/>
                  <a:pt x="489" y="291"/>
                </a:cubicBezTo>
                <a:cubicBezTo>
                  <a:pt x="444" y="291"/>
                  <a:pt x="407" y="328"/>
                  <a:pt x="407" y="374"/>
                </a:cubicBezTo>
                <a:cubicBezTo>
                  <a:pt x="407" y="417"/>
                  <a:pt x="439" y="452"/>
                  <a:pt x="481" y="456"/>
                </a:cubicBezTo>
                <a:cubicBezTo>
                  <a:pt x="462" y="528"/>
                  <a:pt x="399" y="579"/>
                  <a:pt x="327" y="579"/>
                </a:cubicBezTo>
                <a:cubicBezTo>
                  <a:pt x="241" y="579"/>
                  <a:pt x="171" y="510"/>
                  <a:pt x="169" y="424"/>
                </a:cubicBezTo>
                <a:cubicBezTo>
                  <a:pt x="172" y="421"/>
                  <a:pt x="177" y="416"/>
                  <a:pt x="183" y="404"/>
                </a:cubicBezTo>
                <a:cubicBezTo>
                  <a:pt x="183" y="404"/>
                  <a:pt x="202" y="368"/>
                  <a:pt x="200" y="350"/>
                </a:cubicBezTo>
                <a:cubicBezTo>
                  <a:pt x="214" y="341"/>
                  <a:pt x="251" y="314"/>
                  <a:pt x="281" y="253"/>
                </a:cubicBezTo>
                <a:cubicBezTo>
                  <a:pt x="301" y="212"/>
                  <a:pt x="312" y="153"/>
                  <a:pt x="316" y="129"/>
                </a:cubicBezTo>
                <a:cubicBezTo>
                  <a:pt x="320" y="109"/>
                  <a:pt x="322" y="89"/>
                  <a:pt x="322" y="75"/>
                </a:cubicBezTo>
                <a:cubicBezTo>
                  <a:pt x="323" y="52"/>
                  <a:pt x="320" y="46"/>
                  <a:pt x="316" y="44"/>
                </a:cubicBezTo>
                <a:cubicBezTo>
                  <a:pt x="309" y="40"/>
                  <a:pt x="298" y="36"/>
                  <a:pt x="289" y="33"/>
                </a:cubicBezTo>
                <a:cubicBezTo>
                  <a:pt x="289" y="33"/>
                  <a:pt x="289" y="32"/>
                  <a:pt x="289" y="32"/>
                </a:cubicBezTo>
                <a:cubicBezTo>
                  <a:pt x="289" y="14"/>
                  <a:pt x="275" y="0"/>
                  <a:pt x="258" y="0"/>
                </a:cubicBezTo>
                <a:cubicBezTo>
                  <a:pt x="240" y="0"/>
                  <a:pt x="227" y="14"/>
                  <a:pt x="227" y="32"/>
                </a:cubicBezTo>
                <a:cubicBezTo>
                  <a:pt x="227" y="49"/>
                  <a:pt x="240" y="63"/>
                  <a:pt x="258" y="63"/>
                </a:cubicBezTo>
                <a:cubicBezTo>
                  <a:pt x="269" y="63"/>
                  <a:pt x="280" y="56"/>
                  <a:pt x="285" y="47"/>
                </a:cubicBezTo>
                <a:cubicBezTo>
                  <a:pt x="295" y="50"/>
                  <a:pt x="303" y="53"/>
                  <a:pt x="308" y="55"/>
                </a:cubicBezTo>
                <a:cubicBezTo>
                  <a:pt x="312" y="71"/>
                  <a:pt x="299" y="185"/>
                  <a:pt x="268" y="247"/>
                </a:cubicBezTo>
                <a:cubicBezTo>
                  <a:pt x="241" y="304"/>
                  <a:pt x="205" y="330"/>
                  <a:pt x="193" y="338"/>
                </a:cubicBezTo>
                <a:cubicBezTo>
                  <a:pt x="184" y="332"/>
                  <a:pt x="170" y="330"/>
                  <a:pt x="159" y="330"/>
                </a:cubicBezTo>
                <a:cubicBezTo>
                  <a:pt x="151" y="330"/>
                  <a:pt x="138" y="332"/>
                  <a:pt x="130" y="338"/>
                </a:cubicBezTo>
                <a:cubicBezTo>
                  <a:pt x="118" y="330"/>
                  <a:pt x="82" y="303"/>
                  <a:pt x="55" y="247"/>
                </a:cubicBezTo>
                <a:cubicBezTo>
                  <a:pt x="24" y="185"/>
                  <a:pt x="11" y="71"/>
                  <a:pt x="15" y="55"/>
                </a:cubicBezTo>
                <a:cubicBezTo>
                  <a:pt x="20" y="53"/>
                  <a:pt x="28" y="50"/>
                  <a:pt x="38" y="47"/>
                </a:cubicBezTo>
                <a:cubicBezTo>
                  <a:pt x="44" y="56"/>
                  <a:pt x="54" y="63"/>
                  <a:pt x="65" y="63"/>
                </a:cubicBezTo>
                <a:cubicBezTo>
                  <a:pt x="83" y="63"/>
                  <a:pt x="97" y="49"/>
                  <a:pt x="97" y="32"/>
                </a:cubicBezTo>
                <a:cubicBezTo>
                  <a:pt x="97" y="14"/>
                  <a:pt x="83" y="0"/>
                  <a:pt x="65" y="0"/>
                </a:cubicBezTo>
                <a:cubicBezTo>
                  <a:pt x="48" y="0"/>
                  <a:pt x="34" y="14"/>
                  <a:pt x="34" y="32"/>
                </a:cubicBezTo>
                <a:cubicBezTo>
                  <a:pt x="34" y="32"/>
                  <a:pt x="34" y="33"/>
                  <a:pt x="34" y="33"/>
                </a:cubicBezTo>
                <a:cubicBezTo>
                  <a:pt x="25" y="36"/>
                  <a:pt x="14" y="40"/>
                  <a:pt x="7" y="44"/>
                </a:cubicBezTo>
                <a:cubicBezTo>
                  <a:pt x="3" y="46"/>
                  <a:pt x="0" y="52"/>
                  <a:pt x="1" y="75"/>
                </a:cubicBezTo>
                <a:cubicBezTo>
                  <a:pt x="1" y="89"/>
                  <a:pt x="3" y="109"/>
                  <a:pt x="7" y="129"/>
                </a:cubicBezTo>
                <a:cubicBezTo>
                  <a:pt x="11" y="153"/>
                  <a:pt x="22" y="212"/>
                  <a:pt x="42" y="253"/>
                </a:cubicBezTo>
                <a:cubicBezTo>
                  <a:pt x="72" y="314"/>
                  <a:pt x="110" y="342"/>
                  <a:pt x="123" y="350"/>
                </a:cubicBezTo>
                <a:cubicBezTo>
                  <a:pt x="122" y="368"/>
                  <a:pt x="137" y="399"/>
                  <a:pt x="143" y="410"/>
                </a:cubicBezTo>
                <a:cubicBezTo>
                  <a:pt x="148" y="417"/>
                  <a:pt x="151" y="422"/>
                  <a:pt x="155" y="424"/>
                </a:cubicBezTo>
                <a:cubicBezTo>
                  <a:pt x="157" y="518"/>
                  <a:pt x="234" y="593"/>
                  <a:pt x="327" y="593"/>
                </a:cubicBezTo>
                <a:cubicBezTo>
                  <a:pt x="407" y="593"/>
                  <a:pt x="476" y="536"/>
                  <a:pt x="495" y="456"/>
                </a:cubicBezTo>
                <a:cubicBezTo>
                  <a:pt x="538" y="453"/>
                  <a:pt x="572" y="418"/>
                  <a:pt x="572" y="374"/>
                </a:cubicBezTo>
                <a:close/>
                <a:moveTo>
                  <a:pt x="258" y="49"/>
                </a:moveTo>
                <a:cubicBezTo>
                  <a:pt x="248" y="49"/>
                  <a:pt x="241" y="41"/>
                  <a:pt x="241" y="32"/>
                </a:cubicBezTo>
                <a:cubicBezTo>
                  <a:pt x="241" y="22"/>
                  <a:pt x="248" y="14"/>
                  <a:pt x="258" y="14"/>
                </a:cubicBezTo>
                <a:cubicBezTo>
                  <a:pt x="267" y="14"/>
                  <a:pt x="275" y="22"/>
                  <a:pt x="275" y="32"/>
                </a:cubicBezTo>
                <a:cubicBezTo>
                  <a:pt x="275" y="41"/>
                  <a:pt x="267" y="49"/>
                  <a:pt x="258" y="49"/>
                </a:cubicBezTo>
                <a:close/>
                <a:moveTo>
                  <a:pt x="65" y="14"/>
                </a:moveTo>
                <a:cubicBezTo>
                  <a:pt x="75" y="14"/>
                  <a:pt x="83" y="22"/>
                  <a:pt x="83" y="32"/>
                </a:cubicBezTo>
                <a:cubicBezTo>
                  <a:pt x="83" y="41"/>
                  <a:pt x="75" y="49"/>
                  <a:pt x="65" y="49"/>
                </a:cubicBezTo>
                <a:cubicBezTo>
                  <a:pt x="56" y="49"/>
                  <a:pt x="48" y="41"/>
                  <a:pt x="48" y="32"/>
                </a:cubicBezTo>
                <a:cubicBezTo>
                  <a:pt x="48" y="22"/>
                  <a:pt x="56" y="14"/>
                  <a:pt x="65" y="14"/>
                </a:cubicBezTo>
                <a:close/>
                <a:moveTo>
                  <a:pt x="145" y="383"/>
                </a:moveTo>
                <a:cubicBezTo>
                  <a:pt x="137" y="363"/>
                  <a:pt x="136" y="352"/>
                  <a:pt x="137" y="350"/>
                </a:cubicBezTo>
                <a:cubicBezTo>
                  <a:pt x="138" y="348"/>
                  <a:pt x="145" y="344"/>
                  <a:pt x="159" y="344"/>
                </a:cubicBezTo>
                <a:cubicBezTo>
                  <a:pt x="173" y="344"/>
                  <a:pt x="184" y="348"/>
                  <a:pt x="186" y="350"/>
                </a:cubicBezTo>
                <a:cubicBezTo>
                  <a:pt x="186" y="350"/>
                  <a:pt x="186" y="350"/>
                  <a:pt x="186" y="350"/>
                </a:cubicBezTo>
                <a:cubicBezTo>
                  <a:pt x="188" y="359"/>
                  <a:pt x="171" y="403"/>
                  <a:pt x="162" y="412"/>
                </a:cubicBezTo>
                <a:cubicBezTo>
                  <a:pt x="158" y="408"/>
                  <a:pt x="152" y="399"/>
                  <a:pt x="145" y="383"/>
                </a:cubicBezTo>
                <a:close/>
                <a:moveTo>
                  <a:pt x="489" y="443"/>
                </a:moveTo>
                <a:cubicBezTo>
                  <a:pt x="451" y="443"/>
                  <a:pt x="421" y="412"/>
                  <a:pt x="421" y="374"/>
                </a:cubicBezTo>
                <a:cubicBezTo>
                  <a:pt x="421" y="336"/>
                  <a:pt x="451" y="305"/>
                  <a:pt x="489" y="305"/>
                </a:cubicBezTo>
                <a:cubicBezTo>
                  <a:pt x="527" y="305"/>
                  <a:pt x="558" y="336"/>
                  <a:pt x="558" y="374"/>
                </a:cubicBezTo>
                <a:cubicBezTo>
                  <a:pt x="558" y="412"/>
                  <a:pt x="527" y="443"/>
                  <a:pt x="489" y="443"/>
                </a:cubicBez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12" name="Oval 12"/>
          <p:cNvSpPr>
            <a:spLocks noChangeArrowheads="1"/>
          </p:cNvSpPr>
          <p:nvPr/>
        </p:nvSpPr>
        <p:spPr bwMode="auto">
          <a:xfrm>
            <a:off x="6589621" y="3120088"/>
            <a:ext cx="1119124" cy="1119124"/>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31" name="Freeform 31"/>
          <p:cNvSpPr>
            <a:spLocks noEditPoints="1"/>
          </p:cNvSpPr>
          <p:nvPr/>
        </p:nvSpPr>
        <p:spPr bwMode="auto">
          <a:xfrm>
            <a:off x="6759428" y="3387822"/>
            <a:ext cx="779063" cy="583657"/>
          </a:xfrm>
          <a:custGeom>
            <a:avLst/>
            <a:gdLst>
              <a:gd name="T0" fmla="*/ 466 w 740"/>
              <a:gd name="T1" fmla="*/ 69 h 554"/>
              <a:gd name="T2" fmla="*/ 446 w 740"/>
              <a:gd name="T3" fmla="*/ 0 h 554"/>
              <a:gd name="T4" fmla="*/ 275 w 740"/>
              <a:gd name="T5" fmla="*/ 20 h 554"/>
              <a:gd name="T6" fmla="*/ 60 w 740"/>
              <a:gd name="T7" fmla="*/ 69 h 554"/>
              <a:gd name="T8" fmla="*/ 0 w 740"/>
              <a:gd name="T9" fmla="*/ 494 h 554"/>
              <a:gd name="T10" fmla="*/ 680 w 740"/>
              <a:gd name="T11" fmla="*/ 554 h 554"/>
              <a:gd name="T12" fmla="*/ 740 w 740"/>
              <a:gd name="T13" fmla="*/ 129 h 554"/>
              <a:gd name="T14" fmla="*/ 289 w 740"/>
              <a:gd name="T15" fmla="*/ 20 h 554"/>
              <a:gd name="T16" fmla="*/ 446 w 740"/>
              <a:gd name="T17" fmla="*/ 14 h 554"/>
              <a:gd name="T18" fmla="*/ 452 w 740"/>
              <a:gd name="T19" fmla="*/ 69 h 554"/>
              <a:gd name="T20" fmla="*/ 289 w 740"/>
              <a:gd name="T21" fmla="*/ 20 h 554"/>
              <a:gd name="T22" fmla="*/ 680 w 740"/>
              <a:gd name="T23" fmla="*/ 83 h 554"/>
              <a:gd name="T24" fmla="*/ 726 w 740"/>
              <a:gd name="T25" fmla="*/ 183 h 554"/>
              <a:gd name="T26" fmla="*/ 606 w 740"/>
              <a:gd name="T27" fmla="*/ 158 h 554"/>
              <a:gd name="T28" fmla="*/ 519 w 740"/>
              <a:gd name="T29" fmla="*/ 183 h 554"/>
              <a:gd name="T30" fmla="*/ 190 w 740"/>
              <a:gd name="T31" fmla="*/ 158 h 554"/>
              <a:gd name="T32" fmla="*/ 103 w 740"/>
              <a:gd name="T33" fmla="*/ 183 h 554"/>
              <a:gd name="T34" fmla="*/ 14 w 740"/>
              <a:gd name="T35" fmla="*/ 129 h 554"/>
              <a:gd name="T36" fmla="*/ 624 w 740"/>
              <a:gd name="T37" fmla="*/ 190 h 554"/>
              <a:gd name="T38" fmla="*/ 551 w 740"/>
              <a:gd name="T39" fmla="*/ 208 h 554"/>
              <a:gd name="T40" fmla="*/ 551 w 740"/>
              <a:gd name="T41" fmla="*/ 172 h 554"/>
              <a:gd name="T42" fmla="*/ 624 w 740"/>
              <a:gd name="T43" fmla="*/ 190 h 554"/>
              <a:gd name="T44" fmla="*/ 190 w 740"/>
              <a:gd name="T45" fmla="*/ 208 h 554"/>
              <a:gd name="T46" fmla="*/ 116 w 740"/>
              <a:gd name="T47" fmla="*/ 190 h 554"/>
              <a:gd name="T48" fmla="*/ 190 w 740"/>
              <a:gd name="T49" fmla="*/ 172 h 554"/>
              <a:gd name="T50" fmla="*/ 680 w 740"/>
              <a:gd name="T51" fmla="*/ 540 h 554"/>
              <a:gd name="T52" fmla="*/ 14 w 740"/>
              <a:gd name="T53" fmla="*/ 494 h 554"/>
              <a:gd name="T54" fmla="*/ 103 w 740"/>
              <a:gd name="T55" fmla="*/ 197 h 554"/>
              <a:gd name="T56" fmla="*/ 190 w 740"/>
              <a:gd name="T57" fmla="*/ 222 h 554"/>
              <a:gd name="T58" fmla="*/ 519 w 740"/>
              <a:gd name="T59" fmla="*/ 197 h 554"/>
              <a:gd name="T60" fmla="*/ 606 w 740"/>
              <a:gd name="T61" fmla="*/ 222 h 554"/>
              <a:gd name="T62" fmla="*/ 726 w 740"/>
              <a:gd name="T63" fmla="*/ 197 h 554"/>
              <a:gd name="T64" fmla="*/ 680 w 740"/>
              <a:gd name="T65" fmla="*/ 540 h 554"/>
              <a:gd name="T66" fmla="*/ 460 w 740"/>
              <a:gd name="T67" fmla="*/ 380 h 554"/>
              <a:gd name="T68" fmla="*/ 377 w 740"/>
              <a:gd name="T69" fmla="*/ 463 h 554"/>
              <a:gd name="T70" fmla="*/ 363 w 740"/>
              <a:gd name="T71" fmla="*/ 463 h 554"/>
              <a:gd name="T72" fmla="*/ 280 w 740"/>
              <a:gd name="T73" fmla="*/ 380 h 554"/>
              <a:gd name="T74" fmla="*/ 280 w 740"/>
              <a:gd name="T75" fmla="*/ 366 h 554"/>
              <a:gd name="T76" fmla="*/ 363 w 740"/>
              <a:gd name="T77" fmla="*/ 284 h 554"/>
              <a:gd name="T78" fmla="*/ 377 w 740"/>
              <a:gd name="T79" fmla="*/ 284 h 554"/>
              <a:gd name="T80" fmla="*/ 460 w 740"/>
              <a:gd name="T81" fmla="*/ 366 h 5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740" h="554">
                <a:moveTo>
                  <a:pt x="680" y="69"/>
                </a:moveTo>
                <a:cubicBezTo>
                  <a:pt x="466" y="69"/>
                  <a:pt x="466" y="69"/>
                  <a:pt x="466" y="69"/>
                </a:cubicBezTo>
                <a:cubicBezTo>
                  <a:pt x="466" y="20"/>
                  <a:pt x="466" y="20"/>
                  <a:pt x="466" y="20"/>
                </a:cubicBezTo>
                <a:cubicBezTo>
                  <a:pt x="466" y="9"/>
                  <a:pt x="457" y="0"/>
                  <a:pt x="446" y="0"/>
                </a:cubicBezTo>
                <a:cubicBezTo>
                  <a:pt x="295" y="0"/>
                  <a:pt x="295" y="0"/>
                  <a:pt x="295" y="0"/>
                </a:cubicBezTo>
                <a:cubicBezTo>
                  <a:pt x="284" y="0"/>
                  <a:pt x="275" y="9"/>
                  <a:pt x="275" y="20"/>
                </a:cubicBezTo>
                <a:cubicBezTo>
                  <a:pt x="275" y="69"/>
                  <a:pt x="275" y="69"/>
                  <a:pt x="275" y="69"/>
                </a:cubicBezTo>
                <a:cubicBezTo>
                  <a:pt x="60" y="69"/>
                  <a:pt x="60" y="69"/>
                  <a:pt x="60" y="69"/>
                </a:cubicBezTo>
                <a:cubicBezTo>
                  <a:pt x="27" y="69"/>
                  <a:pt x="0" y="96"/>
                  <a:pt x="0" y="129"/>
                </a:cubicBezTo>
                <a:cubicBezTo>
                  <a:pt x="0" y="494"/>
                  <a:pt x="0" y="494"/>
                  <a:pt x="0" y="494"/>
                </a:cubicBezTo>
                <a:cubicBezTo>
                  <a:pt x="0" y="527"/>
                  <a:pt x="27" y="554"/>
                  <a:pt x="60" y="554"/>
                </a:cubicBezTo>
                <a:cubicBezTo>
                  <a:pt x="680" y="554"/>
                  <a:pt x="680" y="554"/>
                  <a:pt x="680" y="554"/>
                </a:cubicBezTo>
                <a:cubicBezTo>
                  <a:pt x="714" y="554"/>
                  <a:pt x="740" y="527"/>
                  <a:pt x="740" y="494"/>
                </a:cubicBezTo>
                <a:cubicBezTo>
                  <a:pt x="740" y="129"/>
                  <a:pt x="740" y="129"/>
                  <a:pt x="740" y="129"/>
                </a:cubicBezTo>
                <a:cubicBezTo>
                  <a:pt x="740" y="96"/>
                  <a:pt x="714" y="69"/>
                  <a:pt x="680" y="69"/>
                </a:cubicBezTo>
                <a:close/>
                <a:moveTo>
                  <a:pt x="289" y="20"/>
                </a:moveTo>
                <a:cubicBezTo>
                  <a:pt x="289" y="16"/>
                  <a:pt x="291" y="14"/>
                  <a:pt x="295" y="14"/>
                </a:cubicBezTo>
                <a:cubicBezTo>
                  <a:pt x="446" y="14"/>
                  <a:pt x="446" y="14"/>
                  <a:pt x="446" y="14"/>
                </a:cubicBezTo>
                <a:cubicBezTo>
                  <a:pt x="449" y="14"/>
                  <a:pt x="452" y="16"/>
                  <a:pt x="452" y="20"/>
                </a:cubicBezTo>
                <a:cubicBezTo>
                  <a:pt x="452" y="69"/>
                  <a:pt x="452" y="69"/>
                  <a:pt x="452" y="69"/>
                </a:cubicBezTo>
                <a:cubicBezTo>
                  <a:pt x="289" y="69"/>
                  <a:pt x="289" y="69"/>
                  <a:pt x="289" y="69"/>
                </a:cubicBezTo>
                <a:lnTo>
                  <a:pt x="289" y="20"/>
                </a:lnTo>
                <a:close/>
                <a:moveTo>
                  <a:pt x="60" y="83"/>
                </a:moveTo>
                <a:cubicBezTo>
                  <a:pt x="680" y="83"/>
                  <a:pt x="680" y="83"/>
                  <a:pt x="680" y="83"/>
                </a:cubicBezTo>
                <a:cubicBezTo>
                  <a:pt x="706" y="83"/>
                  <a:pt x="726" y="104"/>
                  <a:pt x="726" y="129"/>
                </a:cubicBezTo>
                <a:cubicBezTo>
                  <a:pt x="726" y="183"/>
                  <a:pt x="726" y="183"/>
                  <a:pt x="726" y="183"/>
                </a:cubicBezTo>
                <a:cubicBezTo>
                  <a:pt x="637" y="183"/>
                  <a:pt x="637" y="183"/>
                  <a:pt x="637" y="183"/>
                </a:cubicBezTo>
                <a:cubicBezTo>
                  <a:pt x="634" y="168"/>
                  <a:pt x="622" y="158"/>
                  <a:pt x="606" y="158"/>
                </a:cubicBezTo>
                <a:cubicBezTo>
                  <a:pt x="551" y="158"/>
                  <a:pt x="551" y="158"/>
                  <a:pt x="551" y="158"/>
                </a:cubicBezTo>
                <a:cubicBezTo>
                  <a:pt x="535" y="158"/>
                  <a:pt x="523" y="168"/>
                  <a:pt x="519" y="183"/>
                </a:cubicBezTo>
                <a:cubicBezTo>
                  <a:pt x="221" y="183"/>
                  <a:pt x="221" y="183"/>
                  <a:pt x="221" y="183"/>
                </a:cubicBezTo>
                <a:cubicBezTo>
                  <a:pt x="218" y="168"/>
                  <a:pt x="205" y="158"/>
                  <a:pt x="190" y="158"/>
                </a:cubicBezTo>
                <a:cubicBezTo>
                  <a:pt x="134" y="158"/>
                  <a:pt x="134" y="158"/>
                  <a:pt x="134" y="158"/>
                </a:cubicBezTo>
                <a:cubicBezTo>
                  <a:pt x="119" y="158"/>
                  <a:pt x="106" y="168"/>
                  <a:pt x="103" y="183"/>
                </a:cubicBezTo>
                <a:cubicBezTo>
                  <a:pt x="14" y="183"/>
                  <a:pt x="14" y="183"/>
                  <a:pt x="14" y="183"/>
                </a:cubicBezTo>
                <a:cubicBezTo>
                  <a:pt x="14" y="129"/>
                  <a:pt x="14" y="129"/>
                  <a:pt x="14" y="129"/>
                </a:cubicBezTo>
                <a:cubicBezTo>
                  <a:pt x="14" y="104"/>
                  <a:pt x="34" y="83"/>
                  <a:pt x="60" y="83"/>
                </a:cubicBezTo>
                <a:close/>
                <a:moveTo>
                  <a:pt x="624" y="190"/>
                </a:moveTo>
                <a:cubicBezTo>
                  <a:pt x="624" y="200"/>
                  <a:pt x="616" y="208"/>
                  <a:pt x="606" y="208"/>
                </a:cubicBezTo>
                <a:cubicBezTo>
                  <a:pt x="551" y="208"/>
                  <a:pt x="551" y="208"/>
                  <a:pt x="551" y="208"/>
                </a:cubicBezTo>
                <a:cubicBezTo>
                  <a:pt x="541" y="208"/>
                  <a:pt x="533" y="200"/>
                  <a:pt x="533" y="190"/>
                </a:cubicBezTo>
                <a:cubicBezTo>
                  <a:pt x="533" y="180"/>
                  <a:pt x="541" y="172"/>
                  <a:pt x="551" y="172"/>
                </a:cubicBezTo>
                <a:cubicBezTo>
                  <a:pt x="606" y="172"/>
                  <a:pt x="606" y="172"/>
                  <a:pt x="606" y="172"/>
                </a:cubicBezTo>
                <a:cubicBezTo>
                  <a:pt x="616" y="172"/>
                  <a:pt x="624" y="180"/>
                  <a:pt x="624" y="190"/>
                </a:cubicBezTo>
                <a:close/>
                <a:moveTo>
                  <a:pt x="208" y="190"/>
                </a:moveTo>
                <a:cubicBezTo>
                  <a:pt x="208" y="200"/>
                  <a:pt x="200" y="208"/>
                  <a:pt x="190" y="208"/>
                </a:cubicBezTo>
                <a:cubicBezTo>
                  <a:pt x="134" y="208"/>
                  <a:pt x="134" y="208"/>
                  <a:pt x="134" y="208"/>
                </a:cubicBezTo>
                <a:cubicBezTo>
                  <a:pt x="124" y="208"/>
                  <a:pt x="116" y="200"/>
                  <a:pt x="116" y="190"/>
                </a:cubicBezTo>
                <a:cubicBezTo>
                  <a:pt x="116" y="180"/>
                  <a:pt x="124" y="172"/>
                  <a:pt x="134" y="172"/>
                </a:cubicBezTo>
                <a:cubicBezTo>
                  <a:pt x="190" y="172"/>
                  <a:pt x="190" y="172"/>
                  <a:pt x="190" y="172"/>
                </a:cubicBezTo>
                <a:cubicBezTo>
                  <a:pt x="200" y="172"/>
                  <a:pt x="208" y="180"/>
                  <a:pt x="208" y="190"/>
                </a:cubicBezTo>
                <a:close/>
                <a:moveTo>
                  <a:pt x="680" y="540"/>
                </a:moveTo>
                <a:cubicBezTo>
                  <a:pt x="60" y="540"/>
                  <a:pt x="60" y="540"/>
                  <a:pt x="60" y="540"/>
                </a:cubicBezTo>
                <a:cubicBezTo>
                  <a:pt x="34" y="540"/>
                  <a:pt x="14" y="520"/>
                  <a:pt x="14" y="494"/>
                </a:cubicBezTo>
                <a:cubicBezTo>
                  <a:pt x="14" y="197"/>
                  <a:pt x="14" y="197"/>
                  <a:pt x="14" y="197"/>
                </a:cubicBezTo>
                <a:cubicBezTo>
                  <a:pt x="103" y="197"/>
                  <a:pt x="103" y="197"/>
                  <a:pt x="103" y="197"/>
                </a:cubicBezTo>
                <a:cubicBezTo>
                  <a:pt x="106" y="211"/>
                  <a:pt x="119" y="222"/>
                  <a:pt x="134" y="222"/>
                </a:cubicBezTo>
                <a:cubicBezTo>
                  <a:pt x="190" y="222"/>
                  <a:pt x="190" y="222"/>
                  <a:pt x="190" y="222"/>
                </a:cubicBezTo>
                <a:cubicBezTo>
                  <a:pt x="205" y="222"/>
                  <a:pt x="218" y="211"/>
                  <a:pt x="221" y="197"/>
                </a:cubicBezTo>
                <a:cubicBezTo>
                  <a:pt x="519" y="197"/>
                  <a:pt x="519" y="197"/>
                  <a:pt x="519" y="197"/>
                </a:cubicBezTo>
                <a:cubicBezTo>
                  <a:pt x="523" y="211"/>
                  <a:pt x="535" y="222"/>
                  <a:pt x="551" y="222"/>
                </a:cubicBezTo>
                <a:cubicBezTo>
                  <a:pt x="606" y="222"/>
                  <a:pt x="606" y="222"/>
                  <a:pt x="606" y="222"/>
                </a:cubicBezTo>
                <a:cubicBezTo>
                  <a:pt x="622" y="222"/>
                  <a:pt x="634" y="211"/>
                  <a:pt x="637" y="197"/>
                </a:cubicBezTo>
                <a:cubicBezTo>
                  <a:pt x="726" y="197"/>
                  <a:pt x="726" y="197"/>
                  <a:pt x="726" y="197"/>
                </a:cubicBezTo>
                <a:cubicBezTo>
                  <a:pt x="726" y="494"/>
                  <a:pt x="726" y="494"/>
                  <a:pt x="726" y="494"/>
                </a:cubicBezTo>
                <a:cubicBezTo>
                  <a:pt x="726" y="520"/>
                  <a:pt x="706" y="540"/>
                  <a:pt x="680" y="540"/>
                </a:cubicBezTo>
                <a:close/>
                <a:moveTo>
                  <a:pt x="467" y="373"/>
                </a:moveTo>
                <a:cubicBezTo>
                  <a:pt x="467" y="377"/>
                  <a:pt x="464" y="380"/>
                  <a:pt x="460" y="380"/>
                </a:cubicBezTo>
                <a:cubicBezTo>
                  <a:pt x="377" y="380"/>
                  <a:pt x="377" y="380"/>
                  <a:pt x="377" y="380"/>
                </a:cubicBezTo>
                <a:cubicBezTo>
                  <a:pt x="377" y="463"/>
                  <a:pt x="377" y="463"/>
                  <a:pt x="377" y="463"/>
                </a:cubicBezTo>
                <a:cubicBezTo>
                  <a:pt x="377" y="467"/>
                  <a:pt x="374" y="470"/>
                  <a:pt x="370" y="470"/>
                </a:cubicBezTo>
                <a:cubicBezTo>
                  <a:pt x="366" y="470"/>
                  <a:pt x="363" y="467"/>
                  <a:pt x="363" y="463"/>
                </a:cubicBezTo>
                <a:cubicBezTo>
                  <a:pt x="363" y="380"/>
                  <a:pt x="363" y="380"/>
                  <a:pt x="363" y="380"/>
                </a:cubicBezTo>
                <a:cubicBezTo>
                  <a:pt x="280" y="380"/>
                  <a:pt x="280" y="380"/>
                  <a:pt x="280" y="380"/>
                </a:cubicBezTo>
                <a:cubicBezTo>
                  <a:pt x="276" y="380"/>
                  <a:pt x="273" y="377"/>
                  <a:pt x="273" y="373"/>
                </a:cubicBezTo>
                <a:cubicBezTo>
                  <a:pt x="273" y="370"/>
                  <a:pt x="276" y="366"/>
                  <a:pt x="280" y="366"/>
                </a:cubicBezTo>
                <a:cubicBezTo>
                  <a:pt x="363" y="366"/>
                  <a:pt x="363" y="366"/>
                  <a:pt x="363" y="366"/>
                </a:cubicBezTo>
                <a:cubicBezTo>
                  <a:pt x="363" y="284"/>
                  <a:pt x="363" y="284"/>
                  <a:pt x="363" y="284"/>
                </a:cubicBezTo>
                <a:cubicBezTo>
                  <a:pt x="363" y="280"/>
                  <a:pt x="366" y="277"/>
                  <a:pt x="370" y="277"/>
                </a:cubicBezTo>
                <a:cubicBezTo>
                  <a:pt x="374" y="277"/>
                  <a:pt x="377" y="280"/>
                  <a:pt x="377" y="284"/>
                </a:cubicBezTo>
                <a:cubicBezTo>
                  <a:pt x="377" y="366"/>
                  <a:pt x="377" y="366"/>
                  <a:pt x="377" y="366"/>
                </a:cubicBezTo>
                <a:cubicBezTo>
                  <a:pt x="460" y="366"/>
                  <a:pt x="460" y="366"/>
                  <a:pt x="460" y="366"/>
                </a:cubicBezTo>
                <a:cubicBezTo>
                  <a:pt x="464" y="366"/>
                  <a:pt x="467" y="370"/>
                  <a:pt x="467" y="373"/>
                </a:cubicBez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9" name="Oval 9"/>
          <p:cNvSpPr>
            <a:spLocks noChangeArrowheads="1"/>
          </p:cNvSpPr>
          <p:nvPr/>
        </p:nvSpPr>
        <p:spPr bwMode="auto">
          <a:xfrm>
            <a:off x="8347593" y="3120088"/>
            <a:ext cx="1119124" cy="1119124"/>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7170" name="Freeform 32"/>
          <p:cNvSpPr>
            <a:spLocks noEditPoints="1"/>
          </p:cNvSpPr>
          <p:nvPr/>
        </p:nvSpPr>
        <p:spPr bwMode="auto">
          <a:xfrm>
            <a:off x="8547706" y="3365510"/>
            <a:ext cx="718896" cy="628280"/>
          </a:xfrm>
          <a:custGeom>
            <a:avLst/>
            <a:gdLst>
              <a:gd name="T0" fmla="*/ 679 w 683"/>
              <a:gd name="T1" fmla="*/ 224 h 596"/>
              <a:gd name="T2" fmla="*/ 631 w 683"/>
              <a:gd name="T3" fmla="*/ 193 h 596"/>
              <a:gd name="T4" fmla="*/ 631 w 683"/>
              <a:gd name="T5" fmla="*/ 193 h 596"/>
              <a:gd name="T6" fmla="*/ 345 w 683"/>
              <a:gd name="T7" fmla="*/ 1 h 596"/>
              <a:gd name="T8" fmla="*/ 337 w 683"/>
              <a:gd name="T9" fmla="*/ 1 h 596"/>
              <a:gd name="T10" fmla="*/ 214 w 683"/>
              <a:gd name="T11" fmla="*/ 84 h 596"/>
              <a:gd name="T12" fmla="*/ 214 w 683"/>
              <a:gd name="T13" fmla="*/ 32 h 596"/>
              <a:gd name="T14" fmla="*/ 207 w 683"/>
              <a:gd name="T15" fmla="*/ 25 h 596"/>
              <a:gd name="T16" fmla="*/ 124 w 683"/>
              <a:gd name="T17" fmla="*/ 25 h 596"/>
              <a:gd name="T18" fmla="*/ 124 w 683"/>
              <a:gd name="T19" fmla="*/ 25 h 596"/>
              <a:gd name="T20" fmla="*/ 119 w 683"/>
              <a:gd name="T21" fmla="*/ 27 h 596"/>
              <a:gd name="T22" fmla="*/ 117 w 683"/>
              <a:gd name="T23" fmla="*/ 32 h 596"/>
              <a:gd name="T24" fmla="*/ 117 w 683"/>
              <a:gd name="T25" fmla="*/ 149 h 596"/>
              <a:gd name="T26" fmla="*/ 61 w 683"/>
              <a:gd name="T27" fmla="*/ 186 h 596"/>
              <a:gd name="T28" fmla="*/ 61 w 683"/>
              <a:gd name="T29" fmla="*/ 186 h 596"/>
              <a:gd name="T30" fmla="*/ 4 w 683"/>
              <a:gd name="T31" fmla="*/ 224 h 596"/>
              <a:gd name="T32" fmla="*/ 2 w 683"/>
              <a:gd name="T33" fmla="*/ 234 h 596"/>
              <a:gd name="T34" fmla="*/ 12 w 683"/>
              <a:gd name="T35" fmla="*/ 236 h 596"/>
              <a:gd name="T36" fmla="*/ 57 w 683"/>
              <a:gd name="T37" fmla="*/ 205 h 596"/>
              <a:gd name="T38" fmla="*/ 57 w 683"/>
              <a:gd name="T39" fmla="*/ 589 h 596"/>
              <a:gd name="T40" fmla="*/ 64 w 683"/>
              <a:gd name="T41" fmla="*/ 596 h 596"/>
              <a:gd name="T42" fmla="*/ 628 w 683"/>
              <a:gd name="T43" fmla="*/ 596 h 596"/>
              <a:gd name="T44" fmla="*/ 635 w 683"/>
              <a:gd name="T45" fmla="*/ 589 h 596"/>
              <a:gd name="T46" fmla="*/ 635 w 683"/>
              <a:gd name="T47" fmla="*/ 212 h 596"/>
              <a:gd name="T48" fmla="*/ 671 w 683"/>
              <a:gd name="T49" fmla="*/ 236 h 596"/>
              <a:gd name="T50" fmla="*/ 675 w 683"/>
              <a:gd name="T51" fmla="*/ 237 h 596"/>
              <a:gd name="T52" fmla="*/ 681 w 683"/>
              <a:gd name="T53" fmla="*/ 234 h 596"/>
              <a:gd name="T54" fmla="*/ 679 w 683"/>
              <a:gd name="T55" fmla="*/ 224 h 596"/>
              <a:gd name="T56" fmla="*/ 131 w 683"/>
              <a:gd name="T57" fmla="*/ 39 h 596"/>
              <a:gd name="T58" fmla="*/ 200 w 683"/>
              <a:gd name="T59" fmla="*/ 39 h 596"/>
              <a:gd name="T60" fmla="*/ 200 w 683"/>
              <a:gd name="T61" fmla="*/ 93 h 596"/>
              <a:gd name="T62" fmla="*/ 131 w 683"/>
              <a:gd name="T63" fmla="*/ 139 h 596"/>
              <a:gd name="T64" fmla="*/ 131 w 683"/>
              <a:gd name="T65" fmla="*/ 39 h 596"/>
              <a:gd name="T66" fmla="*/ 621 w 683"/>
              <a:gd name="T67" fmla="*/ 582 h 596"/>
              <a:gd name="T68" fmla="*/ 71 w 683"/>
              <a:gd name="T69" fmla="*/ 582 h 596"/>
              <a:gd name="T70" fmla="*/ 71 w 683"/>
              <a:gd name="T71" fmla="*/ 196 h 596"/>
              <a:gd name="T72" fmla="*/ 128 w 683"/>
              <a:gd name="T73" fmla="*/ 158 h 596"/>
              <a:gd name="T74" fmla="*/ 128 w 683"/>
              <a:gd name="T75" fmla="*/ 158 h 596"/>
              <a:gd name="T76" fmla="*/ 211 w 683"/>
              <a:gd name="T77" fmla="*/ 103 h 596"/>
              <a:gd name="T78" fmla="*/ 211 w 683"/>
              <a:gd name="T79" fmla="*/ 103 h 596"/>
              <a:gd name="T80" fmla="*/ 341 w 683"/>
              <a:gd name="T81" fmla="*/ 16 h 596"/>
              <a:gd name="T82" fmla="*/ 621 w 683"/>
              <a:gd name="T83" fmla="*/ 202 h 596"/>
              <a:gd name="T84" fmla="*/ 621 w 683"/>
              <a:gd name="T85" fmla="*/ 582 h 5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83" h="596">
                <a:moveTo>
                  <a:pt x="679" y="224"/>
                </a:moveTo>
                <a:cubicBezTo>
                  <a:pt x="631" y="193"/>
                  <a:pt x="631" y="193"/>
                  <a:pt x="631" y="193"/>
                </a:cubicBezTo>
                <a:cubicBezTo>
                  <a:pt x="631" y="193"/>
                  <a:pt x="631" y="193"/>
                  <a:pt x="631" y="193"/>
                </a:cubicBezTo>
                <a:cubicBezTo>
                  <a:pt x="345" y="1"/>
                  <a:pt x="345" y="1"/>
                  <a:pt x="345" y="1"/>
                </a:cubicBezTo>
                <a:cubicBezTo>
                  <a:pt x="343" y="0"/>
                  <a:pt x="340" y="0"/>
                  <a:pt x="337" y="1"/>
                </a:cubicBezTo>
                <a:cubicBezTo>
                  <a:pt x="214" y="84"/>
                  <a:pt x="214" y="84"/>
                  <a:pt x="214" y="84"/>
                </a:cubicBezTo>
                <a:cubicBezTo>
                  <a:pt x="214" y="32"/>
                  <a:pt x="214" y="32"/>
                  <a:pt x="214" y="32"/>
                </a:cubicBezTo>
                <a:cubicBezTo>
                  <a:pt x="214" y="28"/>
                  <a:pt x="211" y="25"/>
                  <a:pt x="207" y="25"/>
                </a:cubicBezTo>
                <a:cubicBezTo>
                  <a:pt x="124" y="25"/>
                  <a:pt x="124" y="25"/>
                  <a:pt x="124" y="25"/>
                </a:cubicBezTo>
                <a:cubicBezTo>
                  <a:pt x="124" y="25"/>
                  <a:pt x="124" y="25"/>
                  <a:pt x="124" y="25"/>
                </a:cubicBezTo>
                <a:cubicBezTo>
                  <a:pt x="122" y="25"/>
                  <a:pt x="120" y="25"/>
                  <a:pt x="119" y="27"/>
                </a:cubicBezTo>
                <a:cubicBezTo>
                  <a:pt x="118" y="28"/>
                  <a:pt x="117" y="30"/>
                  <a:pt x="117" y="32"/>
                </a:cubicBezTo>
                <a:cubicBezTo>
                  <a:pt x="117" y="149"/>
                  <a:pt x="117" y="149"/>
                  <a:pt x="117" y="149"/>
                </a:cubicBezTo>
                <a:cubicBezTo>
                  <a:pt x="61" y="186"/>
                  <a:pt x="61" y="186"/>
                  <a:pt x="61" y="186"/>
                </a:cubicBezTo>
                <a:cubicBezTo>
                  <a:pt x="61" y="186"/>
                  <a:pt x="61" y="186"/>
                  <a:pt x="61" y="186"/>
                </a:cubicBezTo>
                <a:cubicBezTo>
                  <a:pt x="4" y="224"/>
                  <a:pt x="4" y="224"/>
                  <a:pt x="4" y="224"/>
                </a:cubicBezTo>
                <a:cubicBezTo>
                  <a:pt x="1" y="226"/>
                  <a:pt x="0" y="231"/>
                  <a:pt x="2" y="234"/>
                </a:cubicBezTo>
                <a:cubicBezTo>
                  <a:pt x="4" y="237"/>
                  <a:pt x="8" y="238"/>
                  <a:pt x="12" y="236"/>
                </a:cubicBezTo>
                <a:cubicBezTo>
                  <a:pt x="57" y="205"/>
                  <a:pt x="57" y="205"/>
                  <a:pt x="57" y="205"/>
                </a:cubicBezTo>
                <a:cubicBezTo>
                  <a:pt x="57" y="589"/>
                  <a:pt x="57" y="589"/>
                  <a:pt x="57" y="589"/>
                </a:cubicBezTo>
                <a:cubicBezTo>
                  <a:pt x="57" y="593"/>
                  <a:pt x="61" y="596"/>
                  <a:pt x="64" y="596"/>
                </a:cubicBezTo>
                <a:cubicBezTo>
                  <a:pt x="628" y="596"/>
                  <a:pt x="628" y="596"/>
                  <a:pt x="628" y="596"/>
                </a:cubicBezTo>
                <a:cubicBezTo>
                  <a:pt x="631" y="596"/>
                  <a:pt x="635" y="593"/>
                  <a:pt x="635" y="589"/>
                </a:cubicBezTo>
                <a:cubicBezTo>
                  <a:pt x="635" y="212"/>
                  <a:pt x="635" y="212"/>
                  <a:pt x="635" y="212"/>
                </a:cubicBezTo>
                <a:cubicBezTo>
                  <a:pt x="671" y="236"/>
                  <a:pt x="671" y="236"/>
                  <a:pt x="671" y="236"/>
                </a:cubicBezTo>
                <a:cubicBezTo>
                  <a:pt x="672" y="237"/>
                  <a:pt x="673" y="237"/>
                  <a:pt x="675" y="237"/>
                </a:cubicBezTo>
                <a:cubicBezTo>
                  <a:pt x="677" y="237"/>
                  <a:pt x="679" y="236"/>
                  <a:pt x="681" y="234"/>
                </a:cubicBezTo>
                <a:cubicBezTo>
                  <a:pt x="683" y="231"/>
                  <a:pt x="682" y="226"/>
                  <a:pt x="679" y="224"/>
                </a:cubicBezTo>
                <a:close/>
                <a:moveTo>
                  <a:pt x="131" y="39"/>
                </a:moveTo>
                <a:cubicBezTo>
                  <a:pt x="200" y="39"/>
                  <a:pt x="200" y="39"/>
                  <a:pt x="200" y="39"/>
                </a:cubicBezTo>
                <a:cubicBezTo>
                  <a:pt x="200" y="93"/>
                  <a:pt x="200" y="93"/>
                  <a:pt x="200" y="93"/>
                </a:cubicBezTo>
                <a:cubicBezTo>
                  <a:pt x="131" y="139"/>
                  <a:pt x="131" y="139"/>
                  <a:pt x="131" y="139"/>
                </a:cubicBezTo>
                <a:lnTo>
                  <a:pt x="131" y="39"/>
                </a:lnTo>
                <a:close/>
                <a:moveTo>
                  <a:pt x="621" y="582"/>
                </a:moveTo>
                <a:cubicBezTo>
                  <a:pt x="71" y="582"/>
                  <a:pt x="71" y="582"/>
                  <a:pt x="71" y="582"/>
                </a:cubicBezTo>
                <a:cubicBezTo>
                  <a:pt x="71" y="196"/>
                  <a:pt x="71" y="196"/>
                  <a:pt x="71" y="196"/>
                </a:cubicBezTo>
                <a:cubicBezTo>
                  <a:pt x="128" y="158"/>
                  <a:pt x="128" y="158"/>
                  <a:pt x="128" y="158"/>
                </a:cubicBezTo>
                <a:cubicBezTo>
                  <a:pt x="128" y="158"/>
                  <a:pt x="128" y="158"/>
                  <a:pt x="128" y="158"/>
                </a:cubicBezTo>
                <a:cubicBezTo>
                  <a:pt x="211" y="103"/>
                  <a:pt x="211" y="103"/>
                  <a:pt x="211" y="103"/>
                </a:cubicBezTo>
                <a:cubicBezTo>
                  <a:pt x="211" y="103"/>
                  <a:pt x="211" y="103"/>
                  <a:pt x="211" y="103"/>
                </a:cubicBezTo>
                <a:cubicBezTo>
                  <a:pt x="341" y="16"/>
                  <a:pt x="341" y="16"/>
                  <a:pt x="341" y="16"/>
                </a:cubicBezTo>
                <a:cubicBezTo>
                  <a:pt x="621" y="202"/>
                  <a:pt x="621" y="202"/>
                  <a:pt x="621" y="202"/>
                </a:cubicBezTo>
                <a:lnTo>
                  <a:pt x="621" y="582"/>
                </a:ln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13" name="Oval 13"/>
          <p:cNvSpPr>
            <a:spLocks noChangeArrowheads="1"/>
          </p:cNvSpPr>
          <p:nvPr/>
        </p:nvSpPr>
        <p:spPr bwMode="auto">
          <a:xfrm>
            <a:off x="4831649" y="3120088"/>
            <a:ext cx="1119124" cy="1119124"/>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6144" name="Freeform 33"/>
          <p:cNvSpPr>
            <a:spLocks noEditPoints="1"/>
          </p:cNvSpPr>
          <p:nvPr/>
        </p:nvSpPr>
        <p:spPr bwMode="auto">
          <a:xfrm>
            <a:off x="5088674" y="3412809"/>
            <a:ext cx="601061" cy="533682"/>
          </a:xfrm>
          <a:custGeom>
            <a:avLst/>
            <a:gdLst>
              <a:gd name="T0" fmla="*/ 263 w 570"/>
              <a:gd name="T1" fmla="*/ 14 h 506"/>
              <a:gd name="T2" fmla="*/ 289 w 570"/>
              <a:gd name="T3" fmla="*/ 7 h 506"/>
              <a:gd name="T4" fmla="*/ 117 w 570"/>
              <a:gd name="T5" fmla="*/ 0 h 506"/>
              <a:gd name="T6" fmla="*/ 117 w 570"/>
              <a:gd name="T7" fmla="*/ 14 h 506"/>
              <a:gd name="T8" fmla="*/ 135 w 570"/>
              <a:gd name="T9" fmla="*/ 179 h 506"/>
              <a:gd name="T10" fmla="*/ 14 w 570"/>
              <a:gd name="T11" fmla="*/ 467 h 506"/>
              <a:gd name="T12" fmla="*/ 316 w 570"/>
              <a:gd name="T13" fmla="*/ 506 h 506"/>
              <a:gd name="T14" fmla="*/ 384 w 570"/>
              <a:gd name="T15" fmla="*/ 389 h 506"/>
              <a:gd name="T16" fmla="*/ 149 w 570"/>
              <a:gd name="T17" fmla="*/ 185 h 506"/>
              <a:gd name="T18" fmla="*/ 149 w 570"/>
              <a:gd name="T19" fmla="*/ 14 h 506"/>
              <a:gd name="T20" fmla="*/ 249 w 570"/>
              <a:gd name="T21" fmla="*/ 181 h 506"/>
              <a:gd name="T22" fmla="*/ 285 w 570"/>
              <a:gd name="T23" fmla="*/ 246 h 506"/>
              <a:gd name="T24" fmla="*/ 149 w 570"/>
              <a:gd name="T25" fmla="*/ 185 h 506"/>
              <a:gd name="T26" fmla="*/ 316 w 570"/>
              <a:gd name="T27" fmla="*/ 492 h 506"/>
              <a:gd name="T28" fmla="*/ 26 w 570"/>
              <a:gd name="T29" fmla="*/ 460 h 506"/>
              <a:gd name="T30" fmla="*/ 105 w 570"/>
              <a:gd name="T31" fmla="*/ 260 h 506"/>
              <a:gd name="T32" fmla="*/ 372 w 570"/>
              <a:gd name="T33" fmla="*/ 396 h 506"/>
              <a:gd name="T34" fmla="*/ 563 w 570"/>
              <a:gd name="T35" fmla="*/ 0 h 506"/>
              <a:gd name="T36" fmla="*/ 391 w 570"/>
              <a:gd name="T37" fmla="*/ 7 h 506"/>
              <a:gd name="T38" fmla="*/ 417 w 570"/>
              <a:gd name="T39" fmla="*/ 14 h 506"/>
              <a:gd name="T40" fmla="*/ 481 w 570"/>
              <a:gd name="T41" fmla="*/ 425 h 506"/>
              <a:gd name="T42" fmla="*/ 544 w 570"/>
              <a:gd name="T43" fmla="*/ 14 h 506"/>
              <a:gd name="T44" fmla="*/ 570 w 570"/>
              <a:gd name="T45" fmla="*/ 7 h 506"/>
              <a:gd name="T46" fmla="*/ 481 w 570"/>
              <a:gd name="T47" fmla="*/ 411 h 506"/>
              <a:gd name="T48" fmla="*/ 431 w 570"/>
              <a:gd name="T49" fmla="*/ 121 h 506"/>
              <a:gd name="T50" fmla="*/ 530 w 570"/>
              <a:gd name="T51" fmla="*/ 361 h 506"/>
              <a:gd name="T52" fmla="*/ 530 w 570"/>
              <a:gd name="T53" fmla="*/ 107 h 506"/>
              <a:gd name="T54" fmla="*/ 431 w 570"/>
              <a:gd name="T55" fmla="*/ 14 h 506"/>
              <a:gd name="T56" fmla="*/ 530 w 570"/>
              <a:gd name="T57" fmla="*/ 107 h 506"/>
              <a:gd name="T58" fmla="*/ 91 w 570"/>
              <a:gd name="T59" fmla="*/ 413 h 506"/>
              <a:gd name="T60" fmla="*/ 157 w 570"/>
              <a:gd name="T61" fmla="*/ 413 h 506"/>
              <a:gd name="T62" fmla="*/ 124 w 570"/>
              <a:gd name="T63" fmla="*/ 432 h 506"/>
              <a:gd name="T64" fmla="*/ 124 w 570"/>
              <a:gd name="T65" fmla="*/ 395 h 506"/>
              <a:gd name="T66" fmla="*/ 124 w 570"/>
              <a:gd name="T67" fmla="*/ 432 h 506"/>
              <a:gd name="T68" fmla="*/ 232 w 570"/>
              <a:gd name="T69" fmla="*/ 370 h 506"/>
              <a:gd name="T70" fmla="*/ 308 w 570"/>
              <a:gd name="T71" fmla="*/ 370 h 506"/>
              <a:gd name="T72" fmla="*/ 270 w 570"/>
              <a:gd name="T73" fmla="*/ 394 h 506"/>
              <a:gd name="T74" fmla="*/ 270 w 570"/>
              <a:gd name="T75" fmla="*/ 346 h 506"/>
              <a:gd name="T76" fmla="*/ 270 w 570"/>
              <a:gd name="T77" fmla="*/ 394 h 506"/>
              <a:gd name="T78" fmla="*/ 171 w 570"/>
              <a:gd name="T79" fmla="*/ 324 h 506"/>
              <a:gd name="T80" fmla="*/ 227 w 570"/>
              <a:gd name="T81" fmla="*/ 324 h 506"/>
              <a:gd name="T82" fmla="*/ 199 w 570"/>
              <a:gd name="T83" fmla="*/ 338 h 506"/>
              <a:gd name="T84" fmla="*/ 199 w 570"/>
              <a:gd name="T85" fmla="*/ 310 h 506"/>
              <a:gd name="T86" fmla="*/ 199 w 570"/>
              <a:gd name="T87" fmla="*/ 338 h 506"/>
              <a:gd name="T88" fmla="*/ 470 w 570"/>
              <a:gd name="T89" fmla="*/ 159 h 506"/>
              <a:gd name="T90" fmla="*/ 470 w 570"/>
              <a:gd name="T91" fmla="*/ 215 h 506"/>
              <a:gd name="T92" fmla="*/ 456 w 570"/>
              <a:gd name="T93" fmla="*/ 187 h 506"/>
              <a:gd name="T94" fmla="*/ 483 w 570"/>
              <a:gd name="T95" fmla="*/ 187 h 506"/>
              <a:gd name="T96" fmla="*/ 456 w 570"/>
              <a:gd name="T97" fmla="*/ 187 h 506"/>
              <a:gd name="T98" fmla="*/ 470 w 570"/>
              <a:gd name="T99" fmla="*/ 268 h 506"/>
              <a:gd name="T100" fmla="*/ 525 w 570"/>
              <a:gd name="T101" fmla="*/ 268 h 506"/>
              <a:gd name="T102" fmla="*/ 497 w 570"/>
              <a:gd name="T103" fmla="*/ 282 h 506"/>
              <a:gd name="T104" fmla="*/ 497 w 570"/>
              <a:gd name="T105" fmla="*/ 254 h 506"/>
              <a:gd name="T106" fmla="*/ 497 w 570"/>
              <a:gd name="T107" fmla="*/ 282 h 5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70" h="506">
                <a:moveTo>
                  <a:pt x="263" y="179"/>
                </a:moveTo>
                <a:cubicBezTo>
                  <a:pt x="263" y="14"/>
                  <a:pt x="263" y="14"/>
                  <a:pt x="263" y="14"/>
                </a:cubicBezTo>
                <a:cubicBezTo>
                  <a:pt x="282" y="14"/>
                  <a:pt x="282" y="14"/>
                  <a:pt x="282" y="14"/>
                </a:cubicBezTo>
                <a:cubicBezTo>
                  <a:pt x="285" y="14"/>
                  <a:pt x="289" y="11"/>
                  <a:pt x="289" y="7"/>
                </a:cubicBezTo>
                <a:cubicBezTo>
                  <a:pt x="289" y="3"/>
                  <a:pt x="285" y="0"/>
                  <a:pt x="282" y="0"/>
                </a:cubicBezTo>
                <a:cubicBezTo>
                  <a:pt x="117" y="0"/>
                  <a:pt x="117" y="0"/>
                  <a:pt x="117" y="0"/>
                </a:cubicBezTo>
                <a:cubicBezTo>
                  <a:pt x="113" y="0"/>
                  <a:pt x="110" y="3"/>
                  <a:pt x="110" y="7"/>
                </a:cubicBezTo>
                <a:cubicBezTo>
                  <a:pt x="110" y="11"/>
                  <a:pt x="113" y="14"/>
                  <a:pt x="117" y="14"/>
                </a:cubicBezTo>
                <a:cubicBezTo>
                  <a:pt x="135" y="14"/>
                  <a:pt x="135" y="14"/>
                  <a:pt x="135" y="14"/>
                </a:cubicBezTo>
                <a:cubicBezTo>
                  <a:pt x="135" y="179"/>
                  <a:pt x="135" y="179"/>
                  <a:pt x="135" y="179"/>
                </a:cubicBezTo>
                <a:cubicBezTo>
                  <a:pt x="14" y="389"/>
                  <a:pt x="14" y="389"/>
                  <a:pt x="14" y="389"/>
                </a:cubicBezTo>
                <a:cubicBezTo>
                  <a:pt x="0" y="414"/>
                  <a:pt x="0" y="443"/>
                  <a:pt x="14" y="467"/>
                </a:cubicBezTo>
                <a:cubicBezTo>
                  <a:pt x="28" y="491"/>
                  <a:pt x="54" y="506"/>
                  <a:pt x="82" y="506"/>
                </a:cubicBezTo>
                <a:cubicBezTo>
                  <a:pt x="316" y="506"/>
                  <a:pt x="316" y="506"/>
                  <a:pt x="316" y="506"/>
                </a:cubicBezTo>
                <a:cubicBezTo>
                  <a:pt x="345" y="506"/>
                  <a:pt x="370" y="491"/>
                  <a:pt x="384" y="467"/>
                </a:cubicBezTo>
                <a:cubicBezTo>
                  <a:pt x="398" y="443"/>
                  <a:pt x="398" y="414"/>
                  <a:pt x="384" y="389"/>
                </a:cubicBezTo>
                <a:lnTo>
                  <a:pt x="263" y="179"/>
                </a:lnTo>
                <a:close/>
                <a:moveTo>
                  <a:pt x="149" y="185"/>
                </a:moveTo>
                <a:cubicBezTo>
                  <a:pt x="149" y="184"/>
                  <a:pt x="149" y="182"/>
                  <a:pt x="149" y="181"/>
                </a:cubicBezTo>
                <a:cubicBezTo>
                  <a:pt x="149" y="14"/>
                  <a:pt x="149" y="14"/>
                  <a:pt x="149" y="14"/>
                </a:cubicBezTo>
                <a:cubicBezTo>
                  <a:pt x="249" y="14"/>
                  <a:pt x="249" y="14"/>
                  <a:pt x="249" y="14"/>
                </a:cubicBezTo>
                <a:cubicBezTo>
                  <a:pt x="249" y="181"/>
                  <a:pt x="249" y="181"/>
                  <a:pt x="249" y="181"/>
                </a:cubicBezTo>
                <a:cubicBezTo>
                  <a:pt x="249" y="182"/>
                  <a:pt x="249" y="184"/>
                  <a:pt x="250" y="185"/>
                </a:cubicBezTo>
                <a:cubicBezTo>
                  <a:pt x="285" y="246"/>
                  <a:pt x="285" y="246"/>
                  <a:pt x="285" y="246"/>
                </a:cubicBezTo>
                <a:cubicBezTo>
                  <a:pt x="113" y="246"/>
                  <a:pt x="113" y="246"/>
                  <a:pt x="113" y="246"/>
                </a:cubicBezTo>
                <a:lnTo>
                  <a:pt x="149" y="185"/>
                </a:lnTo>
                <a:close/>
                <a:moveTo>
                  <a:pt x="372" y="460"/>
                </a:moveTo>
                <a:cubicBezTo>
                  <a:pt x="360" y="480"/>
                  <a:pt x="340" y="492"/>
                  <a:pt x="316" y="492"/>
                </a:cubicBezTo>
                <a:cubicBezTo>
                  <a:pt x="82" y="492"/>
                  <a:pt x="82" y="492"/>
                  <a:pt x="82" y="492"/>
                </a:cubicBezTo>
                <a:cubicBezTo>
                  <a:pt x="59" y="492"/>
                  <a:pt x="38" y="480"/>
                  <a:pt x="26" y="460"/>
                </a:cubicBezTo>
                <a:cubicBezTo>
                  <a:pt x="15" y="440"/>
                  <a:pt x="15" y="416"/>
                  <a:pt x="26" y="396"/>
                </a:cubicBezTo>
                <a:cubicBezTo>
                  <a:pt x="105" y="260"/>
                  <a:pt x="105" y="260"/>
                  <a:pt x="105" y="260"/>
                </a:cubicBezTo>
                <a:cubicBezTo>
                  <a:pt x="293" y="260"/>
                  <a:pt x="293" y="260"/>
                  <a:pt x="293" y="260"/>
                </a:cubicBezTo>
                <a:cubicBezTo>
                  <a:pt x="372" y="396"/>
                  <a:pt x="372" y="396"/>
                  <a:pt x="372" y="396"/>
                </a:cubicBezTo>
                <a:cubicBezTo>
                  <a:pt x="383" y="416"/>
                  <a:pt x="383" y="440"/>
                  <a:pt x="372" y="460"/>
                </a:cubicBezTo>
                <a:close/>
                <a:moveTo>
                  <a:pt x="563" y="0"/>
                </a:moveTo>
                <a:cubicBezTo>
                  <a:pt x="398" y="0"/>
                  <a:pt x="398" y="0"/>
                  <a:pt x="398" y="0"/>
                </a:cubicBezTo>
                <a:cubicBezTo>
                  <a:pt x="394" y="0"/>
                  <a:pt x="391" y="3"/>
                  <a:pt x="391" y="7"/>
                </a:cubicBezTo>
                <a:cubicBezTo>
                  <a:pt x="391" y="11"/>
                  <a:pt x="394" y="14"/>
                  <a:pt x="398" y="14"/>
                </a:cubicBezTo>
                <a:cubicBezTo>
                  <a:pt x="417" y="14"/>
                  <a:pt x="417" y="14"/>
                  <a:pt x="417" y="14"/>
                </a:cubicBezTo>
                <a:cubicBezTo>
                  <a:pt x="417" y="361"/>
                  <a:pt x="417" y="361"/>
                  <a:pt x="417" y="361"/>
                </a:cubicBezTo>
                <a:cubicBezTo>
                  <a:pt x="417" y="396"/>
                  <a:pt x="445" y="425"/>
                  <a:pt x="481" y="425"/>
                </a:cubicBezTo>
                <a:cubicBezTo>
                  <a:pt x="516" y="425"/>
                  <a:pt x="544" y="396"/>
                  <a:pt x="544" y="361"/>
                </a:cubicBezTo>
                <a:cubicBezTo>
                  <a:pt x="544" y="14"/>
                  <a:pt x="544" y="14"/>
                  <a:pt x="544" y="14"/>
                </a:cubicBezTo>
                <a:cubicBezTo>
                  <a:pt x="563" y="14"/>
                  <a:pt x="563" y="14"/>
                  <a:pt x="563" y="14"/>
                </a:cubicBezTo>
                <a:cubicBezTo>
                  <a:pt x="567" y="14"/>
                  <a:pt x="570" y="11"/>
                  <a:pt x="570" y="7"/>
                </a:cubicBezTo>
                <a:cubicBezTo>
                  <a:pt x="570" y="3"/>
                  <a:pt x="567" y="0"/>
                  <a:pt x="563" y="0"/>
                </a:cubicBezTo>
                <a:close/>
                <a:moveTo>
                  <a:pt x="481" y="411"/>
                </a:moveTo>
                <a:cubicBezTo>
                  <a:pt x="453" y="411"/>
                  <a:pt x="431" y="389"/>
                  <a:pt x="431" y="361"/>
                </a:cubicBezTo>
                <a:cubicBezTo>
                  <a:pt x="431" y="121"/>
                  <a:pt x="431" y="121"/>
                  <a:pt x="431" y="121"/>
                </a:cubicBezTo>
                <a:cubicBezTo>
                  <a:pt x="530" y="121"/>
                  <a:pt x="530" y="121"/>
                  <a:pt x="530" y="121"/>
                </a:cubicBezTo>
                <a:cubicBezTo>
                  <a:pt x="530" y="361"/>
                  <a:pt x="530" y="361"/>
                  <a:pt x="530" y="361"/>
                </a:cubicBezTo>
                <a:cubicBezTo>
                  <a:pt x="530" y="389"/>
                  <a:pt x="508" y="411"/>
                  <a:pt x="481" y="411"/>
                </a:cubicBezTo>
                <a:close/>
                <a:moveTo>
                  <a:pt x="530" y="107"/>
                </a:moveTo>
                <a:cubicBezTo>
                  <a:pt x="431" y="107"/>
                  <a:pt x="431" y="107"/>
                  <a:pt x="431" y="107"/>
                </a:cubicBezTo>
                <a:cubicBezTo>
                  <a:pt x="431" y="14"/>
                  <a:pt x="431" y="14"/>
                  <a:pt x="431" y="14"/>
                </a:cubicBezTo>
                <a:cubicBezTo>
                  <a:pt x="530" y="14"/>
                  <a:pt x="530" y="14"/>
                  <a:pt x="530" y="14"/>
                </a:cubicBezTo>
                <a:lnTo>
                  <a:pt x="530" y="107"/>
                </a:lnTo>
                <a:close/>
                <a:moveTo>
                  <a:pt x="124" y="381"/>
                </a:moveTo>
                <a:cubicBezTo>
                  <a:pt x="106" y="381"/>
                  <a:pt x="91" y="395"/>
                  <a:pt x="91" y="413"/>
                </a:cubicBezTo>
                <a:cubicBezTo>
                  <a:pt x="91" y="431"/>
                  <a:pt x="106" y="446"/>
                  <a:pt x="124" y="446"/>
                </a:cubicBezTo>
                <a:cubicBezTo>
                  <a:pt x="142" y="446"/>
                  <a:pt x="157" y="431"/>
                  <a:pt x="157" y="413"/>
                </a:cubicBezTo>
                <a:cubicBezTo>
                  <a:pt x="157" y="395"/>
                  <a:pt x="142" y="381"/>
                  <a:pt x="124" y="381"/>
                </a:cubicBezTo>
                <a:close/>
                <a:moveTo>
                  <a:pt x="124" y="432"/>
                </a:moveTo>
                <a:cubicBezTo>
                  <a:pt x="114" y="432"/>
                  <a:pt x="105" y="423"/>
                  <a:pt x="105" y="413"/>
                </a:cubicBezTo>
                <a:cubicBezTo>
                  <a:pt x="105" y="403"/>
                  <a:pt x="114" y="395"/>
                  <a:pt x="124" y="395"/>
                </a:cubicBezTo>
                <a:cubicBezTo>
                  <a:pt x="134" y="395"/>
                  <a:pt x="143" y="403"/>
                  <a:pt x="143" y="413"/>
                </a:cubicBezTo>
                <a:cubicBezTo>
                  <a:pt x="143" y="423"/>
                  <a:pt x="134" y="432"/>
                  <a:pt x="124" y="432"/>
                </a:cubicBezTo>
                <a:close/>
                <a:moveTo>
                  <a:pt x="270" y="332"/>
                </a:moveTo>
                <a:cubicBezTo>
                  <a:pt x="249" y="332"/>
                  <a:pt x="232" y="349"/>
                  <a:pt x="232" y="370"/>
                </a:cubicBezTo>
                <a:cubicBezTo>
                  <a:pt x="232" y="391"/>
                  <a:pt x="249" y="408"/>
                  <a:pt x="270" y="408"/>
                </a:cubicBezTo>
                <a:cubicBezTo>
                  <a:pt x="291" y="408"/>
                  <a:pt x="308" y="391"/>
                  <a:pt x="308" y="370"/>
                </a:cubicBezTo>
                <a:cubicBezTo>
                  <a:pt x="308" y="349"/>
                  <a:pt x="291" y="332"/>
                  <a:pt x="270" y="332"/>
                </a:cubicBezTo>
                <a:close/>
                <a:moveTo>
                  <a:pt x="270" y="394"/>
                </a:moveTo>
                <a:cubicBezTo>
                  <a:pt x="257" y="394"/>
                  <a:pt x="246" y="383"/>
                  <a:pt x="246" y="370"/>
                </a:cubicBezTo>
                <a:cubicBezTo>
                  <a:pt x="246" y="356"/>
                  <a:pt x="257" y="346"/>
                  <a:pt x="270" y="346"/>
                </a:cubicBezTo>
                <a:cubicBezTo>
                  <a:pt x="283" y="346"/>
                  <a:pt x="294" y="356"/>
                  <a:pt x="294" y="370"/>
                </a:cubicBezTo>
                <a:cubicBezTo>
                  <a:pt x="294" y="383"/>
                  <a:pt x="283" y="394"/>
                  <a:pt x="270" y="394"/>
                </a:cubicBezTo>
                <a:close/>
                <a:moveTo>
                  <a:pt x="199" y="296"/>
                </a:moveTo>
                <a:cubicBezTo>
                  <a:pt x="184" y="296"/>
                  <a:pt x="171" y="309"/>
                  <a:pt x="171" y="324"/>
                </a:cubicBezTo>
                <a:cubicBezTo>
                  <a:pt x="171" y="340"/>
                  <a:pt x="184" y="352"/>
                  <a:pt x="199" y="352"/>
                </a:cubicBezTo>
                <a:cubicBezTo>
                  <a:pt x="214" y="352"/>
                  <a:pt x="227" y="340"/>
                  <a:pt x="227" y="324"/>
                </a:cubicBezTo>
                <a:cubicBezTo>
                  <a:pt x="227" y="309"/>
                  <a:pt x="214" y="296"/>
                  <a:pt x="199" y="296"/>
                </a:cubicBezTo>
                <a:close/>
                <a:moveTo>
                  <a:pt x="199" y="338"/>
                </a:moveTo>
                <a:cubicBezTo>
                  <a:pt x="191" y="338"/>
                  <a:pt x="185" y="332"/>
                  <a:pt x="185" y="324"/>
                </a:cubicBezTo>
                <a:cubicBezTo>
                  <a:pt x="185" y="317"/>
                  <a:pt x="191" y="310"/>
                  <a:pt x="199" y="310"/>
                </a:cubicBezTo>
                <a:cubicBezTo>
                  <a:pt x="207" y="310"/>
                  <a:pt x="213" y="317"/>
                  <a:pt x="213" y="324"/>
                </a:cubicBezTo>
                <a:cubicBezTo>
                  <a:pt x="213" y="332"/>
                  <a:pt x="207" y="338"/>
                  <a:pt x="199" y="338"/>
                </a:cubicBezTo>
                <a:close/>
                <a:moveTo>
                  <a:pt x="497" y="187"/>
                </a:moveTo>
                <a:cubicBezTo>
                  <a:pt x="497" y="172"/>
                  <a:pt x="485" y="159"/>
                  <a:pt x="470" y="159"/>
                </a:cubicBezTo>
                <a:cubicBezTo>
                  <a:pt x="454" y="159"/>
                  <a:pt x="442" y="172"/>
                  <a:pt x="442" y="187"/>
                </a:cubicBezTo>
                <a:cubicBezTo>
                  <a:pt x="442" y="202"/>
                  <a:pt x="454" y="215"/>
                  <a:pt x="470" y="215"/>
                </a:cubicBezTo>
                <a:cubicBezTo>
                  <a:pt x="485" y="215"/>
                  <a:pt x="497" y="202"/>
                  <a:pt x="497" y="187"/>
                </a:cubicBezTo>
                <a:close/>
                <a:moveTo>
                  <a:pt x="456" y="187"/>
                </a:moveTo>
                <a:cubicBezTo>
                  <a:pt x="456" y="179"/>
                  <a:pt x="462" y="173"/>
                  <a:pt x="470" y="173"/>
                </a:cubicBezTo>
                <a:cubicBezTo>
                  <a:pt x="477" y="173"/>
                  <a:pt x="483" y="179"/>
                  <a:pt x="483" y="187"/>
                </a:cubicBezTo>
                <a:cubicBezTo>
                  <a:pt x="483" y="195"/>
                  <a:pt x="477" y="201"/>
                  <a:pt x="470" y="201"/>
                </a:cubicBezTo>
                <a:cubicBezTo>
                  <a:pt x="462" y="201"/>
                  <a:pt x="456" y="195"/>
                  <a:pt x="456" y="187"/>
                </a:cubicBezTo>
                <a:close/>
                <a:moveTo>
                  <a:pt x="497" y="240"/>
                </a:moveTo>
                <a:cubicBezTo>
                  <a:pt x="482" y="240"/>
                  <a:pt x="470" y="252"/>
                  <a:pt x="470" y="268"/>
                </a:cubicBezTo>
                <a:cubicBezTo>
                  <a:pt x="470" y="283"/>
                  <a:pt x="482" y="296"/>
                  <a:pt x="497" y="296"/>
                </a:cubicBezTo>
                <a:cubicBezTo>
                  <a:pt x="513" y="296"/>
                  <a:pt x="525" y="283"/>
                  <a:pt x="525" y="268"/>
                </a:cubicBezTo>
                <a:cubicBezTo>
                  <a:pt x="525" y="252"/>
                  <a:pt x="513" y="240"/>
                  <a:pt x="497" y="240"/>
                </a:cubicBezTo>
                <a:close/>
                <a:moveTo>
                  <a:pt x="497" y="282"/>
                </a:moveTo>
                <a:cubicBezTo>
                  <a:pt x="490" y="282"/>
                  <a:pt x="484" y="275"/>
                  <a:pt x="484" y="268"/>
                </a:cubicBezTo>
                <a:cubicBezTo>
                  <a:pt x="484" y="260"/>
                  <a:pt x="490" y="254"/>
                  <a:pt x="497" y="254"/>
                </a:cubicBezTo>
                <a:cubicBezTo>
                  <a:pt x="505" y="254"/>
                  <a:pt x="511" y="260"/>
                  <a:pt x="511" y="268"/>
                </a:cubicBezTo>
                <a:cubicBezTo>
                  <a:pt x="511" y="275"/>
                  <a:pt x="505" y="282"/>
                  <a:pt x="497" y="282"/>
                </a:cubicBez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7" name="Oval 7"/>
          <p:cNvSpPr>
            <a:spLocks noChangeArrowheads="1"/>
          </p:cNvSpPr>
          <p:nvPr/>
        </p:nvSpPr>
        <p:spPr bwMode="auto">
          <a:xfrm>
            <a:off x="1315706" y="4719249"/>
            <a:ext cx="1119124" cy="1119124"/>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6145" name="Freeform 34"/>
          <p:cNvSpPr>
            <a:spLocks noEditPoints="1"/>
          </p:cNvSpPr>
          <p:nvPr/>
        </p:nvSpPr>
        <p:spPr bwMode="auto">
          <a:xfrm>
            <a:off x="1553001" y="5002599"/>
            <a:ext cx="644534" cy="539929"/>
          </a:xfrm>
          <a:custGeom>
            <a:avLst/>
            <a:gdLst>
              <a:gd name="T0" fmla="*/ 565 w 612"/>
              <a:gd name="T1" fmla="*/ 238 h 512"/>
              <a:gd name="T2" fmla="*/ 565 w 612"/>
              <a:gd name="T3" fmla="*/ 237 h 512"/>
              <a:gd name="T4" fmla="*/ 564 w 612"/>
              <a:gd name="T5" fmla="*/ 237 h 512"/>
              <a:gd name="T6" fmla="*/ 468 w 612"/>
              <a:gd name="T7" fmla="*/ 191 h 512"/>
              <a:gd name="T8" fmla="*/ 442 w 612"/>
              <a:gd name="T9" fmla="*/ 49 h 512"/>
              <a:gd name="T10" fmla="*/ 261 w 612"/>
              <a:gd name="T11" fmla="*/ 49 h 512"/>
              <a:gd name="T12" fmla="*/ 154 w 612"/>
              <a:gd name="T13" fmla="*/ 157 h 512"/>
              <a:gd name="T14" fmla="*/ 154 w 612"/>
              <a:gd name="T15" fmla="*/ 157 h 512"/>
              <a:gd name="T16" fmla="*/ 144 w 612"/>
              <a:gd name="T17" fmla="*/ 157 h 512"/>
              <a:gd name="T18" fmla="*/ 40 w 612"/>
              <a:gd name="T19" fmla="*/ 261 h 512"/>
              <a:gd name="T20" fmla="*/ 0 w 612"/>
              <a:gd name="T21" fmla="*/ 356 h 512"/>
              <a:gd name="T22" fmla="*/ 40 w 612"/>
              <a:gd name="T23" fmla="*/ 451 h 512"/>
              <a:gd name="T24" fmla="*/ 135 w 612"/>
              <a:gd name="T25" fmla="*/ 491 h 512"/>
              <a:gd name="T26" fmla="*/ 230 w 612"/>
              <a:gd name="T27" fmla="*/ 451 h 512"/>
              <a:gd name="T28" fmla="*/ 294 w 612"/>
              <a:gd name="T29" fmla="*/ 388 h 512"/>
              <a:gd name="T30" fmla="*/ 337 w 612"/>
              <a:gd name="T31" fmla="*/ 464 h 512"/>
              <a:gd name="T32" fmla="*/ 337 w 612"/>
              <a:gd name="T33" fmla="*/ 465 h 512"/>
              <a:gd name="T34" fmla="*/ 338 w 612"/>
              <a:gd name="T35" fmla="*/ 466 h 512"/>
              <a:gd name="T36" fmla="*/ 451 w 612"/>
              <a:gd name="T37" fmla="*/ 512 h 512"/>
              <a:gd name="T38" fmla="*/ 612 w 612"/>
              <a:gd name="T39" fmla="*/ 351 h 512"/>
              <a:gd name="T40" fmla="*/ 565 w 612"/>
              <a:gd name="T41" fmla="*/ 238 h 512"/>
              <a:gd name="T42" fmla="*/ 342 w 612"/>
              <a:gd name="T43" fmla="*/ 450 h 512"/>
              <a:gd name="T44" fmla="*/ 304 w 612"/>
              <a:gd name="T45" fmla="*/ 351 h 512"/>
              <a:gd name="T46" fmla="*/ 308 w 612"/>
              <a:gd name="T47" fmla="*/ 317 h 512"/>
              <a:gd name="T48" fmla="*/ 308 w 612"/>
              <a:gd name="T49" fmla="*/ 315 h 512"/>
              <a:gd name="T50" fmla="*/ 347 w 612"/>
              <a:gd name="T51" fmla="*/ 247 h 512"/>
              <a:gd name="T52" fmla="*/ 451 w 612"/>
              <a:gd name="T53" fmla="*/ 204 h 512"/>
              <a:gd name="T54" fmla="*/ 457 w 612"/>
              <a:gd name="T55" fmla="*/ 204 h 512"/>
              <a:gd name="T56" fmla="*/ 458 w 612"/>
              <a:gd name="T57" fmla="*/ 204 h 512"/>
              <a:gd name="T58" fmla="*/ 458 w 612"/>
              <a:gd name="T59" fmla="*/ 204 h 512"/>
              <a:gd name="T60" fmla="*/ 550 w 612"/>
              <a:gd name="T61" fmla="*/ 243 h 512"/>
              <a:gd name="T62" fmla="*/ 342 w 612"/>
              <a:gd name="T63" fmla="*/ 450 h 512"/>
              <a:gd name="T64" fmla="*/ 271 w 612"/>
              <a:gd name="T65" fmla="*/ 59 h 512"/>
              <a:gd name="T66" fmla="*/ 432 w 612"/>
              <a:gd name="T67" fmla="*/ 59 h 512"/>
              <a:gd name="T68" fmla="*/ 453 w 612"/>
              <a:gd name="T69" fmla="*/ 190 h 512"/>
              <a:gd name="T70" fmla="*/ 451 w 612"/>
              <a:gd name="T71" fmla="*/ 190 h 512"/>
              <a:gd name="T72" fmla="*/ 337 w 612"/>
              <a:gd name="T73" fmla="*/ 237 h 512"/>
              <a:gd name="T74" fmla="*/ 298 w 612"/>
              <a:gd name="T75" fmla="*/ 301 h 512"/>
              <a:gd name="T76" fmla="*/ 164 w 612"/>
              <a:gd name="T77" fmla="*/ 167 h 512"/>
              <a:gd name="T78" fmla="*/ 271 w 612"/>
              <a:gd name="T79" fmla="*/ 59 h 512"/>
              <a:gd name="T80" fmla="*/ 220 w 612"/>
              <a:gd name="T81" fmla="*/ 442 h 512"/>
              <a:gd name="T82" fmla="*/ 135 w 612"/>
              <a:gd name="T83" fmla="*/ 477 h 512"/>
              <a:gd name="T84" fmla="*/ 50 w 612"/>
              <a:gd name="T85" fmla="*/ 442 h 512"/>
              <a:gd name="T86" fmla="*/ 50 w 612"/>
              <a:gd name="T87" fmla="*/ 271 h 512"/>
              <a:gd name="T88" fmla="*/ 149 w 612"/>
              <a:gd name="T89" fmla="*/ 172 h 512"/>
              <a:gd name="T90" fmla="*/ 294 w 612"/>
              <a:gd name="T91" fmla="*/ 317 h 512"/>
              <a:gd name="T92" fmla="*/ 290 w 612"/>
              <a:gd name="T93" fmla="*/ 351 h 512"/>
              <a:gd name="T94" fmla="*/ 291 w 612"/>
              <a:gd name="T95" fmla="*/ 371 h 512"/>
              <a:gd name="T96" fmla="*/ 220 w 612"/>
              <a:gd name="T97" fmla="*/ 442 h 512"/>
              <a:gd name="T98" fmla="*/ 451 w 612"/>
              <a:gd name="T99" fmla="*/ 498 h 512"/>
              <a:gd name="T100" fmla="*/ 352 w 612"/>
              <a:gd name="T101" fmla="*/ 460 h 512"/>
              <a:gd name="T102" fmla="*/ 560 w 612"/>
              <a:gd name="T103" fmla="*/ 252 h 512"/>
              <a:gd name="T104" fmla="*/ 598 w 612"/>
              <a:gd name="T105" fmla="*/ 351 h 512"/>
              <a:gd name="T106" fmla="*/ 451 w 612"/>
              <a:gd name="T107" fmla="*/ 49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12" h="512">
                <a:moveTo>
                  <a:pt x="565" y="238"/>
                </a:moveTo>
                <a:cubicBezTo>
                  <a:pt x="565" y="238"/>
                  <a:pt x="565" y="238"/>
                  <a:pt x="565" y="237"/>
                </a:cubicBezTo>
                <a:cubicBezTo>
                  <a:pt x="564" y="237"/>
                  <a:pt x="564" y="237"/>
                  <a:pt x="564" y="237"/>
                </a:cubicBezTo>
                <a:cubicBezTo>
                  <a:pt x="539" y="212"/>
                  <a:pt x="505" y="195"/>
                  <a:pt x="468" y="191"/>
                </a:cubicBezTo>
                <a:cubicBezTo>
                  <a:pt x="489" y="144"/>
                  <a:pt x="479" y="87"/>
                  <a:pt x="442" y="49"/>
                </a:cubicBezTo>
                <a:cubicBezTo>
                  <a:pt x="392" y="0"/>
                  <a:pt x="311" y="0"/>
                  <a:pt x="261" y="49"/>
                </a:cubicBezTo>
                <a:cubicBezTo>
                  <a:pt x="154" y="157"/>
                  <a:pt x="154" y="157"/>
                  <a:pt x="154" y="157"/>
                </a:cubicBezTo>
                <a:cubicBezTo>
                  <a:pt x="154" y="157"/>
                  <a:pt x="154" y="157"/>
                  <a:pt x="154" y="157"/>
                </a:cubicBezTo>
                <a:cubicBezTo>
                  <a:pt x="151" y="154"/>
                  <a:pt x="146" y="154"/>
                  <a:pt x="144" y="157"/>
                </a:cubicBezTo>
                <a:cubicBezTo>
                  <a:pt x="40" y="261"/>
                  <a:pt x="40" y="261"/>
                  <a:pt x="40" y="261"/>
                </a:cubicBezTo>
                <a:cubicBezTo>
                  <a:pt x="14" y="286"/>
                  <a:pt x="0" y="320"/>
                  <a:pt x="0" y="356"/>
                </a:cubicBezTo>
                <a:cubicBezTo>
                  <a:pt x="0" y="392"/>
                  <a:pt x="14" y="426"/>
                  <a:pt x="40" y="451"/>
                </a:cubicBezTo>
                <a:cubicBezTo>
                  <a:pt x="65" y="477"/>
                  <a:pt x="99" y="491"/>
                  <a:pt x="135" y="491"/>
                </a:cubicBezTo>
                <a:cubicBezTo>
                  <a:pt x="171" y="491"/>
                  <a:pt x="205" y="477"/>
                  <a:pt x="230" y="451"/>
                </a:cubicBezTo>
                <a:cubicBezTo>
                  <a:pt x="294" y="388"/>
                  <a:pt x="294" y="388"/>
                  <a:pt x="294" y="388"/>
                </a:cubicBezTo>
                <a:cubicBezTo>
                  <a:pt x="301" y="417"/>
                  <a:pt x="316" y="443"/>
                  <a:pt x="337" y="464"/>
                </a:cubicBezTo>
                <a:cubicBezTo>
                  <a:pt x="337" y="464"/>
                  <a:pt x="337" y="465"/>
                  <a:pt x="337" y="465"/>
                </a:cubicBezTo>
                <a:cubicBezTo>
                  <a:pt x="337" y="465"/>
                  <a:pt x="338" y="465"/>
                  <a:pt x="338" y="466"/>
                </a:cubicBezTo>
                <a:cubicBezTo>
                  <a:pt x="367" y="494"/>
                  <a:pt x="407" y="512"/>
                  <a:pt x="451" y="512"/>
                </a:cubicBezTo>
                <a:cubicBezTo>
                  <a:pt x="540" y="512"/>
                  <a:pt x="612" y="440"/>
                  <a:pt x="612" y="351"/>
                </a:cubicBezTo>
                <a:cubicBezTo>
                  <a:pt x="612" y="307"/>
                  <a:pt x="594" y="267"/>
                  <a:pt x="565" y="238"/>
                </a:cubicBezTo>
                <a:close/>
                <a:moveTo>
                  <a:pt x="342" y="450"/>
                </a:moveTo>
                <a:cubicBezTo>
                  <a:pt x="319" y="424"/>
                  <a:pt x="304" y="389"/>
                  <a:pt x="304" y="351"/>
                </a:cubicBezTo>
                <a:cubicBezTo>
                  <a:pt x="304" y="340"/>
                  <a:pt x="305" y="328"/>
                  <a:pt x="308" y="317"/>
                </a:cubicBezTo>
                <a:cubicBezTo>
                  <a:pt x="308" y="316"/>
                  <a:pt x="308" y="316"/>
                  <a:pt x="308" y="315"/>
                </a:cubicBezTo>
                <a:cubicBezTo>
                  <a:pt x="315" y="290"/>
                  <a:pt x="328" y="266"/>
                  <a:pt x="347" y="247"/>
                </a:cubicBezTo>
                <a:cubicBezTo>
                  <a:pt x="375" y="220"/>
                  <a:pt x="412" y="204"/>
                  <a:pt x="451" y="204"/>
                </a:cubicBezTo>
                <a:cubicBezTo>
                  <a:pt x="453" y="204"/>
                  <a:pt x="455" y="204"/>
                  <a:pt x="457" y="204"/>
                </a:cubicBezTo>
                <a:cubicBezTo>
                  <a:pt x="457" y="204"/>
                  <a:pt x="458" y="204"/>
                  <a:pt x="458" y="204"/>
                </a:cubicBezTo>
                <a:cubicBezTo>
                  <a:pt x="458" y="204"/>
                  <a:pt x="458" y="204"/>
                  <a:pt x="458" y="204"/>
                </a:cubicBezTo>
                <a:cubicBezTo>
                  <a:pt x="493" y="206"/>
                  <a:pt x="525" y="220"/>
                  <a:pt x="550" y="243"/>
                </a:cubicBezTo>
                <a:lnTo>
                  <a:pt x="342" y="450"/>
                </a:lnTo>
                <a:close/>
                <a:moveTo>
                  <a:pt x="271" y="59"/>
                </a:moveTo>
                <a:cubicBezTo>
                  <a:pt x="315" y="15"/>
                  <a:pt x="388" y="15"/>
                  <a:pt x="432" y="59"/>
                </a:cubicBezTo>
                <a:cubicBezTo>
                  <a:pt x="466" y="94"/>
                  <a:pt x="475" y="147"/>
                  <a:pt x="453" y="190"/>
                </a:cubicBezTo>
                <a:cubicBezTo>
                  <a:pt x="452" y="190"/>
                  <a:pt x="452" y="190"/>
                  <a:pt x="451" y="190"/>
                </a:cubicBezTo>
                <a:cubicBezTo>
                  <a:pt x="408" y="190"/>
                  <a:pt x="368" y="207"/>
                  <a:pt x="337" y="237"/>
                </a:cubicBezTo>
                <a:cubicBezTo>
                  <a:pt x="319" y="256"/>
                  <a:pt x="306" y="277"/>
                  <a:pt x="298" y="301"/>
                </a:cubicBezTo>
                <a:cubicBezTo>
                  <a:pt x="164" y="167"/>
                  <a:pt x="164" y="167"/>
                  <a:pt x="164" y="167"/>
                </a:cubicBezTo>
                <a:lnTo>
                  <a:pt x="271" y="59"/>
                </a:lnTo>
                <a:close/>
                <a:moveTo>
                  <a:pt x="220" y="442"/>
                </a:moveTo>
                <a:cubicBezTo>
                  <a:pt x="198" y="464"/>
                  <a:pt x="167" y="477"/>
                  <a:pt x="135" y="477"/>
                </a:cubicBezTo>
                <a:cubicBezTo>
                  <a:pt x="103" y="477"/>
                  <a:pt x="72" y="464"/>
                  <a:pt x="50" y="442"/>
                </a:cubicBezTo>
                <a:cubicBezTo>
                  <a:pt x="3" y="394"/>
                  <a:pt x="3" y="318"/>
                  <a:pt x="50" y="271"/>
                </a:cubicBezTo>
                <a:cubicBezTo>
                  <a:pt x="149" y="172"/>
                  <a:pt x="149" y="172"/>
                  <a:pt x="149" y="172"/>
                </a:cubicBezTo>
                <a:cubicBezTo>
                  <a:pt x="294" y="317"/>
                  <a:pt x="294" y="317"/>
                  <a:pt x="294" y="317"/>
                </a:cubicBezTo>
                <a:cubicBezTo>
                  <a:pt x="291" y="328"/>
                  <a:pt x="290" y="339"/>
                  <a:pt x="290" y="351"/>
                </a:cubicBezTo>
                <a:cubicBezTo>
                  <a:pt x="290" y="358"/>
                  <a:pt x="290" y="364"/>
                  <a:pt x="291" y="371"/>
                </a:cubicBezTo>
                <a:lnTo>
                  <a:pt x="220" y="442"/>
                </a:lnTo>
                <a:close/>
                <a:moveTo>
                  <a:pt x="451" y="498"/>
                </a:moveTo>
                <a:cubicBezTo>
                  <a:pt x="413" y="498"/>
                  <a:pt x="378" y="484"/>
                  <a:pt x="352" y="460"/>
                </a:cubicBezTo>
                <a:cubicBezTo>
                  <a:pt x="560" y="252"/>
                  <a:pt x="560" y="252"/>
                  <a:pt x="560" y="252"/>
                </a:cubicBezTo>
                <a:cubicBezTo>
                  <a:pt x="583" y="279"/>
                  <a:pt x="598" y="313"/>
                  <a:pt x="598" y="351"/>
                </a:cubicBezTo>
                <a:cubicBezTo>
                  <a:pt x="598" y="432"/>
                  <a:pt x="532" y="498"/>
                  <a:pt x="451" y="498"/>
                </a:cubicBez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8" name="Oval 8"/>
          <p:cNvSpPr>
            <a:spLocks noChangeArrowheads="1"/>
          </p:cNvSpPr>
          <p:nvPr/>
        </p:nvSpPr>
        <p:spPr bwMode="auto">
          <a:xfrm>
            <a:off x="10105564" y="3120088"/>
            <a:ext cx="1119124" cy="1119124"/>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6147" name="Freeform 35"/>
          <p:cNvSpPr>
            <a:spLocks noEditPoints="1"/>
          </p:cNvSpPr>
          <p:nvPr/>
        </p:nvSpPr>
        <p:spPr bwMode="auto">
          <a:xfrm>
            <a:off x="10305232" y="3365510"/>
            <a:ext cx="719341" cy="628280"/>
          </a:xfrm>
          <a:custGeom>
            <a:avLst/>
            <a:gdLst>
              <a:gd name="T0" fmla="*/ 631 w 683"/>
              <a:gd name="T1" fmla="*/ 193 h 596"/>
              <a:gd name="T2" fmla="*/ 345 w 683"/>
              <a:gd name="T3" fmla="*/ 1 h 596"/>
              <a:gd name="T4" fmla="*/ 214 w 683"/>
              <a:gd name="T5" fmla="*/ 84 h 596"/>
              <a:gd name="T6" fmla="*/ 207 w 683"/>
              <a:gd name="T7" fmla="*/ 25 h 596"/>
              <a:gd name="T8" fmla="*/ 124 w 683"/>
              <a:gd name="T9" fmla="*/ 25 h 596"/>
              <a:gd name="T10" fmla="*/ 117 w 683"/>
              <a:gd name="T11" fmla="*/ 32 h 596"/>
              <a:gd name="T12" fmla="*/ 4 w 683"/>
              <a:gd name="T13" fmla="*/ 224 h 596"/>
              <a:gd name="T14" fmla="*/ 12 w 683"/>
              <a:gd name="T15" fmla="*/ 236 h 596"/>
              <a:gd name="T16" fmla="*/ 57 w 683"/>
              <a:gd name="T17" fmla="*/ 589 h 596"/>
              <a:gd name="T18" fmla="*/ 628 w 683"/>
              <a:gd name="T19" fmla="*/ 596 h 596"/>
              <a:gd name="T20" fmla="*/ 635 w 683"/>
              <a:gd name="T21" fmla="*/ 212 h 596"/>
              <a:gd name="T22" fmla="*/ 675 w 683"/>
              <a:gd name="T23" fmla="*/ 237 h 596"/>
              <a:gd name="T24" fmla="*/ 679 w 683"/>
              <a:gd name="T25" fmla="*/ 224 h 596"/>
              <a:gd name="T26" fmla="*/ 200 w 683"/>
              <a:gd name="T27" fmla="*/ 39 h 596"/>
              <a:gd name="T28" fmla="*/ 131 w 683"/>
              <a:gd name="T29" fmla="*/ 139 h 596"/>
              <a:gd name="T30" fmla="*/ 621 w 683"/>
              <a:gd name="T31" fmla="*/ 582 h 596"/>
              <a:gd name="T32" fmla="*/ 71 w 683"/>
              <a:gd name="T33" fmla="*/ 196 h 596"/>
              <a:gd name="T34" fmla="*/ 128 w 683"/>
              <a:gd name="T35" fmla="*/ 158 h 596"/>
              <a:gd name="T36" fmla="*/ 211 w 683"/>
              <a:gd name="T37" fmla="*/ 103 h 596"/>
              <a:gd name="T38" fmla="*/ 621 w 683"/>
              <a:gd name="T39" fmla="*/ 202 h 596"/>
              <a:gd name="T40" fmla="*/ 303 w 683"/>
              <a:gd name="T41" fmla="*/ 193 h 596"/>
              <a:gd name="T42" fmla="*/ 238 w 683"/>
              <a:gd name="T43" fmla="*/ 258 h 596"/>
              <a:gd name="T44" fmla="*/ 231 w 683"/>
              <a:gd name="T45" fmla="*/ 265 h 596"/>
              <a:gd name="T46" fmla="*/ 238 w 683"/>
              <a:gd name="T47" fmla="*/ 334 h 596"/>
              <a:gd name="T48" fmla="*/ 303 w 683"/>
              <a:gd name="T49" fmla="*/ 400 h 596"/>
              <a:gd name="T50" fmla="*/ 372 w 683"/>
              <a:gd name="T51" fmla="*/ 407 h 596"/>
              <a:gd name="T52" fmla="*/ 379 w 683"/>
              <a:gd name="T53" fmla="*/ 334 h 596"/>
              <a:gd name="T54" fmla="*/ 450 w 683"/>
              <a:gd name="T55" fmla="*/ 332 h 596"/>
              <a:gd name="T56" fmla="*/ 452 w 683"/>
              <a:gd name="T57" fmla="*/ 265 h 596"/>
              <a:gd name="T58" fmla="*/ 379 w 683"/>
              <a:gd name="T59" fmla="*/ 258 h 596"/>
              <a:gd name="T60" fmla="*/ 372 w 683"/>
              <a:gd name="T61" fmla="*/ 186 h 596"/>
              <a:gd name="T62" fmla="*/ 303 w 683"/>
              <a:gd name="T63" fmla="*/ 193 h 596"/>
              <a:gd name="T64" fmla="*/ 317 w 683"/>
              <a:gd name="T65" fmla="*/ 200 h 596"/>
              <a:gd name="T66" fmla="*/ 365 w 683"/>
              <a:gd name="T67" fmla="*/ 265 h 596"/>
              <a:gd name="T68" fmla="*/ 438 w 683"/>
              <a:gd name="T69" fmla="*/ 272 h 596"/>
              <a:gd name="T70" fmla="*/ 372 w 683"/>
              <a:gd name="T71" fmla="*/ 320 h 596"/>
              <a:gd name="T72" fmla="*/ 365 w 683"/>
              <a:gd name="T73" fmla="*/ 393 h 596"/>
              <a:gd name="T74" fmla="*/ 317 w 683"/>
              <a:gd name="T75" fmla="*/ 327 h 596"/>
              <a:gd name="T76" fmla="*/ 245 w 683"/>
              <a:gd name="T77" fmla="*/ 320 h 596"/>
              <a:gd name="T78" fmla="*/ 310 w 683"/>
              <a:gd name="T79" fmla="*/ 272 h 5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683" h="596">
                <a:moveTo>
                  <a:pt x="679" y="224"/>
                </a:moveTo>
                <a:cubicBezTo>
                  <a:pt x="631" y="193"/>
                  <a:pt x="631" y="193"/>
                  <a:pt x="631" y="193"/>
                </a:cubicBezTo>
                <a:cubicBezTo>
                  <a:pt x="631" y="193"/>
                  <a:pt x="631" y="193"/>
                  <a:pt x="631" y="193"/>
                </a:cubicBezTo>
                <a:cubicBezTo>
                  <a:pt x="345" y="1"/>
                  <a:pt x="345" y="1"/>
                  <a:pt x="345" y="1"/>
                </a:cubicBezTo>
                <a:cubicBezTo>
                  <a:pt x="343" y="0"/>
                  <a:pt x="340" y="0"/>
                  <a:pt x="337" y="1"/>
                </a:cubicBezTo>
                <a:cubicBezTo>
                  <a:pt x="214" y="84"/>
                  <a:pt x="214" y="84"/>
                  <a:pt x="214" y="84"/>
                </a:cubicBezTo>
                <a:cubicBezTo>
                  <a:pt x="214" y="32"/>
                  <a:pt x="214" y="32"/>
                  <a:pt x="214" y="32"/>
                </a:cubicBezTo>
                <a:cubicBezTo>
                  <a:pt x="214" y="28"/>
                  <a:pt x="211" y="25"/>
                  <a:pt x="207" y="25"/>
                </a:cubicBezTo>
                <a:cubicBezTo>
                  <a:pt x="124" y="25"/>
                  <a:pt x="124" y="25"/>
                  <a:pt x="124" y="25"/>
                </a:cubicBezTo>
                <a:cubicBezTo>
                  <a:pt x="124" y="25"/>
                  <a:pt x="124" y="25"/>
                  <a:pt x="124" y="25"/>
                </a:cubicBezTo>
                <a:cubicBezTo>
                  <a:pt x="122" y="25"/>
                  <a:pt x="120" y="25"/>
                  <a:pt x="119" y="27"/>
                </a:cubicBezTo>
                <a:cubicBezTo>
                  <a:pt x="118" y="28"/>
                  <a:pt x="117" y="30"/>
                  <a:pt x="117" y="32"/>
                </a:cubicBezTo>
                <a:cubicBezTo>
                  <a:pt x="117" y="149"/>
                  <a:pt x="117" y="149"/>
                  <a:pt x="117" y="149"/>
                </a:cubicBezTo>
                <a:cubicBezTo>
                  <a:pt x="4" y="224"/>
                  <a:pt x="4" y="224"/>
                  <a:pt x="4" y="224"/>
                </a:cubicBezTo>
                <a:cubicBezTo>
                  <a:pt x="1" y="226"/>
                  <a:pt x="0" y="231"/>
                  <a:pt x="2" y="234"/>
                </a:cubicBezTo>
                <a:cubicBezTo>
                  <a:pt x="4" y="237"/>
                  <a:pt x="8" y="238"/>
                  <a:pt x="12" y="236"/>
                </a:cubicBezTo>
                <a:cubicBezTo>
                  <a:pt x="57" y="205"/>
                  <a:pt x="57" y="205"/>
                  <a:pt x="57" y="205"/>
                </a:cubicBezTo>
                <a:cubicBezTo>
                  <a:pt x="57" y="589"/>
                  <a:pt x="57" y="589"/>
                  <a:pt x="57" y="589"/>
                </a:cubicBezTo>
                <a:cubicBezTo>
                  <a:pt x="57" y="593"/>
                  <a:pt x="61" y="596"/>
                  <a:pt x="64" y="596"/>
                </a:cubicBezTo>
                <a:cubicBezTo>
                  <a:pt x="628" y="596"/>
                  <a:pt x="628" y="596"/>
                  <a:pt x="628" y="596"/>
                </a:cubicBezTo>
                <a:cubicBezTo>
                  <a:pt x="631" y="596"/>
                  <a:pt x="635" y="593"/>
                  <a:pt x="635" y="589"/>
                </a:cubicBezTo>
                <a:cubicBezTo>
                  <a:pt x="635" y="212"/>
                  <a:pt x="635" y="212"/>
                  <a:pt x="635" y="212"/>
                </a:cubicBezTo>
                <a:cubicBezTo>
                  <a:pt x="671" y="236"/>
                  <a:pt x="671" y="236"/>
                  <a:pt x="671" y="236"/>
                </a:cubicBezTo>
                <a:cubicBezTo>
                  <a:pt x="672" y="237"/>
                  <a:pt x="673" y="237"/>
                  <a:pt x="675" y="237"/>
                </a:cubicBezTo>
                <a:cubicBezTo>
                  <a:pt x="677" y="237"/>
                  <a:pt x="679" y="236"/>
                  <a:pt x="680" y="234"/>
                </a:cubicBezTo>
                <a:cubicBezTo>
                  <a:pt x="683" y="231"/>
                  <a:pt x="682" y="226"/>
                  <a:pt x="679" y="224"/>
                </a:cubicBezTo>
                <a:close/>
                <a:moveTo>
                  <a:pt x="131" y="39"/>
                </a:moveTo>
                <a:cubicBezTo>
                  <a:pt x="200" y="39"/>
                  <a:pt x="200" y="39"/>
                  <a:pt x="200" y="39"/>
                </a:cubicBezTo>
                <a:cubicBezTo>
                  <a:pt x="200" y="93"/>
                  <a:pt x="200" y="93"/>
                  <a:pt x="200" y="93"/>
                </a:cubicBezTo>
                <a:cubicBezTo>
                  <a:pt x="131" y="139"/>
                  <a:pt x="131" y="139"/>
                  <a:pt x="131" y="139"/>
                </a:cubicBezTo>
                <a:lnTo>
                  <a:pt x="131" y="39"/>
                </a:lnTo>
                <a:close/>
                <a:moveTo>
                  <a:pt x="621" y="582"/>
                </a:moveTo>
                <a:cubicBezTo>
                  <a:pt x="71" y="582"/>
                  <a:pt x="71" y="582"/>
                  <a:pt x="71" y="582"/>
                </a:cubicBezTo>
                <a:cubicBezTo>
                  <a:pt x="71" y="196"/>
                  <a:pt x="71" y="196"/>
                  <a:pt x="71" y="196"/>
                </a:cubicBezTo>
                <a:cubicBezTo>
                  <a:pt x="128" y="158"/>
                  <a:pt x="128" y="158"/>
                  <a:pt x="128" y="158"/>
                </a:cubicBezTo>
                <a:cubicBezTo>
                  <a:pt x="128" y="158"/>
                  <a:pt x="128" y="158"/>
                  <a:pt x="128" y="158"/>
                </a:cubicBezTo>
                <a:cubicBezTo>
                  <a:pt x="211" y="103"/>
                  <a:pt x="211" y="103"/>
                  <a:pt x="211" y="103"/>
                </a:cubicBezTo>
                <a:cubicBezTo>
                  <a:pt x="211" y="103"/>
                  <a:pt x="211" y="103"/>
                  <a:pt x="211" y="103"/>
                </a:cubicBezTo>
                <a:cubicBezTo>
                  <a:pt x="341" y="16"/>
                  <a:pt x="341" y="16"/>
                  <a:pt x="341" y="16"/>
                </a:cubicBezTo>
                <a:cubicBezTo>
                  <a:pt x="621" y="202"/>
                  <a:pt x="621" y="202"/>
                  <a:pt x="621" y="202"/>
                </a:cubicBezTo>
                <a:lnTo>
                  <a:pt x="621" y="582"/>
                </a:lnTo>
                <a:close/>
                <a:moveTo>
                  <a:pt x="303" y="193"/>
                </a:moveTo>
                <a:cubicBezTo>
                  <a:pt x="303" y="258"/>
                  <a:pt x="303" y="258"/>
                  <a:pt x="303" y="258"/>
                </a:cubicBezTo>
                <a:cubicBezTo>
                  <a:pt x="238" y="258"/>
                  <a:pt x="238" y="258"/>
                  <a:pt x="238" y="258"/>
                </a:cubicBezTo>
                <a:cubicBezTo>
                  <a:pt x="236" y="258"/>
                  <a:pt x="234" y="259"/>
                  <a:pt x="233" y="260"/>
                </a:cubicBezTo>
                <a:cubicBezTo>
                  <a:pt x="231" y="262"/>
                  <a:pt x="231" y="263"/>
                  <a:pt x="231" y="265"/>
                </a:cubicBezTo>
                <a:cubicBezTo>
                  <a:pt x="231" y="327"/>
                  <a:pt x="231" y="327"/>
                  <a:pt x="231" y="327"/>
                </a:cubicBezTo>
                <a:cubicBezTo>
                  <a:pt x="231" y="331"/>
                  <a:pt x="234" y="334"/>
                  <a:pt x="238" y="334"/>
                </a:cubicBezTo>
                <a:cubicBezTo>
                  <a:pt x="303" y="334"/>
                  <a:pt x="303" y="334"/>
                  <a:pt x="303" y="334"/>
                </a:cubicBezTo>
                <a:cubicBezTo>
                  <a:pt x="303" y="400"/>
                  <a:pt x="303" y="400"/>
                  <a:pt x="303" y="400"/>
                </a:cubicBezTo>
                <a:cubicBezTo>
                  <a:pt x="303" y="404"/>
                  <a:pt x="306" y="407"/>
                  <a:pt x="310" y="407"/>
                </a:cubicBezTo>
                <a:cubicBezTo>
                  <a:pt x="372" y="407"/>
                  <a:pt x="372" y="407"/>
                  <a:pt x="372" y="407"/>
                </a:cubicBezTo>
                <a:cubicBezTo>
                  <a:pt x="376" y="407"/>
                  <a:pt x="379" y="404"/>
                  <a:pt x="379" y="400"/>
                </a:cubicBezTo>
                <a:cubicBezTo>
                  <a:pt x="379" y="334"/>
                  <a:pt x="379" y="334"/>
                  <a:pt x="379" y="334"/>
                </a:cubicBezTo>
                <a:cubicBezTo>
                  <a:pt x="445" y="334"/>
                  <a:pt x="445" y="334"/>
                  <a:pt x="445" y="334"/>
                </a:cubicBezTo>
                <a:cubicBezTo>
                  <a:pt x="447" y="334"/>
                  <a:pt x="448" y="333"/>
                  <a:pt x="450" y="332"/>
                </a:cubicBezTo>
                <a:cubicBezTo>
                  <a:pt x="451" y="331"/>
                  <a:pt x="452" y="329"/>
                  <a:pt x="452" y="327"/>
                </a:cubicBezTo>
                <a:cubicBezTo>
                  <a:pt x="452" y="265"/>
                  <a:pt x="452" y="265"/>
                  <a:pt x="452" y="265"/>
                </a:cubicBezTo>
                <a:cubicBezTo>
                  <a:pt x="452" y="261"/>
                  <a:pt x="449" y="258"/>
                  <a:pt x="445" y="258"/>
                </a:cubicBezTo>
                <a:cubicBezTo>
                  <a:pt x="379" y="258"/>
                  <a:pt x="379" y="258"/>
                  <a:pt x="379" y="258"/>
                </a:cubicBezTo>
                <a:cubicBezTo>
                  <a:pt x="379" y="193"/>
                  <a:pt x="379" y="193"/>
                  <a:pt x="379" y="193"/>
                </a:cubicBezTo>
                <a:cubicBezTo>
                  <a:pt x="379" y="189"/>
                  <a:pt x="376" y="186"/>
                  <a:pt x="372" y="186"/>
                </a:cubicBezTo>
                <a:cubicBezTo>
                  <a:pt x="310" y="186"/>
                  <a:pt x="310" y="186"/>
                  <a:pt x="310" y="186"/>
                </a:cubicBezTo>
                <a:cubicBezTo>
                  <a:pt x="306" y="186"/>
                  <a:pt x="303" y="189"/>
                  <a:pt x="303" y="193"/>
                </a:cubicBezTo>
                <a:close/>
                <a:moveTo>
                  <a:pt x="317" y="265"/>
                </a:moveTo>
                <a:cubicBezTo>
                  <a:pt x="317" y="200"/>
                  <a:pt x="317" y="200"/>
                  <a:pt x="317" y="200"/>
                </a:cubicBezTo>
                <a:cubicBezTo>
                  <a:pt x="365" y="200"/>
                  <a:pt x="365" y="200"/>
                  <a:pt x="365" y="200"/>
                </a:cubicBezTo>
                <a:cubicBezTo>
                  <a:pt x="365" y="265"/>
                  <a:pt x="365" y="265"/>
                  <a:pt x="365" y="265"/>
                </a:cubicBezTo>
                <a:cubicBezTo>
                  <a:pt x="365" y="269"/>
                  <a:pt x="368" y="272"/>
                  <a:pt x="372" y="272"/>
                </a:cubicBezTo>
                <a:cubicBezTo>
                  <a:pt x="438" y="272"/>
                  <a:pt x="438" y="272"/>
                  <a:pt x="438" y="272"/>
                </a:cubicBezTo>
                <a:cubicBezTo>
                  <a:pt x="438" y="320"/>
                  <a:pt x="438" y="320"/>
                  <a:pt x="438" y="320"/>
                </a:cubicBezTo>
                <a:cubicBezTo>
                  <a:pt x="372" y="320"/>
                  <a:pt x="372" y="320"/>
                  <a:pt x="372" y="320"/>
                </a:cubicBezTo>
                <a:cubicBezTo>
                  <a:pt x="368" y="320"/>
                  <a:pt x="365" y="323"/>
                  <a:pt x="365" y="327"/>
                </a:cubicBezTo>
                <a:cubicBezTo>
                  <a:pt x="365" y="393"/>
                  <a:pt x="365" y="393"/>
                  <a:pt x="365" y="393"/>
                </a:cubicBezTo>
                <a:cubicBezTo>
                  <a:pt x="317" y="393"/>
                  <a:pt x="317" y="393"/>
                  <a:pt x="317" y="393"/>
                </a:cubicBezTo>
                <a:cubicBezTo>
                  <a:pt x="317" y="327"/>
                  <a:pt x="317" y="327"/>
                  <a:pt x="317" y="327"/>
                </a:cubicBezTo>
                <a:cubicBezTo>
                  <a:pt x="317" y="323"/>
                  <a:pt x="314" y="320"/>
                  <a:pt x="310" y="320"/>
                </a:cubicBezTo>
                <a:cubicBezTo>
                  <a:pt x="245" y="320"/>
                  <a:pt x="245" y="320"/>
                  <a:pt x="245" y="320"/>
                </a:cubicBezTo>
                <a:cubicBezTo>
                  <a:pt x="245" y="272"/>
                  <a:pt x="245" y="272"/>
                  <a:pt x="245" y="272"/>
                </a:cubicBezTo>
                <a:cubicBezTo>
                  <a:pt x="310" y="272"/>
                  <a:pt x="310" y="272"/>
                  <a:pt x="310" y="272"/>
                </a:cubicBezTo>
                <a:cubicBezTo>
                  <a:pt x="314" y="272"/>
                  <a:pt x="317" y="269"/>
                  <a:pt x="317" y="265"/>
                </a:cubicBez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18" name="Oval 18"/>
          <p:cNvSpPr>
            <a:spLocks noChangeArrowheads="1"/>
          </p:cNvSpPr>
          <p:nvPr/>
        </p:nvSpPr>
        <p:spPr bwMode="auto">
          <a:xfrm>
            <a:off x="3073678" y="3120088"/>
            <a:ext cx="1119124" cy="1119124"/>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6148" name="Freeform 36"/>
          <p:cNvSpPr>
            <a:spLocks noEditPoints="1"/>
          </p:cNvSpPr>
          <p:nvPr/>
        </p:nvSpPr>
        <p:spPr bwMode="auto">
          <a:xfrm>
            <a:off x="3264434" y="3312703"/>
            <a:ext cx="738061" cy="671920"/>
          </a:xfrm>
          <a:custGeom>
            <a:avLst/>
            <a:gdLst>
              <a:gd name="T0" fmla="*/ 588 w 701"/>
              <a:gd name="T1" fmla="*/ 527 h 638"/>
              <a:gd name="T2" fmla="*/ 375 w 701"/>
              <a:gd name="T3" fmla="*/ 311 h 638"/>
              <a:gd name="T4" fmla="*/ 436 w 701"/>
              <a:gd name="T5" fmla="*/ 281 h 638"/>
              <a:gd name="T6" fmla="*/ 563 w 701"/>
              <a:gd name="T7" fmla="*/ 258 h 638"/>
              <a:gd name="T8" fmla="*/ 432 w 701"/>
              <a:gd name="T9" fmla="*/ 258 h 638"/>
              <a:gd name="T10" fmla="*/ 371 w 701"/>
              <a:gd name="T11" fmla="*/ 283 h 638"/>
              <a:gd name="T12" fmla="*/ 382 w 701"/>
              <a:gd name="T13" fmla="*/ 128 h 638"/>
              <a:gd name="T14" fmla="*/ 469 w 701"/>
              <a:gd name="T15" fmla="*/ 66 h 638"/>
              <a:gd name="T16" fmla="*/ 338 w 701"/>
              <a:gd name="T17" fmla="*/ 66 h 638"/>
              <a:gd name="T18" fmla="*/ 319 w 701"/>
              <a:gd name="T19" fmla="*/ 229 h 638"/>
              <a:gd name="T20" fmla="*/ 205 w 701"/>
              <a:gd name="T21" fmla="*/ 283 h 638"/>
              <a:gd name="T22" fmla="*/ 131 w 701"/>
              <a:gd name="T23" fmla="*/ 258 h 638"/>
              <a:gd name="T24" fmla="*/ 0 w 701"/>
              <a:gd name="T25" fmla="*/ 258 h 638"/>
              <a:gd name="T26" fmla="*/ 127 w 701"/>
              <a:gd name="T27" fmla="*/ 280 h 638"/>
              <a:gd name="T28" fmla="*/ 201 w 701"/>
              <a:gd name="T29" fmla="*/ 311 h 638"/>
              <a:gd name="T30" fmla="*/ 210 w 701"/>
              <a:gd name="T31" fmla="*/ 472 h 638"/>
              <a:gd name="T32" fmla="*/ 130 w 701"/>
              <a:gd name="T33" fmla="*/ 536 h 638"/>
              <a:gd name="T34" fmla="*/ 262 w 701"/>
              <a:gd name="T35" fmla="*/ 536 h 638"/>
              <a:gd name="T36" fmla="*/ 258 w 701"/>
              <a:gd name="T37" fmla="*/ 393 h 638"/>
              <a:gd name="T38" fmla="*/ 348 w 701"/>
              <a:gd name="T39" fmla="*/ 374 h 638"/>
              <a:gd name="T40" fmla="*/ 570 w 701"/>
              <a:gd name="T41" fmla="*/ 572 h 638"/>
              <a:gd name="T42" fmla="*/ 701 w 701"/>
              <a:gd name="T43" fmla="*/ 572 h 638"/>
              <a:gd name="T44" fmla="*/ 498 w 701"/>
              <a:gd name="T45" fmla="*/ 206 h 638"/>
              <a:gd name="T46" fmla="*/ 498 w 701"/>
              <a:gd name="T47" fmla="*/ 309 h 638"/>
              <a:gd name="T48" fmla="*/ 448 w 701"/>
              <a:gd name="T49" fmla="*/ 270 h 638"/>
              <a:gd name="T50" fmla="*/ 446 w 701"/>
              <a:gd name="T51" fmla="*/ 258 h 638"/>
              <a:gd name="T52" fmla="*/ 352 w 701"/>
              <a:gd name="T53" fmla="*/ 66 h 638"/>
              <a:gd name="T54" fmla="*/ 455 w 701"/>
              <a:gd name="T55" fmla="*/ 66 h 638"/>
              <a:gd name="T56" fmla="*/ 352 w 701"/>
              <a:gd name="T57" fmla="*/ 66 h 638"/>
              <a:gd name="T58" fmla="*/ 14 w 701"/>
              <a:gd name="T59" fmla="*/ 258 h 638"/>
              <a:gd name="T60" fmla="*/ 117 w 701"/>
              <a:gd name="T61" fmla="*/ 258 h 638"/>
              <a:gd name="T62" fmla="*/ 248 w 701"/>
              <a:gd name="T63" fmla="*/ 536 h 638"/>
              <a:gd name="T64" fmla="*/ 144 w 701"/>
              <a:gd name="T65" fmla="*/ 536 h 638"/>
              <a:gd name="T66" fmla="*/ 248 w 701"/>
              <a:gd name="T67" fmla="*/ 536 h 638"/>
              <a:gd name="T68" fmla="*/ 288 w 701"/>
              <a:gd name="T69" fmla="*/ 237 h 638"/>
              <a:gd name="T70" fmla="*/ 288 w 701"/>
              <a:gd name="T71" fmla="*/ 384 h 638"/>
              <a:gd name="T72" fmla="*/ 635 w 701"/>
              <a:gd name="T73" fmla="*/ 624 h 638"/>
              <a:gd name="T74" fmla="*/ 635 w 701"/>
              <a:gd name="T75" fmla="*/ 521 h 638"/>
              <a:gd name="T76" fmla="*/ 635 w 701"/>
              <a:gd name="T77" fmla="*/ 624 h 6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01" h="638">
                <a:moveTo>
                  <a:pt x="635" y="507"/>
                </a:moveTo>
                <a:cubicBezTo>
                  <a:pt x="617" y="507"/>
                  <a:pt x="600" y="514"/>
                  <a:pt x="588" y="527"/>
                </a:cubicBezTo>
                <a:cubicBezTo>
                  <a:pt x="357" y="364"/>
                  <a:pt x="357" y="364"/>
                  <a:pt x="357" y="364"/>
                </a:cubicBezTo>
                <a:cubicBezTo>
                  <a:pt x="368" y="349"/>
                  <a:pt x="375" y="331"/>
                  <a:pt x="375" y="311"/>
                </a:cubicBezTo>
                <a:cubicBezTo>
                  <a:pt x="375" y="306"/>
                  <a:pt x="375" y="301"/>
                  <a:pt x="374" y="296"/>
                </a:cubicBezTo>
                <a:cubicBezTo>
                  <a:pt x="436" y="281"/>
                  <a:pt x="436" y="281"/>
                  <a:pt x="436" y="281"/>
                </a:cubicBezTo>
                <a:cubicBezTo>
                  <a:pt x="445" y="306"/>
                  <a:pt x="469" y="323"/>
                  <a:pt x="498" y="323"/>
                </a:cubicBezTo>
                <a:cubicBezTo>
                  <a:pt x="534" y="323"/>
                  <a:pt x="563" y="294"/>
                  <a:pt x="563" y="258"/>
                </a:cubicBezTo>
                <a:cubicBezTo>
                  <a:pt x="563" y="222"/>
                  <a:pt x="534" y="192"/>
                  <a:pt x="498" y="192"/>
                </a:cubicBezTo>
                <a:cubicBezTo>
                  <a:pt x="461" y="192"/>
                  <a:pt x="432" y="222"/>
                  <a:pt x="432" y="258"/>
                </a:cubicBezTo>
                <a:cubicBezTo>
                  <a:pt x="432" y="261"/>
                  <a:pt x="432" y="264"/>
                  <a:pt x="433" y="267"/>
                </a:cubicBezTo>
                <a:cubicBezTo>
                  <a:pt x="371" y="283"/>
                  <a:pt x="371" y="283"/>
                  <a:pt x="371" y="283"/>
                </a:cubicBezTo>
                <a:cubicBezTo>
                  <a:pt x="364" y="262"/>
                  <a:pt x="350" y="246"/>
                  <a:pt x="331" y="235"/>
                </a:cubicBezTo>
                <a:cubicBezTo>
                  <a:pt x="382" y="128"/>
                  <a:pt x="382" y="128"/>
                  <a:pt x="382" y="128"/>
                </a:cubicBezTo>
                <a:cubicBezTo>
                  <a:pt x="389" y="130"/>
                  <a:pt x="396" y="132"/>
                  <a:pt x="403" y="132"/>
                </a:cubicBezTo>
                <a:cubicBezTo>
                  <a:pt x="439" y="132"/>
                  <a:pt x="469" y="102"/>
                  <a:pt x="469" y="66"/>
                </a:cubicBezTo>
                <a:cubicBezTo>
                  <a:pt x="469" y="30"/>
                  <a:pt x="439" y="0"/>
                  <a:pt x="403" y="0"/>
                </a:cubicBezTo>
                <a:cubicBezTo>
                  <a:pt x="367" y="0"/>
                  <a:pt x="338" y="30"/>
                  <a:pt x="338" y="66"/>
                </a:cubicBezTo>
                <a:cubicBezTo>
                  <a:pt x="338" y="90"/>
                  <a:pt x="350" y="110"/>
                  <a:pt x="369" y="122"/>
                </a:cubicBezTo>
                <a:cubicBezTo>
                  <a:pt x="319" y="229"/>
                  <a:pt x="319" y="229"/>
                  <a:pt x="319" y="229"/>
                </a:cubicBezTo>
                <a:cubicBezTo>
                  <a:pt x="309" y="225"/>
                  <a:pt x="299" y="223"/>
                  <a:pt x="288" y="223"/>
                </a:cubicBezTo>
                <a:cubicBezTo>
                  <a:pt x="250" y="223"/>
                  <a:pt x="217" y="249"/>
                  <a:pt x="205" y="283"/>
                </a:cubicBezTo>
                <a:cubicBezTo>
                  <a:pt x="130" y="267"/>
                  <a:pt x="130" y="267"/>
                  <a:pt x="130" y="267"/>
                </a:cubicBezTo>
                <a:cubicBezTo>
                  <a:pt x="131" y="264"/>
                  <a:pt x="131" y="261"/>
                  <a:pt x="131" y="258"/>
                </a:cubicBezTo>
                <a:cubicBezTo>
                  <a:pt x="131" y="222"/>
                  <a:pt x="101" y="192"/>
                  <a:pt x="65" y="192"/>
                </a:cubicBezTo>
                <a:cubicBezTo>
                  <a:pt x="29" y="192"/>
                  <a:pt x="0" y="222"/>
                  <a:pt x="0" y="258"/>
                </a:cubicBezTo>
                <a:cubicBezTo>
                  <a:pt x="0" y="294"/>
                  <a:pt x="29" y="323"/>
                  <a:pt x="65" y="323"/>
                </a:cubicBezTo>
                <a:cubicBezTo>
                  <a:pt x="93" y="323"/>
                  <a:pt x="118" y="305"/>
                  <a:pt x="127" y="280"/>
                </a:cubicBezTo>
                <a:cubicBezTo>
                  <a:pt x="202" y="297"/>
                  <a:pt x="202" y="297"/>
                  <a:pt x="202" y="297"/>
                </a:cubicBezTo>
                <a:cubicBezTo>
                  <a:pt x="201" y="301"/>
                  <a:pt x="201" y="306"/>
                  <a:pt x="201" y="311"/>
                </a:cubicBezTo>
                <a:cubicBezTo>
                  <a:pt x="201" y="343"/>
                  <a:pt x="219" y="372"/>
                  <a:pt x="246" y="387"/>
                </a:cubicBezTo>
                <a:cubicBezTo>
                  <a:pt x="210" y="472"/>
                  <a:pt x="210" y="472"/>
                  <a:pt x="210" y="472"/>
                </a:cubicBezTo>
                <a:cubicBezTo>
                  <a:pt x="206" y="471"/>
                  <a:pt x="201" y="471"/>
                  <a:pt x="196" y="471"/>
                </a:cubicBezTo>
                <a:cubicBezTo>
                  <a:pt x="160" y="471"/>
                  <a:pt x="130" y="500"/>
                  <a:pt x="130" y="536"/>
                </a:cubicBezTo>
                <a:cubicBezTo>
                  <a:pt x="130" y="573"/>
                  <a:pt x="160" y="602"/>
                  <a:pt x="196" y="602"/>
                </a:cubicBezTo>
                <a:cubicBezTo>
                  <a:pt x="232" y="602"/>
                  <a:pt x="262" y="573"/>
                  <a:pt x="262" y="536"/>
                </a:cubicBezTo>
                <a:cubicBezTo>
                  <a:pt x="262" y="510"/>
                  <a:pt x="246" y="487"/>
                  <a:pt x="224" y="477"/>
                </a:cubicBezTo>
                <a:cubicBezTo>
                  <a:pt x="258" y="393"/>
                  <a:pt x="258" y="393"/>
                  <a:pt x="258" y="393"/>
                </a:cubicBezTo>
                <a:cubicBezTo>
                  <a:pt x="268" y="396"/>
                  <a:pt x="278" y="398"/>
                  <a:pt x="288" y="398"/>
                </a:cubicBezTo>
                <a:cubicBezTo>
                  <a:pt x="311" y="398"/>
                  <a:pt x="332" y="389"/>
                  <a:pt x="348" y="374"/>
                </a:cubicBezTo>
                <a:cubicBezTo>
                  <a:pt x="580" y="538"/>
                  <a:pt x="580" y="538"/>
                  <a:pt x="580" y="538"/>
                </a:cubicBezTo>
                <a:cubicBezTo>
                  <a:pt x="573" y="548"/>
                  <a:pt x="570" y="560"/>
                  <a:pt x="570" y="572"/>
                </a:cubicBezTo>
                <a:cubicBezTo>
                  <a:pt x="570" y="609"/>
                  <a:pt x="599" y="638"/>
                  <a:pt x="635" y="638"/>
                </a:cubicBezTo>
                <a:cubicBezTo>
                  <a:pt x="672" y="638"/>
                  <a:pt x="701" y="609"/>
                  <a:pt x="701" y="572"/>
                </a:cubicBezTo>
                <a:cubicBezTo>
                  <a:pt x="701" y="536"/>
                  <a:pt x="672" y="507"/>
                  <a:pt x="635" y="507"/>
                </a:cubicBezTo>
                <a:close/>
                <a:moveTo>
                  <a:pt x="498" y="206"/>
                </a:moveTo>
                <a:cubicBezTo>
                  <a:pt x="526" y="206"/>
                  <a:pt x="549" y="229"/>
                  <a:pt x="549" y="258"/>
                </a:cubicBezTo>
                <a:cubicBezTo>
                  <a:pt x="549" y="286"/>
                  <a:pt x="526" y="309"/>
                  <a:pt x="498" y="309"/>
                </a:cubicBezTo>
                <a:cubicBezTo>
                  <a:pt x="473" y="309"/>
                  <a:pt x="453" y="293"/>
                  <a:pt x="448" y="270"/>
                </a:cubicBezTo>
                <a:cubicBezTo>
                  <a:pt x="448" y="270"/>
                  <a:pt x="448" y="270"/>
                  <a:pt x="448" y="270"/>
                </a:cubicBezTo>
                <a:cubicBezTo>
                  <a:pt x="448" y="270"/>
                  <a:pt x="448" y="270"/>
                  <a:pt x="448" y="270"/>
                </a:cubicBezTo>
                <a:cubicBezTo>
                  <a:pt x="447" y="266"/>
                  <a:pt x="446" y="262"/>
                  <a:pt x="446" y="258"/>
                </a:cubicBezTo>
                <a:cubicBezTo>
                  <a:pt x="446" y="229"/>
                  <a:pt x="469" y="206"/>
                  <a:pt x="498" y="206"/>
                </a:cubicBezTo>
                <a:close/>
                <a:moveTo>
                  <a:pt x="352" y="66"/>
                </a:moveTo>
                <a:cubicBezTo>
                  <a:pt x="352" y="37"/>
                  <a:pt x="375" y="14"/>
                  <a:pt x="403" y="14"/>
                </a:cubicBezTo>
                <a:cubicBezTo>
                  <a:pt x="432" y="14"/>
                  <a:pt x="455" y="37"/>
                  <a:pt x="455" y="66"/>
                </a:cubicBezTo>
                <a:cubicBezTo>
                  <a:pt x="455" y="94"/>
                  <a:pt x="432" y="118"/>
                  <a:pt x="403" y="118"/>
                </a:cubicBezTo>
                <a:cubicBezTo>
                  <a:pt x="375" y="118"/>
                  <a:pt x="352" y="94"/>
                  <a:pt x="352" y="66"/>
                </a:cubicBezTo>
                <a:close/>
                <a:moveTo>
                  <a:pt x="65" y="309"/>
                </a:moveTo>
                <a:cubicBezTo>
                  <a:pt x="37" y="309"/>
                  <a:pt x="14" y="286"/>
                  <a:pt x="14" y="258"/>
                </a:cubicBezTo>
                <a:cubicBezTo>
                  <a:pt x="14" y="229"/>
                  <a:pt x="37" y="206"/>
                  <a:pt x="65" y="206"/>
                </a:cubicBezTo>
                <a:cubicBezTo>
                  <a:pt x="94" y="206"/>
                  <a:pt x="117" y="229"/>
                  <a:pt x="117" y="258"/>
                </a:cubicBezTo>
                <a:cubicBezTo>
                  <a:pt x="117" y="286"/>
                  <a:pt x="94" y="309"/>
                  <a:pt x="65" y="309"/>
                </a:cubicBezTo>
                <a:close/>
                <a:moveTo>
                  <a:pt x="248" y="536"/>
                </a:moveTo>
                <a:cubicBezTo>
                  <a:pt x="248" y="565"/>
                  <a:pt x="225" y="588"/>
                  <a:pt x="196" y="588"/>
                </a:cubicBezTo>
                <a:cubicBezTo>
                  <a:pt x="168" y="588"/>
                  <a:pt x="144" y="565"/>
                  <a:pt x="144" y="536"/>
                </a:cubicBezTo>
                <a:cubicBezTo>
                  <a:pt x="144" y="508"/>
                  <a:pt x="168" y="485"/>
                  <a:pt x="196" y="485"/>
                </a:cubicBezTo>
                <a:cubicBezTo>
                  <a:pt x="225" y="485"/>
                  <a:pt x="248" y="508"/>
                  <a:pt x="248" y="536"/>
                </a:cubicBezTo>
                <a:close/>
                <a:moveTo>
                  <a:pt x="215" y="311"/>
                </a:moveTo>
                <a:cubicBezTo>
                  <a:pt x="215" y="270"/>
                  <a:pt x="248" y="237"/>
                  <a:pt x="288" y="237"/>
                </a:cubicBezTo>
                <a:cubicBezTo>
                  <a:pt x="328" y="237"/>
                  <a:pt x="361" y="270"/>
                  <a:pt x="361" y="311"/>
                </a:cubicBezTo>
                <a:cubicBezTo>
                  <a:pt x="361" y="351"/>
                  <a:pt x="328" y="384"/>
                  <a:pt x="288" y="384"/>
                </a:cubicBezTo>
                <a:cubicBezTo>
                  <a:pt x="248" y="384"/>
                  <a:pt x="215" y="351"/>
                  <a:pt x="215" y="311"/>
                </a:cubicBezTo>
                <a:close/>
                <a:moveTo>
                  <a:pt x="635" y="624"/>
                </a:moveTo>
                <a:cubicBezTo>
                  <a:pt x="607" y="624"/>
                  <a:pt x="584" y="601"/>
                  <a:pt x="584" y="572"/>
                </a:cubicBezTo>
                <a:cubicBezTo>
                  <a:pt x="584" y="544"/>
                  <a:pt x="607" y="521"/>
                  <a:pt x="635" y="521"/>
                </a:cubicBezTo>
                <a:cubicBezTo>
                  <a:pt x="664" y="521"/>
                  <a:pt x="687" y="544"/>
                  <a:pt x="687" y="572"/>
                </a:cubicBezTo>
                <a:cubicBezTo>
                  <a:pt x="687" y="601"/>
                  <a:pt x="664" y="624"/>
                  <a:pt x="635" y="624"/>
                </a:cubicBez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endParaRPr lang="en-US" sz="1836"/>
          </a:p>
        </p:txBody>
      </p:sp>
    </p:spTree>
    <p:extLst>
      <p:ext uri="{BB962C8B-B14F-4D97-AF65-F5344CB8AC3E}">
        <p14:creationId xmlns:p14="http://schemas.microsoft.com/office/powerpoint/2010/main" val="3594136477"/>
      </p:ext>
    </p:extLst>
  </p:cSld>
  <p:clrMapOvr>
    <a:masterClrMapping/>
  </p:clrMapOvr>
  <p:transition>
    <p:fade/>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usiness</a:t>
            </a:r>
          </a:p>
        </p:txBody>
      </p:sp>
      <p:sp>
        <p:nvSpPr>
          <p:cNvPr id="7176" name="Oval 15"/>
          <p:cNvSpPr>
            <a:spLocks noChangeArrowheads="1"/>
          </p:cNvSpPr>
          <p:nvPr/>
        </p:nvSpPr>
        <p:spPr bwMode="auto">
          <a:xfrm>
            <a:off x="1315706" y="1528549"/>
            <a:ext cx="1119124" cy="1119124"/>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8206" name="Freeform 97"/>
          <p:cNvSpPr>
            <a:spLocks noEditPoints="1"/>
          </p:cNvSpPr>
          <p:nvPr/>
        </p:nvSpPr>
        <p:spPr bwMode="auto">
          <a:xfrm>
            <a:off x="1539775" y="1765754"/>
            <a:ext cx="672205" cy="643496"/>
          </a:xfrm>
          <a:custGeom>
            <a:avLst/>
            <a:gdLst>
              <a:gd name="T0" fmla="*/ 594 w 638"/>
              <a:gd name="T1" fmla="*/ 449 h 612"/>
              <a:gd name="T2" fmla="*/ 514 w 638"/>
              <a:gd name="T3" fmla="*/ 183 h 612"/>
              <a:gd name="T4" fmla="*/ 494 w 638"/>
              <a:gd name="T5" fmla="*/ 131 h 612"/>
              <a:gd name="T6" fmla="*/ 554 w 638"/>
              <a:gd name="T7" fmla="*/ 99 h 612"/>
              <a:gd name="T8" fmla="*/ 522 w 638"/>
              <a:gd name="T9" fmla="*/ 0 h 612"/>
              <a:gd name="T10" fmla="*/ 237 w 638"/>
              <a:gd name="T11" fmla="*/ 32 h 612"/>
              <a:gd name="T12" fmla="*/ 269 w 638"/>
              <a:gd name="T13" fmla="*/ 131 h 612"/>
              <a:gd name="T14" fmla="*/ 433 w 638"/>
              <a:gd name="T15" fmla="*/ 183 h 612"/>
              <a:gd name="T16" fmla="*/ 95 w 638"/>
              <a:gd name="T17" fmla="*/ 205 h 612"/>
              <a:gd name="T18" fmla="*/ 35 w 638"/>
              <a:gd name="T19" fmla="*/ 449 h 612"/>
              <a:gd name="T20" fmla="*/ 0 w 638"/>
              <a:gd name="T21" fmla="*/ 578 h 612"/>
              <a:gd name="T22" fmla="*/ 604 w 638"/>
              <a:gd name="T23" fmla="*/ 612 h 612"/>
              <a:gd name="T24" fmla="*/ 638 w 638"/>
              <a:gd name="T25" fmla="*/ 484 h 612"/>
              <a:gd name="T26" fmla="*/ 251 w 638"/>
              <a:gd name="T27" fmla="*/ 99 h 612"/>
              <a:gd name="T28" fmla="*/ 269 w 638"/>
              <a:gd name="T29" fmla="*/ 14 h 612"/>
              <a:gd name="T30" fmla="*/ 540 w 638"/>
              <a:gd name="T31" fmla="*/ 32 h 612"/>
              <a:gd name="T32" fmla="*/ 522 w 638"/>
              <a:gd name="T33" fmla="*/ 117 h 612"/>
              <a:gd name="T34" fmla="*/ 251 w 638"/>
              <a:gd name="T35" fmla="*/ 99 h 612"/>
              <a:gd name="T36" fmla="*/ 480 w 638"/>
              <a:gd name="T37" fmla="*/ 131 h 612"/>
              <a:gd name="T38" fmla="*/ 447 w 638"/>
              <a:gd name="T39" fmla="*/ 183 h 612"/>
              <a:gd name="T40" fmla="*/ 624 w 638"/>
              <a:gd name="T41" fmla="*/ 578 h 612"/>
              <a:gd name="T42" fmla="*/ 35 w 638"/>
              <a:gd name="T43" fmla="*/ 598 h 612"/>
              <a:gd name="T44" fmla="*/ 14 w 638"/>
              <a:gd name="T45" fmla="*/ 484 h 612"/>
              <a:gd name="T46" fmla="*/ 50 w 638"/>
              <a:gd name="T47" fmla="*/ 463 h 612"/>
              <a:gd name="T48" fmla="*/ 109 w 638"/>
              <a:gd name="T49" fmla="*/ 208 h 612"/>
              <a:gd name="T50" fmla="*/ 514 w 638"/>
              <a:gd name="T51" fmla="*/ 197 h 612"/>
              <a:gd name="T52" fmla="*/ 581 w 638"/>
              <a:gd name="T53" fmla="*/ 458 h 612"/>
              <a:gd name="T54" fmla="*/ 604 w 638"/>
              <a:gd name="T55" fmla="*/ 463 h 612"/>
              <a:gd name="T56" fmla="*/ 624 w 638"/>
              <a:gd name="T57" fmla="*/ 578 h 612"/>
              <a:gd name="T58" fmla="*/ 513 w 638"/>
              <a:gd name="T59" fmla="*/ 378 h 612"/>
              <a:gd name="T60" fmla="*/ 528 w 638"/>
              <a:gd name="T61" fmla="*/ 360 h 612"/>
              <a:gd name="T62" fmla="*/ 492 w 638"/>
              <a:gd name="T63" fmla="*/ 223 h 612"/>
              <a:gd name="T64" fmla="*/ 297 w 638"/>
              <a:gd name="T65" fmla="*/ 238 h 612"/>
              <a:gd name="T66" fmla="*/ 300 w 638"/>
              <a:gd name="T67" fmla="*/ 373 h 612"/>
              <a:gd name="T68" fmla="*/ 311 w 638"/>
              <a:gd name="T69" fmla="*/ 238 h 612"/>
              <a:gd name="T70" fmla="*/ 492 w 638"/>
              <a:gd name="T71" fmla="*/ 237 h 612"/>
              <a:gd name="T72" fmla="*/ 515 w 638"/>
              <a:gd name="T73" fmla="*/ 362 h 612"/>
              <a:gd name="T74" fmla="*/ 513 w 638"/>
              <a:gd name="T75" fmla="*/ 364 h 612"/>
              <a:gd name="T76" fmla="*/ 310 w 638"/>
              <a:gd name="T77" fmla="*/ 363 h 612"/>
              <a:gd name="T78" fmla="*/ 311 w 638"/>
              <a:gd name="T79" fmla="*/ 238 h 612"/>
              <a:gd name="T80" fmla="*/ 252 w 638"/>
              <a:gd name="T81" fmla="*/ 289 h 612"/>
              <a:gd name="T82" fmla="*/ 270 w 638"/>
              <a:gd name="T83" fmla="*/ 239 h 612"/>
              <a:gd name="T84" fmla="*/ 255 w 638"/>
              <a:gd name="T85" fmla="*/ 223 h 612"/>
              <a:gd name="T86" fmla="*/ 129 w 638"/>
              <a:gd name="T87" fmla="*/ 237 h 612"/>
              <a:gd name="T88" fmla="*/ 127 w 638"/>
              <a:gd name="T89" fmla="*/ 284 h 612"/>
              <a:gd name="T90" fmla="*/ 143 w 638"/>
              <a:gd name="T91" fmla="*/ 239 h 612"/>
              <a:gd name="T92" fmla="*/ 255 w 638"/>
              <a:gd name="T93" fmla="*/ 237 h 612"/>
              <a:gd name="T94" fmla="*/ 254 w 638"/>
              <a:gd name="T95" fmla="*/ 273 h 612"/>
              <a:gd name="T96" fmla="*/ 138 w 638"/>
              <a:gd name="T97" fmla="*/ 275 h 612"/>
              <a:gd name="T98" fmla="*/ 143 w 638"/>
              <a:gd name="T99" fmla="*/ 239 h 612"/>
              <a:gd name="T100" fmla="*/ 581 w 638"/>
              <a:gd name="T101" fmla="*/ 519 h 612"/>
              <a:gd name="T102" fmla="*/ 51 w 638"/>
              <a:gd name="T103" fmla="*/ 512 h 612"/>
              <a:gd name="T104" fmla="*/ 581 w 638"/>
              <a:gd name="T105" fmla="*/ 505 h 612"/>
              <a:gd name="T106" fmla="*/ 512 w 638"/>
              <a:gd name="T107" fmla="*/ 82 h 612"/>
              <a:gd name="T108" fmla="*/ 307 w 638"/>
              <a:gd name="T109" fmla="*/ 89 h 612"/>
              <a:gd name="T110" fmla="*/ 307 w 638"/>
              <a:gd name="T111" fmla="*/ 75 h 612"/>
              <a:gd name="T112" fmla="*/ 512 w 638"/>
              <a:gd name="T113" fmla="*/ 82 h 612"/>
              <a:gd name="T114" fmla="*/ 505 w 638"/>
              <a:gd name="T115" fmla="*/ 57 h 612"/>
              <a:gd name="T116" fmla="*/ 300 w 638"/>
              <a:gd name="T117" fmla="*/ 50 h 612"/>
              <a:gd name="T118" fmla="*/ 505 w 638"/>
              <a:gd name="T119" fmla="*/ 43 h 6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38" h="612">
                <a:moveTo>
                  <a:pt x="604" y="449"/>
                </a:moveTo>
                <a:cubicBezTo>
                  <a:pt x="594" y="449"/>
                  <a:pt x="594" y="449"/>
                  <a:pt x="594" y="449"/>
                </a:cubicBezTo>
                <a:cubicBezTo>
                  <a:pt x="543" y="205"/>
                  <a:pt x="543" y="205"/>
                  <a:pt x="543" y="205"/>
                </a:cubicBezTo>
                <a:cubicBezTo>
                  <a:pt x="540" y="193"/>
                  <a:pt x="528" y="183"/>
                  <a:pt x="514" y="183"/>
                </a:cubicBezTo>
                <a:cubicBezTo>
                  <a:pt x="494" y="183"/>
                  <a:pt x="494" y="183"/>
                  <a:pt x="494" y="183"/>
                </a:cubicBezTo>
                <a:cubicBezTo>
                  <a:pt x="494" y="131"/>
                  <a:pt x="494" y="131"/>
                  <a:pt x="494" y="131"/>
                </a:cubicBezTo>
                <a:cubicBezTo>
                  <a:pt x="522" y="131"/>
                  <a:pt x="522" y="131"/>
                  <a:pt x="522" y="131"/>
                </a:cubicBezTo>
                <a:cubicBezTo>
                  <a:pt x="539" y="131"/>
                  <a:pt x="554" y="117"/>
                  <a:pt x="554" y="99"/>
                </a:cubicBezTo>
                <a:cubicBezTo>
                  <a:pt x="554" y="32"/>
                  <a:pt x="554" y="32"/>
                  <a:pt x="554" y="32"/>
                </a:cubicBezTo>
                <a:cubicBezTo>
                  <a:pt x="554" y="15"/>
                  <a:pt x="539" y="0"/>
                  <a:pt x="522" y="0"/>
                </a:cubicBezTo>
                <a:cubicBezTo>
                  <a:pt x="269" y="0"/>
                  <a:pt x="269" y="0"/>
                  <a:pt x="269" y="0"/>
                </a:cubicBezTo>
                <a:cubicBezTo>
                  <a:pt x="251" y="0"/>
                  <a:pt x="237" y="15"/>
                  <a:pt x="237" y="32"/>
                </a:cubicBezTo>
                <a:cubicBezTo>
                  <a:pt x="237" y="99"/>
                  <a:pt x="237" y="99"/>
                  <a:pt x="237" y="99"/>
                </a:cubicBezTo>
                <a:cubicBezTo>
                  <a:pt x="237" y="117"/>
                  <a:pt x="251" y="131"/>
                  <a:pt x="269" y="131"/>
                </a:cubicBezTo>
                <a:cubicBezTo>
                  <a:pt x="433" y="131"/>
                  <a:pt x="433" y="131"/>
                  <a:pt x="433" y="131"/>
                </a:cubicBezTo>
                <a:cubicBezTo>
                  <a:pt x="433" y="183"/>
                  <a:pt x="433" y="183"/>
                  <a:pt x="433" y="183"/>
                </a:cubicBezTo>
                <a:cubicBezTo>
                  <a:pt x="124" y="183"/>
                  <a:pt x="124" y="183"/>
                  <a:pt x="124" y="183"/>
                </a:cubicBezTo>
                <a:cubicBezTo>
                  <a:pt x="111" y="183"/>
                  <a:pt x="98" y="193"/>
                  <a:pt x="95" y="205"/>
                </a:cubicBezTo>
                <a:cubicBezTo>
                  <a:pt x="44" y="449"/>
                  <a:pt x="44" y="449"/>
                  <a:pt x="44" y="449"/>
                </a:cubicBezTo>
                <a:cubicBezTo>
                  <a:pt x="35" y="449"/>
                  <a:pt x="35" y="449"/>
                  <a:pt x="35" y="449"/>
                </a:cubicBezTo>
                <a:cubicBezTo>
                  <a:pt x="15" y="449"/>
                  <a:pt x="0" y="465"/>
                  <a:pt x="0" y="484"/>
                </a:cubicBezTo>
                <a:cubicBezTo>
                  <a:pt x="0" y="578"/>
                  <a:pt x="0" y="578"/>
                  <a:pt x="0" y="578"/>
                </a:cubicBezTo>
                <a:cubicBezTo>
                  <a:pt x="0" y="597"/>
                  <a:pt x="15" y="612"/>
                  <a:pt x="35" y="612"/>
                </a:cubicBezTo>
                <a:cubicBezTo>
                  <a:pt x="604" y="612"/>
                  <a:pt x="604" y="612"/>
                  <a:pt x="604" y="612"/>
                </a:cubicBezTo>
                <a:cubicBezTo>
                  <a:pt x="623" y="612"/>
                  <a:pt x="638" y="597"/>
                  <a:pt x="638" y="578"/>
                </a:cubicBezTo>
                <a:cubicBezTo>
                  <a:pt x="638" y="484"/>
                  <a:pt x="638" y="484"/>
                  <a:pt x="638" y="484"/>
                </a:cubicBezTo>
                <a:cubicBezTo>
                  <a:pt x="638" y="465"/>
                  <a:pt x="623" y="449"/>
                  <a:pt x="604" y="449"/>
                </a:cubicBezTo>
                <a:close/>
                <a:moveTo>
                  <a:pt x="251" y="99"/>
                </a:moveTo>
                <a:cubicBezTo>
                  <a:pt x="251" y="32"/>
                  <a:pt x="251" y="32"/>
                  <a:pt x="251" y="32"/>
                </a:cubicBezTo>
                <a:cubicBezTo>
                  <a:pt x="251" y="22"/>
                  <a:pt x="259" y="14"/>
                  <a:pt x="269" y="14"/>
                </a:cubicBezTo>
                <a:cubicBezTo>
                  <a:pt x="522" y="14"/>
                  <a:pt x="522" y="14"/>
                  <a:pt x="522" y="14"/>
                </a:cubicBezTo>
                <a:cubicBezTo>
                  <a:pt x="531" y="14"/>
                  <a:pt x="540" y="22"/>
                  <a:pt x="540" y="32"/>
                </a:cubicBezTo>
                <a:cubicBezTo>
                  <a:pt x="540" y="99"/>
                  <a:pt x="540" y="99"/>
                  <a:pt x="540" y="99"/>
                </a:cubicBezTo>
                <a:cubicBezTo>
                  <a:pt x="540" y="109"/>
                  <a:pt x="531" y="117"/>
                  <a:pt x="522" y="117"/>
                </a:cubicBezTo>
                <a:cubicBezTo>
                  <a:pt x="269" y="117"/>
                  <a:pt x="269" y="117"/>
                  <a:pt x="269" y="117"/>
                </a:cubicBezTo>
                <a:cubicBezTo>
                  <a:pt x="259" y="117"/>
                  <a:pt x="251" y="109"/>
                  <a:pt x="251" y="99"/>
                </a:cubicBezTo>
                <a:close/>
                <a:moveTo>
                  <a:pt x="447" y="131"/>
                </a:moveTo>
                <a:cubicBezTo>
                  <a:pt x="480" y="131"/>
                  <a:pt x="480" y="131"/>
                  <a:pt x="480" y="131"/>
                </a:cubicBezTo>
                <a:cubicBezTo>
                  <a:pt x="480" y="183"/>
                  <a:pt x="480" y="183"/>
                  <a:pt x="480" y="183"/>
                </a:cubicBezTo>
                <a:cubicBezTo>
                  <a:pt x="447" y="183"/>
                  <a:pt x="447" y="183"/>
                  <a:pt x="447" y="183"/>
                </a:cubicBezTo>
                <a:lnTo>
                  <a:pt x="447" y="131"/>
                </a:lnTo>
                <a:close/>
                <a:moveTo>
                  <a:pt x="624" y="578"/>
                </a:moveTo>
                <a:cubicBezTo>
                  <a:pt x="624" y="589"/>
                  <a:pt x="615" y="598"/>
                  <a:pt x="604" y="598"/>
                </a:cubicBezTo>
                <a:cubicBezTo>
                  <a:pt x="35" y="598"/>
                  <a:pt x="35" y="598"/>
                  <a:pt x="35" y="598"/>
                </a:cubicBezTo>
                <a:cubicBezTo>
                  <a:pt x="23" y="598"/>
                  <a:pt x="14" y="589"/>
                  <a:pt x="14" y="578"/>
                </a:cubicBezTo>
                <a:cubicBezTo>
                  <a:pt x="14" y="484"/>
                  <a:pt x="14" y="484"/>
                  <a:pt x="14" y="484"/>
                </a:cubicBezTo>
                <a:cubicBezTo>
                  <a:pt x="14" y="473"/>
                  <a:pt x="23" y="463"/>
                  <a:pt x="35" y="463"/>
                </a:cubicBezTo>
                <a:cubicBezTo>
                  <a:pt x="50" y="463"/>
                  <a:pt x="50" y="463"/>
                  <a:pt x="50" y="463"/>
                </a:cubicBezTo>
                <a:cubicBezTo>
                  <a:pt x="53" y="463"/>
                  <a:pt x="56" y="461"/>
                  <a:pt x="57" y="458"/>
                </a:cubicBezTo>
                <a:cubicBezTo>
                  <a:pt x="109" y="208"/>
                  <a:pt x="109" y="208"/>
                  <a:pt x="109" y="208"/>
                </a:cubicBezTo>
                <a:cubicBezTo>
                  <a:pt x="110" y="202"/>
                  <a:pt x="117" y="197"/>
                  <a:pt x="124" y="197"/>
                </a:cubicBezTo>
                <a:cubicBezTo>
                  <a:pt x="514" y="197"/>
                  <a:pt x="514" y="197"/>
                  <a:pt x="514" y="197"/>
                </a:cubicBezTo>
                <a:cubicBezTo>
                  <a:pt x="521" y="197"/>
                  <a:pt x="528" y="202"/>
                  <a:pt x="529" y="208"/>
                </a:cubicBezTo>
                <a:cubicBezTo>
                  <a:pt x="581" y="458"/>
                  <a:pt x="581" y="458"/>
                  <a:pt x="581" y="458"/>
                </a:cubicBezTo>
                <a:cubicBezTo>
                  <a:pt x="582" y="461"/>
                  <a:pt x="585" y="463"/>
                  <a:pt x="588" y="463"/>
                </a:cubicBezTo>
                <a:cubicBezTo>
                  <a:pt x="604" y="463"/>
                  <a:pt x="604" y="463"/>
                  <a:pt x="604" y="463"/>
                </a:cubicBezTo>
                <a:cubicBezTo>
                  <a:pt x="615" y="463"/>
                  <a:pt x="624" y="473"/>
                  <a:pt x="624" y="484"/>
                </a:cubicBezTo>
                <a:lnTo>
                  <a:pt x="624" y="578"/>
                </a:lnTo>
                <a:close/>
                <a:moveTo>
                  <a:pt x="312" y="378"/>
                </a:moveTo>
                <a:cubicBezTo>
                  <a:pt x="513" y="378"/>
                  <a:pt x="513" y="378"/>
                  <a:pt x="513" y="378"/>
                </a:cubicBezTo>
                <a:cubicBezTo>
                  <a:pt x="518" y="378"/>
                  <a:pt x="522" y="376"/>
                  <a:pt x="525" y="373"/>
                </a:cubicBezTo>
                <a:cubicBezTo>
                  <a:pt x="528" y="369"/>
                  <a:pt x="529" y="365"/>
                  <a:pt x="528" y="360"/>
                </a:cubicBezTo>
                <a:cubicBezTo>
                  <a:pt x="509" y="237"/>
                  <a:pt x="509" y="237"/>
                  <a:pt x="509" y="237"/>
                </a:cubicBezTo>
                <a:cubicBezTo>
                  <a:pt x="508" y="229"/>
                  <a:pt x="500" y="223"/>
                  <a:pt x="492" y="223"/>
                </a:cubicBezTo>
                <a:cubicBezTo>
                  <a:pt x="313" y="223"/>
                  <a:pt x="313" y="223"/>
                  <a:pt x="313" y="223"/>
                </a:cubicBezTo>
                <a:cubicBezTo>
                  <a:pt x="304" y="223"/>
                  <a:pt x="297" y="230"/>
                  <a:pt x="297" y="238"/>
                </a:cubicBezTo>
                <a:cubicBezTo>
                  <a:pt x="296" y="361"/>
                  <a:pt x="296" y="361"/>
                  <a:pt x="296" y="361"/>
                </a:cubicBezTo>
                <a:cubicBezTo>
                  <a:pt x="295" y="365"/>
                  <a:pt x="297" y="370"/>
                  <a:pt x="300" y="373"/>
                </a:cubicBezTo>
                <a:cubicBezTo>
                  <a:pt x="303" y="376"/>
                  <a:pt x="308" y="378"/>
                  <a:pt x="312" y="378"/>
                </a:cubicBezTo>
                <a:close/>
                <a:moveTo>
                  <a:pt x="311" y="238"/>
                </a:moveTo>
                <a:cubicBezTo>
                  <a:pt x="311" y="238"/>
                  <a:pt x="312" y="237"/>
                  <a:pt x="313" y="237"/>
                </a:cubicBezTo>
                <a:cubicBezTo>
                  <a:pt x="492" y="237"/>
                  <a:pt x="492" y="237"/>
                  <a:pt x="492" y="237"/>
                </a:cubicBezTo>
                <a:cubicBezTo>
                  <a:pt x="494" y="237"/>
                  <a:pt x="495" y="239"/>
                  <a:pt x="495" y="239"/>
                </a:cubicBezTo>
                <a:cubicBezTo>
                  <a:pt x="515" y="362"/>
                  <a:pt x="515" y="362"/>
                  <a:pt x="515" y="362"/>
                </a:cubicBezTo>
                <a:cubicBezTo>
                  <a:pt x="515" y="363"/>
                  <a:pt x="515" y="363"/>
                  <a:pt x="514" y="363"/>
                </a:cubicBezTo>
                <a:cubicBezTo>
                  <a:pt x="514" y="364"/>
                  <a:pt x="514" y="364"/>
                  <a:pt x="513" y="364"/>
                </a:cubicBezTo>
                <a:cubicBezTo>
                  <a:pt x="312" y="364"/>
                  <a:pt x="312" y="364"/>
                  <a:pt x="312" y="364"/>
                </a:cubicBezTo>
                <a:cubicBezTo>
                  <a:pt x="311" y="364"/>
                  <a:pt x="311" y="363"/>
                  <a:pt x="310" y="363"/>
                </a:cubicBezTo>
                <a:cubicBezTo>
                  <a:pt x="310" y="363"/>
                  <a:pt x="310" y="362"/>
                  <a:pt x="310" y="361"/>
                </a:cubicBezTo>
                <a:lnTo>
                  <a:pt x="311" y="238"/>
                </a:lnTo>
                <a:close/>
                <a:moveTo>
                  <a:pt x="138" y="289"/>
                </a:moveTo>
                <a:cubicBezTo>
                  <a:pt x="252" y="289"/>
                  <a:pt x="252" y="289"/>
                  <a:pt x="252" y="289"/>
                </a:cubicBezTo>
                <a:cubicBezTo>
                  <a:pt x="261" y="289"/>
                  <a:pt x="268" y="282"/>
                  <a:pt x="268" y="274"/>
                </a:cubicBezTo>
                <a:cubicBezTo>
                  <a:pt x="270" y="239"/>
                  <a:pt x="270" y="239"/>
                  <a:pt x="270" y="239"/>
                </a:cubicBezTo>
                <a:cubicBezTo>
                  <a:pt x="270" y="235"/>
                  <a:pt x="269" y="231"/>
                  <a:pt x="266" y="228"/>
                </a:cubicBezTo>
                <a:cubicBezTo>
                  <a:pt x="263" y="225"/>
                  <a:pt x="259" y="223"/>
                  <a:pt x="255" y="223"/>
                </a:cubicBezTo>
                <a:cubicBezTo>
                  <a:pt x="146" y="223"/>
                  <a:pt x="146" y="223"/>
                  <a:pt x="146" y="223"/>
                </a:cubicBezTo>
                <a:cubicBezTo>
                  <a:pt x="138" y="223"/>
                  <a:pt x="130" y="229"/>
                  <a:pt x="129" y="237"/>
                </a:cubicBezTo>
                <a:cubicBezTo>
                  <a:pt x="124" y="272"/>
                  <a:pt x="124" y="272"/>
                  <a:pt x="124" y="272"/>
                </a:cubicBezTo>
                <a:cubicBezTo>
                  <a:pt x="123" y="276"/>
                  <a:pt x="124" y="280"/>
                  <a:pt x="127" y="284"/>
                </a:cubicBezTo>
                <a:cubicBezTo>
                  <a:pt x="130" y="287"/>
                  <a:pt x="134" y="289"/>
                  <a:pt x="138" y="289"/>
                </a:cubicBezTo>
                <a:close/>
                <a:moveTo>
                  <a:pt x="143" y="239"/>
                </a:moveTo>
                <a:cubicBezTo>
                  <a:pt x="143" y="239"/>
                  <a:pt x="144" y="237"/>
                  <a:pt x="146" y="237"/>
                </a:cubicBezTo>
                <a:cubicBezTo>
                  <a:pt x="255" y="237"/>
                  <a:pt x="255" y="237"/>
                  <a:pt x="255" y="237"/>
                </a:cubicBezTo>
                <a:cubicBezTo>
                  <a:pt x="256" y="237"/>
                  <a:pt x="256" y="238"/>
                  <a:pt x="256" y="238"/>
                </a:cubicBezTo>
                <a:cubicBezTo>
                  <a:pt x="254" y="273"/>
                  <a:pt x="254" y="273"/>
                  <a:pt x="254" y="273"/>
                </a:cubicBezTo>
                <a:cubicBezTo>
                  <a:pt x="254" y="274"/>
                  <a:pt x="253" y="275"/>
                  <a:pt x="252" y="275"/>
                </a:cubicBezTo>
                <a:cubicBezTo>
                  <a:pt x="138" y="275"/>
                  <a:pt x="138" y="275"/>
                  <a:pt x="138" y="275"/>
                </a:cubicBezTo>
                <a:cubicBezTo>
                  <a:pt x="138" y="275"/>
                  <a:pt x="137" y="274"/>
                  <a:pt x="137" y="274"/>
                </a:cubicBezTo>
                <a:lnTo>
                  <a:pt x="143" y="239"/>
                </a:lnTo>
                <a:close/>
                <a:moveTo>
                  <a:pt x="588" y="512"/>
                </a:moveTo>
                <a:cubicBezTo>
                  <a:pt x="588" y="516"/>
                  <a:pt x="584" y="519"/>
                  <a:pt x="581" y="519"/>
                </a:cubicBezTo>
                <a:cubicBezTo>
                  <a:pt x="58" y="519"/>
                  <a:pt x="58" y="519"/>
                  <a:pt x="58" y="519"/>
                </a:cubicBezTo>
                <a:cubicBezTo>
                  <a:pt x="54" y="519"/>
                  <a:pt x="51" y="516"/>
                  <a:pt x="51" y="512"/>
                </a:cubicBezTo>
                <a:cubicBezTo>
                  <a:pt x="51" y="508"/>
                  <a:pt x="54" y="505"/>
                  <a:pt x="58" y="505"/>
                </a:cubicBezTo>
                <a:cubicBezTo>
                  <a:pt x="581" y="505"/>
                  <a:pt x="581" y="505"/>
                  <a:pt x="581" y="505"/>
                </a:cubicBezTo>
                <a:cubicBezTo>
                  <a:pt x="584" y="505"/>
                  <a:pt x="588" y="508"/>
                  <a:pt x="588" y="512"/>
                </a:cubicBezTo>
                <a:close/>
                <a:moveTo>
                  <a:pt x="512" y="82"/>
                </a:moveTo>
                <a:cubicBezTo>
                  <a:pt x="512" y="86"/>
                  <a:pt x="508" y="89"/>
                  <a:pt x="505" y="89"/>
                </a:cubicBezTo>
                <a:cubicBezTo>
                  <a:pt x="307" y="89"/>
                  <a:pt x="307" y="89"/>
                  <a:pt x="307" y="89"/>
                </a:cubicBezTo>
                <a:cubicBezTo>
                  <a:pt x="304" y="89"/>
                  <a:pt x="300" y="86"/>
                  <a:pt x="300" y="82"/>
                </a:cubicBezTo>
                <a:cubicBezTo>
                  <a:pt x="300" y="78"/>
                  <a:pt x="304" y="75"/>
                  <a:pt x="307" y="75"/>
                </a:cubicBezTo>
                <a:cubicBezTo>
                  <a:pt x="505" y="75"/>
                  <a:pt x="505" y="75"/>
                  <a:pt x="505" y="75"/>
                </a:cubicBezTo>
                <a:cubicBezTo>
                  <a:pt x="508" y="75"/>
                  <a:pt x="512" y="78"/>
                  <a:pt x="512" y="82"/>
                </a:cubicBezTo>
                <a:close/>
                <a:moveTo>
                  <a:pt x="512" y="50"/>
                </a:moveTo>
                <a:cubicBezTo>
                  <a:pt x="512" y="53"/>
                  <a:pt x="508" y="57"/>
                  <a:pt x="505" y="57"/>
                </a:cubicBezTo>
                <a:cubicBezTo>
                  <a:pt x="307" y="57"/>
                  <a:pt x="307" y="57"/>
                  <a:pt x="307" y="57"/>
                </a:cubicBezTo>
                <a:cubicBezTo>
                  <a:pt x="304" y="57"/>
                  <a:pt x="300" y="53"/>
                  <a:pt x="300" y="50"/>
                </a:cubicBezTo>
                <a:cubicBezTo>
                  <a:pt x="300" y="46"/>
                  <a:pt x="304" y="43"/>
                  <a:pt x="307" y="43"/>
                </a:cubicBezTo>
                <a:cubicBezTo>
                  <a:pt x="505" y="43"/>
                  <a:pt x="505" y="43"/>
                  <a:pt x="505" y="43"/>
                </a:cubicBezTo>
                <a:cubicBezTo>
                  <a:pt x="508" y="43"/>
                  <a:pt x="512" y="46"/>
                  <a:pt x="512" y="50"/>
                </a:cubicBez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7175" name="Oval 14"/>
          <p:cNvSpPr>
            <a:spLocks noChangeArrowheads="1"/>
          </p:cNvSpPr>
          <p:nvPr/>
        </p:nvSpPr>
        <p:spPr bwMode="auto">
          <a:xfrm>
            <a:off x="3073678" y="1528549"/>
            <a:ext cx="1119124" cy="1119124"/>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8208" name="Freeform 99"/>
          <p:cNvSpPr>
            <a:spLocks noEditPoints="1"/>
          </p:cNvSpPr>
          <p:nvPr/>
        </p:nvSpPr>
        <p:spPr bwMode="auto">
          <a:xfrm>
            <a:off x="3301400" y="1859421"/>
            <a:ext cx="662462" cy="456165"/>
          </a:xfrm>
          <a:custGeom>
            <a:avLst/>
            <a:gdLst>
              <a:gd name="T0" fmla="*/ 95 w 628"/>
              <a:gd name="T1" fmla="*/ 133 h 433"/>
              <a:gd name="T2" fmla="*/ 212 w 628"/>
              <a:gd name="T3" fmla="*/ 133 h 433"/>
              <a:gd name="T4" fmla="*/ 154 w 628"/>
              <a:gd name="T5" fmla="*/ 89 h 433"/>
              <a:gd name="T6" fmla="*/ 154 w 628"/>
              <a:gd name="T7" fmla="*/ 178 h 433"/>
              <a:gd name="T8" fmla="*/ 154 w 628"/>
              <a:gd name="T9" fmla="*/ 89 h 433"/>
              <a:gd name="T10" fmla="*/ 235 w 628"/>
              <a:gd name="T11" fmla="*/ 239 h 433"/>
              <a:gd name="T12" fmla="*/ 184 w 628"/>
              <a:gd name="T13" fmla="*/ 171 h 433"/>
              <a:gd name="T14" fmla="*/ 221 w 628"/>
              <a:gd name="T15" fmla="*/ 239 h 433"/>
              <a:gd name="T16" fmla="*/ 154 w 628"/>
              <a:gd name="T17" fmla="*/ 305 h 433"/>
              <a:gd name="T18" fmla="*/ 87 w 628"/>
              <a:gd name="T19" fmla="*/ 239 h 433"/>
              <a:gd name="T20" fmla="*/ 124 w 628"/>
              <a:gd name="T21" fmla="*/ 171 h 433"/>
              <a:gd name="T22" fmla="*/ 73 w 628"/>
              <a:gd name="T23" fmla="*/ 239 h 433"/>
              <a:gd name="T24" fmla="*/ 154 w 628"/>
              <a:gd name="T25" fmla="*/ 319 h 433"/>
              <a:gd name="T26" fmla="*/ 554 w 628"/>
              <a:gd name="T27" fmla="*/ 171 h 433"/>
              <a:gd name="T28" fmla="*/ 307 w 628"/>
              <a:gd name="T29" fmla="*/ 164 h 433"/>
              <a:gd name="T30" fmla="*/ 307 w 628"/>
              <a:gd name="T31" fmla="*/ 178 h 433"/>
              <a:gd name="T32" fmla="*/ 554 w 628"/>
              <a:gd name="T33" fmla="*/ 171 h 433"/>
              <a:gd name="T34" fmla="*/ 547 w 628"/>
              <a:gd name="T35" fmla="*/ 227 h 433"/>
              <a:gd name="T36" fmla="*/ 300 w 628"/>
              <a:gd name="T37" fmla="*/ 234 h 433"/>
              <a:gd name="T38" fmla="*/ 547 w 628"/>
              <a:gd name="T39" fmla="*/ 241 h 433"/>
              <a:gd name="T40" fmla="*/ 554 w 628"/>
              <a:gd name="T41" fmla="*/ 298 h 433"/>
              <a:gd name="T42" fmla="*/ 307 w 628"/>
              <a:gd name="T43" fmla="*/ 291 h 433"/>
              <a:gd name="T44" fmla="*/ 307 w 628"/>
              <a:gd name="T45" fmla="*/ 305 h 433"/>
              <a:gd name="T46" fmla="*/ 554 w 628"/>
              <a:gd name="T47" fmla="*/ 298 h 433"/>
              <a:gd name="T48" fmla="*/ 486 w 628"/>
              <a:gd name="T49" fmla="*/ 433 h 433"/>
              <a:gd name="T50" fmla="*/ 479 w 628"/>
              <a:gd name="T51" fmla="*/ 390 h 433"/>
              <a:gd name="T52" fmla="*/ 436 w 628"/>
              <a:gd name="T53" fmla="*/ 390 h 433"/>
              <a:gd name="T54" fmla="*/ 429 w 628"/>
              <a:gd name="T55" fmla="*/ 433 h 433"/>
              <a:gd name="T56" fmla="*/ 192 w 628"/>
              <a:gd name="T57" fmla="*/ 426 h 433"/>
              <a:gd name="T58" fmla="*/ 170 w 628"/>
              <a:gd name="T59" fmla="*/ 368 h 433"/>
              <a:gd name="T60" fmla="*/ 149 w 628"/>
              <a:gd name="T61" fmla="*/ 426 h 433"/>
              <a:gd name="T62" fmla="*/ 7 w 628"/>
              <a:gd name="T63" fmla="*/ 433 h 433"/>
              <a:gd name="T64" fmla="*/ 0 w 628"/>
              <a:gd name="T65" fmla="*/ 7 h 433"/>
              <a:gd name="T66" fmla="*/ 270 w 628"/>
              <a:gd name="T67" fmla="*/ 0 h 433"/>
              <a:gd name="T68" fmla="*/ 329 w 628"/>
              <a:gd name="T69" fmla="*/ 73 h 433"/>
              <a:gd name="T70" fmla="*/ 628 w 628"/>
              <a:gd name="T71" fmla="*/ 80 h 433"/>
              <a:gd name="T72" fmla="*/ 621 w 628"/>
              <a:gd name="T73" fmla="*/ 433 h 433"/>
              <a:gd name="T74" fmla="*/ 614 w 628"/>
              <a:gd name="T75" fmla="*/ 419 h 433"/>
              <a:gd name="T76" fmla="*/ 325 w 628"/>
              <a:gd name="T77" fmla="*/ 87 h 433"/>
              <a:gd name="T78" fmla="*/ 267 w 628"/>
              <a:gd name="T79" fmla="*/ 14 h 433"/>
              <a:gd name="T80" fmla="*/ 14 w 628"/>
              <a:gd name="T81" fmla="*/ 419 h 433"/>
              <a:gd name="T82" fmla="*/ 135 w 628"/>
              <a:gd name="T83" fmla="*/ 390 h 433"/>
              <a:gd name="T84" fmla="*/ 206 w 628"/>
              <a:gd name="T85" fmla="*/ 390 h 433"/>
              <a:gd name="T86" fmla="*/ 422 w 628"/>
              <a:gd name="T87" fmla="*/ 419 h 433"/>
              <a:gd name="T88" fmla="*/ 458 w 628"/>
              <a:gd name="T89" fmla="*/ 354 h 433"/>
              <a:gd name="T90" fmla="*/ 493 w 628"/>
              <a:gd name="T91" fmla="*/ 419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628" h="433">
                <a:moveTo>
                  <a:pt x="154" y="192"/>
                </a:moveTo>
                <a:cubicBezTo>
                  <a:pt x="121" y="192"/>
                  <a:pt x="95" y="166"/>
                  <a:pt x="95" y="133"/>
                </a:cubicBezTo>
                <a:cubicBezTo>
                  <a:pt x="95" y="101"/>
                  <a:pt x="121" y="75"/>
                  <a:pt x="154" y="75"/>
                </a:cubicBezTo>
                <a:cubicBezTo>
                  <a:pt x="186" y="75"/>
                  <a:pt x="212" y="101"/>
                  <a:pt x="212" y="133"/>
                </a:cubicBezTo>
                <a:cubicBezTo>
                  <a:pt x="212" y="166"/>
                  <a:pt x="186" y="192"/>
                  <a:pt x="154" y="192"/>
                </a:cubicBezTo>
                <a:close/>
                <a:moveTo>
                  <a:pt x="154" y="89"/>
                </a:moveTo>
                <a:cubicBezTo>
                  <a:pt x="129" y="89"/>
                  <a:pt x="109" y="109"/>
                  <a:pt x="109" y="133"/>
                </a:cubicBezTo>
                <a:cubicBezTo>
                  <a:pt x="109" y="158"/>
                  <a:pt x="129" y="178"/>
                  <a:pt x="154" y="178"/>
                </a:cubicBezTo>
                <a:cubicBezTo>
                  <a:pt x="178" y="178"/>
                  <a:pt x="198" y="158"/>
                  <a:pt x="198" y="133"/>
                </a:cubicBezTo>
                <a:cubicBezTo>
                  <a:pt x="198" y="109"/>
                  <a:pt x="178" y="89"/>
                  <a:pt x="154" y="89"/>
                </a:cubicBezTo>
                <a:close/>
                <a:moveTo>
                  <a:pt x="235" y="301"/>
                </a:moveTo>
                <a:cubicBezTo>
                  <a:pt x="235" y="239"/>
                  <a:pt x="235" y="239"/>
                  <a:pt x="235" y="239"/>
                </a:cubicBezTo>
                <a:cubicBezTo>
                  <a:pt x="235" y="210"/>
                  <a:pt x="219" y="182"/>
                  <a:pt x="193" y="168"/>
                </a:cubicBezTo>
                <a:cubicBezTo>
                  <a:pt x="190" y="166"/>
                  <a:pt x="186" y="167"/>
                  <a:pt x="184" y="171"/>
                </a:cubicBezTo>
                <a:cubicBezTo>
                  <a:pt x="182" y="174"/>
                  <a:pt x="183" y="178"/>
                  <a:pt x="186" y="180"/>
                </a:cubicBezTo>
                <a:cubicBezTo>
                  <a:pt x="208" y="192"/>
                  <a:pt x="221" y="215"/>
                  <a:pt x="221" y="239"/>
                </a:cubicBezTo>
                <a:cubicBezTo>
                  <a:pt x="221" y="298"/>
                  <a:pt x="221" y="298"/>
                  <a:pt x="221" y="298"/>
                </a:cubicBezTo>
                <a:cubicBezTo>
                  <a:pt x="215" y="301"/>
                  <a:pt x="192" y="305"/>
                  <a:pt x="154" y="305"/>
                </a:cubicBezTo>
                <a:cubicBezTo>
                  <a:pt x="116" y="305"/>
                  <a:pt x="93" y="301"/>
                  <a:pt x="87" y="298"/>
                </a:cubicBezTo>
                <a:cubicBezTo>
                  <a:pt x="87" y="239"/>
                  <a:pt x="87" y="239"/>
                  <a:pt x="87" y="239"/>
                </a:cubicBezTo>
                <a:cubicBezTo>
                  <a:pt x="87" y="215"/>
                  <a:pt x="100" y="192"/>
                  <a:pt x="121" y="180"/>
                </a:cubicBezTo>
                <a:cubicBezTo>
                  <a:pt x="124" y="178"/>
                  <a:pt x="126" y="174"/>
                  <a:pt x="124" y="171"/>
                </a:cubicBezTo>
                <a:cubicBezTo>
                  <a:pt x="122" y="167"/>
                  <a:pt x="118" y="166"/>
                  <a:pt x="114" y="168"/>
                </a:cubicBezTo>
                <a:cubicBezTo>
                  <a:pt x="89" y="182"/>
                  <a:pt x="73" y="210"/>
                  <a:pt x="73" y="239"/>
                </a:cubicBezTo>
                <a:cubicBezTo>
                  <a:pt x="73" y="301"/>
                  <a:pt x="73" y="301"/>
                  <a:pt x="73" y="301"/>
                </a:cubicBezTo>
                <a:cubicBezTo>
                  <a:pt x="73" y="316"/>
                  <a:pt x="117" y="319"/>
                  <a:pt x="154" y="319"/>
                </a:cubicBezTo>
                <a:cubicBezTo>
                  <a:pt x="191" y="319"/>
                  <a:pt x="235" y="316"/>
                  <a:pt x="235" y="301"/>
                </a:cubicBezTo>
                <a:close/>
                <a:moveTo>
                  <a:pt x="554" y="171"/>
                </a:moveTo>
                <a:cubicBezTo>
                  <a:pt x="554" y="167"/>
                  <a:pt x="551" y="164"/>
                  <a:pt x="547" y="164"/>
                </a:cubicBezTo>
                <a:cubicBezTo>
                  <a:pt x="307" y="164"/>
                  <a:pt x="307" y="164"/>
                  <a:pt x="307" y="164"/>
                </a:cubicBezTo>
                <a:cubicBezTo>
                  <a:pt x="303" y="164"/>
                  <a:pt x="300" y="167"/>
                  <a:pt x="300" y="171"/>
                </a:cubicBezTo>
                <a:cubicBezTo>
                  <a:pt x="300" y="175"/>
                  <a:pt x="303" y="178"/>
                  <a:pt x="307" y="178"/>
                </a:cubicBezTo>
                <a:cubicBezTo>
                  <a:pt x="547" y="178"/>
                  <a:pt x="547" y="178"/>
                  <a:pt x="547" y="178"/>
                </a:cubicBezTo>
                <a:cubicBezTo>
                  <a:pt x="551" y="178"/>
                  <a:pt x="554" y="175"/>
                  <a:pt x="554" y="171"/>
                </a:cubicBezTo>
                <a:close/>
                <a:moveTo>
                  <a:pt x="554" y="234"/>
                </a:moveTo>
                <a:cubicBezTo>
                  <a:pt x="554" y="231"/>
                  <a:pt x="551" y="227"/>
                  <a:pt x="547" y="227"/>
                </a:cubicBezTo>
                <a:cubicBezTo>
                  <a:pt x="307" y="227"/>
                  <a:pt x="307" y="227"/>
                  <a:pt x="307" y="227"/>
                </a:cubicBezTo>
                <a:cubicBezTo>
                  <a:pt x="303" y="227"/>
                  <a:pt x="300" y="231"/>
                  <a:pt x="300" y="234"/>
                </a:cubicBezTo>
                <a:cubicBezTo>
                  <a:pt x="300" y="238"/>
                  <a:pt x="303" y="241"/>
                  <a:pt x="307" y="241"/>
                </a:cubicBezTo>
                <a:cubicBezTo>
                  <a:pt x="547" y="241"/>
                  <a:pt x="547" y="241"/>
                  <a:pt x="547" y="241"/>
                </a:cubicBezTo>
                <a:cubicBezTo>
                  <a:pt x="551" y="241"/>
                  <a:pt x="554" y="238"/>
                  <a:pt x="554" y="234"/>
                </a:cubicBezTo>
                <a:close/>
                <a:moveTo>
                  <a:pt x="554" y="298"/>
                </a:moveTo>
                <a:cubicBezTo>
                  <a:pt x="554" y="294"/>
                  <a:pt x="551" y="291"/>
                  <a:pt x="547" y="291"/>
                </a:cubicBezTo>
                <a:cubicBezTo>
                  <a:pt x="307" y="291"/>
                  <a:pt x="307" y="291"/>
                  <a:pt x="307" y="291"/>
                </a:cubicBezTo>
                <a:cubicBezTo>
                  <a:pt x="303" y="291"/>
                  <a:pt x="300" y="294"/>
                  <a:pt x="300" y="298"/>
                </a:cubicBezTo>
                <a:cubicBezTo>
                  <a:pt x="300" y="301"/>
                  <a:pt x="303" y="305"/>
                  <a:pt x="307" y="305"/>
                </a:cubicBezTo>
                <a:cubicBezTo>
                  <a:pt x="547" y="305"/>
                  <a:pt x="547" y="305"/>
                  <a:pt x="547" y="305"/>
                </a:cubicBezTo>
                <a:cubicBezTo>
                  <a:pt x="551" y="305"/>
                  <a:pt x="554" y="301"/>
                  <a:pt x="554" y="298"/>
                </a:cubicBezTo>
                <a:close/>
                <a:moveTo>
                  <a:pt x="621" y="433"/>
                </a:moveTo>
                <a:cubicBezTo>
                  <a:pt x="486" y="433"/>
                  <a:pt x="486" y="433"/>
                  <a:pt x="486" y="433"/>
                </a:cubicBezTo>
                <a:cubicBezTo>
                  <a:pt x="483" y="433"/>
                  <a:pt x="479" y="430"/>
                  <a:pt x="479" y="426"/>
                </a:cubicBezTo>
                <a:cubicBezTo>
                  <a:pt x="479" y="390"/>
                  <a:pt x="479" y="390"/>
                  <a:pt x="479" y="390"/>
                </a:cubicBezTo>
                <a:cubicBezTo>
                  <a:pt x="479" y="378"/>
                  <a:pt x="470" y="368"/>
                  <a:pt x="458" y="368"/>
                </a:cubicBezTo>
                <a:cubicBezTo>
                  <a:pt x="446" y="368"/>
                  <a:pt x="436" y="378"/>
                  <a:pt x="436" y="390"/>
                </a:cubicBezTo>
                <a:cubicBezTo>
                  <a:pt x="436" y="426"/>
                  <a:pt x="436" y="426"/>
                  <a:pt x="436" y="426"/>
                </a:cubicBezTo>
                <a:cubicBezTo>
                  <a:pt x="436" y="430"/>
                  <a:pt x="433" y="433"/>
                  <a:pt x="429" y="433"/>
                </a:cubicBezTo>
                <a:cubicBezTo>
                  <a:pt x="199" y="433"/>
                  <a:pt x="199" y="433"/>
                  <a:pt x="199" y="433"/>
                </a:cubicBezTo>
                <a:cubicBezTo>
                  <a:pt x="195" y="433"/>
                  <a:pt x="192" y="430"/>
                  <a:pt x="192" y="426"/>
                </a:cubicBezTo>
                <a:cubicBezTo>
                  <a:pt x="192" y="390"/>
                  <a:pt x="192" y="390"/>
                  <a:pt x="192" y="390"/>
                </a:cubicBezTo>
                <a:cubicBezTo>
                  <a:pt x="192" y="378"/>
                  <a:pt x="182" y="368"/>
                  <a:pt x="170" y="368"/>
                </a:cubicBezTo>
                <a:cubicBezTo>
                  <a:pt x="158" y="368"/>
                  <a:pt x="149" y="378"/>
                  <a:pt x="149" y="390"/>
                </a:cubicBezTo>
                <a:cubicBezTo>
                  <a:pt x="149" y="426"/>
                  <a:pt x="149" y="426"/>
                  <a:pt x="149" y="426"/>
                </a:cubicBezTo>
                <a:cubicBezTo>
                  <a:pt x="149" y="430"/>
                  <a:pt x="146" y="433"/>
                  <a:pt x="142" y="433"/>
                </a:cubicBezTo>
                <a:cubicBezTo>
                  <a:pt x="7" y="433"/>
                  <a:pt x="7" y="433"/>
                  <a:pt x="7" y="433"/>
                </a:cubicBezTo>
                <a:cubicBezTo>
                  <a:pt x="3" y="433"/>
                  <a:pt x="0" y="430"/>
                  <a:pt x="0" y="426"/>
                </a:cubicBezTo>
                <a:cubicBezTo>
                  <a:pt x="0" y="7"/>
                  <a:pt x="0" y="7"/>
                  <a:pt x="0" y="7"/>
                </a:cubicBezTo>
                <a:cubicBezTo>
                  <a:pt x="0" y="3"/>
                  <a:pt x="3" y="0"/>
                  <a:pt x="7" y="0"/>
                </a:cubicBezTo>
                <a:cubicBezTo>
                  <a:pt x="270" y="0"/>
                  <a:pt x="270" y="0"/>
                  <a:pt x="270" y="0"/>
                </a:cubicBezTo>
                <a:cubicBezTo>
                  <a:pt x="272" y="0"/>
                  <a:pt x="275" y="1"/>
                  <a:pt x="276" y="3"/>
                </a:cubicBezTo>
                <a:cubicBezTo>
                  <a:pt x="329" y="73"/>
                  <a:pt x="329" y="73"/>
                  <a:pt x="329" y="73"/>
                </a:cubicBezTo>
                <a:cubicBezTo>
                  <a:pt x="621" y="73"/>
                  <a:pt x="621" y="73"/>
                  <a:pt x="621" y="73"/>
                </a:cubicBezTo>
                <a:cubicBezTo>
                  <a:pt x="625" y="73"/>
                  <a:pt x="628" y="76"/>
                  <a:pt x="628" y="80"/>
                </a:cubicBezTo>
                <a:cubicBezTo>
                  <a:pt x="628" y="426"/>
                  <a:pt x="628" y="426"/>
                  <a:pt x="628" y="426"/>
                </a:cubicBezTo>
                <a:cubicBezTo>
                  <a:pt x="628" y="430"/>
                  <a:pt x="625" y="433"/>
                  <a:pt x="621" y="433"/>
                </a:cubicBezTo>
                <a:close/>
                <a:moveTo>
                  <a:pt x="493" y="419"/>
                </a:moveTo>
                <a:cubicBezTo>
                  <a:pt x="614" y="419"/>
                  <a:pt x="614" y="419"/>
                  <a:pt x="614" y="419"/>
                </a:cubicBezTo>
                <a:cubicBezTo>
                  <a:pt x="614" y="87"/>
                  <a:pt x="614" y="87"/>
                  <a:pt x="614" y="87"/>
                </a:cubicBezTo>
                <a:cubicBezTo>
                  <a:pt x="325" y="87"/>
                  <a:pt x="325" y="87"/>
                  <a:pt x="325" y="87"/>
                </a:cubicBezTo>
                <a:cubicBezTo>
                  <a:pt x="323" y="87"/>
                  <a:pt x="321" y="86"/>
                  <a:pt x="320" y="84"/>
                </a:cubicBezTo>
                <a:cubicBezTo>
                  <a:pt x="267" y="14"/>
                  <a:pt x="267" y="14"/>
                  <a:pt x="267" y="14"/>
                </a:cubicBezTo>
                <a:cubicBezTo>
                  <a:pt x="14" y="14"/>
                  <a:pt x="14" y="14"/>
                  <a:pt x="14" y="14"/>
                </a:cubicBezTo>
                <a:cubicBezTo>
                  <a:pt x="14" y="419"/>
                  <a:pt x="14" y="419"/>
                  <a:pt x="14" y="419"/>
                </a:cubicBezTo>
                <a:cubicBezTo>
                  <a:pt x="135" y="419"/>
                  <a:pt x="135" y="419"/>
                  <a:pt x="135" y="419"/>
                </a:cubicBezTo>
                <a:cubicBezTo>
                  <a:pt x="135" y="390"/>
                  <a:pt x="135" y="390"/>
                  <a:pt x="135" y="390"/>
                </a:cubicBezTo>
                <a:cubicBezTo>
                  <a:pt x="135" y="370"/>
                  <a:pt x="151" y="354"/>
                  <a:pt x="170" y="354"/>
                </a:cubicBezTo>
                <a:cubicBezTo>
                  <a:pt x="190" y="354"/>
                  <a:pt x="206" y="370"/>
                  <a:pt x="206" y="390"/>
                </a:cubicBezTo>
                <a:cubicBezTo>
                  <a:pt x="206" y="419"/>
                  <a:pt x="206" y="419"/>
                  <a:pt x="206" y="419"/>
                </a:cubicBezTo>
                <a:cubicBezTo>
                  <a:pt x="422" y="419"/>
                  <a:pt x="422" y="419"/>
                  <a:pt x="422" y="419"/>
                </a:cubicBezTo>
                <a:cubicBezTo>
                  <a:pt x="422" y="390"/>
                  <a:pt x="422" y="390"/>
                  <a:pt x="422" y="390"/>
                </a:cubicBezTo>
                <a:cubicBezTo>
                  <a:pt x="422" y="370"/>
                  <a:pt x="438" y="354"/>
                  <a:pt x="458" y="354"/>
                </a:cubicBezTo>
                <a:cubicBezTo>
                  <a:pt x="478" y="354"/>
                  <a:pt x="493" y="370"/>
                  <a:pt x="493" y="390"/>
                </a:cubicBezTo>
                <a:lnTo>
                  <a:pt x="493" y="419"/>
                </a:ln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7171" name="Oval 10"/>
          <p:cNvSpPr>
            <a:spLocks noChangeArrowheads="1"/>
          </p:cNvSpPr>
          <p:nvPr/>
        </p:nvSpPr>
        <p:spPr bwMode="auto">
          <a:xfrm>
            <a:off x="6589621" y="3120088"/>
            <a:ext cx="1119124" cy="1119124"/>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8222" name="Freeform 113"/>
          <p:cNvSpPr>
            <a:spLocks noEditPoints="1"/>
          </p:cNvSpPr>
          <p:nvPr/>
        </p:nvSpPr>
        <p:spPr bwMode="auto">
          <a:xfrm>
            <a:off x="6864536" y="3421765"/>
            <a:ext cx="570511" cy="513338"/>
          </a:xfrm>
          <a:custGeom>
            <a:avLst/>
            <a:gdLst>
              <a:gd name="T0" fmla="*/ 477 w 542"/>
              <a:gd name="T1" fmla="*/ 100 h 487"/>
              <a:gd name="T2" fmla="*/ 457 w 542"/>
              <a:gd name="T3" fmla="*/ 100 h 487"/>
              <a:gd name="T4" fmla="*/ 457 w 542"/>
              <a:gd name="T5" fmla="*/ 55 h 487"/>
              <a:gd name="T6" fmla="*/ 437 w 542"/>
              <a:gd name="T7" fmla="*/ 10 h 487"/>
              <a:gd name="T8" fmla="*/ 401 w 542"/>
              <a:gd name="T9" fmla="*/ 4 h 487"/>
              <a:gd name="T10" fmla="*/ 52 w 542"/>
              <a:gd name="T11" fmla="*/ 87 h 487"/>
              <a:gd name="T12" fmla="*/ 0 w 542"/>
              <a:gd name="T13" fmla="*/ 165 h 487"/>
              <a:gd name="T14" fmla="*/ 0 w 542"/>
              <a:gd name="T15" fmla="*/ 422 h 487"/>
              <a:gd name="T16" fmla="*/ 64 w 542"/>
              <a:gd name="T17" fmla="*/ 487 h 487"/>
              <a:gd name="T18" fmla="*/ 477 w 542"/>
              <a:gd name="T19" fmla="*/ 487 h 487"/>
              <a:gd name="T20" fmla="*/ 542 w 542"/>
              <a:gd name="T21" fmla="*/ 422 h 487"/>
              <a:gd name="T22" fmla="*/ 542 w 542"/>
              <a:gd name="T23" fmla="*/ 165 h 487"/>
              <a:gd name="T24" fmla="*/ 477 w 542"/>
              <a:gd name="T25" fmla="*/ 100 h 487"/>
              <a:gd name="T26" fmla="*/ 405 w 542"/>
              <a:gd name="T27" fmla="*/ 17 h 487"/>
              <a:gd name="T28" fmla="*/ 429 w 542"/>
              <a:gd name="T29" fmla="*/ 21 h 487"/>
              <a:gd name="T30" fmla="*/ 443 w 542"/>
              <a:gd name="T31" fmla="*/ 55 h 487"/>
              <a:gd name="T32" fmla="*/ 443 w 542"/>
              <a:gd name="T33" fmla="*/ 100 h 487"/>
              <a:gd name="T34" fmla="*/ 64 w 542"/>
              <a:gd name="T35" fmla="*/ 100 h 487"/>
              <a:gd name="T36" fmla="*/ 52 w 542"/>
              <a:gd name="T37" fmla="*/ 102 h 487"/>
              <a:gd name="T38" fmla="*/ 55 w 542"/>
              <a:gd name="T39" fmla="*/ 100 h 487"/>
              <a:gd name="T40" fmla="*/ 405 w 542"/>
              <a:gd name="T41" fmla="*/ 17 h 487"/>
              <a:gd name="T42" fmla="*/ 528 w 542"/>
              <a:gd name="T43" fmla="*/ 422 h 487"/>
              <a:gd name="T44" fmla="*/ 477 w 542"/>
              <a:gd name="T45" fmla="*/ 473 h 487"/>
              <a:gd name="T46" fmla="*/ 64 w 542"/>
              <a:gd name="T47" fmla="*/ 473 h 487"/>
              <a:gd name="T48" fmla="*/ 14 w 542"/>
              <a:gd name="T49" fmla="*/ 422 h 487"/>
              <a:gd name="T50" fmla="*/ 14 w 542"/>
              <a:gd name="T51" fmla="*/ 165 h 487"/>
              <a:gd name="T52" fmla="*/ 64 w 542"/>
              <a:gd name="T53" fmla="*/ 114 h 487"/>
              <a:gd name="T54" fmla="*/ 477 w 542"/>
              <a:gd name="T55" fmla="*/ 114 h 487"/>
              <a:gd name="T56" fmla="*/ 528 w 542"/>
              <a:gd name="T57" fmla="*/ 165 h 487"/>
              <a:gd name="T58" fmla="*/ 528 w 542"/>
              <a:gd name="T59" fmla="*/ 422 h 487"/>
              <a:gd name="T60" fmla="*/ 450 w 542"/>
              <a:gd name="T61" fmla="*/ 258 h 487"/>
              <a:gd name="T62" fmla="*/ 414 w 542"/>
              <a:gd name="T63" fmla="*/ 294 h 487"/>
              <a:gd name="T64" fmla="*/ 450 w 542"/>
              <a:gd name="T65" fmla="*/ 329 h 487"/>
              <a:gd name="T66" fmla="*/ 486 w 542"/>
              <a:gd name="T67" fmla="*/ 294 h 487"/>
              <a:gd name="T68" fmla="*/ 450 w 542"/>
              <a:gd name="T69" fmla="*/ 258 h 487"/>
              <a:gd name="T70" fmla="*/ 450 w 542"/>
              <a:gd name="T71" fmla="*/ 315 h 487"/>
              <a:gd name="T72" fmla="*/ 428 w 542"/>
              <a:gd name="T73" fmla="*/ 294 h 487"/>
              <a:gd name="T74" fmla="*/ 450 w 542"/>
              <a:gd name="T75" fmla="*/ 272 h 487"/>
              <a:gd name="T76" fmla="*/ 472 w 542"/>
              <a:gd name="T77" fmla="*/ 294 h 487"/>
              <a:gd name="T78" fmla="*/ 450 w 542"/>
              <a:gd name="T79" fmla="*/ 315 h 4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42" h="487">
                <a:moveTo>
                  <a:pt x="477" y="100"/>
                </a:moveTo>
                <a:cubicBezTo>
                  <a:pt x="457" y="100"/>
                  <a:pt x="457" y="100"/>
                  <a:pt x="457" y="100"/>
                </a:cubicBezTo>
                <a:cubicBezTo>
                  <a:pt x="457" y="55"/>
                  <a:pt x="457" y="55"/>
                  <a:pt x="457" y="55"/>
                </a:cubicBezTo>
                <a:cubicBezTo>
                  <a:pt x="457" y="35"/>
                  <a:pt x="450" y="19"/>
                  <a:pt x="437" y="10"/>
                </a:cubicBezTo>
                <a:cubicBezTo>
                  <a:pt x="427" y="2"/>
                  <a:pt x="414" y="0"/>
                  <a:pt x="401" y="4"/>
                </a:cubicBezTo>
                <a:cubicBezTo>
                  <a:pt x="52" y="87"/>
                  <a:pt x="52" y="87"/>
                  <a:pt x="52" y="87"/>
                </a:cubicBezTo>
                <a:cubicBezTo>
                  <a:pt x="22" y="95"/>
                  <a:pt x="0" y="130"/>
                  <a:pt x="0" y="165"/>
                </a:cubicBezTo>
                <a:cubicBezTo>
                  <a:pt x="0" y="422"/>
                  <a:pt x="0" y="422"/>
                  <a:pt x="0" y="422"/>
                </a:cubicBezTo>
                <a:cubicBezTo>
                  <a:pt x="0" y="458"/>
                  <a:pt x="29" y="487"/>
                  <a:pt x="64" y="487"/>
                </a:cubicBezTo>
                <a:cubicBezTo>
                  <a:pt x="477" y="487"/>
                  <a:pt x="477" y="487"/>
                  <a:pt x="477" y="487"/>
                </a:cubicBezTo>
                <a:cubicBezTo>
                  <a:pt x="513" y="487"/>
                  <a:pt x="542" y="458"/>
                  <a:pt x="542" y="422"/>
                </a:cubicBezTo>
                <a:cubicBezTo>
                  <a:pt x="542" y="165"/>
                  <a:pt x="542" y="165"/>
                  <a:pt x="542" y="165"/>
                </a:cubicBezTo>
                <a:cubicBezTo>
                  <a:pt x="542" y="129"/>
                  <a:pt x="513" y="100"/>
                  <a:pt x="477" y="100"/>
                </a:cubicBezTo>
                <a:close/>
                <a:moveTo>
                  <a:pt x="405" y="17"/>
                </a:moveTo>
                <a:cubicBezTo>
                  <a:pt x="414" y="15"/>
                  <a:pt x="422" y="16"/>
                  <a:pt x="429" y="21"/>
                </a:cubicBezTo>
                <a:cubicBezTo>
                  <a:pt x="438" y="28"/>
                  <a:pt x="443" y="40"/>
                  <a:pt x="443" y="55"/>
                </a:cubicBezTo>
                <a:cubicBezTo>
                  <a:pt x="443" y="100"/>
                  <a:pt x="443" y="100"/>
                  <a:pt x="443" y="100"/>
                </a:cubicBezTo>
                <a:cubicBezTo>
                  <a:pt x="64" y="100"/>
                  <a:pt x="64" y="100"/>
                  <a:pt x="64" y="100"/>
                </a:cubicBezTo>
                <a:cubicBezTo>
                  <a:pt x="60" y="100"/>
                  <a:pt x="56" y="101"/>
                  <a:pt x="52" y="102"/>
                </a:cubicBezTo>
                <a:cubicBezTo>
                  <a:pt x="53" y="101"/>
                  <a:pt x="54" y="101"/>
                  <a:pt x="55" y="100"/>
                </a:cubicBezTo>
                <a:lnTo>
                  <a:pt x="405" y="17"/>
                </a:lnTo>
                <a:close/>
                <a:moveTo>
                  <a:pt x="528" y="422"/>
                </a:moveTo>
                <a:cubicBezTo>
                  <a:pt x="528" y="450"/>
                  <a:pt x="505" y="473"/>
                  <a:pt x="477" y="473"/>
                </a:cubicBezTo>
                <a:cubicBezTo>
                  <a:pt x="64" y="473"/>
                  <a:pt x="64" y="473"/>
                  <a:pt x="64" y="473"/>
                </a:cubicBezTo>
                <a:cubicBezTo>
                  <a:pt x="36" y="473"/>
                  <a:pt x="14" y="450"/>
                  <a:pt x="14" y="422"/>
                </a:cubicBezTo>
                <a:cubicBezTo>
                  <a:pt x="14" y="165"/>
                  <a:pt x="14" y="165"/>
                  <a:pt x="14" y="165"/>
                </a:cubicBezTo>
                <a:cubicBezTo>
                  <a:pt x="14" y="137"/>
                  <a:pt x="36" y="114"/>
                  <a:pt x="64" y="114"/>
                </a:cubicBezTo>
                <a:cubicBezTo>
                  <a:pt x="477" y="114"/>
                  <a:pt x="477" y="114"/>
                  <a:pt x="477" y="114"/>
                </a:cubicBezTo>
                <a:cubicBezTo>
                  <a:pt x="505" y="114"/>
                  <a:pt x="528" y="137"/>
                  <a:pt x="528" y="165"/>
                </a:cubicBezTo>
                <a:lnTo>
                  <a:pt x="528" y="422"/>
                </a:lnTo>
                <a:close/>
                <a:moveTo>
                  <a:pt x="450" y="258"/>
                </a:moveTo>
                <a:cubicBezTo>
                  <a:pt x="430" y="258"/>
                  <a:pt x="414" y="274"/>
                  <a:pt x="414" y="294"/>
                </a:cubicBezTo>
                <a:cubicBezTo>
                  <a:pt x="414" y="313"/>
                  <a:pt x="430" y="329"/>
                  <a:pt x="450" y="329"/>
                </a:cubicBezTo>
                <a:cubicBezTo>
                  <a:pt x="469" y="329"/>
                  <a:pt x="486" y="313"/>
                  <a:pt x="486" y="294"/>
                </a:cubicBezTo>
                <a:cubicBezTo>
                  <a:pt x="486" y="274"/>
                  <a:pt x="469" y="258"/>
                  <a:pt x="450" y="258"/>
                </a:cubicBezTo>
                <a:close/>
                <a:moveTo>
                  <a:pt x="450" y="315"/>
                </a:moveTo>
                <a:cubicBezTo>
                  <a:pt x="438" y="315"/>
                  <a:pt x="428" y="306"/>
                  <a:pt x="428" y="294"/>
                </a:cubicBezTo>
                <a:cubicBezTo>
                  <a:pt x="428" y="282"/>
                  <a:pt x="438" y="272"/>
                  <a:pt x="450" y="272"/>
                </a:cubicBezTo>
                <a:cubicBezTo>
                  <a:pt x="462" y="272"/>
                  <a:pt x="472" y="282"/>
                  <a:pt x="472" y="294"/>
                </a:cubicBezTo>
                <a:cubicBezTo>
                  <a:pt x="472" y="306"/>
                  <a:pt x="462" y="315"/>
                  <a:pt x="450" y="315"/>
                </a:cubicBez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7169" name="Oval 9"/>
          <p:cNvSpPr>
            <a:spLocks noChangeArrowheads="1"/>
          </p:cNvSpPr>
          <p:nvPr/>
        </p:nvSpPr>
        <p:spPr bwMode="auto">
          <a:xfrm>
            <a:off x="4831649" y="1528549"/>
            <a:ext cx="1119124" cy="1119124"/>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9248" name="Freeform 115"/>
          <p:cNvSpPr>
            <a:spLocks noEditPoints="1"/>
          </p:cNvSpPr>
          <p:nvPr/>
        </p:nvSpPr>
        <p:spPr bwMode="auto">
          <a:xfrm>
            <a:off x="5092251" y="1790083"/>
            <a:ext cx="586962" cy="593622"/>
          </a:xfrm>
          <a:custGeom>
            <a:avLst/>
            <a:gdLst>
              <a:gd name="T0" fmla="*/ 321 w 557"/>
              <a:gd name="T1" fmla="*/ 196 h 564"/>
              <a:gd name="T2" fmla="*/ 303 w 557"/>
              <a:gd name="T3" fmla="*/ 182 h 564"/>
              <a:gd name="T4" fmla="*/ 319 w 557"/>
              <a:gd name="T5" fmla="*/ 159 h 564"/>
              <a:gd name="T6" fmla="*/ 303 w 557"/>
              <a:gd name="T7" fmla="*/ 145 h 564"/>
              <a:gd name="T8" fmla="*/ 386 w 557"/>
              <a:gd name="T9" fmla="*/ 81 h 564"/>
              <a:gd name="T10" fmla="*/ 425 w 557"/>
              <a:gd name="T11" fmla="*/ 118 h 564"/>
              <a:gd name="T12" fmla="*/ 335 w 557"/>
              <a:gd name="T13" fmla="*/ 145 h 564"/>
              <a:gd name="T14" fmla="*/ 387 w 557"/>
              <a:gd name="T15" fmla="*/ 159 h 564"/>
              <a:gd name="T16" fmla="*/ 334 w 557"/>
              <a:gd name="T17" fmla="*/ 182 h 564"/>
              <a:gd name="T18" fmla="*/ 387 w 557"/>
              <a:gd name="T19" fmla="*/ 196 h 564"/>
              <a:gd name="T20" fmla="*/ 425 w 557"/>
              <a:gd name="T21" fmla="*/ 222 h 564"/>
              <a:gd name="T22" fmla="*/ 238 w 557"/>
              <a:gd name="T23" fmla="*/ 315 h 564"/>
              <a:gd name="T24" fmla="*/ 194 w 557"/>
              <a:gd name="T25" fmla="*/ 355 h 564"/>
              <a:gd name="T26" fmla="*/ 194 w 557"/>
              <a:gd name="T27" fmla="*/ 435 h 564"/>
              <a:gd name="T28" fmla="*/ 180 w 557"/>
              <a:gd name="T29" fmla="*/ 461 h 564"/>
              <a:gd name="T30" fmla="*/ 126 w 557"/>
              <a:gd name="T31" fmla="*/ 402 h 564"/>
              <a:gd name="T32" fmla="*/ 180 w 557"/>
              <a:gd name="T33" fmla="*/ 366 h 564"/>
              <a:gd name="T34" fmla="*/ 180 w 557"/>
              <a:gd name="T35" fmla="*/ 270 h 564"/>
              <a:gd name="T36" fmla="*/ 194 w 557"/>
              <a:gd name="T37" fmla="*/ 288 h 564"/>
              <a:gd name="T38" fmla="*/ 180 w 557"/>
              <a:gd name="T39" fmla="*/ 352 h 564"/>
              <a:gd name="T40" fmla="*/ 180 w 557"/>
              <a:gd name="T41" fmla="*/ 352 h 564"/>
              <a:gd name="T42" fmla="*/ 224 w 557"/>
              <a:gd name="T43" fmla="*/ 398 h 564"/>
              <a:gd name="T44" fmla="*/ 535 w 557"/>
              <a:gd name="T45" fmla="*/ 425 h 564"/>
              <a:gd name="T46" fmla="*/ 365 w 557"/>
              <a:gd name="T47" fmla="*/ 510 h 564"/>
              <a:gd name="T48" fmla="*/ 394 w 557"/>
              <a:gd name="T49" fmla="*/ 564 h 564"/>
              <a:gd name="T50" fmla="*/ 339 w 557"/>
              <a:gd name="T51" fmla="*/ 500 h 564"/>
              <a:gd name="T52" fmla="*/ 338 w 557"/>
              <a:gd name="T53" fmla="*/ 497 h 564"/>
              <a:gd name="T54" fmla="*/ 338 w 557"/>
              <a:gd name="T55" fmla="*/ 494 h 564"/>
              <a:gd name="T56" fmla="*/ 339 w 557"/>
              <a:gd name="T57" fmla="*/ 492 h 564"/>
              <a:gd name="T58" fmla="*/ 340 w 557"/>
              <a:gd name="T59" fmla="*/ 491 h 564"/>
              <a:gd name="T60" fmla="*/ 342 w 557"/>
              <a:gd name="T61" fmla="*/ 489 h 564"/>
              <a:gd name="T62" fmla="*/ 423 w 557"/>
              <a:gd name="T63" fmla="*/ 459 h 564"/>
              <a:gd name="T64" fmla="*/ 450 w 557"/>
              <a:gd name="T65" fmla="*/ 490 h 564"/>
              <a:gd name="T66" fmla="*/ 387 w 557"/>
              <a:gd name="T67" fmla="*/ 339 h 564"/>
              <a:gd name="T68" fmla="*/ 190 w 557"/>
              <a:gd name="T69" fmla="*/ 539 h 564"/>
              <a:gd name="T70" fmla="*/ 22 w 557"/>
              <a:gd name="T71" fmla="*/ 140 h 564"/>
              <a:gd name="T72" fmla="*/ 158 w 557"/>
              <a:gd name="T73" fmla="*/ 12 h 564"/>
              <a:gd name="T74" fmla="*/ 218 w 557"/>
              <a:gd name="T75" fmla="*/ 65 h 564"/>
              <a:gd name="T76" fmla="*/ 219 w 557"/>
              <a:gd name="T77" fmla="*/ 67 h 564"/>
              <a:gd name="T78" fmla="*/ 219 w 557"/>
              <a:gd name="T79" fmla="*/ 71 h 564"/>
              <a:gd name="T80" fmla="*/ 219 w 557"/>
              <a:gd name="T81" fmla="*/ 72 h 564"/>
              <a:gd name="T82" fmla="*/ 218 w 557"/>
              <a:gd name="T83" fmla="*/ 74 h 564"/>
              <a:gd name="T84" fmla="*/ 216 w 557"/>
              <a:gd name="T85" fmla="*/ 75 h 564"/>
              <a:gd name="T86" fmla="*/ 143 w 557"/>
              <a:gd name="T87" fmla="*/ 109 h 564"/>
              <a:gd name="T88" fmla="*/ 137 w 557"/>
              <a:gd name="T89" fmla="*/ 97 h 564"/>
              <a:gd name="T90" fmla="*/ 35 w 557"/>
              <a:gd name="T91" fmla="*/ 145 h 564"/>
              <a:gd name="T92" fmla="*/ 220 w 557"/>
              <a:gd name="T93" fmla="*/ 202 h 564"/>
              <a:gd name="T94" fmla="*/ 556 w 557"/>
              <a:gd name="T95" fmla="*/ 170 h 564"/>
              <a:gd name="T96" fmla="*/ 224 w 557"/>
              <a:gd name="T97" fmla="*/ 217 h 564"/>
              <a:gd name="T98" fmla="*/ 190 w 557"/>
              <a:gd name="T99" fmla="*/ 525 h 564"/>
              <a:gd name="T100" fmla="*/ 501 w 557"/>
              <a:gd name="T101" fmla="*/ 275 h 564"/>
              <a:gd name="T102" fmla="*/ 542 w 557"/>
              <a:gd name="T103" fmla="*/ 170 h 564"/>
              <a:gd name="T104" fmla="*/ 387 w 557"/>
              <a:gd name="T105" fmla="*/ 325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57" h="564">
                <a:moveTo>
                  <a:pt x="436" y="230"/>
                </a:moveTo>
                <a:cubicBezTo>
                  <a:pt x="423" y="249"/>
                  <a:pt x="406" y="259"/>
                  <a:pt x="386" y="259"/>
                </a:cubicBezTo>
                <a:cubicBezTo>
                  <a:pt x="352" y="259"/>
                  <a:pt x="329" y="235"/>
                  <a:pt x="321" y="196"/>
                </a:cubicBezTo>
                <a:cubicBezTo>
                  <a:pt x="303" y="196"/>
                  <a:pt x="303" y="196"/>
                  <a:pt x="303" y="196"/>
                </a:cubicBezTo>
                <a:cubicBezTo>
                  <a:pt x="300" y="196"/>
                  <a:pt x="296" y="193"/>
                  <a:pt x="296" y="189"/>
                </a:cubicBezTo>
                <a:cubicBezTo>
                  <a:pt x="296" y="185"/>
                  <a:pt x="300" y="182"/>
                  <a:pt x="303" y="182"/>
                </a:cubicBezTo>
                <a:cubicBezTo>
                  <a:pt x="320" y="182"/>
                  <a:pt x="320" y="182"/>
                  <a:pt x="320" y="182"/>
                </a:cubicBezTo>
                <a:cubicBezTo>
                  <a:pt x="319" y="178"/>
                  <a:pt x="319" y="174"/>
                  <a:pt x="319" y="170"/>
                </a:cubicBezTo>
                <a:cubicBezTo>
                  <a:pt x="319" y="166"/>
                  <a:pt x="319" y="163"/>
                  <a:pt x="319" y="159"/>
                </a:cubicBezTo>
                <a:cubicBezTo>
                  <a:pt x="303" y="159"/>
                  <a:pt x="303" y="159"/>
                  <a:pt x="303" y="159"/>
                </a:cubicBezTo>
                <a:cubicBezTo>
                  <a:pt x="300" y="159"/>
                  <a:pt x="296" y="156"/>
                  <a:pt x="296" y="152"/>
                </a:cubicBezTo>
                <a:cubicBezTo>
                  <a:pt x="296" y="148"/>
                  <a:pt x="300" y="145"/>
                  <a:pt x="303" y="145"/>
                </a:cubicBezTo>
                <a:cubicBezTo>
                  <a:pt x="321" y="145"/>
                  <a:pt x="321" y="145"/>
                  <a:pt x="321" y="145"/>
                </a:cubicBezTo>
                <a:cubicBezTo>
                  <a:pt x="324" y="130"/>
                  <a:pt x="329" y="117"/>
                  <a:pt x="337" y="106"/>
                </a:cubicBezTo>
                <a:cubicBezTo>
                  <a:pt x="349" y="90"/>
                  <a:pt x="366" y="81"/>
                  <a:pt x="386" y="81"/>
                </a:cubicBezTo>
                <a:cubicBezTo>
                  <a:pt x="406" y="81"/>
                  <a:pt x="423" y="90"/>
                  <a:pt x="436" y="110"/>
                </a:cubicBezTo>
                <a:cubicBezTo>
                  <a:pt x="438" y="113"/>
                  <a:pt x="438" y="117"/>
                  <a:pt x="434" y="120"/>
                </a:cubicBezTo>
                <a:cubicBezTo>
                  <a:pt x="431" y="122"/>
                  <a:pt x="427" y="121"/>
                  <a:pt x="425" y="118"/>
                </a:cubicBezTo>
                <a:cubicBezTo>
                  <a:pt x="414" y="102"/>
                  <a:pt x="402" y="95"/>
                  <a:pt x="386" y="95"/>
                </a:cubicBezTo>
                <a:cubicBezTo>
                  <a:pt x="371" y="95"/>
                  <a:pt x="357" y="102"/>
                  <a:pt x="348" y="115"/>
                </a:cubicBezTo>
                <a:cubicBezTo>
                  <a:pt x="342" y="123"/>
                  <a:pt x="338" y="133"/>
                  <a:pt x="335" y="145"/>
                </a:cubicBezTo>
                <a:cubicBezTo>
                  <a:pt x="387" y="145"/>
                  <a:pt x="387" y="145"/>
                  <a:pt x="387" y="145"/>
                </a:cubicBezTo>
                <a:cubicBezTo>
                  <a:pt x="390" y="145"/>
                  <a:pt x="394" y="148"/>
                  <a:pt x="394" y="152"/>
                </a:cubicBezTo>
                <a:cubicBezTo>
                  <a:pt x="394" y="156"/>
                  <a:pt x="391" y="159"/>
                  <a:pt x="387" y="159"/>
                </a:cubicBezTo>
                <a:cubicBezTo>
                  <a:pt x="333" y="159"/>
                  <a:pt x="333" y="159"/>
                  <a:pt x="333" y="159"/>
                </a:cubicBezTo>
                <a:cubicBezTo>
                  <a:pt x="333" y="163"/>
                  <a:pt x="333" y="166"/>
                  <a:pt x="333" y="170"/>
                </a:cubicBezTo>
                <a:cubicBezTo>
                  <a:pt x="333" y="174"/>
                  <a:pt x="333" y="178"/>
                  <a:pt x="334" y="182"/>
                </a:cubicBezTo>
                <a:cubicBezTo>
                  <a:pt x="387" y="182"/>
                  <a:pt x="387" y="182"/>
                  <a:pt x="387" y="182"/>
                </a:cubicBezTo>
                <a:cubicBezTo>
                  <a:pt x="391" y="182"/>
                  <a:pt x="394" y="185"/>
                  <a:pt x="394" y="189"/>
                </a:cubicBezTo>
                <a:cubicBezTo>
                  <a:pt x="394" y="193"/>
                  <a:pt x="391" y="196"/>
                  <a:pt x="387" y="196"/>
                </a:cubicBezTo>
                <a:cubicBezTo>
                  <a:pt x="336" y="196"/>
                  <a:pt x="336" y="196"/>
                  <a:pt x="336" y="196"/>
                </a:cubicBezTo>
                <a:cubicBezTo>
                  <a:pt x="342" y="227"/>
                  <a:pt x="360" y="245"/>
                  <a:pt x="386" y="245"/>
                </a:cubicBezTo>
                <a:cubicBezTo>
                  <a:pt x="402" y="245"/>
                  <a:pt x="414" y="238"/>
                  <a:pt x="425" y="222"/>
                </a:cubicBezTo>
                <a:cubicBezTo>
                  <a:pt x="427" y="219"/>
                  <a:pt x="431" y="218"/>
                  <a:pt x="434" y="220"/>
                </a:cubicBezTo>
                <a:cubicBezTo>
                  <a:pt x="438" y="222"/>
                  <a:pt x="438" y="227"/>
                  <a:pt x="436" y="230"/>
                </a:cubicBezTo>
                <a:close/>
                <a:moveTo>
                  <a:pt x="238" y="315"/>
                </a:moveTo>
                <a:cubicBezTo>
                  <a:pt x="236" y="318"/>
                  <a:pt x="232" y="319"/>
                  <a:pt x="229" y="317"/>
                </a:cubicBezTo>
                <a:cubicBezTo>
                  <a:pt x="217" y="309"/>
                  <a:pt x="205" y="304"/>
                  <a:pt x="194" y="302"/>
                </a:cubicBezTo>
                <a:cubicBezTo>
                  <a:pt x="194" y="355"/>
                  <a:pt x="194" y="355"/>
                  <a:pt x="194" y="355"/>
                </a:cubicBezTo>
                <a:cubicBezTo>
                  <a:pt x="194" y="355"/>
                  <a:pt x="194" y="355"/>
                  <a:pt x="195" y="355"/>
                </a:cubicBezTo>
                <a:cubicBezTo>
                  <a:pt x="209" y="358"/>
                  <a:pt x="238" y="365"/>
                  <a:pt x="238" y="398"/>
                </a:cubicBezTo>
                <a:cubicBezTo>
                  <a:pt x="238" y="424"/>
                  <a:pt x="216" y="434"/>
                  <a:pt x="194" y="435"/>
                </a:cubicBezTo>
                <a:cubicBezTo>
                  <a:pt x="194" y="461"/>
                  <a:pt x="194" y="461"/>
                  <a:pt x="194" y="461"/>
                </a:cubicBezTo>
                <a:cubicBezTo>
                  <a:pt x="194" y="465"/>
                  <a:pt x="191" y="468"/>
                  <a:pt x="187" y="468"/>
                </a:cubicBezTo>
                <a:cubicBezTo>
                  <a:pt x="183" y="468"/>
                  <a:pt x="180" y="465"/>
                  <a:pt x="180" y="461"/>
                </a:cubicBezTo>
                <a:cubicBezTo>
                  <a:pt x="180" y="435"/>
                  <a:pt x="180" y="435"/>
                  <a:pt x="180" y="435"/>
                </a:cubicBezTo>
                <a:cubicBezTo>
                  <a:pt x="163" y="433"/>
                  <a:pt x="141" y="423"/>
                  <a:pt x="127" y="412"/>
                </a:cubicBezTo>
                <a:cubicBezTo>
                  <a:pt x="124" y="410"/>
                  <a:pt x="124" y="405"/>
                  <a:pt x="126" y="402"/>
                </a:cubicBezTo>
                <a:cubicBezTo>
                  <a:pt x="129" y="399"/>
                  <a:pt x="133" y="399"/>
                  <a:pt x="136" y="401"/>
                </a:cubicBezTo>
                <a:cubicBezTo>
                  <a:pt x="148" y="411"/>
                  <a:pt x="166" y="418"/>
                  <a:pt x="180" y="421"/>
                </a:cubicBezTo>
                <a:cubicBezTo>
                  <a:pt x="180" y="366"/>
                  <a:pt x="180" y="366"/>
                  <a:pt x="180" y="366"/>
                </a:cubicBezTo>
                <a:cubicBezTo>
                  <a:pt x="164" y="362"/>
                  <a:pt x="135" y="355"/>
                  <a:pt x="135" y="327"/>
                </a:cubicBezTo>
                <a:cubicBezTo>
                  <a:pt x="135" y="301"/>
                  <a:pt x="158" y="290"/>
                  <a:pt x="180" y="288"/>
                </a:cubicBezTo>
                <a:cubicBezTo>
                  <a:pt x="180" y="270"/>
                  <a:pt x="180" y="270"/>
                  <a:pt x="180" y="270"/>
                </a:cubicBezTo>
                <a:cubicBezTo>
                  <a:pt x="180" y="267"/>
                  <a:pt x="183" y="263"/>
                  <a:pt x="187" y="263"/>
                </a:cubicBezTo>
                <a:cubicBezTo>
                  <a:pt x="191" y="263"/>
                  <a:pt x="194" y="267"/>
                  <a:pt x="194" y="270"/>
                </a:cubicBezTo>
                <a:cubicBezTo>
                  <a:pt x="194" y="288"/>
                  <a:pt x="194" y="288"/>
                  <a:pt x="194" y="288"/>
                </a:cubicBezTo>
                <a:cubicBezTo>
                  <a:pt x="207" y="290"/>
                  <a:pt x="223" y="296"/>
                  <a:pt x="236" y="305"/>
                </a:cubicBezTo>
                <a:cubicBezTo>
                  <a:pt x="240" y="307"/>
                  <a:pt x="241" y="311"/>
                  <a:pt x="238" y="315"/>
                </a:cubicBezTo>
                <a:close/>
                <a:moveTo>
                  <a:pt x="180" y="352"/>
                </a:moveTo>
                <a:cubicBezTo>
                  <a:pt x="180" y="302"/>
                  <a:pt x="180" y="302"/>
                  <a:pt x="180" y="302"/>
                </a:cubicBezTo>
                <a:cubicBezTo>
                  <a:pt x="168" y="303"/>
                  <a:pt x="149" y="308"/>
                  <a:pt x="149" y="327"/>
                </a:cubicBezTo>
                <a:cubicBezTo>
                  <a:pt x="149" y="342"/>
                  <a:pt x="164" y="348"/>
                  <a:pt x="180" y="352"/>
                </a:cubicBezTo>
                <a:close/>
                <a:moveTo>
                  <a:pt x="194" y="369"/>
                </a:moveTo>
                <a:cubicBezTo>
                  <a:pt x="194" y="421"/>
                  <a:pt x="194" y="421"/>
                  <a:pt x="194" y="421"/>
                </a:cubicBezTo>
                <a:cubicBezTo>
                  <a:pt x="206" y="421"/>
                  <a:pt x="224" y="416"/>
                  <a:pt x="224" y="398"/>
                </a:cubicBezTo>
                <a:cubicBezTo>
                  <a:pt x="224" y="379"/>
                  <a:pt x="210" y="373"/>
                  <a:pt x="194" y="369"/>
                </a:cubicBezTo>
                <a:close/>
                <a:moveTo>
                  <a:pt x="517" y="278"/>
                </a:moveTo>
                <a:cubicBezTo>
                  <a:pt x="550" y="320"/>
                  <a:pt x="557" y="376"/>
                  <a:pt x="535" y="425"/>
                </a:cubicBezTo>
                <a:cubicBezTo>
                  <a:pt x="520" y="461"/>
                  <a:pt x="491" y="489"/>
                  <a:pt x="455" y="503"/>
                </a:cubicBezTo>
                <a:cubicBezTo>
                  <a:pt x="437" y="510"/>
                  <a:pt x="419" y="514"/>
                  <a:pt x="400" y="514"/>
                </a:cubicBezTo>
                <a:cubicBezTo>
                  <a:pt x="389" y="514"/>
                  <a:pt x="377" y="512"/>
                  <a:pt x="365" y="510"/>
                </a:cubicBezTo>
                <a:cubicBezTo>
                  <a:pt x="399" y="553"/>
                  <a:pt x="399" y="553"/>
                  <a:pt x="399" y="553"/>
                </a:cubicBezTo>
                <a:cubicBezTo>
                  <a:pt x="402" y="556"/>
                  <a:pt x="401" y="560"/>
                  <a:pt x="398" y="563"/>
                </a:cubicBezTo>
                <a:cubicBezTo>
                  <a:pt x="397" y="564"/>
                  <a:pt x="395" y="564"/>
                  <a:pt x="394" y="564"/>
                </a:cubicBezTo>
                <a:cubicBezTo>
                  <a:pt x="392" y="564"/>
                  <a:pt x="390" y="563"/>
                  <a:pt x="388" y="562"/>
                </a:cubicBezTo>
                <a:cubicBezTo>
                  <a:pt x="340" y="500"/>
                  <a:pt x="340" y="500"/>
                  <a:pt x="340" y="500"/>
                </a:cubicBezTo>
                <a:cubicBezTo>
                  <a:pt x="339" y="500"/>
                  <a:pt x="339" y="500"/>
                  <a:pt x="339" y="500"/>
                </a:cubicBezTo>
                <a:cubicBezTo>
                  <a:pt x="339" y="499"/>
                  <a:pt x="339" y="499"/>
                  <a:pt x="339" y="499"/>
                </a:cubicBezTo>
                <a:cubicBezTo>
                  <a:pt x="339" y="499"/>
                  <a:pt x="339" y="498"/>
                  <a:pt x="339" y="498"/>
                </a:cubicBezTo>
                <a:cubicBezTo>
                  <a:pt x="338" y="498"/>
                  <a:pt x="338" y="498"/>
                  <a:pt x="338" y="497"/>
                </a:cubicBezTo>
                <a:cubicBezTo>
                  <a:pt x="338" y="497"/>
                  <a:pt x="338" y="497"/>
                  <a:pt x="338" y="497"/>
                </a:cubicBezTo>
                <a:cubicBezTo>
                  <a:pt x="338" y="496"/>
                  <a:pt x="338" y="495"/>
                  <a:pt x="338" y="494"/>
                </a:cubicBezTo>
                <a:cubicBezTo>
                  <a:pt x="338" y="494"/>
                  <a:pt x="338" y="494"/>
                  <a:pt x="338" y="494"/>
                </a:cubicBezTo>
                <a:cubicBezTo>
                  <a:pt x="338" y="494"/>
                  <a:pt x="338" y="494"/>
                  <a:pt x="338" y="493"/>
                </a:cubicBezTo>
                <a:cubicBezTo>
                  <a:pt x="338" y="493"/>
                  <a:pt x="338" y="493"/>
                  <a:pt x="339" y="493"/>
                </a:cubicBezTo>
                <a:cubicBezTo>
                  <a:pt x="339" y="493"/>
                  <a:pt x="339" y="493"/>
                  <a:pt x="339" y="492"/>
                </a:cubicBezTo>
                <a:cubicBezTo>
                  <a:pt x="339" y="492"/>
                  <a:pt x="339" y="492"/>
                  <a:pt x="339" y="492"/>
                </a:cubicBezTo>
                <a:cubicBezTo>
                  <a:pt x="339" y="492"/>
                  <a:pt x="339" y="491"/>
                  <a:pt x="339" y="491"/>
                </a:cubicBezTo>
                <a:cubicBezTo>
                  <a:pt x="340" y="491"/>
                  <a:pt x="340" y="491"/>
                  <a:pt x="340" y="491"/>
                </a:cubicBezTo>
                <a:cubicBezTo>
                  <a:pt x="340" y="491"/>
                  <a:pt x="340" y="490"/>
                  <a:pt x="341" y="490"/>
                </a:cubicBezTo>
                <a:cubicBezTo>
                  <a:pt x="341" y="490"/>
                  <a:pt x="341" y="490"/>
                  <a:pt x="341" y="490"/>
                </a:cubicBezTo>
                <a:cubicBezTo>
                  <a:pt x="341" y="490"/>
                  <a:pt x="341" y="489"/>
                  <a:pt x="342" y="489"/>
                </a:cubicBezTo>
                <a:cubicBezTo>
                  <a:pt x="342" y="489"/>
                  <a:pt x="342" y="489"/>
                  <a:pt x="342" y="489"/>
                </a:cubicBezTo>
                <a:cubicBezTo>
                  <a:pt x="414" y="456"/>
                  <a:pt x="414" y="456"/>
                  <a:pt x="414" y="456"/>
                </a:cubicBezTo>
                <a:cubicBezTo>
                  <a:pt x="418" y="454"/>
                  <a:pt x="422" y="456"/>
                  <a:pt x="423" y="459"/>
                </a:cubicBezTo>
                <a:cubicBezTo>
                  <a:pt x="425" y="463"/>
                  <a:pt x="423" y="467"/>
                  <a:pt x="420" y="468"/>
                </a:cubicBezTo>
                <a:cubicBezTo>
                  <a:pt x="363" y="495"/>
                  <a:pt x="363" y="495"/>
                  <a:pt x="363" y="495"/>
                </a:cubicBezTo>
                <a:cubicBezTo>
                  <a:pt x="392" y="503"/>
                  <a:pt x="422" y="501"/>
                  <a:pt x="450" y="490"/>
                </a:cubicBezTo>
                <a:cubicBezTo>
                  <a:pt x="483" y="477"/>
                  <a:pt x="509" y="452"/>
                  <a:pt x="523" y="419"/>
                </a:cubicBezTo>
                <a:cubicBezTo>
                  <a:pt x="541" y="376"/>
                  <a:pt x="536" y="326"/>
                  <a:pt x="508" y="288"/>
                </a:cubicBezTo>
                <a:cubicBezTo>
                  <a:pt x="477" y="320"/>
                  <a:pt x="434" y="339"/>
                  <a:pt x="387" y="339"/>
                </a:cubicBezTo>
                <a:cubicBezTo>
                  <a:pt x="376" y="339"/>
                  <a:pt x="366" y="338"/>
                  <a:pt x="356" y="337"/>
                </a:cubicBezTo>
                <a:cubicBezTo>
                  <a:pt x="358" y="347"/>
                  <a:pt x="359" y="358"/>
                  <a:pt x="359" y="369"/>
                </a:cubicBezTo>
                <a:cubicBezTo>
                  <a:pt x="359" y="462"/>
                  <a:pt x="283" y="539"/>
                  <a:pt x="190" y="539"/>
                </a:cubicBezTo>
                <a:cubicBezTo>
                  <a:pt x="97" y="539"/>
                  <a:pt x="21" y="462"/>
                  <a:pt x="21" y="369"/>
                </a:cubicBezTo>
                <a:cubicBezTo>
                  <a:pt x="21" y="340"/>
                  <a:pt x="28" y="313"/>
                  <a:pt x="41" y="289"/>
                </a:cubicBezTo>
                <a:cubicBezTo>
                  <a:pt x="8" y="246"/>
                  <a:pt x="0" y="190"/>
                  <a:pt x="22" y="140"/>
                </a:cubicBezTo>
                <a:cubicBezTo>
                  <a:pt x="37" y="104"/>
                  <a:pt x="66" y="76"/>
                  <a:pt x="102" y="61"/>
                </a:cubicBezTo>
                <a:cubicBezTo>
                  <a:pt x="131" y="50"/>
                  <a:pt x="163" y="48"/>
                  <a:pt x="192" y="55"/>
                </a:cubicBezTo>
                <a:cubicBezTo>
                  <a:pt x="158" y="12"/>
                  <a:pt x="158" y="12"/>
                  <a:pt x="158" y="12"/>
                </a:cubicBezTo>
                <a:cubicBezTo>
                  <a:pt x="156" y="9"/>
                  <a:pt x="156" y="4"/>
                  <a:pt x="159" y="2"/>
                </a:cubicBezTo>
                <a:cubicBezTo>
                  <a:pt x="162" y="0"/>
                  <a:pt x="167" y="0"/>
                  <a:pt x="169" y="3"/>
                </a:cubicBezTo>
                <a:cubicBezTo>
                  <a:pt x="218" y="65"/>
                  <a:pt x="218" y="65"/>
                  <a:pt x="218" y="65"/>
                </a:cubicBezTo>
                <a:cubicBezTo>
                  <a:pt x="218" y="65"/>
                  <a:pt x="218" y="65"/>
                  <a:pt x="218" y="65"/>
                </a:cubicBezTo>
                <a:cubicBezTo>
                  <a:pt x="218" y="66"/>
                  <a:pt x="218" y="66"/>
                  <a:pt x="218" y="66"/>
                </a:cubicBezTo>
                <a:cubicBezTo>
                  <a:pt x="218" y="66"/>
                  <a:pt x="219" y="66"/>
                  <a:pt x="219" y="67"/>
                </a:cubicBezTo>
                <a:cubicBezTo>
                  <a:pt x="219" y="67"/>
                  <a:pt x="219" y="67"/>
                  <a:pt x="219" y="68"/>
                </a:cubicBezTo>
                <a:cubicBezTo>
                  <a:pt x="219" y="68"/>
                  <a:pt x="219" y="68"/>
                  <a:pt x="219" y="68"/>
                </a:cubicBezTo>
                <a:cubicBezTo>
                  <a:pt x="219" y="69"/>
                  <a:pt x="219" y="70"/>
                  <a:pt x="219" y="71"/>
                </a:cubicBezTo>
                <a:cubicBezTo>
                  <a:pt x="219" y="71"/>
                  <a:pt x="219" y="71"/>
                  <a:pt x="219" y="71"/>
                </a:cubicBezTo>
                <a:cubicBezTo>
                  <a:pt x="219" y="71"/>
                  <a:pt x="219" y="71"/>
                  <a:pt x="219" y="71"/>
                </a:cubicBezTo>
                <a:cubicBezTo>
                  <a:pt x="219" y="72"/>
                  <a:pt x="219" y="72"/>
                  <a:pt x="219" y="72"/>
                </a:cubicBezTo>
                <a:cubicBezTo>
                  <a:pt x="219" y="72"/>
                  <a:pt x="219" y="72"/>
                  <a:pt x="219" y="72"/>
                </a:cubicBezTo>
                <a:cubicBezTo>
                  <a:pt x="218" y="73"/>
                  <a:pt x="218" y="73"/>
                  <a:pt x="218" y="73"/>
                </a:cubicBezTo>
                <a:cubicBezTo>
                  <a:pt x="218" y="73"/>
                  <a:pt x="218" y="73"/>
                  <a:pt x="218" y="74"/>
                </a:cubicBezTo>
                <a:cubicBezTo>
                  <a:pt x="218" y="74"/>
                  <a:pt x="218" y="74"/>
                  <a:pt x="217" y="74"/>
                </a:cubicBezTo>
                <a:cubicBezTo>
                  <a:pt x="217" y="74"/>
                  <a:pt x="217" y="75"/>
                  <a:pt x="217" y="75"/>
                </a:cubicBezTo>
                <a:cubicBezTo>
                  <a:pt x="217" y="75"/>
                  <a:pt x="216" y="75"/>
                  <a:pt x="216" y="75"/>
                </a:cubicBezTo>
                <a:cubicBezTo>
                  <a:pt x="216" y="75"/>
                  <a:pt x="216" y="75"/>
                  <a:pt x="216" y="76"/>
                </a:cubicBezTo>
                <a:cubicBezTo>
                  <a:pt x="215" y="76"/>
                  <a:pt x="215" y="76"/>
                  <a:pt x="215" y="76"/>
                </a:cubicBezTo>
                <a:cubicBezTo>
                  <a:pt x="143" y="109"/>
                  <a:pt x="143" y="109"/>
                  <a:pt x="143" y="109"/>
                </a:cubicBezTo>
                <a:cubicBezTo>
                  <a:pt x="142" y="110"/>
                  <a:pt x="141" y="110"/>
                  <a:pt x="140" y="110"/>
                </a:cubicBezTo>
                <a:cubicBezTo>
                  <a:pt x="138" y="110"/>
                  <a:pt x="135" y="108"/>
                  <a:pt x="134" y="106"/>
                </a:cubicBezTo>
                <a:cubicBezTo>
                  <a:pt x="132" y="102"/>
                  <a:pt x="134" y="98"/>
                  <a:pt x="137" y="97"/>
                </a:cubicBezTo>
                <a:cubicBezTo>
                  <a:pt x="194" y="70"/>
                  <a:pt x="194" y="70"/>
                  <a:pt x="194" y="70"/>
                </a:cubicBezTo>
                <a:cubicBezTo>
                  <a:pt x="166" y="62"/>
                  <a:pt x="135" y="63"/>
                  <a:pt x="108" y="74"/>
                </a:cubicBezTo>
                <a:cubicBezTo>
                  <a:pt x="75" y="88"/>
                  <a:pt x="49" y="113"/>
                  <a:pt x="35" y="145"/>
                </a:cubicBezTo>
                <a:cubicBezTo>
                  <a:pt x="16" y="189"/>
                  <a:pt x="21" y="238"/>
                  <a:pt x="49" y="276"/>
                </a:cubicBezTo>
                <a:cubicBezTo>
                  <a:pt x="79" y="230"/>
                  <a:pt x="131" y="200"/>
                  <a:pt x="190" y="200"/>
                </a:cubicBezTo>
                <a:cubicBezTo>
                  <a:pt x="200" y="200"/>
                  <a:pt x="210" y="201"/>
                  <a:pt x="220" y="202"/>
                </a:cubicBezTo>
                <a:cubicBezTo>
                  <a:pt x="218" y="192"/>
                  <a:pt x="217" y="181"/>
                  <a:pt x="217" y="170"/>
                </a:cubicBezTo>
                <a:cubicBezTo>
                  <a:pt x="217" y="77"/>
                  <a:pt x="293" y="1"/>
                  <a:pt x="387" y="1"/>
                </a:cubicBezTo>
                <a:cubicBezTo>
                  <a:pt x="480" y="1"/>
                  <a:pt x="556" y="77"/>
                  <a:pt x="556" y="170"/>
                </a:cubicBezTo>
                <a:cubicBezTo>
                  <a:pt x="556" y="211"/>
                  <a:pt x="542" y="248"/>
                  <a:pt x="517" y="278"/>
                </a:cubicBezTo>
                <a:close/>
                <a:moveTo>
                  <a:pt x="341" y="333"/>
                </a:moveTo>
                <a:cubicBezTo>
                  <a:pt x="285" y="317"/>
                  <a:pt x="240" y="273"/>
                  <a:pt x="224" y="217"/>
                </a:cubicBezTo>
                <a:cubicBezTo>
                  <a:pt x="213" y="215"/>
                  <a:pt x="201" y="214"/>
                  <a:pt x="190" y="214"/>
                </a:cubicBezTo>
                <a:cubicBezTo>
                  <a:pt x="104" y="214"/>
                  <a:pt x="35" y="283"/>
                  <a:pt x="35" y="369"/>
                </a:cubicBezTo>
                <a:cubicBezTo>
                  <a:pt x="35" y="455"/>
                  <a:pt x="104" y="525"/>
                  <a:pt x="190" y="525"/>
                </a:cubicBezTo>
                <a:cubicBezTo>
                  <a:pt x="276" y="525"/>
                  <a:pt x="345" y="455"/>
                  <a:pt x="345" y="369"/>
                </a:cubicBezTo>
                <a:cubicBezTo>
                  <a:pt x="345" y="357"/>
                  <a:pt x="344" y="345"/>
                  <a:pt x="341" y="333"/>
                </a:cubicBezTo>
                <a:close/>
                <a:moveTo>
                  <a:pt x="501" y="275"/>
                </a:moveTo>
                <a:cubicBezTo>
                  <a:pt x="502" y="274"/>
                  <a:pt x="502" y="272"/>
                  <a:pt x="503" y="272"/>
                </a:cubicBezTo>
                <a:cubicBezTo>
                  <a:pt x="504" y="271"/>
                  <a:pt x="504" y="271"/>
                  <a:pt x="505" y="271"/>
                </a:cubicBezTo>
                <a:cubicBezTo>
                  <a:pt x="528" y="244"/>
                  <a:pt x="542" y="208"/>
                  <a:pt x="542" y="170"/>
                </a:cubicBezTo>
                <a:cubicBezTo>
                  <a:pt x="542" y="84"/>
                  <a:pt x="472" y="15"/>
                  <a:pt x="387" y="15"/>
                </a:cubicBezTo>
                <a:cubicBezTo>
                  <a:pt x="301" y="15"/>
                  <a:pt x="231" y="84"/>
                  <a:pt x="231" y="170"/>
                </a:cubicBezTo>
                <a:cubicBezTo>
                  <a:pt x="231" y="256"/>
                  <a:pt x="301" y="325"/>
                  <a:pt x="387" y="325"/>
                </a:cubicBezTo>
                <a:cubicBezTo>
                  <a:pt x="432" y="325"/>
                  <a:pt x="473" y="306"/>
                  <a:pt x="501" y="275"/>
                </a:cubicBez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7174" name="Oval 13"/>
          <p:cNvSpPr>
            <a:spLocks noChangeArrowheads="1"/>
          </p:cNvSpPr>
          <p:nvPr/>
        </p:nvSpPr>
        <p:spPr bwMode="auto">
          <a:xfrm>
            <a:off x="1315706" y="3120088"/>
            <a:ext cx="1119124" cy="1119124"/>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9251" name="Freeform 118"/>
          <p:cNvSpPr>
            <a:spLocks noEditPoints="1"/>
          </p:cNvSpPr>
          <p:nvPr/>
        </p:nvSpPr>
        <p:spPr bwMode="auto">
          <a:xfrm>
            <a:off x="1623465" y="3330532"/>
            <a:ext cx="503606" cy="698236"/>
          </a:xfrm>
          <a:custGeom>
            <a:avLst/>
            <a:gdLst>
              <a:gd name="T0" fmla="*/ 0 w 479"/>
              <a:gd name="T1" fmla="*/ 464 h 663"/>
              <a:gd name="T2" fmla="*/ 436 w 479"/>
              <a:gd name="T3" fmla="*/ 44 h 663"/>
              <a:gd name="T4" fmla="*/ 43 w 479"/>
              <a:gd name="T5" fmla="*/ 493 h 663"/>
              <a:gd name="T6" fmla="*/ 393 w 479"/>
              <a:gd name="T7" fmla="*/ 14 h 663"/>
              <a:gd name="T8" fmla="*/ 79 w 479"/>
              <a:gd name="T9" fmla="*/ 52 h 663"/>
              <a:gd name="T10" fmla="*/ 357 w 479"/>
              <a:gd name="T11" fmla="*/ 149 h 663"/>
              <a:gd name="T12" fmla="*/ 372 w 479"/>
              <a:gd name="T13" fmla="*/ 120 h 663"/>
              <a:gd name="T14" fmla="*/ 64 w 479"/>
              <a:gd name="T15" fmla="*/ 81 h 663"/>
              <a:gd name="T16" fmla="*/ 372 w 479"/>
              <a:gd name="T17" fmla="*/ 120 h 663"/>
              <a:gd name="T18" fmla="*/ 50 w 479"/>
              <a:gd name="T19" fmla="*/ 226 h 663"/>
              <a:gd name="T20" fmla="*/ 148 w 479"/>
              <a:gd name="T21" fmla="*/ 211 h 663"/>
              <a:gd name="T22" fmla="*/ 79 w 479"/>
              <a:gd name="T23" fmla="*/ 242 h 663"/>
              <a:gd name="T24" fmla="*/ 119 w 479"/>
              <a:gd name="T25" fmla="*/ 196 h 663"/>
              <a:gd name="T26" fmla="*/ 198 w 479"/>
              <a:gd name="T27" fmla="*/ 182 h 663"/>
              <a:gd name="T28" fmla="*/ 238 w 479"/>
              <a:gd name="T29" fmla="*/ 256 h 663"/>
              <a:gd name="T30" fmla="*/ 253 w 479"/>
              <a:gd name="T31" fmla="*/ 226 h 663"/>
              <a:gd name="T32" fmla="*/ 183 w 479"/>
              <a:gd name="T33" fmla="*/ 211 h 663"/>
              <a:gd name="T34" fmla="*/ 253 w 479"/>
              <a:gd name="T35" fmla="*/ 226 h 663"/>
              <a:gd name="T36" fmla="*/ 288 w 479"/>
              <a:gd name="T37" fmla="*/ 226 h 663"/>
              <a:gd name="T38" fmla="*/ 386 w 479"/>
              <a:gd name="T39" fmla="*/ 211 h 663"/>
              <a:gd name="T40" fmla="*/ 317 w 479"/>
              <a:gd name="T41" fmla="*/ 242 h 663"/>
              <a:gd name="T42" fmla="*/ 357 w 479"/>
              <a:gd name="T43" fmla="*/ 196 h 663"/>
              <a:gd name="T44" fmla="*/ 79 w 479"/>
              <a:gd name="T45" fmla="*/ 279 h 663"/>
              <a:gd name="T46" fmla="*/ 119 w 479"/>
              <a:gd name="T47" fmla="*/ 353 h 663"/>
              <a:gd name="T48" fmla="*/ 134 w 479"/>
              <a:gd name="T49" fmla="*/ 323 h 663"/>
              <a:gd name="T50" fmla="*/ 64 w 479"/>
              <a:gd name="T51" fmla="*/ 308 h 663"/>
              <a:gd name="T52" fmla="*/ 134 w 479"/>
              <a:gd name="T53" fmla="*/ 323 h 663"/>
              <a:gd name="T54" fmla="*/ 169 w 479"/>
              <a:gd name="T55" fmla="*/ 323 h 663"/>
              <a:gd name="T56" fmla="*/ 267 w 479"/>
              <a:gd name="T57" fmla="*/ 308 h 663"/>
              <a:gd name="T58" fmla="*/ 198 w 479"/>
              <a:gd name="T59" fmla="*/ 339 h 663"/>
              <a:gd name="T60" fmla="*/ 238 w 479"/>
              <a:gd name="T61" fmla="*/ 293 h 663"/>
              <a:gd name="T62" fmla="*/ 317 w 479"/>
              <a:gd name="T63" fmla="*/ 279 h 663"/>
              <a:gd name="T64" fmla="*/ 357 w 479"/>
              <a:gd name="T65" fmla="*/ 353 h 663"/>
              <a:gd name="T66" fmla="*/ 372 w 479"/>
              <a:gd name="T67" fmla="*/ 323 h 663"/>
              <a:gd name="T68" fmla="*/ 302 w 479"/>
              <a:gd name="T69" fmla="*/ 308 h 663"/>
              <a:gd name="T70" fmla="*/ 372 w 479"/>
              <a:gd name="T71" fmla="*/ 323 h 663"/>
              <a:gd name="T72" fmla="*/ 50 w 479"/>
              <a:gd name="T73" fmla="*/ 420 h 663"/>
              <a:gd name="T74" fmla="*/ 148 w 479"/>
              <a:gd name="T75" fmla="*/ 405 h 663"/>
              <a:gd name="T76" fmla="*/ 79 w 479"/>
              <a:gd name="T77" fmla="*/ 435 h 663"/>
              <a:gd name="T78" fmla="*/ 119 w 479"/>
              <a:gd name="T79" fmla="*/ 390 h 663"/>
              <a:gd name="T80" fmla="*/ 198 w 479"/>
              <a:gd name="T81" fmla="*/ 376 h 663"/>
              <a:gd name="T82" fmla="*/ 238 w 479"/>
              <a:gd name="T83" fmla="*/ 449 h 663"/>
              <a:gd name="T84" fmla="*/ 253 w 479"/>
              <a:gd name="T85" fmla="*/ 420 h 663"/>
              <a:gd name="T86" fmla="*/ 183 w 479"/>
              <a:gd name="T87" fmla="*/ 405 h 663"/>
              <a:gd name="T88" fmla="*/ 253 w 479"/>
              <a:gd name="T89" fmla="*/ 420 h 663"/>
              <a:gd name="T90" fmla="*/ 288 w 479"/>
              <a:gd name="T91" fmla="*/ 420 h 663"/>
              <a:gd name="T92" fmla="*/ 386 w 479"/>
              <a:gd name="T93" fmla="*/ 405 h 663"/>
              <a:gd name="T94" fmla="*/ 317 w 479"/>
              <a:gd name="T95" fmla="*/ 435 h 663"/>
              <a:gd name="T96" fmla="*/ 357 w 479"/>
              <a:gd name="T97" fmla="*/ 390 h 663"/>
              <a:gd name="T98" fmla="*/ 315 w 479"/>
              <a:gd name="T99" fmla="*/ 550 h 663"/>
              <a:gd name="T100" fmla="*/ 267 w 479"/>
              <a:gd name="T101" fmla="*/ 550 h 663"/>
              <a:gd name="T102" fmla="*/ 187 w 479"/>
              <a:gd name="T103" fmla="*/ 649 h 663"/>
              <a:gd name="T104" fmla="*/ 67 w 479"/>
              <a:gd name="T105" fmla="*/ 543 h 663"/>
              <a:gd name="T106" fmla="*/ 286 w 479"/>
              <a:gd name="T107" fmla="*/ 663 h 663"/>
              <a:gd name="T108" fmla="*/ 201 w 479"/>
              <a:gd name="T109" fmla="*/ 557 h 663"/>
              <a:gd name="T110" fmla="*/ 201 w 479"/>
              <a:gd name="T111" fmla="*/ 557 h 663"/>
              <a:gd name="T112" fmla="*/ 465 w 479"/>
              <a:gd name="T113" fmla="*/ 464 h 6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79" h="663">
                <a:moveTo>
                  <a:pt x="393" y="0"/>
                </a:moveTo>
                <a:cubicBezTo>
                  <a:pt x="43" y="0"/>
                  <a:pt x="43" y="0"/>
                  <a:pt x="43" y="0"/>
                </a:cubicBezTo>
                <a:cubicBezTo>
                  <a:pt x="19" y="0"/>
                  <a:pt x="0" y="20"/>
                  <a:pt x="0" y="44"/>
                </a:cubicBezTo>
                <a:cubicBezTo>
                  <a:pt x="0" y="464"/>
                  <a:pt x="0" y="464"/>
                  <a:pt x="0" y="464"/>
                </a:cubicBezTo>
                <a:cubicBezTo>
                  <a:pt x="0" y="488"/>
                  <a:pt x="19" y="507"/>
                  <a:pt x="43" y="507"/>
                </a:cubicBezTo>
                <a:cubicBezTo>
                  <a:pt x="393" y="507"/>
                  <a:pt x="393" y="507"/>
                  <a:pt x="393" y="507"/>
                </a:cubicBezTo>
                <a:cubicBezTo>
                  <a:pt x="417" y="507"/>
                  <a:pt x="436" y="488"/>
                  <a:pt x="436" y="464"/>
                </a:cubicBezTo>
                <a:cubicBezTo>
                  <a:pt x="436" y="44"/>
                  <a:pt x="436" y="44"/>
                  <a:pt x="436" y="44"/>
                </a:cubicBezTo>
                <a:cubicBezTo>
                  <a:pt x="436" y="20"/>
                  <a:pt x="417" y="0"/>
                  <a:pt x="393" y="0"/>
                </a:cubicBezTo>
                <a:close/>
                <a:moveTo>
                  <a:pt x="422" y="464"/>
                </a:moveTo>
                <a:cubicBezTo>
                  <a:pt x="422" y="480"/>
                  <a:pt x="409" y="493"/>
                  <a:pt x="393" y="493"/>
                </a:cubicBezTo>
                <a:cubicBezTo>
                  <a:pt x="43" y="493"/>
                  <a:pt x="43" y="493"/>
                  <a:pt x="43" y="493"/>
                </a:cubicBezTo>
                <a:cubicBezTo>
                  <a:pt x="27" y="493"/>
                  <a:pt x="14" y="480"/>
                  <a:pt x="14" y="464"/>
                </a:cubicBezTo>
                <a:cubicBezTo>
                  <a:pt x="14" y="44"/>
                  <a:pt x="14" y="44"/>
                  <a:pt x="14" y="44"/>
                </a:cubicBezTo>
                <a:cubicBezTo>
                  <a:pt x="14" y="27"/>
                  <a:pt x="27" y="14"/>
                  <a:pt x="43" y="14"/>
                </a:cubicBezTo>
                <a:cubicBezTo>
                  <a:pt x="393" y="14"/>
                  <a:pt x="393" y="14"/>
                  <a:pt x="393" y="14"/>
                </a:cubicBezTo>
                <a:cubicBezTo>
                  <a:pt x="409" y="14"/>
                  <a:pt x="422" y="27"/>
                  <a:pt x="422" y="44"/>
                </a:cubicBezTo>
                <a:lnTo>
                  <a:pt x="422" y="464"/>
                </a:lnTo>
                <a:close/>
                <a:moveTo>
                  <a:pt x="357" y="52"/>
                </a:moveTo>
                <a:cubicBezTo>
                  <a:pt x="79" y="52"/>
                  <a:pt x="79" y="52"/>
                  <a:pt x="79" y="52"/>
                </a:cubicBezTo>
                <a:cubicBezTo>
                  <a:pt x="63" y="52"/>
                  <a:pt x="50" y="65"/>
                  <a:pt x="50" y="81"/>
                </a:cubicBezTo>
                <a:cubicBezTo>
                  <a:pt x="50" y="120"/>
                  <a:pt x="50" y="120"/>
                  <a:pt x="50" y="120"/>
                </a:cubicBezTo>
                <a:cubicBezTo>
                  <a:pt x="50" y="136"/>
                  <a:pt x="63" y="149"/>
                  <a:pt x="79" y="149"/>
                </a:cubicBezTo>
                <a:cubicBezTo>
                  <a:pt x="357" y="149"/>
                  <a:pt x="357" y="149"/>
                  <a:pt x="357" y="149"/>
                </a:cubicBezTo>
                <a:cubicBezTo>
                  <a:pt x="373" y="149"/>
                  <a:pt x="386" y="136"/>
                  <a:pt x="386" y="120"/>
                </a:cubicBezTo>
                <a:cubicBezTo>
                  <a:pt x="386" y="81"/>
                  <a:pt x="386" y="81"/>
                  <a:pt x="386" y="81"/>
                </a:cubicBezTo>
                <a:cubicBezTo>
                  <a:pt x="386" y="65"/>
                  <a:pt x="373" y="52"/>
                  <a:pt x="357" y="52"/>
                </a:cubicBezTo>
                <a:close/>
                <a:moveTo>
                  <a:pt x="372" y="120"/>
                </a:moveTo>
                <a:cubicBezTo>
                  <a:pt x="372" y="128"/>
                  <a:pt x="366" y="135"/>
                  <a:pt x="357" y="135"/>
                </a:cubicBezTo>
                <a:cubicBezTo>
                  <a:pt x="79" y="135"/>
                  <a:pt x="79" y="135"/>
                  <a:pt x="79" y="135"/>
                </a:cubicBezTo>
                <a:cubicBezTo>
                  <a:pt x="70" y="135"/>
                  <a:pt x="64" y="128"/>
                  <a:pt x="64" y="120"/>
                </a:cubicBezTo>
                <a:cubicBezTo>
                  <a:pt x="64" y="81"/>
                  <a:pt x="64" y="81"/>
                  <a:pt x="64" y="81"/>
                </a:cubicBezTo>
                <a:cubicBezTo>
                  <a:pt x="64" y="72"/>
                  <a:pt x="70" y="66"/>
                  <a:pt x="79" y="66"/>
                </a:cubicBezTo>
                <a:cubicBezTo>
                  <a:pt x="357" y="66"/>
                  <a:pt x="357" y="66"/>
                  <a:pt x="357" y="66"/>
                </a:cubicBezTo>
                <a:cubicBezTo>
                  <a:pt x="366" y="66"/>
                  <a:pt x="372" y="72"/>
                  <a:pt x="372" y="81"/>
                </a:cubicBezTo>
                <a:lnTo>
                  <a:pt x="372" y="120"/>
                </a:lnTo>
                <a:close/>
                <a:moveTo>
                  <a:pt x="119" y="182"/>
                </a:moveTo>
                <a:cubicBezTo>
                  <a:pt x="79" y="182"/>
                  <a:pt x="79" y="182"/>
                  <a:pt x="79" y="182"/>
                </a:cubicBezTo>
                <a:cubicBezTo>
                  <a:pt x="63" y="182"/>
                  <a:pt x="50" y="195"/>
                  <a:pt x="50" y="211"/>
                </a:cubicBezTo>
                <a:cubicBezTo>
                  <a:pt x="50" y="226"/>
                  <a:pt x="50" y="226"/>
                  <a:pt x="50" y="226"/>
                </a:cubicBezTo>
                <a:cubicBezTo>
                  <a:pt x="50" y="243"/>
                  <a:pt x="63" y="256"/>
                  <a:pt x="79" y="256"/>
                </a:cubicBezTo>
                <a:cubicBezTo>
                  <a:pt x="119" y="256"/>
                  <a:pt x="119" y="256"/>
                  <a:pt x="119" y="256"/>
                </a:cubicBezTo>
                <a:cubicBezTo>
                  <a:pt x="135" y="256"/>
                  <a:pt x="148" y="243"/>
                  <a:pt x="148" y="226"/>
                </a:cubicBezTo>
                <a:cubicBezTo>
                  <a:pt x="148" y="211"/>
                  <a:pt x="148" y="211"/>
                  <a:pt x="148" y="211"/>
                </a:cubicBezTo>
                <a:cubicBezTo>
                  <a:pt x="148" y="195"/>
                  <a:pt x="135" y="182"/>
                  <a:pt x="119" y="182"/>
                </a:cubicBezTo>
                <a:close/>
                <a:moveTo>
                  <a:pt x="134" y="226"/>
                </a:moveTo>
                <a:cubicBezTo>
                  <a:pt x="134" y="235"/>
                  <a:pt x="127" y="242"/>
                  <a:pt x="119" y="242"/>
                </a:cubicBezTo>
                <a:cubicBezTo>
                  <a:pt x="79" y="242"/>
                  <a:pt x="79" y="242"/>
                  <a:pt x="79" y="242"/>
                </a:cubicBezTo>
                <a:cubicBezTo>
                  <a:pt x="70" y="242"/>
                  <a:pt x="64" y="235"/>
                  <a:pt x="64" y="226"/>
                </a:cubicBezTo>
                <a:cubicBezTo>
                  <a:pt x="64" y="211"/>
                  <a:pt x="64" y="211"/>
                  <a:pt x="64" y="211"/>
                </a:cubicBezTo>
                <a:cubicBezTo>
                  <a:pt x="64" y="203"/>
                  <a:pt x="70" y="196"/>
                  <a:pt x="79" y="196"/>
                </a:cubicBezTo>
                <a:cubicBezTo>
                  <a:pt x="119" y="196"/>
                  <a:pt x="119" y="196"/>
                  <a:pt x="119" y="196"/>
                </a:cubicBezTo>
                <a:cubicBezTo>
                  <a:pt x="127" y="196"/>
                  <a:pt x="134" y="203"/>
                  <a:pt x="134" y="211"/>
                </a:cubicBezTo>
                <a:lnTo>
                  <a:pt x="134" y="226"/>
                </a:lnTo>
                <a:close/>
                <a:moveTo>
                  <a:pt x="238" y="182"/>
                </a:moveTo>
                <a:cubicBezTo>
                  <a:pt x="198" y="182"/>
                  <a:pt x="198" y="182"/>
                  <a:pt x="198" y="182"/>
                </a:cubicBezTo>
                <a:cubicBezTo>
                  <a:pt x="182" y="182"/>
                  <a:pt x="169" y="195"/>
                  <a:pt x="169" y="211"/>
                </a:cubicBezTo>
                <a:cubicBezTo>
                  <a:pt x="169" y="226"/>
                  <a:pt x="169" y="226"/>
                  <a:pt x="169" y="226"/>
                </a:cubicBezTo>
                <a:cubicBezTo>
                  <a:pt x="169" y="243"/>
                  <a:pt x="182" y="256"/>
                  <a:pt x="198" y="256"/>
                </a:cubicBezTo>
                <a:cubicBezTo>
                  <a:pt x="238" y="256"/>
                  <a:pt x="238" y="256"/>
                  <a:pt x="238" y="256"/>
                </a:cubicBezTo>
                <a:cubicBezTo>
                  <a:pt x="254" y="256"/>
                  <a:pt x="267" y="243"/>
                  <a:pt x="267" y="226"/>
                </a:cubicBezTo>
                <a:cubicBezTo>
                  <a:pt x="267" y="211"/>
                  <a:pt x="267" y="211"/>
                  <a:pt x="267" y="211"/>
                </a:cubicBezTo>
                <a:cubicBezTo>
                  <a:pt x="267" y="195"/>
                  <a:pt x="254" y="182"/>
                  <a:pt x="238" y="182"/>
                </a:cubicBezTo>
                <a:close/>
                <a:moveTo>
                  <a:pt x="253" y="226"/>
                </a:moveTo>
                <a:cubicBezTo>
                  <a:pt x="253" y="235"/>
                  <a:pt x="246" y="242"/>
                  <a:pt x="238" y="242"/>
                </a:cubicBezTo>
                <a:cubicBezTo>
                  <a:pt x="198" y="242"/>
                  <a:pt x="198" y="242"/>
                  <a:pt x="198" y="242"/>
                </a:cubicBezTo>
                <a:cubicBezTo>
                  <a:pt x="190" y="242"/>
                  <a:pt x="183" y="235"/>
                  <a:pt x="183" y="226"/>
                </a:cubicBezTo>
                <a:cubicBezTo>
                  <a:pt x="183" y="211"/>
                  <a:pt x="183" y="211"/>
                  <a:pt x="183" y="211"/>
                </a:cubicBezTo>
                <a:cubicBezTo>
                  <a:pt x="183" y="203"/>
                  <a:pt x="190" y="196"/>
                  <a:pt x="198" y="196"/>
                </a:cubicBezTo>
                <a:cubicBezTo>
                  <a:pt x="238" y="196"/>
                  <a:pt x="238" y="196"/>
                  <a:pt x="238" y="196"/>
                </a:cubicBezTo>
                <a:cubicBezTo>
                  <a:pt x="246" y="196"/>
                  <a:pt x="253" y="203"/>
                  <a:pt x="253" y="211"/>
                </a:cubicBezTo>
                <a:lnTo>
                  <a:pt x="253" y="226"/>
                </a:lnTo>
                <a:close/>
                <a:moveTo>
                  <a:pt x="357" y="182"/>
                </a:moveTo>
                <a:cubicBezTo>
                  <a:pt x="317" y="182"/>
                  <a:pt x="317" y="182"/>
                  <a:pt x="317" y="182"/>
                </a:cubicBezTo>
                <a:cubicBezTo>
                  <a:pt x="301" y="182"/>
                  <a:pt x="288" y="195"/>
                  <a:pt x="288" y="211"/>
                </a:cubicBezTo>
                <a:cubicBezTo>
                  <a:pt x="288" y="226"/>
                  <a:pt x="288" y="226"/>
                  <a:pt x="288" y="226"/>
                </a:cubicBezTo>
                <a:cubicBezTo>
                  <a:pt x="288" y="243"/>
                  <a:pt x="301" y="256"/>
                  <a:pt x="317" y="256"/>
                </a:cubicBezTo>
                <a:cubicBezTo>
                  <a:pt x="357" y="256"/>
                  <a:pt x="357" y="256"/>
                  <a:pt x="357" y="256"/>
                </a:cubicBezTo>
                <a:cubicBezTo>
                  <a:pt x="373" y="256"/>
                  <a:pt x="386" y="243"/>
                  <a:pt x="386" y="226"/>
                </a:cubicBezTo>
                <a:cubicBezTo>
                  <a:pt x="386" y="211"/>
                  <a:pt x="386" y="211"/>
                  <a:pt x="386" y="211"/>
                </a:cubicBezTo>
                <a:cubicBezTo>
                  <a:pt x="386" y="195"/>
                  <a:pt x="373" y="182"/>
                  <a:pt x="357" y="182"/>
                </a:cubicBezTo>
                <a:close/>
                <a:moveTo>
                  <a:pt x="372" y="226"/>
                </a:moveTo>
                <a:cubicBezTo>
                  <a:pt x="372" y="235"/>
                  <a:pt x="366" y="242"/>
                  <a:pt x="357" y="242"/>
                </a:cubicBezTo>
                <a:cubicBezTo>
                  <a:pt x="317" y="242"/>
                  <a:pt x="317" y="242"/>
                  <a:pt x="317" y="242"/>
                </a:cubicBezTo>
                <a:cubicBezTo>
                  <a:pt x="309" y="242"/>
                  <a:pt x="302" y="235"/>
                  <a:pt x="302" y="226"/>
                </a:cubicBezTo>
                <a:cubicBezTo>
                  <a:pt x="302" y="211"/>
                  <a:pt x="302" y="211"/>
                  <a:pt x="302" y="211"/>
                </a:cubicBezTo>
                <a:cubicBezTo>
                  <a:pt x="302" y="203"/>
                  <a:pt x="309" y="196"/>
                  <a:pt x="317" y="196"/>
                </a:cubicBezTo>
                <a:cubicBezTo>
                  <a:pt x="357" y="196"/>
                  <a:pt x="357" y="196"/>
                  <a:pt x="357" y="196"/>
                </a:cubicBezTo>
                <a:cubicBezTo>
                  <a:pt x="366" y="196"/>
                  <a:pt x="372" y="203"/>
                  <a:pt x="372" y="211"/>
                </a:cubicBezTo>
                <a:lnTo>
                  <a:pt x="372" y="226"/>
                </a:lnTo>
                <a:close/>
                <a:moveTo>
                  <a:pt x="119" y="279"/>
                </a:moveTo>
                <a:cubicBezTo>
                  <a:pt x="79" y="279"/>
                  <a:pt x="79" y="279"/>
                  <a:pt x="79" y="279"/>
                </a:cubicBezTo>
                <a:cubicBezTo>
                  <a:pt x="63" y="279"/>
                  <a:pt x="50" y="292"/>
                  <a:pt x="50" y="308"/>
                </a:cubicBezTo>
                <a:cubicBezTo>
                  <a:pt x="50" y="323"/>
                  <a:pt x="50" y="323"/>
                  <a:pt x="50" y="323"/>
                </a:cubicBezTo>
                <a:cubicBezTo>
                  <a:pt x="50" y="339"/>
                  <a:pt x="63" y="353"/>
                  <a:pt x="79" y="353"/>
                </a:cubicBezTo>
                <a:cubicBezTo>
                  <a:pt x="119" y="353"/>
                  <a:pt x="119" y="353"/>
                  <a:pt x="119" y="353"/>
                </a:cubicBezTo>
                <a:cubicBezTo>
                  <a:pt x="135" y="353"/>
                  <a:pt x="148" y="339"/>
                  <a:pt x="148" y="323"/>
                </a:cubicBezTo>
                <a:cubicBezTo>
                  <a:pt x="148" y="308"/>
                  <a:pt x="148" y="308"/>
                  <a:pt x="148" y="308"/>
                </a:cubicBezTo>
                <a:cubicBezTo>
                  <a:pt x="148" y="292"/>
                  <a:pt x="135" y="279"/>
                  <a:pt x="119" y="279"/>
                </a:cubicBezTo>
                <a:close/>
                <a:moveTo>
                  <a:pt x="134" y="323"/>
                </a:moveTo>
                <a:cubicBezTo>
                  <a:pt x="134" y="332"/>
                  <a:pt x="127" y="339"/>
                  <a:pt x="119" y="339"/>
                </a:cubicBezTo>
                <a:cubicBezTo>
                  <a:pt x="79" y="339"/>
                  <a:pt x="79" y="339"/>
                  <a:pt x="79" y="339"/>
                </a:cubicBezTo>
                <a:cubicBezTo>
                  <a:pt x="70" y="339"/>
                  <a:pt x="64" y="332"/>
                  <a:pt x="64" y="323"/>
                </a:cubicBezTo>
                <a:cubicBezTo>
                  <a:pt x="64" y="308"/>
                  <a:pt x="64" y="308"/>
                  <a:pt x="64" y="308"/>
                </a:cubicBezTo>
                <a:cubicBezTo>
                  <a:pt x="64" y="300"/>
                  <a:pt x="70" y="293"/>
                  <a:pt x="79" y="293"/>
                </a:cubicBezTo>
                <a:cubicBezTo>
                  <a:pt x="119" y="293"/>
                  <a:pt x="119" y="293"/>
                  <a:pt x="119" y="293"/>
                </a:cubicBezTo>
                <a:cubicBezTo>
                  <a:pt x="127" y="293"/>
                  <a:pt x="134" y="300"/>
                  <a:pt x="134" y="308"/>
                </a:cubicBezTo>
                <a:lnTo>
                  <a:pt x="134" y="323"/>
                </a:lnTo>
                <a:close/>
                <a:moveTo>
                  <a:pt x="238" y="279"/>
                </a:moveTo>
                <a:cubicBezTo>
                  <a:pt x="198" y="279"/>
                  <a:pt x="198" y="279"/>
                  <a:pt x="198" y="279"/>
                </a:cubicBezTo>
                <a:cubicBezTo>
                  <a:pt x="182" y="279"/>
                  <a:pt x="169" y="292"/>
                  <a:pt x="169" y="308"/>
                </a:cubicBezTo>
                <a:cubicBezTo>
                  <a:pt x="169" y="323"/>
                  <a:pt x="169" y="323"/>
                  <a:pt x="169" y="323"/>
                </a:cubicBezTo>
                <a:cubicBezTo>
                  <a:pt x="169" y="339"/>
                  <a:pt x="182" y="353"/>
                  <a:pt x="198" y="353"/>
                </a:cubicBezTo>
                <a:cubicBezTo>
                  <a:pt x="238" y="353"/>
                  <a:pt x="238" y="353"/>
                  <a:pt x="238" y="353"/>
                </a:cubicBezTo>
                <a:cubicBezTo>
                  <a:pt x="254" y="353"/>
                  <a:pt x="267" y="339"/>
                  <a:pt x="267" y="323"/>
                </a:cubicBezTo>
                <a:cubicBezTo>
                  <a:pt x="267" y="308"/>
                  <a:pt x="267" y="308"/>
                  <a:pt x="267" y="308"/>
                </a:cubicBezTo>
                <a:cubicBezTo>
                  <a:pt x="267" y="292"/>
                  <a:pt x="254" y="279"/>
                  <a:pt x="238" y="279"/>
                </a:cubicBezTo>
                <a:close/>
                <a:moveTo>
                  <a:pt x="253" y="323"/>
                </a:moveTo>
                <a:cubicBezTo>
                  <a:pt x="253" y="332"/>
                  <a:pt x="246" y="339"/>
                  <a:pt x="238" y="339"/>
                </a:cubicBezTo>
                <a:cubicBezTo>
                  <a:pt x="198" y="339"/>
                  <a:pt x="198" y="339"/>
                  <a:pt x="198" y="339"/>
                </a:cubicBezTo>
                <a:cubicBezTo>
                  <a:pt x="190" y="339"/>
                  <a:pt x="183" y="332"/>
                  <a:pt x="183" y="323"/>
                </a:cubicBezTo>
                <a:cubicBezTo>
                  <a:pt x="183" y="308"/>
                  <a:pt x="183" y="308"/>
                  <a:pt x="183" y="308"/>
                </a:cubicBezTo>
                <a:cubicBezTo>
                  <a:pt x="183" y="300"/>
                  <a:pt x="190" y="293"/>
                  <a:pt x="198" y="293"/>
                </a:cubicBezTo>
                <a:cubicBezTo>
                  <a:pt x="238" y="293"/>
                  <a:pt x="238" y="293"/>
                  <a:pt x="238" y="293"/>
                </a:cubicBezTo>
                <a:cubicBezTo>
                  <a:pt x="246" y="293"/>
                  <a:pt x="253" y="300"/>
                  <a:pt x="253" y="308"/>
                </a:cubicBezTo>
                <a:lnTo>
                  <a:pt x="253" y="323"/>
                </a:lnTo>
                <a:close/>
                <a:moveTo>
                  <a:pt x="357" y="279"/>
                </a:moveTo>
                <a:cubicBezTo>
                  <a:pt x="317" y="279"/>
                  <a:pt x="317" y="279"/>
                  <a:pt x="317" y="279"/>
                </a:cubicBezTo>
                <a:cubicBezTo>
                  <a:pt x="301" y="279"/>
                  <a:pt x="288" y="292"/>
                  <a:pt x="288" y="308"/>
                </a:cubicBezTo>
                <a:cubicBezTo>
                  <a:pt x="288" y="323"/>
                  <a:pt x="288" y="323"/>
                  <a:pt x="288" y="323"/>
                </a:cubicBezTo>
                <a:cubicBezTo>
                  <a:pt x="288" y="339"/>
                  <a:pt x="301" y="353"/>
                  <a:pt x="317" y="353"/>
                </a:cubicBezTo>
                <a:cubicBezTo>
                  <a:pt x="357" y="353"/>
                  <a:pt x="357" y="353"/>
                  <a:pt x="357" y="353"/>
                </a:cubicBezTo>
                <a:cubicBezTo>
                  <a:pt x="373" y="353"/>
                  <a:pt x="386" y="339"/>
                  <a:pt x="386" y="323"/>
                </a:cubicBezTo>
                <a:cubicBezTo>
                  <a:pt x="386" y="308"/>
                  <a:pt x="386" y="308"/>
                  <a:pt x="386" y="308"/>
                </a:cubicBezTo>
                <a:cubicBezTo>
                  <a:pt x="386" y="292"/>
                  <a:pt x="373" y="279"/>
                  <a:pt x="357" y="279"/>
                </a:cubicBezTo>
                <a:close/>
                <a:moveTo>
                  <a:pt x="372" y="323"/>
                </a:moveTo>
                <a:cubicBezTo>
                  <a:pt x="372" y="332"/>
                  <a:pt x="366" y="339"/>
                  <a:pt x="357" y="339"/>
                </a:cubicBezTo>
                <a:cubicBezTo>
                  <a:pt x="317" y="339"/>
                  <a:pt x="317" y="339"/>
                  <a:pt x="317" y="339"/>
                </a:cubicBezTo>
                <a:cubicBezTo>
                  <a:pt x="309" y="339"/>
                  <a:pt x="302" y="332"/>
                  <a:pt x="302" y="323"/>
                </a:cubicBezTo>
                <a:cubicBezTo>
                  <a:pt x="302" y="308"/>
                  <a:pt x="302" y="308"/>
                  <a:pt x="302" y="308"/>
                </a:cubicBezTo>
                <a:cubicBezTo>
                  <a:pt x="302" y="300"/>
                  <a:pt x="309" y="293"/>
                  <a:pt x="317" y="293"/>
                </a:cubicBezTo>
                <a:cubicBezTo>
                  <a:pt x="357" y="293"/>
                  <a:pt x="357" y="293"/>
                  <a:pt x="357" y="293"/>
                </a:cubicBezTo>
                <a:cubicBezTo>
                  <a:pt x="366" y="293"/>
                  <a:pt x="372" y="300"/>
                  <a:pt x="372" y="308"/>
                </a:cubicBezTo>
                <a:lnTo>
                  <a:pt x="372" y="323"/>
                </a:lnTo>
                <a:close/>
                <a:moveTo>
                  <a:pt x="119" y="376"/>
                </a:moveTo>
                <a:cubicBezTo>
                  <a:pt x="79" y="376"/>
                  <a:pt x="79" y="376"/>
                  <a:pt x="79" y="376"/>
                </a:cubicBezTo>
                <a:cubicBezTo>
                  <a:pt x="63" y="376"/>
                  <a:pt x="50" y="389"/>
                  <a:pt x="50" y="405"/>
                </a:cubicBezTo>
                <a:cubicBezTo>
                  <a:pt x="50" y="420"/>
                  <a:pt x="50" y="420"/>
                  <a:pt x="50" y="420"/>
                </a:cubicBezTo>
                <a:cubicBezTo>
                  <a:pt x="50" y="436"/>
                  <a:pt x="63" y="449"/>
                  <a:pt x="79" y="449"/>
                </a:cubicBezTo>
                <a:cubicBezTo>
                  <a:pt x="119" y="449"/>
                  <a:pt x="119" y="449"/>
                  <a:pt x="119" y="449"/>
                </a:cubicBezTo>
                <a:cubicBezTo>
                  <a:pt x="135" y="449"/>
                  <a:pt x="148" y="436"/>
                  <a:pt x="148" y="420"/>
                </a:cubicBezTo>
                <a:cubicBezTo>
                  <a:pt x="148" y="405"/>
                  <a:pt x="148" y="405"/>
                  <a:pt x="148" y="405"/>
                </a:cubicBezTo>
                <a:cubicBezTo>
                  <a:pt x="148" y="389"/>
                  <a:pt x="135" y="376"/>
                  <a:pt x="119" y="376"/>
                </a:cubicBezTo>
                <a:close/>
                <a:moveTo>
                  <a:pt x="134" y="420"/>
                </a:moveTo>
                <a:cubicBezTo>
                  <a:pt x="134" y="429"/>
                  <a:pt x="127" y="435"/>
                  <a:pt x="119" y="435"/>
                </a:cubicBezTo>
                <a:cubicBezTo>
                  <a:pt x="79" y="435"/>
                  <a:pt x="79" y="435"/>
                  <a:pt x="79" y="435"/>
                </a:cubicBezTo>
                <a:cubicBezTo>
                  <a:pt x="70" y="435"/>
                  <a:pt x="64" y="429"/>
                  <a:pt x="64" y="420"/>
                </a:cubicBezTo>
                <a:cubicBezTo>
                  <a:pt x="64" y="405"/>
                  <a:pt x="64" y="405"/>
                  <a:pt x="64" y="405"/>
                </a:cubicBezTo>
                <a:cubicBezTo>
                  <a:pt x="64" y="397"/>
                  <a:pt x="70" y="390"/>
                  <a:pt x="79" y="390"/>
                </a:cubicBezTo>
                <a:cubicBezTo>
                  <a:pt x="119" y="390"/>
                  <a:pt x="119" y="390"/>
                  <a:pt x="119" y="390"/>
                </a:cubicBezTo>
                <a:cubicBezTo>
                  <a:pt x="127" y="390"/>
                  <a:pt x="134" y="397"/>
                  <a:pt x="134" y="405"/>
                </a:cubicBezTo>
                <a:lnTo>
                  <a:pt x="134" y="420"/>
                </a:lnTo>
                <a:close/>
                <a:moveTo>
                  <a:pt x="238" y="376"/>
                </a:moveTo>
                <a:cubicBezTo>
                  <a:pt x="198" y="376"/>
                  <a:pt x="198" y="376"/>
                  <a:pt x="198" y="376"/>
                </a:cubicBezTo>
                <a:cubicBezTo>
                  <a:pt x="182" y="376"/>
                  <a:pt x="169" y="389"/>
                  <a:pt x="169" y="405"/>
                </a:cubicBezTo>
                <a:cubicBezTo>
                  <a:pt x="169" y="420"/>
                  <a:pt x="169" y="420"/>
                  <a:pt x="169" y="420"/>
                </a:cubicBezTo>
                <a:cubicBezTo>
                  <a:pt x="169" y="436"/>
                  <a:pt x="182" y="449"/>
                  <a:pt x="198" y="449"/>
                </a:cubicBezTo>
                <a:cubicBezTo>
                  <a:pt x="238" y="449"/>
                  <a:pt x="238" y="449"/>
                  <a:pt x="238" y="449"/>
                </a:cubicBezTo>
                <a:cubicBezTo>
                  <a:pt x="254" y="449"/>
                  <a:pt x="267" y="436"/>
                  <a:pt x="267" y="420"/>
                </a:cubicBezTo>
                <a:cubicBezTo>
                  <a:pt x="267" y="405"/>
                  <a:pt x="267" y="405"/>
                  <a:pt x="267" y="405"/>
                </a:cubicBezTo>
                <a:cubicBezTo>
                  <a:pt x="267" y="389"/>
                  <a:pt x="254" y="376"/>
                  <a:pt x="238" y="376"/>
                </a:cubicBezTo>
                <a:close/>
                <a:moveTo>
                  <a:pt x="253" y="420"/>
                </a:moveTo>
                <a:cubicBezTo>
                  <a:pt x="253" y="429"/>
                  <a:pt x="246" y="435"/>
                  <a:pt x="238" y="435"/>
                </a:cubicBezTo>
                <a:cubicBezTo>
                  <a:pt x="198" y="435"/>
                  <a:pt x="198" y="435"/>
                  <a:pt x="198" y="435"/>
                </a:cubicBezTo>
                <a:cubicBezTo>
                  <a:pt x="190" y="435"/>
                  <a:pt x="183" y="429"/>
                  <a:pt x="183" y="420"/>
                </a:cubicBezTo>
                <a:cubicBezTo>
                  <a:pt x="183" y="405"/>
                  <a:pt x="183" y="405"/>
                  <a:pt x="183" y="405"/>
                </a:cubicBezTo>
                <a:cubicBezTo>
                  <a:pt x="183" y="397"/>
                  <a:pt x="190" y="390"/>
                  <a:pt x="198" y="390"/>
                </a:cubicBezTo>
                <a:cubicBezTo>
                  <a:pt x="238" y="390"/>
                  <a:pt x="238" y="390"/>
                  <a:pt x="238" y="390"/>
                </a:cubicBezTo>
                <a:cubicBezTo>
                  <a:pt x="246" y="390"/>
                  <a:pt x="253" y="397"/>
                  <a:pt x="253" y="405"/>
                </a:cubicBezTo>
                <a:lnTo>
                  <a:pt x="253" y="420"/>
                </a:lnTo>
                <a:close/>
                <a:moveTo>
                  <a:pt x="357" y="376"/>
                </a:moveTo>
                <a:cubicBezTo>
                  <a:pt x="317" y="376"/>
                  <a:pt x="317" y="376"/>
                  <a:pt x="317" y="376"/>
                </a:cubicBezTo>
                <a:cubicBezTo>
                  <a:pt x="301" y="376"/>
                  <a:pt x="288" y="389"/>
                  <a:pt x="288" y="405"/>
                </a:cubicBezTo>
                <a:cubicBezTo>
                  <a:pt x="288" y="420"/>
                  <a:pt x="288" y="420"/>
                  <a:pt x="288" y="420"/>
                </a:cubicBezTo>
                <a:cubicBezTo>
                  <a:pt x="288" y="436"/>
                  <a:pt x="301" y="449"/>
                  <a:pt x="317" y="449"/>
                </a:cubicBezTo>
                <a:cubicBezTo>
                  <a:pt x="357" y="449"/>
                  <a:pt x="357" y="449"/>
                  <a:pt x="357" y="449"/>
                </a:cubicBezTo>
                <a:cubicBezTo>
                  <a:pt x="373" y="449"/>
                  <a:pt x="386" y="436"/>
                  <a:pt x="386" y="420"/>
                </a:cubicBezTo>
                <a:cubicBezTo>
                  <a:pt x="386" y="405"/>
                  <a:pt x="386" y="405"/>
                  <a:pt x="386" y="405"/>
                </a:cubicBezTo>
                <a:cubicBezTo>
                  <a:pt x="386" y="389"/>
                  <a:pt x="373" y="376"/>
                  <a:pt x="357" y="376"/>
                </a:cubicBezTo>
                <a:close/>
                <a:moveTo>
                  <a:pt x="372" y="420"/>
                </a:moveTo>
                <a:cubicBezTo>
                  <a:pt x="372" y="429"/>
                  <a:pt x="366" y="435"/>
                  <a:pt x="357" y="435"/>
                </a:cubicBezTo>
                <a:cubicBezTo>
                  <a:pt x="317" y="435"/>
                  <a:pt x="317" y="435"/>
                  <a:pt x="317" y="435"/>
                </a:cubicBezTo>
                <a:cubicBezTo>
                  <a:pt x="309" y="435"/>
                  <a:pt x="302" y="429"/>
                  <a:pt x="302" y="420"/>
                </a:cubicBezTo>
                <a:cubicBezTo>
                  <a:pt x="302" y="405"/>
                  <a:pt x="302" y="405"/>
                  <a:pt x="302" y="405"/>
                </a:cubicBezTo>
                <a:cubicBezTo>
                  <a:pt x="302" y="397"/>
                  <a:pt x="309" y="390"/>
                  <a:pt x="317" y="390"/>
                </a:cubicBezTo>
                <a:cubicBezTo>
                  <a:pt x="357" y="390"/>
                  <a:pt x="357" y="390"/>
                  <a:pt x="357" y="390"/>
                </a:cubicBezTo>
                <a:cubicBezTo>
                  <a:pt x="366" y="390"/>
                  <a:pt x="372" y="397"/>
                  <a:pt x="372" y="405"/>
                </a:cubicBezTo>
                <a:lnTo>
                  <a:pt x="372" y="420"/>
                </a:lnTo>
                <a:close/>
                <a:moveTo>
                  <a:pt x="322" y="543"/>
                </a:moveTo>
                <a:cubicBezTo>
                  <a:pt x="318" y="543"/>
                  <a:pt x="315" y="547"/>
                  <a:pt x="315" y="550"/>
                </a:cubicBezTo>
                <a:cubicBezTo>
                  <a:pt x="315" y="619"/>
                  <a:pt x="315" y="619"/>
                  <a:pt x="315" y="619"/>
                </a:cubicBezTo>
                <a:cubicBezTo>
                  <a:pt x="315" y="635"/>
                  <a:pt x="302" y="649"/>
                  <a:pt x="286" y="649"/>
                </a:cubicBezTo>
                <a:cubicBezTo>
                  <a:pt x="267" y="649"/>
                  <a:pt x="267" y="649"/>
                  <a:pt x="267" y="649"/>
                </a:cubicBezTo>
                <a:cubicBezTo>
                  <a:pt x="267" y="550"/>
                  <a:pt x="267" y="550"/>
                  <a:pt x="267" y="550"/>
                </a:cubicBezTo>
                <a:cubicBezTo>
                  <a:pt x="267" y="547"/>
                  <a:pt x="264" y="543"/>
                  <a:pt x="260" y="543"/>
                </a:cubicBezTo>
                <a:cubicBezTo>
                  <a:pt x="194" y="543"/>
                  <a:pt x="194" y="543"/>
                  <a:pt x="194" y="543"/>
                </a:cubicBezTo>
                <a:cubicBezTo>
                  <a:pt x="191" y="543"/>
                  <a:pt x="187" y="547"/>
                  <a:pt x="187" y="550"/>
                </a:cubicBezTo>
                <a:cubicBezTo>
                  <a:pt x="187" y="649"/>
                  <a:pt x="187" y="649"/>
                  <a:pt x="187" y="649"/>
                </a:cubicBezTo>
                <a:cubicBezTo>
                  <a:pt x="103" y="649"/>
                  <a:pt x="103" y="649"/>
                  <a:pt x="103" y="649"/>
                </a:cubicBezTo>
                <a:cubicBezTo>
                  <a:pt x="87" y="649"/>
                  <a:pt x="74" y="635"/>
                  <a:pt x="74" y="619"/>
                </a:cubicBezTo>
                <a:cubicBezTo>
                  <a:pt x="74" y="550"/>
                  <a:pt x="74" y="550"/>
                  <a:pt x="74" y="550"/>
                </a:cubicBezTo>
                <a:cubicBezTo>
                  <a:pt x="74" y="547"/>
                  <a:pt x="71" y="543"/>
                  <a:pt x="67" y="543"/>
                </a:cubicBezTo>
                <a:cubicBezTo>
                  <a:pt x="63" y="543"/>
                  <a:pt x="60" y="547"/>
                  <a:pt x="60" y="550"/>
                </a:cubicBezTo>
                <a:cubicBezTo>
                  <a:pt x="60" y="619"/>
                  <a:pt x="60" y="619"/>
                  <a:pt x="60" y="619"/>
                </a:cubicBezTo>
                <a:cubicBezTo>
                  <a:pt x="60" y="643"/>
                  <a:pt x="79" y="663"/>
                  <a:pt x="103" y="663"/>
                </a:cubicBezTo>
                <a:cubicBezTo>
                  <a:pt x="286" y="663"/>
                  <a:pt x="286" y="663"/>
                  <a:pt x="286" y="663"/>
                </a:cubicBezTo>
                <a:cubicBezTo>
                  <a:pt x="310" y="663"/>
                  <a:pt x="329" y="643"/>
                  <a:pt x="329" y="619"/>
                </a:cubicBezTo>
                <a:cubicBezTo>
                  <a:pt x="329" y="550"/>
                  <a:pt x="329" y="550"/>
                  <a:pt x="329" y="550"/>
                </a:cubicBezTo>
                <a:cubicBezTo>
                  <a:pt x="329" y="547"/>
                  <a:pt x="326" y="543"/>
                  <a:pt x="322" y="543"/>
                </a:cubicBezTo>
                <a:close/>
                <a:moveTo>
                  <a:pt x="201" y="557"/>
                </a:moveTo>
                <a:cubicBezTo>
                  <a:pt x="253" y="557"/>
                  <a:pt x="253" y="557"/>
                  <a:pt x="253" y="557"/>
                </a:cubicBezTo>
                <a:cubicBezTo>
                  <a:pt x="253" y="649"/>
                  <a:pt x="253" y="649"/>
                  <a:pt x="253" y="649"/>
                </a:cubicBezTo>
                <a:cubicBezTo>
                  <a:pt x="201" y="649"/>
                  <a:pt x="201" y="649"/>
                  <a:pt x="201" y="649"/>
                </a:cubicBezTo>
                <a:lnTo>
                  <a:pt x="201" y="557"/>
                </a:lnTo>
                <a:close/>
                <a:moveTo>
                  <a:pt x="479" y="195"/>
                </a:moveTo>
                <a:cubicBezTo>
                  <a:pt x="479" y="464"/>
                  <a:pt x="479" y="464"/>
                  <a:pt x="479" y="464"/>
                </a:cubicBezTo>
                <a:cubicBezTo>
                  <a:pt x="479" y="468"/>
                  <a:pt x="476" y="471"/>
                  <a:pt x="472" y="471"/>
                </a:cubicBezTo>
                <a:cubicBezTo>
                  <a:pt x="469" y="471"/>
                  <a:pt x="465" y="468"/>
                  <a:pt x="465" y="464"/>
                </a:cubicBezTo>
                <a:cubicBezTo>
                  <a:pt x="465" y="195"/>
                  <a:pt x="465" y="195"/>
                  <a:pt x="465" y="195"/>
                </a:cubicBezTo>
                <a:cubicBezTo>
                  <a:pt x="465" y="191"/>
                  <a:pt x="469" y="188"/>
                  <a:pt x="472" y="188"/>
                </a:cubicBezTo>
                <a:cubicBezTo>
                  <a:pt x="476" y="188"/>
                  <a:pt x="479" y="191"/>
                  <a:pt x="479" y="195"/>
                </a:cubicBez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7185" name="Oval 24"/>
          <p:cNvSpPr>
            <a:spLocks noChangeArrowheads="1"/>
          </p:cNvSpPr>
          <p:nvPr/>
        </p:nvSpPr>
        <p:spPr bwMode="auto">
          <a:xfrm>
            <a:off x="10105564" y="3120088"/>
            <a:ext cx="1119124" cy="1119124"/>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9253" name="Freeform 120"/>
          <p:cNvSpPr>
            <a:spLocks noEditPoints="1"/>
          </p:cNvSpPr>
          <p:nvPr/>
        </p:nvSpPr>
        <p:spPr bwMode="auto">
          <a:xfrm>
            <a:off x="10371036" y="3354861"/>
            <a:ext cx="586962" cy="588757"/>
          </a:xfrm>
          <a:custGeom>
            <a:avLst/>
            <a:gdLst>
              <a:gd name="T0" fmla="*/ 498 w 558"/>
              <a:gd name="T1" fmla="*/ 298 h 559"/>
              <a:gd name="T2" fmla="*/ 488 w 558"/>
              <a:gd name="T3" fmla="*/ 288 h 559"/>
              <a:gd name="T4" fmla="*/ 452 w 558"/>
              <a:gd name="T5" fmla="*/ 217 h 559"/>
              <a:gd name="T6" fmla="*/ 554 w 558"/>
              <a:gd name="T7" fmla="*/ 113 h 559"/>
              <a:gd name="T8" fmla="*/ 450 w 558"/>
              <a:gd name="T9" fmla="*/ 6 h 559"/>
              <a:gd name="T10" fmla="*/ 343 w 558"/>
              <a:gd name="T11" fmla="*/ 103 h 559"/>
              <a:gd name="T12" fmla="*/ 290 w 558"/>
              <a:gd name="T13" fmla="*/ 61 h 559"/>
              <a:gd name="T14" fmla="*/ 326 w 558"/>
              <a:gd name="T15" fmla="*/ 106 h 559"/>
              <a:gd name="T16" fmla="*/ 113 w 558"/>
              <a:gd name="T17" fmla="*/ 0 h 559"/>
              <a:gd name="T18" fmla="*/ 97 w 558"/>
              <a:gd name="T19" fmla="*/ 224 h 559"/>
              <a:gd name="T20" fmla="*/ 61 w 558"/>
              <a:gd name="T21" fmla="*/ 270 h 559"/>
              <a:gd name="T22" fmla="*/ 106 w 558"/>
              <a:gd name="T23" fmla="*/ 235 h 559"/>
              <a:gd name="T24" fmla="*/ 7 w 558"/>
              <a:gd name="T25" fmla="*/ 334 h 559"/>
              <a:gd name="T26" fmla="*/ 0 w 558"/>
              <a:gd name="T27" fmla="*/ 552 h 559"/>
              <a:gd name="T28" fmla="*/ 219 w 558"/>
              <a:gd name="T29" fmla="*/ 559 h 559"/>
              <a:gd name="T30" fmla="*/ 226 w 558"/>
              <a:gd name="T31" fmla="*/ 341 h 559"/>
              <a:gd name="T32" fmla="*/ 120 w 558"/>
              <a:gd name="T33" fmla="*/ 334 h 559"/>
              <a:gd name="T34" fmla="*/ 155 w 558"/>
              <a:gd name="T35" fmla="*/ 270 h 559"/>
              <a:gd name="T36" fmla="*/ 165 w 558"/>
              <a:gd name="T37" fmla="*/ 270 h 559"/>
              <a:gd name="T38" fmla="*/ 129 w 558"/>
              <a:gd name="T39" fmla="*/ 224 h 559"/>
              <a:gd name="T40" fmla="*/ 326 w 558"/>
              <a:gd name="T41" fmla="*/ 120 h 559"/>
              <a:gd name="T42" fmla="*/ 290 w 558"/>
              <a:gd name="T43" fmla="*/ 165 h 559"/>
              <a:gd name="T44" fmla="*/ 300 w 558"/>
              <a:gd name="T45" fmla="*/ 165 h 559"/>
              <a:gd name="T46" fmla="*/ 438 w 558"/>
              <a:gd name="T47" fmla="*/ 217 h 559"/>
              <a:gd name="T48" fmla="*/ 403 w 558"/>
              <a:gd name="T49" fmla="*/ 288 h 559"/>
              <a:gd name="T50" fmla="*/ 393 w 558"/>
              <a:gd name="T51" fmla="*/ 298 h 559"/>
              <a:gd name="T52" fmla="*/ 333 w 558"/>
              <a:gd name="T53" fmla="*/ 446 h 559"/>
              <a:gd name="T54" fmla="*/ 558 w 558"/>
              <a:gd name="T55" fmla="*/ 446 h 559"/>
              <a:gd name="T56" fmla="*/ 212 w 558"/>
              <a:gd name="T57" fmla="*/ 545 h 559"/>
              <a:gd name="T58" fmla="*/ 14 w 558"/>
              <a:gd name="T59" fmla="*/ 348 h 559"/>
              <a:gd name="T60" fmla="*/ 212 w 558"/>
              <a:gd name="T61" fmla="*/ 545 h 559"/>
              <a:gd name="T62" fmla="*/ 113 w 558"/>
              <a:gd name="T63" fmla="*/ 211 h 559"/>
              <a:gd name="T64" fmla="*/ 14 w 558"/>
              <a:gd name="T65" fmla="*/ 113 h 559"/>
              <a:gd name="T66" fmla="*/ 212 w 558"/>
              <a:gd name="T67" fmla="*/ 113 h 559"/>
              <a:gd name="T68" fmla="*/ 445 w 558"/>
              <a:gd name="T69" fmla="*/ 21 h 559"/>
              <a:gd name="T70" fmla="*/ 445 w 558"/>
              <a:gd name="T71" fmla="*/ 204 h 559"/>
              <a:gd name="T72" fmla="*/ 445 w 558"/>
              <a:gd name="T73" fmla="*/ 21 h 559"/>
              <a:gd name="T74" fmla="*/ 347 w 558"/>
              <a:gd name="T75" fmla="*/ 446 h 559"/>
              <a:gd name="T76" fmla="*/ 544 w 558"/>
              <a:gd name="T77" fmla="*/ 446 h 5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58" h="559">
                <a:moveTo>
                  <a:pt x="461" y="335"/>
                </a:moveTo>
                <a:cubicBezTo>
                  <a:pt x="498" y="298"/>
                  <a:pt x="498" y="298"/>
                  <a:pt x="498" y="298"/>
                </a:cubicBezTo>
                <a:cubicBezTo>
                  <a:pt x="500" y="295"/>
                  <a:pt x="500" y="291"/>
                  <a:pt x="498" y="288"/>
                </a:cubicBezTo>
                <a:cubicBezTo>
                  <a:pt x="495" y="285"/>
                  <a:pt x="490" y="285"/>
                  <a:pt x="488" y="288"/>
                </a:cubicBezTo>
                <a:cubicBezTo>
                  <a:pt x="452" y="323"/>
                  <a:pt x="452" y="323"/>
                  <a:pt x="452" y="323"/>
                </a:cubicBezTo>
                <a:cubicBezTo>
                  <a:pt x="452" y="217"/>
                  <a:pt x="452" y="217"/>
                  <a:pt x="452" y="217"/>
                </a:cubicBezTo>
                <a:cubicBezTo>
                  <a:pt x="552" y="118"/>
                  <a:pt x="552" y="118"/>
                  <a:pt x="552" y="118"/>
                </a:cubicBezTo>
                <a:cubicBezTo>
                  <a:pt x="553" y="116"/>
                  <a:pt x="554" y="115"/>
                  <a:pt x="554" y="113"/>
                </a:cubicBezTo>
                <a:cubicBezTo>
                  <a:pt x="554" y="111"/>
                  <a:pt x="553" y="109"/>
                  <a:pt x="552" y="108"/>
                </a:cubicBezTo>
                <a:cubicBezTo>
                  <a:pt x="450" y="6"/>
                  <a:pt x="450" y="6"/>
                  <a:pt x="450" y="6"/>
                </a:cubicBezTo>
                <a:cubicBezTo>
                  <a:pt x="448" y="4"/>
                  <a:pt x="443" y="4"/>
                  <a:pt x="440" y="6"/>
                </a:cubicBezTo>
                <a:cubicBezTo>
                  <a:pt x="343" y="103"/>
                  <a:pt x="343" y="103"/>
                  <a:pt x="343" y="103"/>
                </a:cubicBezTo>
                <a:cubicBezTo>
                  <a:pt x="300" y="61"/>
                  <a:pt x="300" y="61"/>
                  <a:pt x="300" y="61"/>
                </a:cubicBezTo>
                <a:cubicBezTo>
                  <a:pt x="297" y="58"/>
                  <a:pt x="293" y="58"/>
                  <a:pt x="290" y="61"/>
                </a:cubicBezTo>
                <a:cubicBezTo>
                  <a:pt x="288" y="63"/>
                  <a:pt x="288" y="68"/>
                  <a:pt x="290" y="70"/>
                </a:cubicBezTo>
                <a:cubicBezTo>
                  <a:pt x="326" y="106"/>
                  <a:pt x="326" y="106"/>
                  <a:pt x="326" y="106"/>
                </a:cubicBezTo>
                <a:cubicBezTo>
                  <a:pt x="225" y="106"/>
                  <a:pt x="225" y="106"/>
                  <a:pt x="225" y="106"/>
                </a:cubicBezTo>
                <a:cubicBezTo>
                  <a:pt x="222" y="47"/>
                  <a:pt x="173" y="0"/>
                  <a:pt x="113" y="0"/>
                </a:cubicBezTo>
                <a:cubicBezTo>
                  <a:pt x="51" y="0"/>
                  <a:pt x="0" y="51"/>
                  <a:pt x="0" y="113"/>
                </a:cubicBezTo>
                <a:cubicBezTo>
                  <a:pt x="0" y="169"/>
                  <a:pt x="42" y="217"/>
                  <a:pt x="97" y="224"/>
                </a:cubicBezTo>
                <a:cubicBezTo>
                  <a:pt x="61" y="260"/>
                  <a:pt x="61" y="260"/>
                  <a:pt x="61" y="260"/>
                </a:cubicBezTo>
                <a:cubicBezTo>
                  <a:pt x="58" y="263"/>
                  <a:pt x="58" y="268"/>
                  <a:pt x="61" y="270"/>
                </a:cubicBezTo>
                <a:cubicBezTo>
                  <a:pt x="63" y="273"/>
                  <a:pt x="68" y="273"/>
                  <a:pt x="71" y="270"/>
                </a:cubicBezTo>
                <a:cubicBezTo>
                  <a:pt x="106" y="235"/>
                  <a:pt x="106" y="235"/>
                  <a:pt x="106" y="235"/>
                </a:cubicBezTo>
                <a:cubicBezTo>
                  <a:pt x="106" y="334"/>
                  <a:pt x="106" y="334"/>
                  <a:pt x="106" y="334"/>
                </a:cubicBezTo>
                <a:cubicBezTo>
                  <a:pt x="7" y="334"/>
                  <a:pt x="7" y="334"/>
                  <a:pt x="7" y="334"/>
                </a:cubicBezTo>
                <a:cubicBezTo>
                  <a:pt x="3" y="334"/>
                  <a:pt x="0" y="337"/>
                  <a:pt x="0" y="341"/>
                </a:cubicBezTo>
                <a:cubicBezTo>
                  <a:pt x="0" y="552"/>
                  <a:pt x="0" y="552"/>
                  <a:pt x="0" y="552"/>
                </a:cubicBezTo>
                <a:cubicBezTo>
                  <a:pt x="0" y="556"/>
                  <a:pt x="3" y="559"/>
                  <a:pt x="7" y="559"/>
                </a:cubicBezTo>
                <a:cubicBezTo>
                  <a:pt x="219" y="559"/>
                  <a:pt x="219" y="559"/>
                  <a:pt x="219" y="559"/>
                </a:cubicBezTo>
                <a:cubicBezTo>
                  <a:pt x="223" y="559"/>
                  <a:pt x="226" y="556"/>
                  <a:pt x="226" y="552"/>
                </a:cubicBezTo>
                <a:cubicBezTo>
                  <a:pt x="226" y="341"/>
                  <a:pt x="226" y="341"/>
                  <a:pt x="226" y="341"/>
                </a:cubicBezTo>
                <a:cubicBezTo>
                  <a:pt x="226" y="337"/>
                  <a:pt x="223" y="334"/>
                  <a:pt x="219" y="334"/>
                </a:cubicBezTo>
                <a:cubicBezTo>
                  <a:pt x="120" y="334"/>
                  <a:pt x="120" y="334"/>
                  <a:pt x="120" y="334"/>
                </a:cubicBezTo>
                <a:cubicBezTo>
                  <a:pt x="120" y="235"/>
                  <a:pt x="120" y="235"/>
                  <a:pt x="120" y="235"/>
                </a:cubicBezTo>
                <a:cubicBezTo>
                  <a:pt x="155" y="270"/>
                  <a:pt x="155" y="270"/>
                  <a:pt x="155" y="270"/>
                </a:cubicBezTo>
                <a:cubicBezTo>
                  <a:pt x="157" y="272"/>
                  <a:pt x="158" y="272"/>
                  <a:pt x="160" y="272"/>
                </a:cubicBezTo>
                <a:cubicBezTo>
                  <a:pt x="162" y="272"/>
                  <a:pt x="164" y="272"/>
                  <a:pt x="165" y="270"/>
                </a:cubicBezTo>
                <a:cubicBezTo>
                  <a:pt x="168" y="268"/>
                  <a:pt x="168" y="263"/>
                  <a:pt x="165" y="260"/>
                </a:cubicBezTo>
                <a:cubicBezTo>
                  <a:pt x="129" y="224"/>
                  <a:pt x="129" y="224"/>
                  <a:pt x="129" y="224"/>
                </a:cubicBezTo>
                <a:cubicBezTo>
                  <a:pt x="181" y="217"/>
                  <a:pt x="222" y="173"/>
                  <a:pt x="225" y="120"/>
                </a:cubicBezTo>
                <a:cubicBezTo>
                  <a:pt x="326" y="120"/>
                  <a:pt x="326" y="120"/>
                  <a:pt x="326" y="120"/>
                </a:cubicBezTo>
                <a:cubicBezTo>
                  <a:pt x="290" y="155"/>
                  <a:pt x="290" y="155"/>
                  <a:pt x="290" y="155"/>
                </a:cubicBezTo>
                <a:cubicBezTo>
                  <a:pt x="288" y="158"/>
                  <a:pt x="288" y="162"/>
                  <a:pt x="290" y="165"/>
                </a:cubicBezTo>
                <a:cubicBezTo>
                  <a:pt x="292" y="166"/>
                  <a:pt x="293" y="167"/>
                  <a:pt x="295" y="167"/>
                </a:cubicBezTo>
                <a:cubicBezTo>
                  <a:pt x="297" y="167"/>
                  <a:pt x="299" y="166"/>
                  <a:pt x="300" y="165"/>
                </a:cubicBezTo>
                <a:cubicBezTo>
                  <a:pt x="343" y="122"/>
                  <a:pt x="343" y="122"/>
                  <a:pt x="343" y="122"/>
                </a:cubicBezTo>
                <a:cubicBezTo>
                  <a:pt x="438" y="217"/>
                  <a:pt x="438" y="217"/>
                  <a:pt x="438" y="217"/>
                </a:cubicBezTo>
                <a:cubicBezTo>
                  <a:pt x="438" y="323"/>
                  <a:pt x="438" y="323"/>
                  <a:pt x="438" y="323"/>
                </a:cubicBezTo>
                <a:cubicBezTo>
                  <a:pt x="403" y="288"/>
                  <a:pt x="403" y="288"/>
                  <a:pt x="403" y="288"/>
                </a:cubicBezTo>
                <a:cubicBezTo>
                  <a:pt x="400" y="285"/>
                  <a:pt x="396" y="285"/>
                  <a:pt x="393" y="288"/>
                </a:cubicBezTo>
                <a:cubicBezTo>
                  <a:pt x="390" y="291"/>
                  <a:pt x="390" y="295"/>
                  <a:pt x="393" y="298"/>
                </a:cubicBezTo>
                <a:cubicBezTo>
                  <a:pt x="430" y="335"/>
                  <a:pt x="430" y="335"/>
                  <a:pt x="430" y="335"/>
                </a:cubicBezTo>
                <a:cubicBezTo>
                  <a:pt x="375" y="342"/>
                  <a:pt x="333" y="389"/>
                  <a:pt x="333" y="446"/>
                </a:cubicBezTo>
                <a:cubicBezTo>
                  <a:pt x="333" y="508"/>
                  <a:pt x="383" y="559"/>
                  <a:pt x="445" y="559"/>
                </a:cubicBezTo>
                <a:cubicBezTo>
                  <a:pt x="508" y="559"/>
                  <a:pt x="558" y="508"/>
                  <a:pt x="558" y="446"/>
                </a:cubicBezTo>
                <a:cubicBezTo>
                  <a:pt x="558" y="389"/>
                  <a:pt x="516" y="342"/>
                  <a:pt x="461" y="335"/>
                </a:cubicBezTo>
                <a:close/>
                <a:moveTo>
                  <a:pt x="212" y="545"/>
                </a:moveTo>
                <a:cubicBezTo>
                  <a:pt x="14" y="545"/>
                  <a:pt x="14" y="545"/>
                  <a:pt x="14" y="545"/>
                </a:cubicBezTo>
                <a:cubicBezTo>
                  <a:pt x="14" y="348"/>
                  <a:pt x="14" y="348"/>
                  <a:pt x="14" y="348"/>
                </a:cubicBezTo>
                <a:cubicBezTo>
                  <a:pt x="212" y="348"/>
                  <a:pt x="212" y="348"/>
                  <a:pt x="212" y="348"/>
                </a:cubicBezTo>
                <a:lnTo>
                  <a:pt x="212" y="545"/>
                </a:lnTo>
                <a:close/>
                <a:moveTo>
                  <a:pt x="116" y="211"/>
                </a:moveTo>
                <a:cubicBezTo>
                  <a:pt x="115" y="211"/>
                  <a:pt x="114" y="211"/>
                  <a:pt x="113" y="211"/>
                </a:cubicBezTo>
                <a:cubicBezTo>
                  <a:pt x="112" y="211"/>
                  <a:pt x="111" y="211"/>
                  <a:pt x="110" y="211"/>
                </a:cubicBezTo>
                <a:cubicBezTo>
                  <a:pt x="57" y="210"/>
                  <a:pt x="14" y="166"/>
                  <a:pt x="14" y="113"/>
                </a:cubicBezTo>
                <a:cubicBezTo>
                  <a:pt x="14" y="58"/>
                  <a:pt x="58" y="14"/>
                  <a:pt x="113" y="14"/>
                </a:cubicBezTo>
                <a:cubicBezTo>
                  <a:pt x="167" y="14"/>
                  <a:pt x="212" y="58"/>
                  <a:pt x="212" y="113"/>
                </a:cubicBezTo>
                <a:cubicBezTo>
                  <a:pt x="212" y="166"/>
                  <a:pt x="169" y="210"/>
                  <a:pt x="116" y="211"/>
                </a:cubicBezTo>
                <a:close/>
                <a:moveTo>
                  <a:pt x="445" y="21"/>
                </a:moveTo>
                <a:cubicBezTo>
                  <a:pt x="537" y="113"/>
                  <a:pt x="537" y="113"/>
                  <a:pt x="537" y="113"/>
                </a:cubicBezTo>
                <a:cubicBezTo>
                  <a:pt x="445" y="204"/>
                  <a:pt x="445" y="204"/>
                  <a:pt x="445" y="204"/>
                </a:cubicBezTo>
                <a:cubicBezTo>
                  <a:pt x="354" y="113"/>
                  <a:pt x="354" y="113"/>
                  <a:pt x="354" y="113"/>
                </a:cubicBezTo>
                <a:lnTo>
                  <a:pt x="445" y="21"/>
                </a:lnTo>
                <a:close/>
                <a:moveTo>
                  <a:pt x="445" y="545"/>
                </a:moveTo>
                <a:cubicBezTo>
                  <a:pt x="391" y="545"/>
                  <a:pt x="347" y="501"/>
                  <a:pt x="347" y="446"/>
                </a:cubicBezTo>
                <a:cubicBezTo>
                  <a:pt x="347" y="392"/>
                  <a:pt x="391" y="348"/>
                  <a:pt x="445" y="348"/>
                </a:cubicBezTo>
                <a:cubicBezTo>
                  <a:pt x="500" y="348"/>
                  <a:pt x="544" y="392"/>
                  <a:pt x="544" y="446"/>
                </a:cubicBezTo>
                <a:cubicBezTo>
                  <a:pt x="544" y="501"/>
                  <a:pt x="500" y="545"/>
                  <a:pt x="445" y="545"/>
                </a:cubicBez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7186" name="Oval 25"/>
          <p:cNvSpPr>
            <a:spLocks noChangeArrowheads="1"/>
          </p:cNvSpPr>
          <p:nvPr/>
        </p:nvSpPr>
        <p:spPr bwMode="auto">
          <a:xfrm>
            <a:off x="8347593" y="3120088"/>
            <a:ext cx="1119124" cy="1119124"/>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9254" name="Freeform 121"/>
          <p:cNvSpPr>
            <a:spLocks noEditPoints="1"/>
          </p:cNvSpPr>
          <p:nvPr/>
        </p:nvSpPr>
        <p:spPr bwMode="auto">
          <a:xfrm>
            <a:off x="8610630" y="3358510"/>
            <a:ext cx="594268" cy="593622"/>
          </a:xfrm>
          <a:custGeom>
            <a:avLst/>
            <a:gdLst>
              <a:gd name="T0" fmla="*/ 7 w 564"/>
              <a:gd name="T1" fmla="*/ 564 h 564"/>
              <a:gd name="T2" fmla="*/ 0 w 564"/>
              <a:gd name="T3" fmla="*/ 7 h 564"/>
              <a:gd name="T4" fmla="*/ 14 w 564"/>
              <a:gd name="T5" fmla="*/ 7 h 564"/>
              <a:gd name="T6" fmla="*/ 557 w 564"/>
              <a:gd name="T7" fmla="*/ 550 h 564"/>
              <a:gd name="T8" fmla="*/ 557 w 564"/>
              <a:gd name="T9" fmla="*/ 564 h 564"/>
              <a:gd name="T10" fmla="*/ 107 w 564"/>
              <a:gd name="T11" fmla="*/ 373 h 564"/>
              <a:gd name="T12" fmla="*/ 107 w 564"/>
              <a:gd name="T13" fmla="*/ 456 h 564"/>
              <a:gd name="T14" fmla="*/ 134 w 564"/>
              <a:gd name="T15" fmla="*/ 414 h 564"/>
              <a:gd name="T16" fmla="*/ 79 w 564"/>
              <a:gd name="T17" fmla="*/ 414 h 564"/>
              <a:gd name="T18" fmla="*/ 134 w 564"/>
              <a:gd name="T19" fmla="*/ 414 h 564"/>
              <a:gd name="T20" fmla="*/ 467 w 564"/>
              <a:gd name="T21" fmla="*/ 289 h 564"/>
              <a:gd name="T22" fmla="*/ 467 w 564"/>
              <a:gd name="T23" fmla="*/ 373 h 564"/>
              <a:gd name="T24" fmla="*/ 495 w 564"/>
              <a:gd name="T25" fmla="*/ 331 h 564"/>
              <a:gd name="T26" fmla="*/ 439 w 564"/>
              <a:gd name="T27" fmla="*/ 331 h 564"/>
              <a:gd name="T28" fmla="*/ 495 w 564"/>
              <a:gd name="T29" fmla="*/ 331 h 564"/>
              <a:gd name="T30" fmla="*/ 308 w 564"/>
              <a:gd name="T31" fmla="*/ 92 h 564"/>
              <a:gd name="T32" fmla="*/ 308 w 564"/>
              <a:gd name="T33" fmla="*/ 175 h 564"/>
              <a:gd name="T34" fmla="*/ 336 w 564"/>
              <a:gd name="T35" fmla="*/ 134 h 564"/>
              <a:gd name="T36" fmla="*/ 281 w 564"/>
              <a:gd name="T37" fmla="*/ 134 h 564"/>
              <a:gd name="T38" fmla="*/ 336 w 564"/>
              <a:gd name="T39" fmla="*/ 134 h 564"/>
              <a:gd name="T40" fmla="*/ 188 w 564"/>
              <a:gd name="T41" fmla="*/ 338 h 564"/>
              <a:gd name="T42" fmla="*/ 188 w 564"/>
              <a:gd name="T43" fmla="*/ 421 h 564"/>
              <a:gd name="T44" fmla="*/ 215 w 564"/>
              <a:gd name="T45" fmla="*/ 380 h 564"/>
              <a:gd name="T46" fmla="*/ 160 w 564"/>
              <a:gd name="T47" fmla="*/ 380 h 564"/>
              <a:gd name="T48" fmla="*/ 215 w 564"/>
              <a:gd name="T49" fmla="*/ 380 h 564"/>
              <a:gd name="T50" fmla="*/ 408 w 564"/>
              <a:gd name="T51" fmla="*/ 39 h 564"/>
              <a:gd name="T52" fmla="*/ 408 w 564"/>
              <a:gd name="T53" fmla="*/ 122 h 564"/>
              <a:gd name="T54" fmla="*/ 436 w 564"/>
              <a:gd name="T55" fmla="*/ 80 h 564"/>
              <a:gd name="T56" fmla="*/ 380 w 564"/>
              <a:gd name="T57" fmla="*/ 80 h 564"/>
              <a:gd name="T58" fmla="*/ 436 w 564"/>
              <a:gd name="T59" fmla="*/ 80 h 564"/>
              <a:gd name="T60" fmla="*/ 336 w 564"/>
              <a:gd name="T61" fmla="*/ 307 h 564"/>
              <a:gd name="T62" fmla="*/ 336 w 564"/>
              <a:gd name="T63" fmla="*/ 452 h 564"/>
              <a:gd name="T64" fmla="*/ 395 w 564"/>
              <a:gd name="T65" fmla="*/ 380 h 564"/>
              <a:gd name="T66" fmla="*/ 278 w 564"/>
              <a:gd name="T67" fmla="*/ 380 h 564"/>
              <a:gd name="T68" fmla="*/ 395 w 564"/>
              <a:gd name="T69" fmla="*/ 380 h 564"/>
              <a:gd name="T70" fmla="*/ 253 w 564"/>
              <a:gd name="T71" fmla="*/ 172 h 564"/>
              <a:gd name="T72" fmla="*/ 253 w 564"/>
              <a:gd name="T73" fmla="*/ 317 h 564"/>
              <a:gd name="T74" fmla="*/ 312 w 564"/>
              <a:gd name="T75" fmla="*/ 245 h 564"/>
              <a:gd name="T76" fmla="*/ 195 w 564"/>
              <a:gd name="T77" fmla="*/ 245 h 564"/>
              <a:gd name="T78" fmla="*/ 312 w 564"/>
              <a:gd name="T79" fmla="*/ 245 h 564"/>
              <a:gd name="T80" fmla="*/ 467 w 564"/>
              <a:gd name="T81" fmla="*/ 127 h 564"/>
              <a:gd name="T82" fmla="*/ 467 w 564"/>
              <a:gd name="T83" fmla="*/ 272 h 564"/>
              <a:gd name="T84" fmla="*/ 526 w 564"/>
              <a:gd name="T85" fmla="*/ 199 h 564"/>
              <a:gd name="T86" fmla="*/ 409 w 564"/>
              <a:gd name="T87" fmla="*/ 199 h 564"/>
              <a:gd name="T88" fmla="*/ 526 w 564"/>
              <a:gd name="T89" fmla="*/ 199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64" h="564">
                <a:moveTo>
                  <a:pt x="557" y="564"/>
                </a:moveTo>
                <a:cubicBezTo>
                  <a:pt x="7" y="564"/>
                  <a:pt x="7" y="564"/>
                  <a:pt x="7" y="564"/>
                </a:cubicBezTo>
                <a:cubicBezTo>
                  <a:pt x="3" y="564"/>
                  <a:pt x="0" y="561"/>
                  <a:pt x="0" y="557"/>
                </a:cubicBezTo>
                <a:cubicBezTo>
                  <a:pt x="0" y="7"/>
                  <a:pt x="0" y="7"/>
                  <a:pt x="0" y="7"/>
                </a:cubicBezTo>
                <a:cubicBezTo>
                  <a:pt x="0" y="3"/>
                  <a:pt x="3" y="0"/>
                  <a:pt x="7" y="0"/>
                </a:cubicBezTo>
                <a:cubicBezTo>
                  <a:pt x="11" y="0"/>
                  <a:pt x="14" y="3"/>
                  <a:pt x="14" y="7"/>
                </a:cubicBezTo>
                <a:cubicBezTo>
                  <a:pt x="14" y="550"/>
                  <a:pt x="14" y="550"/>
                  <a:pt x="14" y="550"/>
                </a:cubicBezTo>
                <a:cubicBezTo>
                  <a:pt x="557" y="550"/>
                  <a:pt x="557" y="550"/>
                  <a:pt x="557" y="550"/>
                </a:cubicBezTo>
                <a:cubicBezTo>
                  <a:pt x="561" y="550"/>
                  <a:pt x="564" y="553"/>
                  <a:pt x="564" y="557"/>
                </a:cubicBezTo>
                <a:cubicBezTo>
                  <a:pt x="564" y="561"/>
                  <a:pt x="561" y="564"/>
                  <a:pt x="557" y="564"/>
                </a:cubicBezTo>
                <a:close/>
                <a:moveTo>
                  <a:pt x="148" y="414"/>
                </a:moveTo>
                <a:cubicBezTo>
                  <a:pt x="148" y="391"/>
                  <a:pt x="130" y="373"/>
                  <a:pt x="107" y="373"/>
                </a:cubicBezTo>
                <a:cubicBezTo>
                  <a:pt x="84" y="373"/>
                  <a:pt x="65" y="391"/>
                  <a:pt x="65" y="414"/>
                </a:cubicBezTo>
                <a:cubicBezTo>
                  <a:pt x="65" y="437"/>
                  <a:pt x="84" y="456"/>
                  <a:pt x="107" y="456"/>
                </a:cubicBezTo>
                <a:cubicBezTo>
                  <a:pt x="130" y="456"/>
                  <a:pt x="148" y="437"/>
                  <a:pt x="148" y="414"/>
                </a:cubicBezTo>
                <a:close/>
                <a:moveTo>
                  <a:pt x="134" y="414"/>
                </a:moveTo>
                <a:cubicBezTo>
                  <a:pt x="134" y="430"/>
                  <a:pt x="122" y="442"/>
                  <a:pt x="107" y="442"/>
                </a:cubicBezTo>
                <a:cubicBezTo>
                  <a:pt x="91" y="442"/>
                  <a:pt x="79" y="430"/>
                  <a:pt x="79" y="414"/>
                </a:cubicBezTo>
                <a:cubicBezTo>
                  <a:pt x="79" y="399"/>
                  <a:pt x="91" y="387"/>
                  <a:pt x="107" y="387"/>
                </a:cubicBezTo>
                <a:cubicBezTo>
                  <a:pt x="122" y="387"/>
                  <a:pt x="134" y="399"/>
                  <a:pt x="134" y="414"/>
                </a:cubicBezTo>
                <a:close/>
                <a:moveTo>
                  <a:pt x="509" y="331"/>
                </a:moveTo>
                <a:cubicBezTo>
                  <a:pt x="509" y="308"/>
                  <a:pt x="490" y="289"/>
                  <a:pt x="467" y="289"/>
                </a:cubicBezTo>
                <a:cubicBezTo>
                  <a:pt x="444" y="289"/>
                  <a:pt x="425" y="308"/>
                  <a:pt x="425" y="331"/>
                </a:cubicBezTo>
                <a:cubicBezTo>
                  <a:pt x="425" y="354"/>
                  <a:pt x="444" y="373"/>
                  <a:pt x="467" y="373"/>
                </a:cubicBezTo>
                <a:cubicBezTo>
                  <a:pt x="490" y="373"/>
                  <a:pt x="509" y="354"/>
                  <a:pt x="509" y="331"/>
                </a:cubicBezTo>
                <a:close/>
                <a:moveTo>
                  <a:pt x="495" y="331"/>
                </a:moveTo>
                <a:cubicBezTo>
                  <a:pt x="495" y="346"/>
                  <a:pt x="482" y="359"/>
                  <a:pt x="467" y="359"/>
                </a:cubicBezTo>
                <a:cubicBezTo>
                  <a:pt x="452" y="359"/>
                  <a:pt x="439" y="346"/>
                  <a:pt x="439" y="331"/>
                </a:cubicBezTo>
                <a:cubicBezTo>
                  <a:pt x="439" y="316"/>
                  <a:pt x="452" y="303"/>
                  <a:pt x="467" y="303"/>
                </a:cubicBezTo>
                <a:cubicBezTo>
                  <a:pt x="482" y="303"/>
                  <a:pt x="495" y="316"/>
                  <a:pt x="495" y="331"/>
                </a:cubicBezTo>
                <a:close/>
                <a:moveTo>
                  <a:pt x="350" y="134"/>
                </a:moveTo>
                <a:cubicBezTo>
                  <a:pt x="350" y="111"/>
                  <a:pt x="331" y="92"/>
                  <a:pt x="308" y="92"/>
                </a:cubicBezTo>
                <a:cubicBezTo>
                  <a:pt x="285" y="92"/>
                  <a:pt x="267" y="111"/>
                  <a:pt x="267" y="134"/>
                </a:cubicBezTo>
                <a:cubicBezTo>
                  <a:pt x="267" y="157"/>
                  <a:pt x="285" y="175"/>
                  <a:pt x="308" y="175"/>
                </a:cubicBezTo>
                <a:cubicBezTo>
                  <a:pt x="331" y="175"/>
                  <a:pt x="350" y="157"/>
                  <a:pt x="350" y="134"/>
                </a:cubicBezTo>
                <a:close/>
                <a:moveTo>
                  <a:pt x="336" y="134"/>
                </a:moveTo>
                <a:cubicBezTo>
                  <a:pt x="336" y="149"/>
                  <a:pt x="324" y="161"/>
                  <a:pt x="308" y="161"/>
                </a:cubicBezTo>
                <a:cubicBezTo>
                  <a:pt x="293" y="161"/>
                  <a:pt x="281" y="149"/>
                  <a:pt x="281" y="134"/>
                </a:cubicBezTo>
                <a:cubicBezTo>
                  <a:pt x="281" y="118"/>
                  <a:pt x="293" y="106"/>
                  <a:pt x="308" y="106"/>
                </a:cubicBezTo>
                <a:cubicBezTo>
                  <a:pt x="324" y="106"/>
                  <a:pt x="336" y="118"/>
                  <a:pt x="336" y="134"/>
                </a:cubicBezTo>
                <a:close/>
                <a:moveTo>
                  <a:pt x="229" y="380"/>
                </a:moveTo>
                <a:cubicBezTo>
                  <a:pt x="229" y="357"/>
                  <a:pt x="211" y="338"/>
                  <a:pt x="188" y="338"/>
                </a:cubicBezTo>
                <a:cubicBezTo>
                  <a:pt x="165" y="338"/>
                  <a:pt x="146" y="357"/>
                  <a:pt x="146" y="380"/>
                </a:cubicBezTo>
                <a:cubicBezTo>
                  <a:pt x="146" y="403"/>
                  <a:pt x="165" y="421"/>
                  <a:pt x="188" y="421"/>
                </a:cubicBezTo>
                <a:cubicBezTo>
                  <a:pt x="211" y="421"/>
                  <a:pt x="229" y="403"/>
                  <a:pt x="229" y="380"/>
                </a:cubicBezTo>
                <a:close/>
                <a:moveTo>
                  <a:pt x="215" y="380"/>
                </a:moveTo>
                <a:cubicBezTo>
                  <a:pt x="215" y="395"/>
                  <a:pt x="203" y="407"/>
                  <a:pt x="188" y="407"/>
                </a:cubicBezTo>
                <a:cubicBezTo>
                  <a:pt x="172" y="407"/>
                  <a:pt x="160" y="395"/>
                  <a:pt x="160" y="380"/>
                </a:cubicBezTo>
                <a:cubicBezTo>
                  <a:pt x="160" y="364"/>
                  <a:pt x="172" y="352"/>
                  <a:pt x="188" y="352"/>
                </a:cubicBezTo>
                <a:cubicBezTo>
                  <a:pt x="203" y="352"/>
                  <a:pt x="215" y="364"/>
                  <a:pt x="215" y="380"/>
                </a:cubicBezTo>
                <a:close/>
                <a:moveTo>
                  <a:pt x="450" y="80"/>
                </a:moveTo>
                <a:cubicBezTo>
                  <a:pt x="450" y="57"/>
                  <a:pt x="431" y="39"/>
                  <a:pt x="408" y="39"/>
                </a:cubicBezTo>
                <a:cubicBezTo>
                  <a:pt x="385" y="39"/>
                  <a:pt x="366" y="57"/>
                  <a:pt x="366" y="80"/>
                </a:cubicBezTo>
                <a:cubicBezTo>
                  <a:pt x="366" y="103"/>
                  <a:pt x="385" y="122"/>
                  <a:pt x="408" y="122"/>
                </a:cubicBezTo>
                <a:cubicBezTo>
                  <a:pt x="431" y="122"/>
                  <a:pt x="450" y="103"/>
                  <a:pt x="450" y="80"/>
                </a:cubicBezTo>
                <a:close/>
                <a:moveTo>
                  <a:pt x="436" y="80"/>
                </a:moveTo>
                <a:cubicBezTo>
                  <a:pt x="436" y="96"/>
                  <a:pt x="423" y="108"/>
                  <a:pt x="408" y="108"/>
                </a:cubicBezTo>
                <a:cubicBezTo>
                  <a:pt x="393" y="108"/>
                  <a:pt x="380" y="96"/>
                  <a:pt x="380" y="80"/>
                </a:cubicBezTo>
                <a:cubicBezTo>
                  <a:pt x="380" y="65"/>
                  <a:pt x="393" y="53"/>
                  <a:pt x="408" y="53"/>
                </a:cubicBezTo>
                <a:cubicBezTo>
                  <a:pt x="423" y="53"/>
                  <a:pt x="436" y="65"/>
                  <a:pt x="436" y="80"/>
                </a:cubicBezTo>
                <a:close/>
                <a:moveTo>
                  <a:pt x="409" y="380"/>
                </a:moveTo>
                <a:cubicBezTo>
                  <a:pt x="409" y="340"/>
                  <a:pt x="376" y="307"/>
                  <a:pt x="336" y="307"/>
                </a:cubicBezTo>
                <a:cubicBezTo>
                  <a:pt x="296" y="307"/>
                  <a:pt x="264" y="340"/>
                  <a:pt x="264" y="380"/>
                </a:cubicBezTo>
                <a:cubicBezTo>
                  <a:pt x="264" y="420"/>
                  <a:pt x="296" y="452"/>
                  <a:pt x="336" y="452"/>
                </a:cubicBezTo>
                <a:cubicBezTo>
                  <a:pt x="376" y="452"/>
                  <a:pt x="409" y="420"/>
                  <a:pt x="409" y="380"/>
                </a:cubicBezTo>
                <a:close/>
                <a:moveTo>
                  <a:pt x="395" y="380"/>
                </a:moveTo>
                <a:cubicBezTo>
                  <a:pt x="395" y="412"/>
                  <a:pt x="369" y="438"/>
                  <a:pt x="336" y="438"/>
                </a:cubicBezTo>
                <a:cubicBezTo>
                  <a:pt x="304" y="438"/>
                  <a:pt x="278" y="412"/>
                  <a:pt x="278" y="380"/>
                </a:cubicBezTo>
                <a:cubicBezTo>
                  <a:pt x="278" y="347"/>
                  <a:pt x="304" y="321"/>
                  <a:pt x="336" y="321"/>
                </a:cubicBezTo>
                <a:cubicBezTo>
                  <a:pt x="369" y="321"/>
                  <a:pt x="395" y="347"/>
                  <a:pt x="395" y="380"/>
                </a:cubicBezTo>
                <a:close/>
                <a:moveTo>
                  <a:pt x="326" y="245"/>
                </a:moveTo>
                <a:cubicBezTo>
                  <a:pt x="326" y="205"/>
                  <a:pt x="293" y="172"/>
                  <a:pt x="253" y="172"/>
                </a:cubicBezTo>
                <a:cubicBezTo>
                  <a:pt x="213" y="172"/>
                  <a:pt x="181" y="205"/>
                  <a:pt x="181" y="245"/>
                </a:cubicBezTo>
                <a:cubicBezTo>
                  <a:pt x="181" y="285"/>
                  <a:pt x="213" y="317"/>
                  <a:pt x="253" y="317"/>
                </a:cubicBezTo>
                <a:cubicBezTo>
                  <a:pt x="293" y="317"/>
                  <a:pt x="326" y="285"/>
                  <a:pt x="326" y="245"/>
                </a:cubicBezTo>
                <a:close/>
                <a:moveTo>
                  <a:pt x="312" y="245"/>
                </a:moveTo>
                <a:cubicBezTo>
                  <a:pt x="312" y="277"/>
                  <a:pt x="285" y="303"/>
                  <a:pt x="253" y="303"/>
                </a:cubicBezTo>
                <a:cubicBezTo>
                  <a:pt x="221" y="303"/>
                  <a:pt x="195" y="277"/>
                  <a:pt x="195" y="245"/>
                </a:cubicBezTo>
                <a:cubicBezTo>
                  <a:pt x="195" y="212"/>
                  <a:pt x="221" y="186"/>
                  <a:pt x="253" y="186"/>
                </a:cubicBezTo>
                <a:cubicBezTo>
                  <a:pt x="285" y="186"/>
                  <a:pt x="312" y="212"/>
                  <a:pt x="312" y="245"/>
                </a:cubicBezTo>
                <a:close/>
                <a:moveTo>
                  <a:pt x="540" y="199"/>
                </a:moveTo>
                <a:cubicBezTo>
                  <a:pt x="540" y="159"/>
                  <a:pt x="507" y="127"/>
                  <a:pt x="467" y="127"/>
                </a:cubicBezTo>
                <a:cubicBezTo>
                  <a:pt x="427" y="127"/>
                  <a:pt x="395" y="159"/>
                  <a:pt x="395" y="199"/>
                </a:cubicBezTo>
                <a:cubicBezTo>
                  <a:pt x="395" y="239"/>
                  <a:pt x="427" y="272"/>
                  <a:pt x="467" y="272"/>
                </a:cubicBezTo>
                <a:cubicBezTo>
                  <a:pt x="507" y="272"/>
                  <a:pt x="540" y="239"/>
                  <a:pt x="540" y="199"/>
                </a:cubicBezTo>
                <a:close/>
                <a:moveTo>
                  <a:pt x="526" y="199"/>
                </a:moveTo>
                <a:cubicBezTo>
                  <a:pt x="526" y="231"/>
                  <a:pt x="499" y="258"/>
                  <a:pt x="467" y="258"/>
                </a:cubicBezTo>
                <a:cubicBezTo>
                  <a:pt x="435" y="258"/>
                  <a:pt x="409" y="231"/>
                  <a:pt x="409" y="199"/>
                </a:cubicBezTo>
                <a:cubicBezTo>
                  <a:pt x="409" y="167"/>
                  <a:pt x="435" y="141"/>
                  <a:pt x="467" y="141"/>
                </a:cubicBezTo>
                <a:cubicBezTo>
                  <a:pt x="499" y="141"/>
                  <a:pt x="526" y="167"/>
                  <a:pt x="526" y="199"/>
                </a:cubicBez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7180" name="Oval 19"/>
          <p:cNvSpPr>
            <a:spLocks noChangeArrowheads="1"/>
          </p:cNvSpPr>
          <p:nvPr/>
        </p:nvSpPr>
        <p:spPr bwMode="auto">
          <a:xfrm>
            <a:off x="1315706" y="4711628"/>
            <a:ext cx="1119124" cy="1119124"/>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9255" name="Freeform 122"/>
          <p:cNvSpPr>
            <a:spLocks noEditPoints="1"/>
          </p:cNvSpPr>
          <p:nvPr/>
        </p:nvSpPr>
        <p:spPr bwMode="auto">
          <a:xfrm>
            <a:off x="1537450" y="4938495"/>
            <a:ext cx="596704" cy="665393"/>
          </a:xfrm>
          <a:custGeom>
            <a:avLst/>
            <a:gdLst>
              <a:gd name="T0" fmla="*/ 566 w 566"/>
              <a:gd name="T1" fmla="*/ 128 h 632"/>
              <a:gd name="T2" fmla="*/ 438 w 566"/>
              <a:gd name="T3" fmla="*/ 0 h 632"/>
              <a:gd name="T4" fmla="*/ 390 w 566"/>
              <a:gd name="T5" fmla="*/ 60 h 632"/>
              <a:gd name="T6" fmla="*/ 347 w 566"/>
              <a:gd name="T7" fmla="*/ 148 h 632"/>
              <a:gd name="T8" fmla="*/ 219 w 566"/>
              <a:gd name="T9" fmla="*/ 87 h 632"/>
              <a:gd name="T10" fmla="*/ 176 w 566"/>
              <a:gd name="T11" fmla="*/ 148 h 632"/>
              <a:gd name="T12" fmla="*/ 135 w 566"/>
              <a:gd name="T13" fmla="*/ 309 h 632"/>
              <a:gd name="T14" fmla="*/ 7 w 566"/>
              <a:gd name="T15" fmla="*/ 249 h 632"/>
              <a:gd name="T16" fmla="*/ 7 w 566"/>
              <a:gd name="T17" fmla="*/ 384 h 632"/>
              <a:gd name="T18" fmla="*/ 135 w 566"/>
              <a:gd name="T19" fmla="*/ 323 h 632"/>
              <a:gd name="T20" fmla="*/ 176 w 566"/>
              <a:gd name="T21" fmla="*/ 485 h 632"/>
              <a:gd name="T22" fmla="*/ 219 w 566"/>
              <a:gd name="T23" fmla="*/ 545 h 632"/>
              <a:gd name="T24" fmla="*/ 347 w 566"/>
              <a:gd name="T25" fmla="*/ 485 h 632"/>
              <a:gd name="T26" fmla="*/ 390 w 566"/>
              <a:gd name="T27" fmla="*/ 572 h 632"/>
              <a:gd name="T28" fmla="*/ 438 w 566"/>
              <a:gd name="T29" fmla="*/ 632 h 632"/>
              <a:gd name="T30" fmla="*/ 566 w 566"/>
              <a:gd name="T31" fmla="*/ 504 h 632"/>
              <a:gd name="T32" fmla="*/ 431 w 566"/>
              <a:gd name="T33" fmla="*/ 504 h 632"/>
              <a:gd name="T34" fmla="*/ 397 w 566"/>
              <a:gd name="T35" fmla="*/ 406 h 632"/>
              <a:gd name="T36" fmla="*/ 438 w 566"/>
              <a:gd name="T37" fmla="*/ 466 h 632"/>
              <a:gd name="T38" fmla="*/ 566 w 566"/>
              <a:gd name="T39" fmla="*/ 338 h 632"/>
              <a:gd name="T40" fmla="*/ 431 w 566"/>
              <a:gd name="T41" fmla="*/ 338 h 632"/>
              <a:gd name="T42" fmla="*/ 383 w 566"/>
              <a:gd name="T43" fmla="*/ 399 h 632"/>
              <a:gd name="T44" fmla="*/ 347 w 566"/>
              <a:gd name="T45" fmla="*/ 417 h 632"/>
              <a:gd name="T46" fmla="*/ 212 w 566"/>
              <a:gd name="T47" fmla="*/ 417 h 632"/>
              <a:gd name="T48" fmla="*/ 183 w 566"/>
              <a:gd name="T49" fmla="*/ 162 h 632"/>
              <a:gd name="T50" fmla="*/ 219 w 566"/>
              <a:gd name="T51" fmla="*/ 222 h 632"/>
              <a:gd name="T52" fmla="*/ 347 w 566"/>
              <a:gd name="T53" fmla="*/ 162 h 632"/>
              <a:gd name="T54" fmla="*/ 390 w 566"/>
              <a:gd name="T55" fmla="*/ 241 h 632"/>
              <a:gd name="T56" fmla="*/ 438 w 566"/>
              <a:gd name="T57" fmla="*/ 301 h 632"/>
              <a:gd name="T58" fmla="*/ 566 w 566"/>
              <a:gd name="T59" fmla="*/ 173 h 632"/>
              <a:gd name="T60" fmla="*/ 431 w 566"/>
              <a:gd name="T61" fmla="*/ 173 h 632"/>
              <a:gd name="T62" fmla="*/ 397 w 566"/>
              <a:gd name="T63" fmla="*/ 74 h 632"/>
              <a:gd name="T64" fmla="*/ 438 w 566"/>
              <a:gd name="T65" fmla="*/ 135 h 632"/>
              <a:gd name="T66" fmla="*/ 14 w 566"/>
              <a:gd name="T67" fmla="*/ 263 h 632"/>
              <a:gd name="T68" fmla="*/ 445 w 566"/>
              <a:gd name="T69" fmla="*/ 511 h 632"/>
              <a:gd name="T70" fmla="*/ 445 w 566"/>
              <a:gd name="T71" fmla="*/ 618 h 632"/>
              <a:gd name="T72" fmla="*/ 552 w 566"/>
              <a:gd name="T73" fmla="*/ 345 h 632"/>
              <a:gd name="T74" fmla="*/ 445 w 566"/>
              <a:gd name="T75" fmla="*/ 345 h 632"/>
              <a:gd name="T76" fmla="*/ 333 w 566"/>
              <a:gd name="T77" fmla="*/ 531 h 632"/>
              <a:gd name="T78" fmla="*/ 333 w 566"/>
              <a:gd name="T79" fmla="*/ 208 h 632"/>
              <a:gd name="T80" fmla="*/ 333 w 566"/>
              <a:gd name="T81" fmla="*/ 101 h 632"/>
              <a:gd name="T82" fmla="*/ 552 w 566"/>
              <a:gd name="T83" fmla="*/ 180 h 632"/>
              <a:gd name="T84" fmla="*/ 445 w 566"/>
              <a:gd name="T85" fmla="*/ 180 h 632"/>
              <a:gd name="T86" fmla="*/ 552 w 566"/>
              <a:gd name="T87" fmla="*/ 121 h 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66" h="632">
                <a:moveTo>
                  <a:pt x="438" y="135"/>
                </a:moveTo>
                <a:cubicBezTo>
                  <a:pt x="559" y="135"/>
                  <a:pt x="559" y="135"/>
                  <a:pt x="559" y="135"/>
                </a:cubicBezTo>
                <a:cubicBezTo>
                  <a:pt x="562" y="135"/>
                  <a:pt x="566" y="132"/>
                  <a:pt x="566" y="128"/>
                </a:cubicBezTo>
                <a:cubicBezTo>
                  <a:pt x="566" y="7"/>
                  <a:pt x="566" y="7"/>
                  <a:pt x="566" y="7"/>
                </a:cubicBezTo>
                <a:cubicBezTo>
                  <a:pt x="566" y="3"/>
                  <a:pt x="562" y="0"/>
                  <a:pt x="559" y="0"/>
                </a:cubicBezTo>
                <a:cubicBezTo>
                  <a:pt x="438" y="0"/>
                  <a:pt x="438" y="0"/>
                  <a:pt x="438" y="0"/>
                </a:cubicBezTo>
                <a:cubicBezTo>
                  <a:pt x="434" y="0"/>
                  <a:pt x="431" y="3"/>
                  <a:pt x="431" y="7"/>
                </a:cubicBezTo>
                <a:cubicBezTo>
                  <a:pt x="431" y="60"/>
                  <a:pt x="431" y="60"/>
                  <a:pt x="431" y="60"/>
                </a:cubicBezTo>
                <a:cubicBezTo>
                  <a:pt x="390" y="60"/>
                  <a:pt x="390" y="60"/>
                  <a:pt x="390" y="60"/>
                </a:cubicBezTo>
                <a:cubicBezTo>
                  <a:pt x="386" y="60"/>
                  <a:pt x="383" y="63"/>
                  <a:pt x="383" y="67"/>
                </a:cubicBezTo>
                <a:cubicBezTo>
                  <a:pt x="383" y="148"/>
                  <a:pt x="383" y="148"/>
                  <a:pt x="383" y="148"/>
                </a:cubicBezTo>
                <a:cubicBezTo>
                  <a:pt x="347" y="148"/>
                  <a:pt x="347" y="148"/>
                  <a:pt x="347" y="148"/>
                </a:cubicBezTo>
                <a:cubicBezTo>
                  <a:pt x="347" y="94"/>
                  <a:pt x="347" y="94"/>
                  <a:pt x="347" y="94"/>
                </a:cubicBezTo>
                <a:cubicBezTo>
                  <a:pt x="347" y="90"/>
                  <a:pt x="344" y="87"/>
                  <a:pt x="340" y="87"/>
                </a:cubicBezTo>
                <a:cubicBezTo>
                  <a:pt x="219" y="87"/>
                  <a:pt x="219" y="87"/>
                  <a:pt x="219" y="87"/>
                </a:cubicBezTo>
                <a:cubicBezTo>
                  <a:pt x="215" y="87"/>
                  <a:pt x="212" y="90"/>
                  <a:pt x="212" y="94"/>
                </a:cubicBezTo>
                <a:cubicBezTo>
                  <a:pt x="212" y="148"/>
                  <a:pt x="212" y="148"/>
                  <a:pt x="212" y="148"/>
                </a:cubicBezTo>
                <a:cubicBezTo>
                  <a:pt x="176" y="148"/>
                  <a:pt x="176" y="148"/>
                  <a:pt x="176" y="148"/>
                </a:cubicBezTo>
                <a:cubicBezTo>
                  <a:pt x="172" y="148"/>
                  <a:pt x="169" y="151"/>
                  <a:pt x="169" y="155"/>
                </a:cubicBezTo>
                <a:cubicBezTo>
                  <a:pt x="169" y="309"/>
                  <a:pt x="169" y="309"/>
                  <a:pt x="169" y="309"/>
                </a:cubicBezTo>
                <a:cubicBezTo>
                  <a:pt x="135" y="309"/>
                  <a:pt x="135" y="309"/>
                  <a:pt x="135" y="309"/>
                </a:cubicBezTo>
                <a:cubicBezTo>
                  <a:pt x="135" y="256"/>
                  <a:pt x="135" y="256"/>
                  <a:pt x="135" y="256"/>
                </a:cubicBezTo>
                <a:cubicBezTo>
                  <a:pt x="135" y="252"/>
                  <a:pt x="132" y="249"/>
                  <a:pt x="128" y="249"/>
                </a:cubicBezTo>
                <a:cubicBezTo>
                  <a:pt x="7" y="249"/>
                  <a:pt x="7" y="249"/>
                  <a:pt x="7" y="249"/>
                </a:cubicBezTo>
                <a:cubicBezTo>
                  <a:pt x="3" y="249"/>
                  <a:pt x="0" y="252"/>
                  <a:pt x="0" y="256"/>
                </a:cubicBezTo>
                <a:cubicBezTo>
                  <a:pt x="0" y="377"/>
                  <a:pt x="0" y="377"/>
                  <a:pt x="0" y="377"/>
                </a:cubicBezTo>
                <a:cubicBezTo>
                  <a:pt x="0" y="381"/>
                  <a:pt x="3" y="384"/>
                  <a:pt x="7" y="384"/>
                </a:cubicBezTo>
                <a:cubicBezTo>
                  <a:pt x="128" y="384"/>
                  <a:pt x="128" y="384"/>
                  <a:pt x="128" y="384"/>
                </a:cubicBezTo>
                <a:cubicBezTo>
                  <a:pt x="132" y="384"/>
                  <a:pt x="135" y="381"/>
                  <a:pt x="135" y="377"/>
                </a:cubicBezTo>
                <a:cubicBezTo>
                  <a:pt x="135" y="323"/>
                  <a:pt x="135" y="323"/>
                  <a:pt x="135" y="323"/>
                </a:cubicBezTo>
                <a:cubicBezTo>
                  <a:pt x="169" y="323"/>
                  <a:pt x="169" y="323"/>
                  <a:pt x="169" y="323"/>
                </a:cubicBezTo>
                <a:cubicBezTo>
                  <a:pt x="169" y="478"/>
                  <a:pt x="169" y="478"/>
                  <a:pt x="169" y="478"/>
                </a:cubicBezTo>
                <a:cubicBezTo>
                  <a:pt x="169" y="481"/>
                  <a:pt x="172" y="485"/>
                  <a:pt x="176" y="485"/>
                </a:cubicBezTo>
                <a:cubicBezTo>
                  <a:pt x="212" y="485"/>
                  <a:pt x="212" y="485"/>
                  <a:pt x="212" y="485"/>
                </a:cubicBezTo>
                <a:cubicBezTo>
                  <a:pt x="212" y="538"/>
                  <a:pt x="212" y="538"/>
                  <a:pt x="212" y="538"/>
                </a:cubicBezTo>
                <a:cubicBezTo>
                  <a:pt x="212" y="542"/>
                  <a:pt x="215" y="545"/>
                  <a:pt x="219" y="545"/>
                </a:cubicBezTo>
                <a:cubicBezTo>
                  <a:pt x="340" y="545"/>
                  <a:pt x="340" y="545"/>
                  <a:pt x="340" y="545"/>
                </a:cubicBezTo>
                <a:cubicBezTo>
                  <a:pt x="344" y="545"/>
                  <a:pt x="347" y="542"/>
                  <a:pt x="347" y="538"/>
                </a:cubicBezTo>
                <a:cubicBezTo>
                  <a:pt x="347" y="485"/>
                  <a:pt x="347" y="485"/>
                  <a:pt x="347" y="485"/>
                </a:cubicBezTo>
                <a:cubicBezTo>
                  <a:pt x="383" y="485"/>
                  <a:pt x="383" y="485"/>
                  <a:pt x="383" y="485"/>
                </a:cubicBezTo>
                <a:cubicBezTo>
                  <a:pt x="383" y="565"/>
                  <a:pt x="383" y="565"/>
                  <a:pt x="383" y="565"/>
                </a:cubicBezTo>
                <a:cubicBezTo>
                  <a:pt x="383" y="569"/>
                  <a:pt x="386" y="572"/>
                  <a:pt x="390" y="572"/>
                </a:cubicBezTo>
                <a:cubicBezTo>
                  <a:pt x="431" y="572"/>
                  <a:pt x="431" y="572"/>
                  <a:pt x="431" y="572"/>
                </a:cubicBezTo>
                <a:cubicBezTo>
                  <a:pt x="431" y="625"/>
                  <a:pt x="431" y="625"/>
                  <a:pt x="431" y="625"/>
                </a:cubicBezTo>
                <a:cubicBezTo>
                  <a:pt x="431" y="629"/>
                  <a:pt x="434" y="632"/>
                  <a:pt x="438" y="632"/>
                </a:cubicBezTo>
                <a:cubicBezTo>
                  <a:pt x="559" y="632"/>
                  <a:pt x="559" y="632"/>
                  <a:pt x="559" y="632"/>
                </a:cubicBezTo>
                <a:cubicBezTo>
                  <a:pt x="562" y="632"/>
                  <a:pt x="566" y="629"/>
                  <a:pt x="566" y="625"/>
                </a:cubicBezTo>
                <a:cubicBezTo>
                  <a:pt x="566" y="504"/>
                  <a:pt x="566" y="504"/>
                  <a:pt x="566" y="504"/>
                </a:cubicBezTo>
                <a:cubicBezTo>
                  <a:pt x="566" y="500"/>
                  <a:pt x="562" y="497"/>
                  <a:pt x="559" y="497"/>
                </a:cubicBezTo>
                <a:cubicBezTo>
                  <a:pt x="438" y="497"/>
                  <a:pt x="438" y="497"/>
                  <a:pt x="438" y="497"/>
                </a:cubicBezTo>
                <a:cubicBezTo>
                  <a:pt x="434" y="497"/>
                  <a:pt x="431" y="500"/>
                  <a:pt x="431" y="504"/>
                </a:cubicBezTo>
                <a:cubicBezTo>
                  <a:pt x="431" y="558"/>
                  <a:pt x="431" y="558"/>
                  <a:pt x="431" y="558"/>
                </a:cubicBezTo>
                <a:cubicBezTo>
                  <a:pt x="397" y="558"/>
                  <a:pt x="397" y="558"/>
                  <a:pt x="397" y="558"/>
                </a:cubicBezTo>
                <a:cubicBezTo>
                  <a:pt x="397" y="406"/>
                  <a:pt x="397" y="406"/>
                  <a:pt x="397" y="406"/>
                </a:cubicBezTo>
                <a:cubicBezTo>
                  <a:pt x="431" y="406"/>
                  <a:pt x="431" y="406"/>
                  <a:pt x="431" y="406"/>
                </a:cubicBezTo>
                <a:cubicBezTo>
                  <a:pt x="431" y="459"/>
                  <a:pt x="431" y="459"/>
                  <a:pt x="431" y="459"/>
                </a:cubicBezTo>
                <a:cubicBezTo>
                  <a:pt x="431" y="463"/>
                  <a:pt x="434" y="466"/>
                  <a:pt x="438" y="466"/>
                </a:cubicBezTo>
                <a:cubicBezTo>
                  <a:pt x="559" y="466"/>
                  <a:pt x="559" y="466"/>
                  <a:pt x="559" y="466"/>
                </a:cubicBezTo>
                <a:cubicBezTo>
                  <a:pt x="562" y="466"/>
                  <a:pt x="566" y="463"/>
                  <a:pt x="566" y="459"/>
                </a:cubicBezTo>
                <a:cubicBezTo>
                  <a:pt x="566" y="338"/>
                  <a:pt x="566" y="338"/>
                  <a:pt x="566" y="338"/>
                </a:cubicBezTo>
                <a:cubicBezTo>
                  <a:pt x="566" y="335"/>
                  <a:pt x="562" y="331"/>
                  <a:pt x="559" y="331"/>
                </a:cubicBezTo>
                <a:cubicBezTo>
                  <a:pt x="438" y="331"/>
                  <a:pt x="438" y="331"/>
                  <a:pt x="438" y="331"/>
                </a:cubicBezTo>
                <a:cubicBezTo>
                  <a:pt x="434" y="331"/>
                  <a:pt x="431" y="335"/>
                  <a:pt x="431" y="338"/>
                </a:cubicBezTo>
                <a:cubicBezTo>
                  <a:pt x="431" y="392"/>
                  <a:pt x="431" y="392"/>
                  <a:pt x="431" y="392"/>
                </a:cubicBezTo>
                <a:cubicBezTo>
                  <a:pt x="390" y="392"/>
                  <a:pt x="390" y="392"/>
                  <a:pt x="390" y="392"/>
                </a:cubicBezTo>
                <a:cubicBezTo>
                  <a:pt x="386" y="392"/>
                  <a:pt x="383" y="395"/>
                  <a:pt x="383" y="399"/>
                </a:cubicBezTo>
                <a:cubicBezTo>
                  <a:pt x="383" y="471"/>
                  <a:pt x="383" y="471"/>
                  <a:pt x="383" y="471"/>
                </a:cubicBezTo>
                <a:cubicBezTo>
                  <a:pt x="347" y="471"/>
                  <a:pt x="347" y="471"/>
                  <a:pt x="347" y="471"/>
                </a:cubicBezTo>
                <a:cubicBezTo>
                  <a:pt x="347" y="417"/>
                  <a:pt x="347" y="417"/>
                  <a:pt x="347" y="417"/>
                </a:cubicBezTo>
                <a:cubicBezTo>
                  <a:pt x="347" y="413"/>
                  <a:pt x="344" y="410"/>
                  <a:pt x="340" y="410"/>
                </a:cubicBezTo>
                <a:cubicBezTo>
                  <a:pt x="219" y="410"/>
                  <a:pt x="219" y="410"/>
                  <a:pt x="219" y="410"/>
                </a:cubicBezTo>
                <a:cubicBezTo>
                  <a:pt x="215" y="410"/>
                  <a:pt x="212" y="413"/>
                  <a:pt x="212" y="417"/>
                </a:cubicBezTo>
                <a:cubicBezTo>
                  <a:pt x="212" y="471"/>
                  <a:pt x="212" y="471"/>
                  <a:pt x="212" y="471"/>
                </a:cubicBezTo>
                <a:cubicBezTo>
                  <a:pt x="183" y="471"/>
                  <a:pt x="183" y="471"/>
                  <a:pt x="183" y="471"/>
                </a:cubicBezTo>
                <a:cubicBezTo>
                  <a:pt x="183" y="162"/>
                  <a:pt x="183" y="162"/>
                  <a:pt x="183" y="162"/>
                </a:cubicBezTo>
                <a:cubicBezTo>
                  <a:pt x="212" y="162"/>
                  <a:pt x="212" y="162"/>
                  <a:pt x="212" y="162"/>
                </a:cubicBezTo>
                <a:cubicBezTo>
                  <a:pt x="212" y="215"/>
                  <a:pt x="212" y="215"/>
                  <a:pt x="212" y="215"/>
                </a:cubicBezTo>
                <a:cubicBezTo>
                  <a:pt x="212" y="219"/>
                  <a:pt x="215" y="222"/>
                  <a:pt x="219" y="222"/>
                </a:cubicBezTo>
                <a:cubicBezTo>
                  <a:pt x="340" y="222"/>
                  <a:pt x="340" y="222"/>
                  <a:pt x="340" y="222"/>
                </a:cubicBezTo>
                <a:cubicBezTo>
                  <a:pt x="344" y="222"/>
                  <a:pt x="347" y="219"/>
                  <a:pt x="347" y="215"/>
                </a:cubicBezTo>
                <a:cubicBezTo>
                  <a:pt x="347" y="162"/>
                  <a:pt x="347" y="162"/>
                  <a:pt x="347" y="162"/>
                </a:cubicBezTo>
                <a:cubicBezTo>
                  <a:pt x="383" y="162"/>
                  <a:pt x="383" y="162"/>
                  <a:pt x="383" y="162"/>
                </a:cubicBezTo>
                <a:cubicBezTo>
                  <a:pt x="383" y="234"/>
                  <a:pt x="383" y="234"/>
                  <a:pt x="383" y="234"/>
                </a:cubicBezTo>
                <a:cubicBezTo>
                  <a:pt x="383" y="238"/>
                  <a:pt x="386" y="241"/>
                  <a:pt x="390" y="241"/>
                </a:cubicBezTo>
                <a:cubicBezTo>
                  <a:pt x="431" y="241"/>
                  <a:pt x="431" y="241"/>
                  <a:pt x="431" y="241"/>
                </a:cubicBezTo>
                <a:cubicBezTo>
                  <a:pt x="431" y="294"/>
                  <a:pt x="431" y="294"/>
                  <a:pt x="431" y="294"/>
                </a:cubicBezTo>
                <a:cubicBezTo>
                  <a:pt x="431" y="298"/>
                  <a:pt x="434" y="301"/>
                  <a:pt x="438" y="301"/>
                </a:cubicBezTo>
                <a:cubicBezTo>
                  <a:pt x="559" y="301"/>
                  <a:pt x="559" y="301"/>
                  <a:pt x="559" y="301"/>
                </a:cubicBezTo>
                <a:cubicBezTo>
                  <a:pt x="562" y="301"/>
                  <a:pt x="566" y="298"/>
                  <a:pt x="566" y="294"/>
                </a:cubicBezTo>
                <a:cubicBezTo>
                  <a:pt x="566" y="173"/>
                  <a:pt x="566" y="173"/>
                  <a:pt x="566" y="173"/>
                </a:cubicBezTo>
                <a:cubicBezTo>
                  <a:pt x="566" y="169"/>
                  <a:pt x="562" y="166"/>
                  <a:pt x="559" y="166"/>
                </a:cubicBezTo>
                <a:cubicBezTo>
                  <a:pt x="438" y="166"/>
                  <a:pt x="438" y="166"/>
                  <a:pt x="438" y="166"/>
                </a:cubicBezTo>
                <a:cubicBezTo>
                  <a:pt x="434" y="166"/>
                  <a:pt x="431" y="169"/>
                  <a:pt x="431" y="173"/>
                </a:cubicBezTo>
                <a:cubicBezTo>
                  <a:pt x="431" y="227"/>
                  <a:pt x="431" y="227"/>
                  <a:pt x="431" y="227"/>
                </a:cubicBezTo>
                <a:cubicBezTo>
                  <a:pt x="397" y="227"/>
                  <a:pt x="397" y="227"/>
                  <a:pt x="397" y="227"/>
                </a:cubicBezTo>
                <a:cubicBezTo>
                  <a:pt x="397" y="74"/>
                  <a:pt x="397" y="74"/>
                  <a:pt x="397" y="74"/>
                </a:cubicBezTo>
                <a:cubicBezTo>
                  <a:pt x="431" y="74"/>
                  <a:pt x="431" y="74"/>
                  <a:pt x="431" y="74"/>
                </a:cubicBezTo>
                <a:cubicBezTo>
                  <a:pt x="431" y="128"/>
                  <a:pt x="431" y="128"/>
                  <a:pt x="431" y="128"/>
                </a:cubicBezTo>
                <a:cubicBezTo>
                  <a:pt x="431" y="132"/>
                  <a:pt x="434" y="135"/>
                  <a:pt x="438" y="135"/>
                </a:cubicBezTo>
                <a:close/>
                <a:moveTo>
                  <a:pt x="121" y="370"/>
                </a:moveTo>
                <a:cubicBezTo>
                  <a:pt x="14" y="370"/>
                  <a:pt x="14" y="370"/>
                  <a:pt x="14" y="370"/>
                </a:cubicBezTo>
                <a:cubicBezTo>
                  <a:pt x="14" y="263"/>
                  <a:pt x="14" y="263"/>
                  <a:pt x="14" y="263"/>
                </a:cubicBezTo>
                <a:cubicBezTo>
                  <a:pt x="121" y="263"/>
                  <a:pt x="121" y="263"/>
                  <a:pt x="121" y="263"/>
                </a:cubicBezTo>
                <a:lnTo>
                  <a:pt x="121" y="370"/>
                </a:lnTo>
                <a:close/>
                <a:moveTo>
                  <a:pt x="445" y="511"/>
                </a:moveTo>
                <a:cubicBezTo>
                  <a:pt x="552" y="511"/>
                  <a:pt x="552" y="511"/>
                  <a:pt x="552" y="511"/>
                </a:cubicBezTo>
                <a:cubicBezTo>
                  <a:pt x="552" y="618"/>
                  <a:pt x="552" y="618"/>
                  <a:pt x="552" y="618"/>
                </a:cubicBezTo>
                <a:cubicBezTo>
                  <a:pt x="445" y="618"/>
                  <a:pt x="445" y="618"/>
                  <a:pt x="445" y="618"/>
                </a:cubicBezTo>
                <a:lnTo>
                  <a:pt x="445" y="511"/>
                </a:lnTo>
                <a:close/>
                <a:moveTo>
                  <a:pt x="445" y="345"/>
                </a:moveTo>
                <a:cubicBezTo>
                  <a:pt x="552" y="345"/>
                  <a:pt x="552" y="345"/>
                  <a:pt x="552" y="345"/>
                </a:cubicBezTo>
                <a:cubicBezTo>
                  <a:pt x="552" y="452"/>
                  <a:pt x="552" y="452"/>
                  <a:pt x="552" y="452"/>
                </a:cubicBezTo>
                <a:cubicBezTo>
                  <a:pt x="445" y="452"/>
                  <a:pt x="445" y="452"/>
                  <a:pt x="445" y="452"/>
                </a:cubicBezTo>
                <a:lnTo>
                  <a:pt x="445" y="345"/>
                </a:lnTo>
                <a:close/>
                <a:moveTo>
                  <a:pt x="226" y="424"/>
                </a:moveTo>
                <a:cubicBezTo>
                  <a:pt x="333" y="424"/>
                  <a:pt x="333" y="424"/>
                  <a:pt x="333" y="424"/>
                </a:cubicBezTo>
                <a:cubicBezTo>
                  <a:pt x="333" y="531"/>
                  <a:pt x="333" y="531"/>
                  <a:pt x="333" y="531"/>
                </a:cubicBezTo>
                <a:cubicBezTo>
                  <a:pt x="226" y="531"/>
                  <a:pt x="226" y="531"/>
                  <a:pt x="226" y="531"/>
                </a:cubicBezTo>
                <a:lnTo>
                  <a:pt x="226" y="424"/>
                </a:lnTo>
                <a:close/>
                <a:moveTo>
                  <a:pt x="333" y="208"/>
                </a:moveTo>
                <a:cubicBezTo>
                  <a:pt x="226" y="208"/>
                  <a:pt x="226" y="208"/>
                  <a:pt x="226" y="208"/>
                </a:cubicBezTo>
                <a:cubicBezTo>
                  <a:pt x="226" y="101"/>
                  <a:pt x="226" y="101"/>
                  <a:pt x="226" y="101"/>
                </a:cubicBezTo>
                <a:cubicBezTo>
                  <a:pt x="333" y="101"/>
                  <a:pt x="333" y="101"/>
                  <a:pt x="333" y="101"/>
                </a:cubicBezTo>
                <a:lnTo>
                  <a:pt x="333" y="208"/>
                </a:lnTo>
                <a:close/>
                <a:moveTo>
                  <a:pt x="445" y="180"/>
                </a:moveTo>
                <a:cubicBezTo>
                  <a:pt x="552" y="180"/>
                  <a:pt x="552" y="180"/>
                  <a:pt x="552" y="180"/>
                </a:cubicBezTo>
                <a:cubicBezTo>
                  <a:pt x="552" y="287"/>
                  <a:pt x="552" y="287"/>
                  <a:pt x="552" y="287"/>
                </a:cubicBezTo>
                <a:cubicBezTo>
                  <a:pt x="445" y="287"/>
                  <a:pt x="445" y="287"/>
                  <a:pt x="445" y="287"/>
                </a:cubicBezTo>
                <a:lnTo>
                  <a:pt x="445" y="180"/>
                </a:lnTo>
                <a:close/>
                <a:moveTo>
                  <a:pt x="445" y="14"/>
                </a:moveTo>
                <a:cubicBezTo>
                  <a:pt x="552" y="14"/>
                  <a:pt x="552" y="14"/>
                  <a:pt x="552" y="14"/>
                </a:cubicBezTo>
                <a:cubicBezTo>
                  <a:pt x="552" y="121"/>
                  <a:pt x="552" y="121"/>
                  <a:pt x="552" y="121"/>
                </a:cubicBezTo>
                <a:cubicBezTo>
                  <a:pt x="445" y="121"/>
                  <a:pt x="445" y="121"/>
                  <a:pt x="445" y="121"/>
                </a:cubicBezTo>
                <a:lnTo>
                  <a:pt x="445" y="14"/>
                </a:ln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7178" name="Oval 17"/>
          <p:cNvSpPr>
            <a:spLocks noChangeArrowheads="1"/>
          </p:cNvSpPr>
          <p:nvPr/>
        </p:nvSpPr>
        <p:spPr bwMode="auto">
          <a:xfrm>
            <a:off x="4831649" y="4711628"/>
            <a:ext cx="1119124" cy="1119124"/>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9256" name="Freeform 123"/>
          <p:cNvSpPr>
            <a:spLocks noEditPoints="1"/>
          </p:cNvSpPr>
          <p:nvPr/>
        </p:nvSpPr>
        <p:spPr bwMode="auto">
          <a:xfrm>
            <a:off x="5071288" y="5020605"/>
            <a:ext cx="639847" cy="501173"/>
          </a:xfrm>
          <a:custGeom>
            <a:avLst/>
            <a:gdLst>
              <a:gd name="T0" fmla="*/ 385 w 607"/>
              <a:gd name="T1" fmla="*/ 140 h 476"/>
              <a:gd name="T2" fmla="*/ 277 w 607"/>
              <a:gd name="T3" fmla="*/ 41 h 476"/>
              <a:gd name="T4" fmla="*/ 224 w 607"/>
              <a:gd name="T5" fmla="*/ 58 h 476"/>
              <a:gd name="T6" fmla="*/ 4 w 607"/>
              <a:gd name="T7" fmla="*/ 1 h 476"/>
              <a:gd name="T8" fmla="*/ 0 w 607"/>
              <a:gd name="T9" fmla="*/ 469 h 476"/>
              <a:gd name="T10" fmla="*/ 607 w 607"/>
              <a:gd name="T11" fmla="*/ 469 h 476"/>
              <a:gd name="T12" fmla="*/ 600 w 607"/>
              <a:gd name="T13" fmla="*/ 165 h 476"/>
              <a:gd name="T14" fmla="*/ 260 w 607"/>
              <a:gd name="T15" fmla="*/ 61 h 476"/>
              <a:gd name="T16" fmla="*/ 222 w 607"/>
              <a:gd name="T17" fmla="*/ 187 h 476"/>
              <a:gd name="T18" fmla="*/ 222 w 607"/>
              <a:gd name="T19" fmla="*/ 73 h 476"/>
              <a:gd name="T20" fmla="*/ 162 w 607"/>
              <a:gd name="T21" fmla="*/ 206 h 476"/>
              <a:gd name="T22" fmla="*/ 185 w 607"/>
              <a:gd name="T23" fmla="*/ 199 h 476"/>
              <a:gd name="T24" fmla="*/ 125 w 607"/>
              <a:gd name="T25" fmla="*/ 103 h 476"/>
              <a:gd name="T26" fmla="*/ 111 w 607"/>
              <a:gd name="T27" fmla="*/ 214 h 476"/>
              <a:gd name="T28" fmla="*/ 111 w 607"/>
              <a:gd name="T29" fmla="*/ 101 h 476"/>
              <a:gd name="T30" fmla="*/ 51 w 607"/>
              <a:gd name="T31" fmla="*/ 173 h 476"/>
              <a:gd name="T32" fmla="*/ 74 w 607"/>
              <a:gd name="T33" fmla="*/ 188 h 476"/>
              <a:gd name="T34" fmla="*/ 371 w 607"/>
              <a:gd name="T35" fmla="*/ 146 h 476"/>
              <a:gd name="T36" fmla="*/ 334 w 607"/>
              <a:gd name="T37" fmla="*/ 238 h 476"/>
              <a:gd name="T38" fmla="*/ 334 w 607"/>
              <a:gd name="T39" fmla="*/ 111 h 476"/>
              <a:gd name="T40" fmla="*/ 533 w 607"/>
              <a:gd name="T41" fmla="*/ 179 h 476"/>
              <a:gd name="T42" fmla="*/ 533 w 607"/>
              <a:gd name="T43" fmla="*/ 310 h 476"/>
              <a:gd name="T44" fmla="*/ 496 w 607"/>
              <a:gd name="T45" fmla="*/ 179 h 476"/>
              <a:gd name="T46" fmla="*/ 482 w 607"/>
              <a:gd name="T47" fmla="*/ 322 h 476"/>
              <a:gd name="T48" fmla="*/ 482 w 607"/>
              <a:gd name="T49" fmla="*/ 179 h 476"/>
              <a:gd name="T50" fmla="*/ 422 w 607"/>
              <a:gd name="T51" fmla="*/ 336 h 476"/>
              <a:gd name="T52" fmla="*/ 445 w 607"/>
              <a:gd name="T53" fmla="*/ 330 h 476"/>
              <a:gd name="T54" fmla="*/ 570 w 607"/>
              <a:gd name="T55" fmla="*/ 179 h 476"/>
              <a:gd name="T56" fmla="*/ 408 w 607"/>
              <a:gd name="T57" fmla="*/ 179 h 476"/>
              <a:gd name="T58" fmla="*/ 385 w 607"/>
              <a:gd name="T59" fmla="*/ 305 h 476"/>
              <a:gd name="T60" fmla="*/ 408 w 607"/>
              <a:gd name="T61" fmla="*/ 179 h 476"/>
              <a:gd name="T62" fmla="*/ 297 w 607"/>
              <a:gd name="T63" fmla="*/ 189 h 476"/>
              <a:gd name="T64" fmla="*/ 282 w 607"/>
              <a:gd name="T65" fmla="*/ 172 h 476"/>
              <a:gd name="T66" fmla="*/ 279 w 607"/>
              <a:gd name="T67" fmla="*/ 170 h 476"/>
              <a:gd name="T68" fmla="*/ 277 w 607"/>
              <a:gd name="T69" fmla="*/ 171 h 476"/>
              <a:gd name="T70" fmla="*/ 277 w 607"/>
              <a:gd name="T71" fmla="*/ 56 h 476"/>
              <a:gd name="T72" fmla="*/ 37 w 607"/>
              <a:gd name="T73" fmla="*/ 163 h 476"/>
              <a:gd name="T74" fmla="*/ 593 w 607"/>
              <a:gd name="T75" fmla="*/ 462 h 476"/>
              <a:gd name="T76" fmla="*/ 77 w 607"/>
              <a:gd name="T77" fmla="*/ 207 h 476"/>
              <a:gd name="T78" fmla="*/ 114 w 607"/>
              <a:gd name="T79" fmla="*/ 233 h 476"/>
              <a:gd name="T80" fmla="*/ 117 w 607"/>
              <a:gd name="T81" fmla="*/ 234 h 476"/>
              <a:gd name="T82" fmla="*/ 118 w 607"/>
              <a:gd name="T83" fmla="*/ 234 h 476"/>
              <a:gd name="T84" fmla="*/ 120 w 607"/>
              <a:gd name="T85" fmla="*/ 233 h 476"/>
              <a:gd name="T86" fmla="*/ 404 w 607"/>
              <a:gd name="T87" fmla="*/ 352 h 476"/>
              <a:gd name="T88" fmla="*/ 406 w 607"/>
              <a:gd name="T89" fmla="*/ 353 h 476"/>
              <a:gd name="T90" fmla="*/ 408 w 607"/>
              <a:gd name="T91" fmla="*/ 353 h 476"/>
              <a:gd name="T92" fmla="*/ 415 w 607"/>
              <a:gd name="T93" fmla="*/ 353 h 476"/>
              <a:gd name="T94" fmla="*/ 454 w 607"/>
              <a:gd name="T95" fmla="*/ 343 h 476"/>
              <a:gd name="T96" fmla="*/ 565 w 607"/>
              <a:gd name="T97" fmla="*/ 317 h 476"/>
              <a:gd name="T98" fmla="*/ 593 w 607"/>
              <a:gd name="T99" fmla="*/ 462 h 4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07" h="476">
                <a:moveTo>
                  <a:pt x="600" y="165"/>
                </a:moveTo>
                <a:cubicBezTo>
                  <a:pt x="411" y="165"/>
                  <a:pt x="411" y="165"/>
                  <a:pt x="411" y="165"/>
                </a:cubicBezTo>
                <a:cubicBezTo>
                  <a:pt x="385" y="140"/>
                  <a:pt x="385" y="140"/>
                  <a:pt x="385" y="140"/>
                </a:cubicBezTo>
                <a:cubicBezTo>
                  <a:pt x="384" y="138"/>
                  <a:pt x="382" y="136"/>
                  <a:pt x="380" y="135"/>
                </a:cubicBezTo>
                <a:cubicBezTo>
                  <a:pt x="283" y="43"/>
                  <a:pt x="283" y="43"/>
                  <a:pt x="283" y="43"/>
                </a:cubicBezTo>
                <a:cubicBezTo>
                  <a:pt x="282" y="41"/>
                  <a:pt x="279" y="41"/>
                  <a:pt x="277" y="41"/>
                </a:cubicBezTo>
                <a:cubicBezTo>
                  <a:pt x="232" y="55"/>
                  <a:pt x="232" y="55"/>
                  <a:pt x="232" y="55"/>
                </a:cubicBezTo>
                <a:cubicBezTo>
                  <a:pt x="231" y="55"/>
                  <a:pt x="230" y="55"/>
                  <a:pt x="229" y="55"/>
                </a:cubicBezTo>
                <a:cubicBezTo>
                  <a:pt x="227" y="55"/>
                  <a:pt x="225" y="56"/>
                  <a:pt x="224" y="58"/>
                </a:cubicBezTo>
                <a:cubicBezTo>
                  <a:pt x="120" y="90"/>
                  <a:pt x="120" y="90"/>
                  <a:pt x="120" y="90"/>
                </a:cubicBezTo>
                <a:cubicBezTo>
                  <a:pt x="11" y="2"/>
                  <a:pt x="11" y="2"/>
                  <a:pt x="11" y="2"/>
                </a:cubicBezTo>
                <a:cubicBezTo>
                  <a:pt x="9" y="1"/>
                  <a:pt x="6" y="0"/>
                  <a:pt x="4" y="1"/>
                </a:cubicBezTo>
                <a:cubicBezTo>
                  <a:pt x="1" y="3"/>
                  <a:pt x="0" y="5"/>
                  <a:pt x="0" y="8"/>
                </a:cubicBezTo>
                <a:cubicBezTo>
                  <a:pt x="0" y="151"/>
                  <a:pt x="0" y="151"/>
                  <a:pt x="0" y="151"/>
                </a:cubicBezTo>
                <a:cubicBezTo>
                  <a:pt x="0" y="469"/>
                  <a:pt x="0" y="469"/>
                  <a:pt x="0" y="469"/>
                </a:cubicBezTo>
                <a:cubicBezTo>
                  <a:pt x="0" y="473"/>
                  <a:pt x="3" y="476"/>
                  <a:pt x="7" y="476"/>
                </a:cubicBezTo>
                <a:cubicBezTo>
                  <a:pt x="600" y="476"/>
                  <a:pt x="600" y="476"/>
                  <a:pt x="600" y="476"/>
                </a:cubicBezTo>
                <a:cubicBezTo>
                  <a:pt x="604" y="476"/>
                  <a:pt x="607" y="473"/>
                  <a:pt x="607" y="469"/>
                </a:cubicBezTo>
                <a:cubicBezTo>
                  <a:pt x="607" y="301"/>
                  <a:pt x="607" y="301"/>
                  <a:pt x="607" y="301"/>
                </a:cubicBezTo>
                <a:cubicBezTo>
                  <a:pt x="607" y="172"/>
                  <a:pt x="607" y="172"/>
                  <a:pt x="607" y="172"/>
                </a:cubicBezTo>
                <a:cubicBezTo>
                  <a:pt x="607" y="168"/>
                  <a:pt x="604" y="165"/>
                  <a:pt x="600" y="165"/>
                </a:cubicBezTo>
                <a:close/>
                <a:moveTo>
                  <a:pt x="236" y="183"/>
                </a:moveTo>
                <a:cubicBezTo>
                  <a:pt x="236" y="68"/>
                  <a:pt x="236" y="68"/>
                  <a:pt x="236" y="68"/>
                </a:cubicBezTo>
                <a:cubicBezTo>
                  <a:pt x="260" y="61"/>
                  <a:pt x="260" y="61"/>
                  <a:pt x="260" y="61"/>
                </a:cubicBezTo>
                <a:cubicBezTo>
                  <a:pt x="260" y="176"/>
                  <a:pt x="260" y="176"/>
                  <a:pt x="260" y="176"/>
                </a:cubicBezTo>
                <a:lnTo>
                  <a:pt x="236" y="183"/>
                </a:lnTo>
                <a:close/>
                <a:moveTo>
                  <a:pt x="222" y="187"/>
                </a:moveTo>
                <a:cubicBezTo>
                  <a:pt x="199" y="194"/>
                  <a:pt x="199" y="194"/>
                  <a:pt x="199" y="194"/>
                </a:cubicBezTo>
                <a:cubicBezTo>
                  <a:pt x="199" y="80"/>
                  <a:pt x="199" y="80"/>
                  <a:pt x="199" y="80"/>
                </a:cubicBezTo>
                <a:cubicBezTo>
                  <a:pt x="222" y="73"/>
                  <a:pt x="222" y="73"/>
                  <a:pt x="222" y="73"/>
                </a:cubicBezTo>
                <a:lnTo>
                  <a:pt x="222" y="187"/>
                </a:lnTo>
                <a:close/>
                <a:moveTo>
                  <a:pt x="185" y="199"/>
                </a:moveTo>
                <a:cubicBezTo>
                  <a:pt x="162" y="206"/>
                  <a:pt x="162" y="206"/>
                  <a:pt x="162" y="206"/>
                </a:cubicBezTo>
                <a:cubicBezTo>
                  <a:pt x="162" y="91"/>
                  <a:pt x="162" y="91"/>
                  <a:pt x="162" y="91"/>
                </a:cubicBezTo>
                <a:cubicBezTo>
                  <a:pt x="185" y="84"/>
                  <a:pt x="185" y="84"/>
                  <a:pt x="185" y="84"/>
                </a:cubicBezTo>
                <a:lnTo>
                  <a:pt x="185" y="199"/>
                </a:lnTo>
                <a:close/>
                <a:moveTo>
                  <a:pt x="148" y="210"/>
                </a:moveTo>
                <a:cubicBezTo>
                  <a:pt x="125" y="217"/>
                  <a:pt x="125" y="217"/>
                  <a:pt x="125" y="217"/>
                </a:cubicBezTo>
                <a:cubicBezTo>
                  <a:pt x="125" y="103"/>
                  <a:pt x="125" y="103"/>
                  <a:pt x="125" y="103"/>
                </a:cubicBezTo>
                <a:cubicBezTo>
                  <a:pt x="148" y="96"/>
                  <a:pt x="148" y="96"/>
                  <a:pt x="148" y="96"/>
                </a:cubicBezTo>
                <a:lnTo>
                  <a:pt x="148" y="210"/>
                </a:lnTo>
                <a:close/>
                <a:moveTo>
                  <a:pt x="111" y="214"/>
                </a:moveTo>
                <a:cubicBezTo>
                  <a:pt x="88" y="198"/>
                  <a:pt x="88" y="198"/>
                  <a:pt x="88" y="198"/>
                </a:cubicBezTo>
                <a:cubicBezTo>
                  <a:pt x="88" y="82"/>
                  <a:pt x="88" y="82"/>
                  <a:pt x="88" y="82"/>
                </a:cubicBezTo>
                <a:cubicBezTo>
                  <a:pt x="111" y="101"/>
                  <a:pt x="111" y="101"/>
                  <a:pt x="111" y="101"/>
                </a:cubicBezTo>
                <a:lnTo>
                  <a:pt x="111" y="214"/>
                </a:lnTo>
                <a:close/>
                <a:moveTo>
                  <a:pt x="74" y="188"/>
                </a:moveTo>
                <a:cubicBezTo>
                  <a:pt x="51" y="173"/>
                  <a:pt x="51" y="173"/>
                  <a:pt x="51" y="173"/>
                </a:cubicBezTo>
                <a:cubicBezTo>
                  <a:pt x="51" y="52"/>
                  <a:pt x="51" y="52"/>
                  <a:pt x="51" y="52"/>
                </a:cubicBezTo>
                <a:cubicBezTo>
                  <a:pt x="74" y="71"/>
                  <a:pt x="74" y="71"/>
                  <a:pt x="74" y="71"/>
                </a:cubicBezTo>
                <a:lnTo>
                  <a:pt x="74" y="188"/>
                </a:lnTo>
                <a:close/>
                <a:moveTo>
                  <a:pt x="348" y="256"/>
                </a:moveTo>
                <a:cubicBezTo>
                  <a:pt x="348" y="124"/>
                  <a:pt x="348" y="124"/>
                  <a:pt x="348" y="124"/>
                </a:cubicBezTo>
                <a:cubicBezTo>
                  <a:pt x="371" y="146"/>
                  <a:pt x="371" y="146"/>
                  <a:pt x="371" y="146"/>
                </a:cubicBezTo>
                <a:cubicBezTo>
                  <a:pt x="371" y="286"/>
                  <a:pt x="371" y="286"/>
                  <a:pt x="371" y="286"/>
                </a:cubicBezTo>
                <a:lnTo>
                  <a:pt x="348" y="256"/>
                </a:lnTo>
                <a:close/>
                <a:moveTo>
                  <a:pt x="334" y="238"/>
                </a:moveTo>
                <a:cubicBezTo>
                  <a:pt x="311" y="208"/>
                  <a:pt x="311" y="208"/>
                  <a:pt x="311" y="208"/>
                </a:cubicBezTo>
                <a:cubicBezTo>
                  <a:pt x="311" y="89"/>
                  <a:pt x="311" y="89"/>
                  <a:pt x="311" y="89"/>
                </a:cubicBezTo>
                <a:cubicBezTo>
                  <a:pt x="334" y="111"/>
                  <a:pt x="334" y="111"/>
                  <a:pt x="334" y="111"/>
                </a:cubicBezTo>
                <a:lnTo>
                  <a:pt x="334" y="238"/>
                </a:lnTo>
                <a:close/>
                <a:moveTo>
                  <a:pt x="533" y="310"/>
                </a:moveTo>
                <a:cubicBezTo>
                  <a:pt x="533" y="179"/>
                  <a:pt x="533" y="179"/>
                  <a:pt x="533" y="179"/>
                </a:cubicBezTo>
                <a:cubicBezTo>
                  <a:pt x="556" y="179"/>
                  <a:pt x="556" y="179"/>
                  <a:pt x="556" y="179"/>
                </a:cubicBezTo>
                <a:cubicBezTo>
                  <a:pt x="556" y="304"/>
                  <a:pt x="556" y="304"/>
                  <a:pt x="556" y="304"/>
                </a:cubicBezTo>
                <a:lnTo>
                  <a:pt x="533" y="310"/>
                </a:lnTo>
                <a:close/>
                <a:moveTo>
                  <a:pt x="519" y="313"/>
                </a:moveTo>
                <a:cubicBezTo>
                  <a:pt x="496" y="318"/>
                  <a:pt x="496" y="318"/>
                  <a:pt x="496" y="318"/>
                </a:cubicBezTo>
                <a:cubicBezTo>
                  <a:pt x="496" y="179"/>
                  <a:pt x="496" y="179"/>
                  <a:pt x="496" y="179"/>
                </a:cubicBezTo>
                <a:cubicBezTo>
                  <a:pt x="519" y="179"/>
                  <a:pt x="519" y="179"/>
                  <a:pt x="519" y="179"/>
                </a:cubicBezTo>
                <a:lnTo>
                  <a:pt x="519" y="313"/>
                </a:lnTo>
                <a:close/>
                <a:moveTo>
                  <a:pt x="482" y="322"/>
                </a:moveTo>
                <a:cubicBezTo>
                  <a:pt x="459" y="327"/>
                  <a:pt x="459" y="327"/>
                  <a:pt x="459" y="327"/>
                </a:cubicBezTo>
                <a:cubicBezTo>
                  <a:pt x="459" y="179"/>
                  <a:pt x="459" y="179"/>
                  <a:pt x="459" y="179"/>
                </a:cubicBezTo>
                <a:cubicBezTo>
                  <a:pt x="482" y="179"/>
                  <a:pt x="482" y="179"/>
                  <a:pt x="482" y="179"/>
                </a:cubicBezTo>
                <a:lnTo>
                  <a:pt x="482" y="322"/>
                </a:lnTo>
                <a:close/>
                <a:moveTo>
                  <a:pt x="445" y="330"/>
                </a:moveTo>
                <a:cubicBezTo>
                  <a:pt x="422" y="336"/>
                  <a:pt x="422" y="336"/>
                  <a:pt x="422" y="336"/>
                </a:cubicBezTo>
                <a:cubicBezTo>
                  <a:pt x="422" y="179"/>
                  <a:pt x="422" y="179"/>
                  <a:pt x="422" y="179"/>
                </a:cubicBezTo>
                <a:cubicBezTo>
                  <a:pt x="445" y="179"/>
                  <a:pt x="445" y="179"/>
                  <a:pt x="445" y="179"/>
                </a:cubicBezTo>
                <a:lnTo>
                  <a:pt x="445" y="330"/>
                </a:lnTo>
                <a:close/>
                <a:moveTo>
                  <a:pt x="593" y="296"/>
                </a:moveTo>
                <a:cubicBezTo>
                  <a:pt x="570" y="301"/>
                  <a:pt x="570" y="301"/>
                  <a:pt x="570" y="301"/>
                </a:cubicBezTo>
                <a:cubicBezTo>
                  <a:pt x="570" y="179"/>
                  <a:pt x="570" y="179"/>
                  <a:pt x="570" y="179"/>
                </a:cubicBezTo>
                <a:cubicBezTo>
                  <a:pt x="593" y="179"/>
                  <a:pt x="593" y="179"/>
                  <a:pt x="593" y="179"/>
                </a:cubicBezTo>
                <a:lnTo>
                  <a:pt x="593" y="296"/>
                </a:lnTo>
                <a:close/>
                <a:moveTo>
                  <a:pt x="408" y="179"/>
                </a:moveTo>
                <a:cubicBezTo>
                  <a:pt x="408" y="179"/>
                  <a:pt x="408" y="179"/>
                  <a:pt x="408" y="179"/>
                </a:cubicBezTo>
                <a:cubicBezTo>
                  <a:pt x="408" y="335"/>
                  <a:pt x="408" y="335"/>
                  <a:pt x="408" y="335"/>
                </a:cubicBezTo>
                <a:cubicBezTo>
                  <a:pt x="385" y="305"/>
                  <a:pt x="385" y="305"/>
                  <a:pt x="385" y="305"/>
                </a:cubicBezTo>
                <a:cubicBezTo>
                  <a:pt x="385" y="160"/>
                  <a:pt x="385" y="160"/>
                  <a:pt x="385" y="160"/>
                </a:cubicBezTo>
                <a:cubicBezTo>
                  <a:pt x="403" y="177"/>
                  <a:pt x="403" y="177"/>
                  <a:pt x="403" y="177"/>
                </a:cubicBezTo>
                <a:cubicBezTo>
                  <a:pt x="404" y="178"/>
                  <a:pt x="406" y="179"/>
                  <a:pt x="408" y="179"/>
                </a:cubicBezTo>
                <a:close/>
                <a:moveTo>
                  <a:pt x="277" y="56"/>
                </a:moveTo>
                <a:cubicBezTo>
                  <a:pt x="297" y="75"/>
                  <a:pt x="297" y="75"/>
                  <a:pt x="297" y="75"/>
                </a:cubicBezTo>
                <a:cubicBezTo>
                  <a:pt x="297" y="189"/>
                  <a:pt x="297" y="189"/>
                  <a:pt x="297" y="189"/>
                </a:cubicBezTo>
                <a:cubicBezTo>
                  <a:pt x="284" y="173"/>
                  <a:pt x="284" y="173"/>
                  <a:pt x="284" y="173"/>
                </a:cubicBezTo>
                <a:cubicBezTo>
                  <a:pt x="284" y="173"/>
                  <a:pt x="283" y="172"/>
                  <a:pt x="283" y="172"/>
                </a:cubicBezTo>
                <a:cubicBezTo>
                  <a:pt x="283" y="172"/>
                  <a:pt x="282" y="172"/>
                  <a:pt x="282" y="172"/>
                </a:cubicBezTo>
                <a:cubicBezTo>
                  <a:pt x="282" y="171"/>
                  <a:pt x="281" y="171"/>
                  <a:pt x="281" y="171"/>
                </a:cubicBezTo>
                <a:cubicBezTo>
                  <a:pt x="281" y="171"/>
                  <a:pt x="281" y="171"/>
                  <a:pt x="281" y="171"/>
                </a:cubicBezTo>
                <a:cubicBezTo>
                  <a:pt x="280" y="171"/>
                  <a:pt x="279" y="170"/>
                  <a:pt x="279" y="170"/>
                </a:cubicBezTo>
                <a:cubicBezTo>
                  <a:pt x="279" y="170"/>
                  <a:pt x="279" y="170"/>
                  <a:pt x="279" y="170"/>
                </a:cubicBezTo>
                <a:cubicBezTo>
                  <a:pt x="279" y="170"/>
                  <a:pt x="279" y="170"/>
                  <a:pt x="279" y="170"/>
                </a:cubicBezTo>
                <a:cubicBezTo>
                  <a:pt x="278" y="170"/>
                  <a:pt x="277" y="170"/>
                  <a:pt x="277" y="171"/>
                </a:cubicBezTo>
                <a:cubicBezTo>
                  <a:pt x="274" y="172"/>
                  <a:pt x="274" y="172"/>
                  <a:pt x="274" y="172"/>
                </a:cubicBezTo>
                <a:cubicBezTo>
                  <a:pt x="274" y="57"/>
                  <a:pt x="274" y="57"/>
                  <a:pt x="274" y="57"/>
                </a:cubicBezTo>
                <a:lnTo>
                  <a:pt x="277" y="56"/>
                </a:lnTo>
                <a:close/>
                <a:moveTo>
                  <a:pt x="14" y="22"/>
                </a:moveTo>
                <a:cubicBezTo>
                  <a:pt x="37" y="41"/>
                  <a:pt x="37" y="41"/>
                  <a:pt x="37" y="41"/>
                </a:cubicBezTo>
                <a:cubicBezTo>
                  <a:pt x="37" y="163"/>
                  <a:pt x="37" y="163"/>
                  <a:pt x="37" y="163"/>
                </a:cubicBezTo>
                <a:cubicBezTo>
                  <a:pt x="14" y="147"/>
                  <a:pt x="14" y="147"/>
                  <a:pt x="14" y="147"/>
                </a:cubicBezTo>
                <a:lnTo>
                  <a:pt x="14" y="22"/>
                </a:lnTo>
                <a:close/>
                <a:moveTo>
                  <a:pt x="593" y="462"/>
                </a:moveTo>
                <a:cubicBezTo>
                  <a:pt x="14" y="462"/>
                  <a:pt x="14" y="462"/>
                  <a:pt x="14" y="462"/>
                </a:cubicBezTo>
                <a:cubicBezTo>
                  <a:pt x="14" y="164"/>
                  <a:pt x="14" y="164"/>
                  <a:pt x="14" y="164"/>
                </a:cubicBezTo>
                <a:cubicBezTo>
                  <a:pt x="77" y="207"/>
                  <a:pt x="77" y="207"/>
                  <a:pt x="77" y="207"/>
                </a:cubicBezTo>
                <a:cubicBezTo>
                  <a:pt x="77" y="207"/>
                  <a:pt x="77" y="207"/>
                  <a:pt x="77" y="207"/>
                </a:cubicBezTo>
                <a:cubicBezTo>
                  <a:pt x="114" y="233"/>
                  <a:pt x="114" y="233"/>
                  <a:pt x="114" y="233"/>
                </a:cubicBezTo>
                <a:cubicBezTo>
                  <a:pt x="114" y="233"/>
                  <a:pt x="114" y="233"/>
                  <a:pt x="114" y="233"/>
                </a:cubicBezTo>
                <a:cubicBezTo>
                  <a:pt x="115" y="233"/>
                  <a:pt x="115" y="233"/>
                  <a:pt x="116" y="233"/>
                </a:cubicBezTo>
                <a:cubicBezTo>
                  <a:pt x="116" y="233"/>
                  <a:pt x="116" y="233"/>
                  <a:pt x="116" y="233"/>
                </a:cubicBezTo>
                <a:cubicBezTo>
                  <a:pt x="116" y="233"/>
                  <a:pt x="117" y="234"/>
                  <a:pt x="117" y="234"/>
                </a:cubicBezTo>
                <a:cubicBezTo>
                  <a:pt x="117" y="234"/>
                  <a:pt x="117" y="234"/>
                  <a:pt x="118" y="234"/>
                </a:cubicBezTo>
                <a:cubicBezTo>
                  <a:pt x="118" y="234"/>
                  <a:pt x="118" y="234"/>
                  <a:pt x="118" y="234"/>
                </a:cubicBezTo>
                <a:cubicBezTo>
                  <a:pt x="118" y="234"/>
                  <a:pt x="118" y="234"/>
                  <a:pt x="118" y="234"/>
                </a:cubicBezTo>
                <a:cubicBezTo>
                  <a:pt x="119" y="234"/>
                  <a:pt x="119" y="234"/>
                  <a:pt x="119" y="234"/>
                </a:cubicBezTo>
                <a:cubicBezTo>
                  <a:pt x="119" y="234"/>
                  <a:pt x="120" y="234"/>
                  <a:pt x="120" y="233"/>
                </a:cubicBezTo>
                <a:cubicBezTo>
                  <a:pt x="120" y="233"/>
                  <a:pt x="120" y="233"/>
                  <a:pt x="120" y="233"/>
                </a:cubicBezTo>
                <a:cubicBezTo>
                  <a:pt x="276" y="186"/>
                  <a:pt x="276" y="186"/>
                  <a:pt x="276" y="186"/>
                </a:cubicBezTo>
                <a:cubicBezTo>
                  <a:pt x="402" y="350"/>
                  <a:pt x="402" y="350"/>
                  <a:pt x="402" y="350"/>
                </a:cubicBezTo>
                <a:cubicBezTo>
                  <a:pt x="403" y="351"/>
                  <a:pt x="403" y="351"/>
                  <a:pt x="404" y="352"/>
                </a:cubicBezTo>
                <a:cubicBezTo>
                  <a:pt x="404" y="352"/>
                  <a:pt x="404" y="352"/>
                  <a:pt x="404" y="352"/>
                </a:cubicBezTo>
                <a:cubicBezTo>
                  <a:pt x="405" y="352"/>
                  <a:pt x="405" y="353"/>
                  <a:pt x="405" y="353"/>
                </a:cubicBezTo>
                <a:cubicBezTo>
                  <a:pt x="405" y="353"/>
                  <a:pt x="406" y="353"/>
                  <a:pt x="406" y="353"/>
                </a:cubicBezTo>
                <a:cubicBezTo>
                  <a:pt x="406" y="353"/>
                  <a:pt x="407" y="353"/>
                  <a:pt x="407" y="353"/>
                </a:cubicBezTo>
                <a:cubicBezTo>
                  <a:pt x="407" y="353"/>
                  <a:pt x="407" y="353"/>
                  <a:pt x="408" y="353"/>
                </a:cubicBezTo>
                <a:cubicBezTo>
                  <a:pt x="408" y="353"/>
                  <a:pt x="408" y="353"/>
                  <a:pt x="408" y="353"/>
                </a:cubicBezTo>
                <a:cubicBezTo>
                  <a:pt x="408" y="353"/>
                  <a:pt x="409" y="353"/>
                  <a:pt x="409" y="353"/>
                </a:cubicBezTo>
                <a:cubicBezTo>
                  <a:pt x="412" y="352"/>
                  <a:pt x="412" y="352"/>
                  <a:pt x="412" y="352"/>
                </a:cubicBezTo>
                <a:cubicBezTo>
                  <a:pt x="413" y="353"/>
                  <a:pt x="414" y="353"/>
                  <a:pt x="415" y="353"/>
                </a:cubicBezTo>
                <a:cubicBezTo>
                  <a:pt x="417" y="353"/>
                  <a:pt x="419" y="352"/>
                  <a:pt x="421" y="350"/>
                </a:cubicBezTo>
                <a:cubicBezTo>
                  <a:pt x="453" y="343"/>
                  <a:pt x="453" y="343"/>
                  <a:pt x="453" y="343"/>
                </a:cubicBezTo>
                <a:cubicBezTo>
                  <a:pt x="453" y="343"/>
                  <a:pt x="454" y="343"/>
                  <a:pt x="454" y="343"/>
                </a:cubicBezTo>
                <a:cubicBezTo>
                  <a:pt x="491" y="334"/>
                  <a:pt x="491" y="334"/>
                  <a:pt x="491" y="334"/>
                </a:cubicBezTo>
                <a:cubicBezTo>
                  <a:pt x="491" y="334"/>
                  <a:pt x="491" y="334"/>
                  <a:pt x="491" y="334"/>
                </a:cubicBezTo>
                <a:cubicBezTo>
                  <a:pt x="565" y="317"/>
                  <a:pt x="565" y="317"/>
                  <a:pt x="565" y="317"/>
                </a:cubicBezTo>
                <a:cubicBezTo>
                  <a:pt x="565" y="317"/>
                  <a:pt x="565" y="317"/>
                  <a:pt x="565" y="317"/>
                </a:cubicBezTo>
                <a:cubicBezTo>
                  <a:pt x="593" y="310"/>
                  <a:pt x="593" y="310"/>
                  <a:pt x="593" y="310"/>
                </a:cubicBezTo>
                <a:lnTo>
                  <a:pt x="593" y="462"/>
                </a:ln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7179" name="Oval 18"/>
          <p:cNvSpPr>
            <a:spLocks noChangeArrowheads="1"/>
          </p:cNvSpPr>
          <p:nvPr/>
        </p:nvSpPr>
        <p:spPr bwMode="auto">
          <a:xfrm>
            <a:off x="3073678" y="4711628"/>
            <a:ext cx="1119124" cy="1119124"/>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9257" name="Freeform 124"/>
          <p:cNvSpPr>
            <a:spLocks noEditPoints="1"/>
          </p:cNvSpPr>
          <p:nvPr/>
        </p:nvSpPr>
        <p:spPr bwMode="auto">
          <a:xfrm>
            <a:off x="3313316" y="5020605"/>
            <a:ext cx="638631" cy="501173"/>
          </a:xfrm>
          <a:custGeom>
            <a:avLst/>
            <a:gdLst>
              <a:gd name="T0" fmla="*/ 384 w 607"/>
              <a:gd name="T1" fmla="*/ 140 h 476"/>
              <a:gd name="T2" fmla="*/ 276 w 607"/>
              <a:gd name="T3" fmla="*/ 41 h 476"/>
              <a:gd name="T4" fmla="*/ 224 w 607"/>
              <a:gd name="T5" fmla="*/ 58 h 476"/>
              <a:gd name="T6" fmla="*/ 4 w 607"/>
              <a:gd name="T7" fmla="*/ 1 h 476"/>
              <a:gd name="T8" fmla="*/ 0 w 607"/>
              <a:gd name="T9" fmla="*/ 469 h 476"/>
              <a:gd name="T10" fmla="*/ 607 w 607"/>
              <a:gd name="T11" fmla="*/ 469 h 476"/>
              <a:gd name="T12" fmla="*/ 600 w 607"/>
              <a:gd name="T13" fmla="*/ 165 h 476"/>
              <a:gd name="T14" fmla="*/ 259 w 607"/>
              <a:gd name="T15" fmla="*/ 61 h 476"/>
              <a:gd name="T16" fmla="*/ 222 w 607"/>
              <a:gd name="T17" fmla="*/ 187 h 476"/>
              <a:gd name="T18" fmla="*/ 222 w 607"/>
              <a:gd name="T19" fmla="*/ 73 h 476"/>
              <a:gd name="T20" fmla="*/ 162 w 607"/>
              <a:gd name="T21" fmla="*/ 206 h 476"/>
              <a:gd name="T22" fmla="*/ 185 w 607"/>
              <a:gd name="T23" fmla="*/ 199 h 476"/>
              <a:gd name="T24" fmla="*/ 125 w 607"/>
              <a:gd name="T25" fmla="*/ 103 h 476"/>
              <a:gd name="T26" fmla="*/ 111 w 607"/>
              <a:gd name="T27" fmla="*/ 214 h 476"/>
              <a:gd name="T28" fmla="*/ 111 w 607"/>
              <a:gd name="T29" fmla="*/ 101 h 476"/>
              <a:gd name="T30" fmla="*/ 51 w 607"/>
              <a:gd name="T31" fmla="*/ 173 h 476"/>
              <a:gd name="T32" fmla="*/ 74 w 607"/>
              <a:gd name="T33" fmla="*/ 188 h 476"/>
              <a:gd name="T34" fmla="*/ 371 w 607"/>
              <a:gd name="T35" fmla="*/ 146 h 476"/>
              <a:gd name="T36" fmla="*/ 334 w 607"/>
              <a:gd name="T37" fmla="*/ 238 h 476"/>
              <a:gd name="T38" fmla="*/ 334 w 607"/>
              <a:gd name="T39" fmla="*/ 111 h 476"/>
              <a:gd name="T40" fmla="*/ 533 w 607"/>
              <a:gd name="T41" fmla="*/ 179 h 476"/>
              <a:gd name="T42" fmla="*/ 533 w 607"/>
              <a:gd name="T43" fmla="*/ 310 h 476"/>
              <a:gd name="T44" fmla="*/ 496 w 607"/>
              <a:gd name="T45" fmla="*/ 179 h 476"/>
              <a:gd name="T46" fmla="*/ 482 w 607"/>
              <a:gd name="T47" fmla="*/ 322 h 476"/>
              <a:gd name="T48" fmla="*/ 482 w 607"/>
              <a:gd name="T49" fmla="*/ 179 h 476"/>
              <a:gd name="T50" fmla="*/ 422 w 607"/>
              <a:gd name="T51" fmla="*/ 336 h 476"/>
              <a:gd name="T52" fmla="*/ 445 w 607"/>
              <a:gd name="T53" fmla="*/ 330 h 476"/>
              <a:gd name="T54" fmla="*/ 570 w 607"/>
              <a:gd name="T55" fmla="*/ 179 h 476"/>
              <a:gd name="T56" fmla="*/ 408 w 607"/>
              <a:gd name="T57" fmla="*/ 179 h 476"/>
              <a:gd name="T58" fmla="*/ 385 w 607"/>
              <a:gd name="T59" fmla="*/ 305 h 476"/>
              <a:gd name="T60" fmla="*/ 408 w 607"/>
              <a:gd name="T61" fmla="*/ 179 h 476"/>
              <a:gd name="T62" fmla="*/ 296 w 607"/>
              <a:gd name="T63" fmla="*/ 189 h 476"/>
              <a:gd name="T64" fmla="*/ 282 w 607"/>
              <a:gd name="T65" fmla="*/ 172 h 476"/>
              <a:gd name="T66" fmla="*/ 278 w 607"/>
              <a:gd name="T67" fmla="*/ 170 h 476"/>
              <a:gd name="T68" fmla="*/ 276 w 607"/>
              <a:gd name="T69" fmla="*/ 171 h 476"/>
              <a:gd name="T70" fmla="*/ 276 w 607"/>
              <a:gd name="T71" fmla="*/ 56 h 476"/>
              <a:gd name="T72" fmla="*/ 37 w 607"/>
              <a:gd name="T73" fmla="*/ 163 h 476"/>
              <a:gd name="T74" fmla="*/ 593 w 607"/>
              <a:gd name="T75" fmla="*/ 462 h 476"/>
              <a:gd name="T76" fmla="*/ 77 w 607"/>
              <a:gd name="T77" fmla="*/ 207 h 476"/>
              <a:gd name="T78" fmla="*/ 114 w 607"/>
              <a:gd name="T79" fmla="*/ 233 h 476"/>
              <a:gd name="T80" fmla="*/ 117 w 607"/>
              <a:gd name="T81" fmla="*/ 234 h 476"/>
              <a:gd name="T82" fmla="*/ 118 w 607"/>
              <a:gd name="T83" fmla="*/ 234 h 476"/>
              <a:gd name="T84" fmla="*/ 120 w 607"/>
              <a:gd name="T85" fmla="*/ 233 h 476"/>
              <a:gd name="T86" fmla="*/ 403 w 607"/>
              <a:gd name="T87" fmla="*/ 352 h 476"/>
              <a:gd name="T88" fmla="*/ 406 w 607"/>
              <a:gd name="T89" fmla="*/ 353 h 476"/>
              <a:gd name="T90" fmla="*/ 408 w 607"/>
              <a:gd name="T91" fmla="*/ 353 h 476"/>
              <a:gd name="T92" fmla="*/ 415 w 607"/>
              <a:gd name="T93" fmla="*/ 353 h 476"/>
              <a:gd name="T94" fmla="*/ 453 w 607"/>
              <a:gd name="T95" fmla="*/ 343 h 476"/>
              <a:gd name="T96" fmla="*/ 565 w 607"/>
              <a:gd name="T97" fmla="*/ 317 h 476"/>
              <a:gd name="T98" fmla="*/ 593 w 607"/>
              <a:gd name="T99" fmla="*/ 462 h 4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07" h="476">
                <a:moveTo>
                  <a:pt x="600" y="165"/>
                </a:moveTo>
                <a:cubicBezTo>
                  <a:pt x="410" y="165"/>
                  <a:pt x="410" y="165"/>
                  <a:pt x="410" y="165"/>
                </a:cubicBezTo>
                <a:cubicBezTo>
                  <a:pt x="384" y="140"/>
                  <a:pt x="384" y="140"/>
                  <a:pt x="384" y="140"/>
                </a:cubicBezTo>
                <a:cubicBezTo>
                  <a:pt x="384" y="138"/>
                  <a:pt x="382" y="136"/>
                  <a:pt x="379" y="135"/>
                </a:cubicBezTo>
                <a:cubicBezTo>
                  <a:pt x="283" y="43"/>
                  <a:pt x="283" y="43"/>
                  <a:pt x="283" y="43"/>
                </a:cubicBezTo>
                <a:cubicBezTo>
                  <a:pt x="281" y="41"/>
                  <a:pt x="279" y="41"/>
                  <a:pt x="276" y="41"/>
                </a:cubicBezTo>
                <a:cubicBezTo>
                  <a:pt x="231" y="55"/>
                  <a:pt x="231" y="55"/>
                  <a:pt x="231" y="55"/>
                </a:cubicBezTo>
                <a:cubicBezTo>
                  <a:pt x="231" y="55"/>
                  <a:pt x="230" y="55"/>
                  <a:pt x="229" y="55"/>
                </a:cubicBezTo>
                <a:cubicBezTo>
                  <a:pt x="227" y="55"/>
                  <a:pt x="225" y="56"/>
                  <a:pt x="224" y="58"/>
                </a:cubicBezTo>
                <a:cubicBezTo>
                  <a:pt x="119" y="90"/>
                  <a:pt x="119" y="90"/>
                  <a:pt x="119" y="90"/>
                </a:cubicBezTo>
                <a:cubicBezTo>
                  <a:pt x="11" y="2"/>
                  <a:pt x="11" y="2"/>
                  <a:pt x="11" y="2"/>
                </a:cubicBezTo>
                <a:cubicBezTo>
                  <a:pt x="9" y="1"/>
                  <a:pt x="6" y="0"/>
                  <a:pt x="4" y="1"/>
                </a:cubicBezTo>
                <a:cubicBezTo>
                  <a:pt x="1" y="3"/>
                  <a:pt x="0" y="5"/>
                  <a:pt x="0" y="8"/>
                </a:cubicBezTo>
                <a:cubicBezTo>
                  <a:pt x="0" y="151"/>
                  <a:pt x="0" y="151"/>
                  <a:pt x="0" y="151"/>
                </a:cubicBezTo>
                <a:cubicBezTo>
                  <a:pt x="0" y="469"/>
                  <a:pt x="0" y="469"/>
                  <a:pt x="0" y="469"/>
                </a:cubicBezTo>
                <a:cubicBezTo>
                  <a:pt x="0" y="473"/>
                  <a:pt x="3" y="476"/>
                  <a:pt x="7" y="476"/>
                </a:cubicBezTo>
                <a:cubicBezTo>
                  <a:pt x="600" y="476"/>
                  <a:pt x="600" y="476"/>
                  <a:pt x="600" y="476"/>
                </a:cubicBezTo>
                <a:cubicBezTo>
                  <a:pt x="604" y="476"/>
                  <a:pt x="607" y="473"/>
                  <a:pt x="607" y="469"/>
                </a:cubicBezTo>
                <a:cubicBezTo>
                  <a:pt x="607" y="301"/>
                  <a:pt x="607" y="301"/>
                  <a:pt x="607" y="301"/>
                </a:cubicBezTo>
                <a:cubicBezTo>
                  <a:pt x="607" y="172"/>
                  <a:pt x="607" y="172"/>
                  <a:pt x="607" y="172"/>
                </a:cubicBezTo>
                <a:cubicBezTo>
                  <a:pt x="607" y="168"/>
                  <a:pt x="604" y="165"/>
                  <a:pt x="600" y="165"/>
                </a:cubicBezTo>
                <a:close/>
                <a:moveTo>
                  <a:pt x="236" y="183"/>
                </a:moveTo>
                <a:cubicBezTo>
                  <a:pt x="236" y="68"/>
                  <a:pt x="236" y="68"/>
                  <a:pt x="236" y="68"/>
                </a:cubicBezTo>
                <a:cubicBezTo>
                  <a:pt x="259" y="61"/>
                  <a:pt x="259" y="61"/>
                  <a:pt x="259" y="61"/>
                </a:cubicBezTo>
                <a:cubicBezTo>
                  <a:pt x="259" y="176"/>
                  <a:pt x="259" y="176"/>
                  <a:pt x="259" y="176"/>
                </a:cubicBezTo>
                <a:lnTo>
                  <a:pt x="236" y="183"/>
                </a:lnTo>
                <a:close/>
                <a:moveTo>
                  <a:pt x="222" y="187"/>
                </a:moveTo>
                <a:cubicBezTo>
                  <a:pt x="199" y="194"/>
                  <a:pt x="199" y="194"/>
                  <a:pt x="199" y="194"/>
                </a:cubicBezTo>
                <a:cubicBezTo>
                  <a:pt x="199" y="80"/>
                  <a:pt x="199" y="80"/>
                  <a:pt x="199" y="80"/>
                </a:cubicBezTo>
                <a:cubicBezTo>
                  <a:pt x="222" y="73"/>
                  <a:pt x="222" y="73"/>
                  <a:pt x="222" y="73"/>
                </a:cubicBezTo>
                <a:lnTo>
                  <a:pt x="222" y="187"/>
                </a:lnTo>
                <a:close/>
                <a:moveTo>
                  <a:pt x="185" y="199"/>
                </a:moveTo>
                <a:cubicBezTo>
                  <a:pt x="162" y="206"/>
                  <a:pt x="162" y="206"/>
                  <a:pt x="162" y="206"/>
                </a:cubicBezTo>
                <a:cubicBezTo>
                  <a:pt x="162" y="91"/>
                  <a:pt x="162" y="91"/>
                  <a:pt x="162" y="91"/>
                </a:cubicBezTo>
                <a:cubicBezTo>
                  <a:pt x="185" y="84"/>
                  <a:pt x="185" y="84"/>
                  <a:pt x="185" y="84"/>
                </a:cubicBezTo>
                <a:lnTo>
                  <a:pt x="185" y="199"/>
                </a:lnTo>
                <a:close/>
                <a:moveTo>
                  <a:pt x="148" y="210"/>
                </a:moveTo>
                <a:cubicBezTo>
                  <a:pt x="125" y="217"/>
                  <a:pt x="125" y="217"/>
                  <a:pt x="125" y="217"/>
                </a:cubicBezTo>
                <a:cubicBezTo>
                  <a:pt x="125" y="103"/>
                  <a:pt x="125" y="103"/>
                  <a:pt x="125" y="103"/>
                </a:cubicBezTo>
                <a:cubicBezTo>
                  <a:pt x="148" y="96"/>
                  <a:pt x="148" y="96"/>
                  <a:pt x="148" y="96"/>
                </a:cubicBezTo>
                <a:lnTo>
                  <a:pt x="148" y="210"/>
                </a:lnTo>
                <a:close/>
                <a:moveTo>
                  <a:pt x="111" y="214"/>
                </a:moveTo>
                <a:cubicBezTo>
                  <a:pt x="88" y="198"/>
                  <a:pt x="88" y="198"/>
                  <a:pt x="88" y="198"/>
                </a:cubicBezTo>
                <a:cubicBezTo>
                  <a:pt x="88" y="82"/>
                  <a:pt x="88" y="82"/>
                  <a:pt x="88" y="82"/>
                </a:cubicBezTo>
                <a:cubicBezTo>
                  <a:pt x="111" y="101"/>
                  <a:pt x="111" y="101"/>
                  <a:pt x="111" y="101"/>
                </a:cubicBezTo>
                <a:lnTo>
                  <a:pt x="111" y="214"/>
                </a:lnTo>
                <a:close/>
                <a:moveTo>
                  <a:pt x="74" y="188"/>
                </a:moveTo>
                <a:cubicBezTo>
                  <a:pt x="51" y="173"/>
                  <a:pt x="51" y="173"/>
                  <a:pt x="51" y="173"/>
                </a:cubicBezTo>
                <a:cubicBezTo>
                  <a:pt x="51" y="52"/>
                  <a:pt x="51" y="52"/>
                  <a:pt x="51" y="52"/>
                </a:cubicBezTo>
                <a:cubicBezTo>
                  <a:pt x="74" y="71"/>
                  <a:pt x="74" y="71"/>
                  <a:pt x="74" y="71"/>
                </a:cubicBezTo>
                <a:lnTo>
                  <a:pt x="74" y="188"/>
                </a:lnTo>
                <a:close/>
                <a:moveTo>
                  <a:pt x="348" y="256"/>
                </a:moveTo>
                <a:cubicBezTo>
                  <a:pt x="348" y="124"/>
                  <a:pt x="348" y="124"/>
                  <a:pt x="348" y="124"/>
                </a:cubicBezTo>
                <a:cubicBezTo>
                  <a:pt x="371" y="146"/>
                  <a:pt x="371" y="146"/>
                  <a:pt x="371" y="146"/>
                </a:cubicBezTo>
                <a:cubicBezTo>
                  <a:pt x="371" y="286"/>
                  <a:pt x="371" y="286"/>
                  <a:pt x="371" y="286"/>
                </a:cubicBezTo>
                <a:lnTo>
                  <a:pt x="348" y="256"/>
                </a:lnTo>
                <a:close/>
                <a:moveTo>
                  <a:pt x="334" y="238"/>
                </a:moveTo>
                <a:cubicBezTo>
                  <a:pt x="310" y="208"/>
                  <a:pt x="310" y="208"/>
                  <a:pt x="310" y="208"/>
                </a:cubicBezTo>
                <a:cubicBezTo>
                  <a:pt x="310" y="89"/>
                  <a:pt x="310" y="89"/>
                  <a:pt x="310" y="89"/>
                </a:cubicBezTo>
                <a:cubicBezTo>
                  <a:pt x="334" y="111"/>
                  <a:pt x="334" y="111"/>
                  <a:pt x="334" y="111"/>
                </a:cubicBezTo>
                <a:lnTo>
                  <a:pt x="334" y="238"/>
                </a:lnTo>
                <a:close/>
                <a:moveTo>
                  <a:pt x="533" y="310"/>
                </a:moveTo>
                <a:cubicBezTo>
                  <a:pt x="533" y="179"/>
                  <a:pt x="533" y="179"/>
                  <a:pt x="533" y="179"/>
                </a:cubicBezTo>
                <a:cubicBezTo>
                  <a:pt x="556" y="179"/>
                  <a:pt x="556" y="179"/>
                  <a:pt x="556" y="179"/>
                </a:cubicBezTo>
                <a:cubicBezTo>
                  <a:pt x="556" y="304"/>
                  <a:pt x="556" y="304"/>
                  <a:pt x="556" y="304"/>
                </a:cubicBezTo>
                <a:lnTo>
                  <a:pt x="533" y="310"/>
                </a:lnTo>
                <a:close/>
                <a:moveTo>
                  <a:pt x="519" y="313"/>
                </a:moveTo>
                <a:cubicBezTo>
                  <a:pt x="496" y="318"/>
                  <a:pt x="496" y="318"/>
                  <a:pt x="496" y="318"/>
                </a:cubicBezTo>
                <a:cubicBezTo>
                  <a:pt x="496" y="179"/>
                  <a:pt x="496" y="179"/>
                  <a:pt x="496" y="179"/>
                </a:cubicBezTo>
                <a:cubicBezTo>
                  <a:pt x="519" y="179"/>
                  <a:pt x="519" y="179"/>
                  <a:pt x="519" y="179"/>
                </a:cubicBezTo>
                <a:lnTo>
                  <a:pt x="519" y="313"/>
                </a:lnTo>
                <a:close/>
                <a:moveTo>
                  <a:pt x="482" y="322"/>
                </a:moveTo>
                <a:cubicBezTo>
                  <a:pt x="459" y="327"/>
                  <a:pt x="459" y="327"/>
                  <a:pt x="459" y="327"/>
                </a:cubicBezTo>
                <a:cubicBezTo>
                  <a:pt x="459" y="179"/>
                  <a:pt x="459" y="179"/>
                  <a:pt x="459" y="179"/>
                </a:cubicBezTo>
                <a:cubicBezTo>
                  <a:pt x="482" y="179"/>
                  <a:pt x="482" y="179"/>
                  <a:pt x="482" y="179"/>
                </a:cubicBezTo>
                <a:lnTo>
                  <a:pt x="482" y="322"/>
                </a:lnTo>
                <a:close/>
                <a:moveTo>
                  <a:pt x="445" y="330"/>
                </a:moveTo>
                <a:cubicBezTo>
                  <a:pt x="422" y="336"/>
                  <a:pt x="422" y="336"/>
                  <a:pt x="422" y="336"/>
                </a:cubicBezTo>
                <a:cubicBezTo>
                  <a:pt x="422" y="179"/>
                  <a:pt x="422" y="179"/>
                  <a:pt x="422" y="179"/>
                </a:cubicBezTo>
                <a:cubicBezTo>
                  <a:pt x="445" y="179"/>
                  <a:pt x="445" y="179"/>
                  <a:pt x="445" y="179"/>
                </a:cubicBezTo>
                <a:lnTo>
                  <a:pt x="445" y="330"/>
                </a:lnTo>
                <a:close/>
                <a:moveTo>
                  <a:pt x="593" y="296"/>
                </a:moveTo>
                <a:cubicBezTo>
                  <a:pt x="570" y="301"/>
                  <a:pt x="570" y="301"/>
                  <a:pt x="570" y="301"/>
                </a:cubicBezTo>
                <a:cubicBezTo>
                  <a:pt x="570" y="179"/>
                  <a:pt x="570" y="179"/>
                  <a:pt x="570" y="179"/>
                </a:cubicBezTo>
                <a:cubicBezTo>
                  <a:pt x="593" y="179"/>
                  <a:pt x="593" y="179"/>
                  <a:pt x="593" y="179"/>
                </a:cubicBezTo>
                <a:lnTo>
                  <a:pt x="593" y="296"/>
                </a:lnTo>
                <a:close/>
                <a:moveTo>
                  <a:pt x="408" y="179"/>
                </a:moveTo>
                <a:cubicBezTo>
                  <a:pt x="408" y="179"/>
                  <a:pt x="408" y="179"/>
                  <a:pt x="408" y="179"/>
                </a:cubicBezTo>
                <a:cubicBezTo>
                  <a:pt x="408" y="335"/>
                  <a:pt x="408" y="335"/>
                  <a:pt x="408" y="335"/>
                </a:cubicBezTo>
                <a:cubicBezTo>
                  <a:pt x="385" y="305"/>
                  <a:pt x="385" y="305"/>
                  <a:pt x="385" y="305"/>
                </a:cubicBezTo>
                <a:cubicBezTo>
                  <a:pt x="385" y="160"/>
                  <a:pt x="385" y="160"/>
                  <a:pt x="385" y="160"/>
                </a:cubicBezTo>
                <a:cubicBezTo>
                  <a:pt x="403" y="177"/>
                  <a:pt x="403" y="177"/>
                  <a:pt x="403" y="177"/>
                </a:cubicBezTo>
                <a:cubicBezTo>
                  <a:pt x="404" y="178"/>
                  <a:pt x="406" y="179"/>
                  <a:pt x="408" y="179"/>
                </a:cubicBezTo>
                <a:close/>
                <a:moveTo>
                  <a:pt x="276" y="56"/>
                </a:moveTo>
                <a:cubicBezTo>
                  <a:pt x="296" y="75"/>
                  <a:pt x="296" y="75"/>
                  <a:pt x="296" y="75"/>
                </a:cubicBezTo>
                <a:cubicBezTo>
                  <a:pt x="296" y="189"/>
                  <a:pt x="296" y="189"/>
                  <a:pt x="296" y="189"/>
                </a:cubicBezTo>
                <a:cubicBezTo>
                  <a:pt x="284" y="173"/>
                  <a:pt x="284" y="173"/>
                  <a:pt x="284" y="173"/>
                </a:cubicBezTo>
                <a:cubicBezTo>
                  <a:pt x="284" y="173"/>
                  <a:pt x="283" y="172"/>
                  <a:pt x="283" y="172"/>
                </a:cubicBezTo>
                <a:cubicBezTo>
                  <a:pt x="282" y="172"/>
                  <a:pt x="282" y="172"/>
                  <a:pt x="282" y="172"/>
                </a:cubicBezTo>
                <a:cubicBezTo>
                  <a:pt x="282" y="171"/>
                  <a:pt x="281" y="171"/>
                  <a:pt x="281" y="171"/>
                </a:cubicBezTo>
                <a:cubicBezTo>
                  <a:pt x="281" y="171"/>
                  <a:pt x="280" y="171"/>
                  <a:pt x="280" y="171"/>
                </a:cubicBezTo>
                <a:cubicBezTo>
                  <a:pt x="280" y="171"/>
                  <a:pt x="279" y="170"/>
                  <a:pt x="278" y="170"/>
                </a:cubicBezTo>
                <a:cubicBezTo>
                  <a:pt x="278" y="170"/>
                  <a:pt x="278" y="170"/>
                  <a:pt x="278" y="170"/>
                </a:cubicBezTo>
                <a:cubicBezTo>
                  <a:pt x="278" y="170"/>
                  <a:pt x="278" y="170"/>
                  <a:pt x="278" y="170"/>
                </a:cubicBezTo>
                <a:cubicBezTo>
                  <a:pt x="278" y="170"/>
                  <a:pt x="277" y="170"/>
                  <a:pt x="276" y="171"/>
                </a:cubicBezTo>
                <a:cubicBezTo>
                  <a:pt x="273" y="172"/>
                  <a:pt x="273" y="172"/>
                  <a:pt x="273" y="172"/>
                </a:cubicBezTo>
                <a:cubicBezTo>
                  <a:pt x="273" y="57"/>
                  <a:pt x="273" y="57"/>
                  <a:pt x="273" y="57"/>
                </a:cubicBezTo>
                <a:lnTo>
                  <a:pt x="276" y="56"/>
                </a:lnTo>
                <a:close/>
                <a:moveTo>
                  <a:pt x="14" y="22"/>
                </a:moveTo>
                <a:cubicBezTo>
                  <a:pt x="37" y="41"/>
                  <a:pt x="37" y="41"/>
                  <a:pt x="37" y="41"/>
                </a:cubicBezTo>
                <a:cubicBezTo>
                  <a:pt x="37" y="163"/>
                  <a:pt x="37" y="163"/>
                  <a:pt x="37" y="163"/>
                </a:cubicBezTo>
                <a:cubicBezTo>
                  <a:pt x="14" y="147"/>
                  <a:pt x="14" y="147"/>
                  <a:pt x="14" y="147"/>
                </a:cubicBezTo>
                <a:lnTo>
                  <a:pt x="14" y="22"/>
                </a:lnTo>
                <a:close/>
                <a:moveTo>
                  <a:pt x="593" y="462"/>
                </a:moveTo>
                <a:cubicBezTo>
                  <a:pt x="14" y="462"/>
                  <a:pt x="14" y="462"/>
                  <a:pt x="14" y="462"/>
                </a:cubicBezTo>
                <a:cubicBezTo>
                  <a:pt x="14" y="164"/>
                  <a:pt x="14" y="164"/>
                  <a:pt x="14" y="164"/>
                </a:cubicBezTo>
                <a:cubicBezTo>
                  <a:pt x="77" y="207"/>
                  <a:pt x="77" y="207"/>
                  <a:pt x="77" y="207"/>
                </a:cubicBezTo>
                <a:cubicBezTo>
                  <a:pt x="77" y="207"/>
                  <a:pt x="77" y="207"/>
                  <a:pt x="77" y="207"/>
                </a:cubicBezTo>
                <a:cubicBezTo>
                  <a:pt x="114" y="233"/>
                  <a:pt x="114" y="233"/>
                  <a:pt x="114" y="233"/>
                </a:cubicBezTo>
                <a:cubicBezTo>
                  <a:pt x="114" y="233"/>
                  <a:pt x="114" y="233"/>
                  <a:pt x="114" y="233"/>
                </a:cubicBezTo>
                <a:cubicBezTo>
                  <a:pt x="114" y="233"/>
                  <a:pt x="115" y="233"/>
                  <a:pt x="115" y="233"/>
                </a:cubicBezTo>
                <a:cubicBezTo>
                  <a:pt x="115" y="233"/>
                  <a:pt x="116" y="233"/>
                  <a:pt x="116" y="233"/>
                </a:cubicBezTo>
                <a:cubicBezTo>
                  <a:pt x="116" y="233"/>
                  <a:pt x="116" y="234"/>
                  <a:pt x="117" y="234"/>
                </a:cubicBezTo>
                <a:cubicBezTo>
                  <a:pt x="117" y="234"/>
                  <a:pt x="117" y="234"/>
                  <a:pt x="117" y="234"/>
                </a:cubicBezTo>
                <a:cubicBezTo>
                  <a:pt x="118" y="234"/>
                  <a:pt x="118" y="234"/>
                  <a:pt x="118" y="234"/>
                </a:cubicBezTo>
                <a:cubicBezTo>
                  <a:pt x="118" y="234"/>
                  <a:pt x="118" y="234"/>
                  <a:pt x="118" y="234"/>
                </a:cubicBezTo>
                <a:cubicBezTo>
                  <a:pt x="118" y="234"/>
                  <a:pt x="119" y="234"/>
                  <a:pt x="119" y="234"/>
                </a:cubicBezTo>
                <a:cubicBezTo>
                  <a:pt x="119" y="234"/>
                  <a:pt x="119" y="234"/>
                  <a:pt x="120" y="233"/>
                </a:cubicBezTo>
                <a:cubicBezTo>
                  <a:pt x="120" y="233"/>
                  <a:pt x="120" y="233"/>
                  <a:pt x="120" y="233"/>
                </a:cubicBezTo>
                <a:cubicBezTo>
                  <a:pt x="276" y="186"/>
                  <a:pt x="276" y="186"/>
                  <a:pt x="276" y="186"/>
                </a:cubicBezTo>
                <a:cubicBezTo>
                  <a:pt x="402" y="350"/>
                  <a:pt x="402" y="350"/>
                  <a:pt x="402" y="350"/>
                </a:cubicBezTo>
                <a:cubicBezTo>
                  <a:pt x="402" y="351"/>
                  <a:pt x="403" y="351"/>
                  <a:pt x="403" y="352"/>
                </a:cubicBezTo>
                <a:cubicBezTo>
                  <a:pt x="404" y="352"/>
                  <a:pt x="404" y="352"/>
                  <a:pt x="404" y="352"/>
                </a:cubicBezTo>
                <a:cubicBezTo>
                  <a:pt x="404" y="352"/>
                  <a:pt x="405" y="353"/>
                  <a:pt x="405" y="353"/>
                </a:cubicBezTo>
                <a:cubicBezTo>
                  <a:pt x="405" y="353"/>
                  <a:pt x="405" y="353"/>
                  <a:pt x="406" y="353"/>
                </a:cubicBezTo>
                <a:cubicBezTo>
                  <a:pt x="406" y="353"/>
                  <a:pt x="406" y="353"/>
                  <a:pt x="407" y="353"/>
                </a:cubicBezTo>
                <a:cubicBezTo>
                  <a:pt x="407" y="353"/>
                  <a:pt x="407" y="353"/>
                  <a:pt x="407" y="353"/>
                </a:cubicBezTo>
                <a:cubicBezTo>
                  <a:pt x="407" y="353"/>
                  <a:pt x="408" y="353"/>
                  <a:pt x="408" y="353"/>
                </a:cubicBezTo>
                <a:cubicBezTo>
                  <a:pt x="408" y="353"/>
                  <a:pt x="409" y="353"/>
                  <a:pt x="409" y="353"/>
                </a:cubicBezTo>
                <a:cubicBezTo>
                  <a:pt x="412" y="352"/>
                  <a:pt x="412" y="352"/>
                  <a:pt x="412" y="352"/>
                </a:cubicBezTo>
                <a:cubicBezTo>
                  <a:pt x="413" y="353"/>
                  <a:pt x="414" y="353"/>
                  <a:pt x="415" y="353"/>
                </a:cubicBezTo>
                <a:cubicBezTo>
                  <a:pt x="417" y="353"/>
                  <a:pt x="419" y="352"/>
                  <a:pt x="420" y="350"/>
                </a:cubicBezTo>
                <a:cubicBezTo>
                  <a:pt x="453" y="343"/>
                  <a:pt x="453" y="343"/>
                  <a:pt x="453" y="343"/>
                </a:cubicBezTo>
                <a:cubicBezTo>
                  <a:pt x="453" y="343"/>
                  <a:pt x="453" y="343"/>
                  <a:pt x="453" y="343"/>
                </a:cubicBezTo>
                <a:cubicBezTo>
                  <a:pt x="490" y="334"/>
                  <a:pt x="490" y="334"/>
                  <a:pt x="490" y="334"/>
                </a:cubicBezTo>
                <a:cubicBezTo>
                  <a:pt x="490" y="334"/>
                  <a:pt x="490" y="334"/>
                  <a:pt x="490" y="334"/>
                </a:cubicBezTo>
                <a:cubicBezTo>
                  <a:pt x="565" y="317"/>
                  <a:pt x="565" y="317"/>
                  <a:pt x="565" y="317"/>
                </a:cubicBezTo>
                <a:cubicBezTo>
                  <a:pt x="565" y="317"/>
                  <a:pt x="565" y="317"/>
                  <a:pt x="565" y="317"/>
                </a:cubicBezTo>
                <a:cubicBezTo>
                  <a:pt x="593" y="310"/>
                  <a:pt x="593" y="310"/>
                  <a:pt x="593" y="310"/>
                </a:cubicBezTo>
                <a:lnTo>
                  <a:pt x="593" y="462"/>
                </a:ln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7177" name="Oval 16"/>
          <p:cNvSpPr>
            <a:spLocks noChangeArrowheads="1"/>
          </p:cNvSpPr>
          <p:nvPr/>
        </p:nvSpPr>
        <p:spPr bwMode="auto">
          <a:xfrm>
            <a:off x="6589621" y="4711628"/>
            <a:ext cx="1119124" cy="1119124"/>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9258" name="Freeform 125"/>
          <p:cNvSpPr>
            <a:spLocks noEditPoints="1"/>
          </p:cNvSpPr>
          <p:nvPr/>
        </p:nvSpPr>
        <p:spPr bwMode="auto">
          <a:xfrm>
            <a:off x="6763573" y="5052231"/>
            <a:ext cx="771222" cy="437918"/>
          </a:xfrm>
          <a:custGeom>
            <a:avLst/>
            <a:gdLst>
              <a:gd name="T0" fmla="*/ 684 w 733"/>
              <a:gd name="T1" fmla="*/ 318 h 416"/>
              <a:gd name="T2" fmla="*/ 239 w 733"/>
              <a:gd name="T3" fmla="*/ 318 h 416"/>
              <a:gd name="T4" fmla="*/ 239 w 733"/>
              <a:gd name="T5" fmla="*/ 269 h 416"/>
              <a:gd name="T6" fmla="*/ 650 w 733"/>
              <a:gd name="T7" fmla="*/ 269 h 416"/>
              <a:gd name="T8" fmla="*/ 657 w 733"/>
              <a:gd name="T9" fmla="*/ 262 h 416"/>
              <a:gd name="T10" fmla="*/ 657 w 733"/>
              <a:gd name="T11" fmla="*/ 152 h 416"/>
              <a:gd name="T12" fmla="*/ 680 w 733"/>
              <a:gd name="T13" fmla="*/ 148 h 416"/>
              <a:gd name="T14" fmla="*/ 685 w 733"/>
              <a:gd name="T15" fmla="*/ 141 h 416"/>
              <a:gd name="T16" fmla="*/ 560 w 733"/>
              <a:gd name="T17" fmla="*/ 0 h 416"/>
              <a:gd name="T18" fmla="*/ 214 w 733"/>
              <a:gd name="T19" fmla="*/ 83 h 416"/>
              <a:gd name="T20" fmla="*/ 92 w 733"/>
              <a:gd name="T21" fmla="*/ 149 h 416"/>
              <a:gd name="T22" fmla="*/ 42 w 733"/>
              <a:gd name="T23" fmla="*/ 203 h 416"/>
              <a:gd name="T24" fmla="*/ 42 w 733"/>
              <a:gd name="T25" fmla="*/ 319 h 416"/>
              <a:gd name="T26" fmla="*/ 0 w 733"/>
              <a:gd name="T27" fmla="*/ 367 h 416"/>
              <a:gd name="T28" fmla="*/ 49 w 733"/>
              <a:gd name="T29" fmla="*/ 416 h 416"/>
              <a:gd name="T30" fmla="*/ 684 w 733"/>
              <a:gd name="T31" fmla="*/ 416 h 416"/>
              <a:gd name="T32" fmla="*/ 733 w 733"/>
              <a:gd name="T33" fmla="*/ 367 h 416"/>
              <a:gd name="T34" fmla="*/ 684 w 733"/>
              <a:gd name="T35" fmla="*/ 318 h 416"/>
              <a:gd name="T36" fmla="*/ 643 w 733"/>
              <a:gd name="T37" fmla="*/ 255 h 416"/>
              <a:gd name="T38" fmla="*/ 239 w 733"/>
              <a:gd name="T39" fmla="*/ 255 h 416"/>
              <a:gd name="T40" fmla="*/ 239 w 733"/>
              <a:gd name="T41" fmla="*/ 229 h 416"/>
              <a:gd name="T42" fmla="*/ 643 w 733"/>
              <a:gd name="T43" fmla="*/ 155 h 416"/>
              <a:gd name="T44" fmla="*/ 643 w 733"/>
              <a:gd name="T45" fmla="*/ 255 h 416"/>
              <a:gd name="T46" fmla="*/ 220 w 733"/>
              <a:gd name="T47" fmla="*/ 96 h 416"/>
              <a:gd name="T48" fmla="*/ 560 w 733"/>
              <a:gd name="T49" fmla="*/ 14 h 416"/>
              <a:gd name="T50" fmla="*/ 671 w 733"/>
              <a:gd name="T51" fmla="*/ 136 h 416"/>
              <a:gd name="T52" fmla="*/ 231 w 733"/>
              <a:gd name="T53" fmla="*/ 216 h 416"/>
              <a:gd name="T54" fmla="*/ 225 w 733"/>
              <a:gd name="T55" fmla="*/ 223 h 416"/>
              <a:gd name="T56" fmla="*/ 225 w 733"/>
              <a:gd name="T57" fmla="*/ 318 h 416"/>
              <a:gd name="T58" fmla="*/ 56 w 733"/>
              <a:gd name="T59" fmla="*/ 318 h 416"/>
              <a:gd name="T60" fmla="*/ 56 w 733"/>
              <a:gd name="T61" fmla="*/ 203 h 416"/>
              <a:gd name="T62" fmla="*/ 220 w 733"/>
              <a:gd name="T63" fmla="*/ 96 h 416"/>
              <a:gd name="T64" fmla="*/ 684 w 733"/>
              <a:gd name="T65" fmla="*/ 402 h 416"/>
              <a:gd name="T66" fmla="*/ 49 w 733"/>
              <a:gd name="T67" fmla="*/ 402 h 416"/>
              <a:gd name="T68" fmla="*/ 14 w 733"/>
              <a:gd name="T69" fmla="*/ 367 h 416"/>
              <a:gd name="T70" fmla="*/ 49 w 733"/>
              <a:gd name="T71" fmla="*/ 332 h 416"/>
              <a:gd name="T72" fmla="*/ 684 w 733"/>
              <a:gd name="T73" fmla="*/ 332 h 416"/>
              <a:gd name="T74" fmla="*/ 719 w 733"/>
              <a:gd name="T75" fmla="*/ 367 h 416"/>
              <a:gd name="T76" fmla="*/ 684 w 733"/>
              <a:gd name="T77" fmla="*/ 402 h 4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33" h="416">
                <a:moveTo>
                  <a:pt x="684" y="318"/>
                </a:moveTo>
                <a:cubicBezTo>
                  <a:pt x="239" y="318"/>
                  <a:pt x="239" y="318"/>
                  <a:pt x="239" y="318"/>
                </a:cubicBezTo>
                <a:cubicBezTo>
                  <a:pt x="239" y="269"/>
                  <a:pt x="239" y="269"/>
                  <a:pt x="239" y="269"/>
                </a:cubicBezTo>
                <a:cubicBezTo>
                  <a:pt x="650" y="269"/>
                  <a:pt x="650" y="269"/>
                  <a:pt x="650" y="269"/>
                </a:cubicBezTo>
                <a:cubicBezTo>
                  <a:pt x="654" y="269"/>
                  <a:pt x="657" y="266"/>
                  <a:pt x="657" y="262"/>
                </a:cubicBezTo>
                <a:cubicBezTo>
                  <a:pt x="657" y="152"/>
                  <a:pt x="657" y="152"/>
                  <a:pt x="657" y="152"/>
                </a:cubicBezTo>
                <a:cubicBezTo>
                  <a:pt x="680" y="148"/>
                  <a:pt x="680" y="148"/>
                  <a:pt x="680" y="148"/>
                </a:cubicBezTo>
                <a:cubicBezTo>
                  <a:pt x="683" y="147"/>
                  <a:pt x="686" y="144"/>
                  <a:pt x="685" y="141"/>
                </a:cubicBezTo>
                <a:cubicBezTo>
                  <a:pt x="680" y="72"/>
                  <a:pt x="674" y="0"/>
                  <a:pt x="560" y="0"/>
                </a:cubicBezTo>
                <a:cubicBezTo>
                  <a:pt x="422" y="0"/>
                  <a:pt x="284" y="52"/>
                  <a:pt x="214" y="83"/>
                </a:cubicBezTo>
                <a:cubicBezTo>
                  <a:pt x="167" y="104"/>
                  <a:pt x="124" y="127"/>
                  <a:pt x="92" y="149"/>
                </a:cubicBezTo>
                <a:cubicBezTo>
                  <a:pt x="59" y="172"/>
                  <a:pt x="42" y="190"/>
                  <a:pt x="42" y="203"/>
                </a:cubicBezTo>
                <a:cubicBezTo>
                  <a:pt x="42" y="319"/>
                  <a:pt x="42" y="319"/>
                  <a:pt x="42" y="319"/>
                </a:cubicBezTo>
                <a:cubicBezTo>
                  <a:pt x="19" y="322"/>
                  <a:pt x="0" y="343"/>
                  <a:pt x="0" y="367"/>
                </a:cubicBezTo>
                <a:cubicBezTo>
                  <a:pt x="0" y="394"/>
                  <a:pt x="22" y="416"/>
                  <a:pt x="49" y="416"/>
                </a:cubicBezTo>
                <a:cubicBezTo>
                  <a:pt x="684" y="416"/>
                  <a:pt x="684" y="416"/>
                  <a:pt x="684" y="416"/>
                </a:cubicBezTo>
                <a:cubicBezTo>
                  <a:pt x="711" y="416"/>
                  <a:pt x="733" y="394"/>
                  <a:pt x="733" y="367"/>
                </a:cubicBezTo>
                <a:cubicBezTo>
                  <a:pt x="733" y="340"/>
                  <a:pt x="711" y="318"/>
                  <a:pt x="684" y="318"/>
                </a:cubicBezTo>
                <a:close/>
                <a:moveTo>
                  <a:pt x="643" y="255"/>
                </a:moveTo>
                <a:cubicBezTo>
                  <a:pt x="239" y="255"/>
                  <a:pt x="239" y="255"/>
                  <a:pt x="239" y="255"/>
                </a:cubicBezTo>
                <a:cubicBezTo>
                  <a:pt x="239" y="229"/>
                  <a:pt x="239" y="229"/>
                  <a:pt x="239" y="229"/>
                </a:cubicBezTo>
                <a:cubicBezTo>
                  <a:pt x="643" y="155"/>
                  <a:pt x="643" y="155"/>
                  <a:pt x="643" y="155"/>
                </a:cubicBezTo>
                <a:lnTo>
                  <a:pt x="643" y="255"/>
                </a:lnTo>
                <a:close/>
                <a:moveTo>
                  <a:pt x="220" y="96"/>
                </a:moveTo>
                <a:cubicBezTo>
                  <a:pt x="337" y="44"/>
                  <a:pt x="461" y="14"/>
                  <a:pt x="560" y="14"/>
                </a:cubicBezTo>
                <a:cubicBezTo>
                  <a:pt x="658" y="14"/>
                  <a:pt x="665" y="70"/>
                  <a:pt x="671" y="136"/>
                </a:cubicBezTo>
                <a:cubicBezTo>
                  <a:pt x="231" y="216"/>
                  <a:pt x="231" y="216"/>
                  <a:pt x="231" y="216"/>
                </a:cubicBezTo>
                <a:cubicBezTo>
                  <a:pt x="228" y="217"/>
                  <a:pt x="225" y="220"/>
                  <a:pt x="225" y="223"/>
                </a:cubicBezTo>
                <a:cubicBezTo>
                  <a:pt x="225" y="318"/>
                  <a:pt x="225" y="318"/>
                  <a:pt x="225" y="318"/>
                </a:cubicBezTo>
                <a:cubicBezTo>
                  <a:pt x="56" y="318"/>
                  <a:pt x="56" y="318"/>
                  <a:pt x="56" y="318"/>
                </a:cubicBezTo>
                <a:cubicBezTo>
                  <a:pt x="56" y="203"/>
                  <a:pt x="56" y="203"/>
                  <a:pt x="56" y="203"/>
                </a:cubicBezTo>
                <a:cubicBezTo>
                  <a:pt x="56" y="189"/>
                  <a:pt x="114" y="143"/>
                  <a:pt x="220" y="96"/>
                </a:cubicBezTo>
                <a:close/>
                <a:moveTo>
                  <a:pt x="684" y="402"/>
                </a:moveTo>
                <a:cubicBezTo>
                  <a:pt x="49" y="402"/>
                  <a:pt x="49" y="402"/>
                  <a:pt x="49" y="402"/>
                </a:cubicBezTo>
                <a:cubicBezTo>
                  <a:pt x="30" y="402"/>
                  <a:pt x="14" y="386"/>
                  <a:pt x="14" y="367"/>
                </a:cubicBezTo>
                <a:cubicBezTo>
                  <a:pt x="14" y="348"/>
                  <a:pt x="30" y="332"/>
                  <a:pt x="49" y="332"/>
                </a:cubicBezTo>
                <a:cubicBezTo>
                  <a:pt x="684" y="332"/>
                  <a:pt x="684" y="332"/>
                  <a:pt x="684" y="332"/>
                </a:cubicBezTo>
                <a:cubicBezTo>
                  <a:pt x="703" y="332"/>
                  <a:pt x="719" y="348"/>
                  <a:pt x="719" y="367"/>
                </a:cubicBezTo>
                <a:cubicBezTo>
                  <a:pt x="719" y="386"/>
                  <a:pt x="703" y="402"/>
                  <a:pt x="684" y="402"/>
                </a:cubicBez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10" name="Oval 7"/>
          <p:cNvSpPr>
            <a:spLocks noChangeArrowheads="1"/>
          </p:cNvSpPr>
          <p:nvPr/>
        </p:nvSpPr>
        <p:spPr bwMode="auto">
          <a:xfrm>
            <a:off x="8347593" y="1528549"/>
            <a:ext cx="1119124" cy="1119124"/>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9259" name="Freeform 126"/>
          <p:cNvSpPr>
            <a:spLocks noEditPoints="1"/>
          </p:cNvSpPr>
          <p:nvPr/>
        </p:nvSpPr>
        <p:spPr bwMode="auto">
          <a:xfrm>
            <a:off x="8537358" y="1713448"/>
            <a:ext cx="739595" cy="748110"/>
          </a:xfrm>
          <a:custGeom>
            <a:avLst/>
            <a:gdLst>
              <a:gd name="T0" fmla="*/ 703 w 703"/>
              <a:gd name="T1" fmla="*/ 393 h 711"/>
              <a:gd name="T2" fmla="*/ 696 w 703"/>
              <a:gd name="T3" fmla="*/ 325 h 711"/>
              <a:gd name="T4" fmla="*/ 596 w 703"/>
              <a:gd name="T5" fmla="*/ 218 h 711"/>
              <a:gd name="T6" fmla="*/ 555 w 703"/>
              <a:gd name="T7" fmla="*/ 158 h 711"/>
              <a:gd name="T8" fmla="*/ 555 w 703"/>
              <a:gd name="T9" fmla="*/ 246 h 711"/>
              <a:gd name="T10" fmla="*/ 644 w 703"/>
              <a:gd name="T11" fmla="*/ 325 h 711"/>
              <a:gd name="T12" fmla="*/ 420 w 703"/>
              <a:gd name="T13" fmla="*/ 257 h 711"/>
              <a:gd name="T14" fmla="*/ 400 w 703"/>
              <a:gd name="T15" fmla="*/ 206 h 711"/>
              <a:gd name="T16" fmla="*/ 355 w 703"/>
              <a:gd name="T17" fmla="*/ 0 h 711"/>
              <a:gd name="T18" fmla="*/ 305 w 703"/>
              <a:gd name="T19" fmla="*/ 202 h 711"/>
              <a:gd name="T20" fmla="*/ 285 w 703"/>
              <a:gd name="T21" fmla="*/ 257 h 711"/>
              <a:gd name="T22" fmla="*/ 7 w 703"/>
              <a:gd name="T23" fmla="*/ 325 h 711"/>
              <a:gd name="T24" fmla="*/ 0 w 703"/>
              <a:gd name="T25" fmla="*/ 393 h 711"/>
              <a:gd name="T26" fmla="*/ 0 w 703"/>
              <a:gd name="T27" fmla="*/ 395 h 711"/>
              <a:gd name="T28" fmla="*/ 1 w 703"/>
              <a:gd name="T29" fmla="*/ 397 h 711"/>
              <a:gd name="T30" fmla="*/ 68 w 703"/>
              <a:gd name="T31" fmla="*/ 518 h 711"/>
              <a:gd name="T32" fmla="*/ 142 w 703"/>
              <a:gd name="T33" fmla="*/ 704 h 711"/>
              <a:gd name="T34" fmla="*/ 156 w 703"/>
              <a:gd name="T35" fmla="*/ 704 h 711"/>
              <a:gd name="T36" fmla="*/ 548 w 703"/>
              <a:gd name="T37" fmla="*/ 454 h 711"/>
              <a:gd name="T38" fmla="*/ 555 w 703"/>
              <a:gd name="T39" fmla="*/ 711 h 711"/>
              <a:gd name="T40" fmla="*/ 562 w 703"/>
              <a:gd name="T41" fmla="*/ 518 h 711"/>
              <a:gd name="T42" fmla="*/ 642 w 703"/>
              <a:gd name="T43" fmla="*/ 515 h 711"/>
              <a:gd name="T44" fmla="*/ 702 w 703"/>
              <a:gd name="T45" fmla="*/ 396 h 711"/>
              <a:gd name="T46" fmla="*/ 703 w 703"/>
              <a:gd name="T47" fmla="*/ 395 h 711"/>
              <a:gd name="T48" fmla="*/ 525 w 703"/>
              <a:gd name="T49" fmla="*/ 202 h 711"/>
              <a:gd name="T50" fmla="*/ 585 w 703"/>
              <a:gd name="T51" fmla="*/ 202 h 711"/>
              <a:gd name="T52" fmla="*/ 275 w 703"/>
              <a:gd name="T53" fmla="*/ 106 h 711"/>
              <a:gd name="T54" fmla="*/ 435 w 703"/>
              <a:gd name="T55" fmla="*/ 106 h 711"/>
              <a:gd name="T56" fmla="*/ 389 w 703"/>
              <a:gd name="T57" fmla="*/ 197 h 711"/>
              <a:gd name="T58" fmla="*/ 275 w 703"/>
              <a:gd name="T59" fmla="*/ 106 h 711"/>
              <a:gd name="T60" fmla="*/ 318 w 703"/>
              <a:gd name="T61" fmla="*/ 258 h 711"/>
              <a:gd name="T62" fmla="*/ 355 w 703"/>
              <a:gd name="T63" fmla="*/ 220 h 711"/>
              <a:gd name="T64" fmla="*/ 387 w 703"/>
              <a:gd name="T65" fmla="*/ 258 h 711"/>
              <a:gd name="T66" fmla="*/ 523 w 703"/>
              <a:gd name="T67" fmla="*/ 325 h 711"/>
              <a:gd name="T68" fmla="*/ 288 w 703"/>
              <a:gd name="T69" fmla="*/ 271 h 711"/>
              <a:gd name="T70" fmla="*/ 689 w 703"/>
              <a:gd name="T71" fmla="*/ 339 h 711"/>
              <a:gd name="T72" fmla="*/ 14 w 703"/>
              <a:gd name="T73" fmla="*/ 386 h 711"/>
              <a:gd name="T74" fmla="*/ 631 w 703"/>
              <a:gd name="T75" fmla="*/ 504 h 711"/>
              <a:gd name="T76" fmla="*/ 562 w 703"/>
              <a:gd name="T77" fmla="*/ 447 h 711"/>
              <a:gd name="T78" fmla="*/ 149 w 703"/>
              <a:gd name="T79" fmla="*/ 440 h 711"/>
              <a:gd name="T80" fmla="*/ 142 w 703"/>
              <a:gd name="T81" fmla="*/ 504 h 711"/>
              <a:gd name="T82" fmla="*/ 19 w 703"/>
              <a:gd name="T83" fmla="*/ 400 h 711"/>
              <a:gd name="T84" fmla="*/ 631 w 703"/>
              <a:gd name="T85" fmla="*/ 504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703" h="711">
                <a:moveTo>
                  <a:pt x="703" y="395"/>
                </a:moveTo>
                <a:cubicBezTo>
                  <a:pt x="703" y="394"/>
                  <a:pt x="703" y="394"/>
                  <a:pt x="703" y="393"/>
                </a:cubicBezTo>
                <a:cubicBezTo>
                  <a:pt x="703" y="332"/>
                  <a:pt x="703" y="332"/>
                  <a:pt x="703" y="332"/>
                </a:cubicBezTo>
                <a:cubicBezTo>
                  <a:pt x="703" y="328"/>
                  <a:pt x="700" y="325"/>
                  <a:pt x="696" y="325"/>
                </a:cubicBezTo>
                <a:cubicBezTo>
                  <a:pt x="658" y="325"/>
                  <a:pt x="658" y="325"/>
                  <a:pt x="658" y="325"/>
                </a:cubicBezTo>
                <a:cubicBezTo>
                  <a:pt x="656" y="274"/>
                  <a:pt x="626" y="232"/>
                  <a:pt x="596" y="218"/>
                </a:cubicBezTo>
                <a:cubicBezTo>
                  <a:pt x="598" y="213"/>
                  <a:pt x="599" y="208"/>
                  <a:pt x="599" y="202"/>
                </a:cubicBezTo>
                <a:cubicBezTo>
                  <a:pt x="599" y="178"/>
                  <a:pt x="579" y="158"/>
                  <a:pt x="555" y="158"/>
                </a:cubicBezTo>
                <a:cubicBezTo>
                  <a:pt x="530" y="158"/>
                  <a:pt x="511" y="178"/>
                  <a:pt x="511" y="202"/>
                </a:cubicBezTo>
                <a:cubicBezTo>
                  <a:pt x="511" y="226"/>
                  <a:pt x="530" y="246"/>
                  <a:pt x="555" y="246"/>
                </a:cubicBezTo>
                <a:cubicBezTo>
                  <a:pt x="568" y="246"/>
                  <a:pt x="580" y="240"/>
                  <a:pt x="589" y="230"/>
                </a:cubicBezTo>
                <a:cubicBezTo>
                  <a:pt x="616" y="242"/>
                  <a:pt x="642" y="278"/>
                  <a:pt x="644" y="325"/>
                </a:cubicBezTo>
                <a:cubicBezTo>
                  <a:pt x="537" y="325"/>
                  <a:pt x="537" y="325"/>
                  <a:pt x="537" y="325"/>
                </a:cubicBezTo>
                <a:cubicBezTo>
                  <a:pt x="524" y="276"/>
                  <a:pt x="457" y="264"/>
                  <a:pt x="420" y="257"/>
                </a:cubicBezTo>
                <a:cubicBezTo>
                  <a:pt x="413" y="256"/>
                  <a:pt x="404" y="254"/>
                  <a:pt x="400" y="253"/>
                </a:cubicBezTo>
                <a:cubicBezTo>
                  <a:pt x="399" y="244"/>
                  <a:pt x="400" y="222"/>
                  <a:pt x="400" y="206"/>
                </a:cubicBezTo>
                <a:cubicBezTo>
                  <a:pt x="430" y="187"/>
                  <a:pt x="449" y="149"/>
                  <a:pt x="449" y="106"/>
                </a:cubicBezTo>
                <a:cubicBezTo>
                  <a:pt x="449" y="45"/>
                  <a:pt x="409" y="0"/>
                  <a:pt x="355" y="0"/>
                </a:cubicBezTo>
                <a:cubicBezTo>
                  <a:pt x="302" y="0"/>
                  <a:pt x="261" y="45"/>
                  <a:pt x="261" y="106"/>
                </a:cubicBezTo>
                <a:cubicBezTo>
                  <a:pt x="261" y="147"/>
                  <a:pt x="279" y="182"/>
                  <a:pt x="305" y="202"/>
                </a:cubicBezTo>
                <a:cubicBezTo>
                  <a:pt x="306" y="218"/>
                  <a:pt x="306" y="243"/>
                  <a:pt x="305" y="253"/>
                </a:cubicBezTo>
                <a:cubicBezTo>
                  <a:pt x="301" y="254"/>
                  <a:pt x="293" y="256"/>
                  <a:pt x="285" y="257"/>
                </a:cubicBezTo>
                <a:cubicBezTo>
                  <a:pt x="248" y="264"/>
                  <a:pt x="182" y="276"/>
                  <a:pt x="168" y="325"/>
                </a:cubicBezTo>
                <a:cubicBezTo>
                  <a:pt x="7" y="325"/>
                  <a:pt x="7" y="325"/>
                  <a:pt x="7" y="325"/>
                </a:cubicBezTo>
                <a:cubicBezTo>
                  <a:pt x="3" y="325"/>
                  <a:pt x="0" y="328"/>
                  <a:pt x="0" y="332"/>
                </a:cubicBezTo>
                <a:cubicBezTo>
                  <a:pt x="0" y="393"/>
                  <a:pt x="0" y="393"/>
                  <a:pt x="0" y="393"/>
                </a:cubicBezTo>
                <a:cubicBezTo>
                  <a:pt x="0" y="394"/>
                  <a:pt x="0" y="394"/>
                  <a:pt x="0" y="395"/>
                </a:cubicBezTo>
                <a:cubicBezTo>
                  <a:pt x="0" y="395"/>
                  <a:pt x="0" y="395"/>
                  <a:pt x="0" y="395"/>
                </a:cubicBezTo>
                <a:cubicBezTo>
                  <a:pt x="1" y="396"/>
                  <a:pt x="1" y="396"/>
                  <a:pt x="1" y="396"/>
                </a:cubicBezTo>
                <a:cubicBezTo>
                  <a:pt x="1" y="397"/>
                  <a:pt x="1" y="397"/>
                  <a:pt x="1" y="397"/>
                </a:cubicBezTo>
                <a:cubicBezTo>
                  <a:pt x="62" y="515"/>
                  <a:pt x="62" y="515"/>
                  <a:pt x="62" y="515"/>
                </a:cubicBezTo>
                <a:cubicBezTo>
                  <a:pt x="63" y="517"/>
                  <a:pt x="65" y="518"/>
                  <a:pt x="68" y="518"/>
                </a:cubicBezTo>
                <a:cubicBezTo>
                  <a:pt x="142" y="518"/>
                  <a:pt x="142" y="518"/>
                  <a:pt x="142" y="518"/>
                </a:cubicBezTo>
                <a:cubicBezTo>
                  <a:pt x="142" y="704"/>
                  <a:pt x="142" y="704"/>
                  <a:pt x="142" y="704"/>
                </a:cubicBezTo>
                <a:cubicBezTo>
                  <a:pt x="142" y="708"/>
                  <a:pt x="145" y="711"/>
                  <a:pt x="149" y="711"/>
                </a:cubicBezTo>
                <a:cubicBezTo>
                  <a:pt x="153" y="711"/>
                  <a:pt x="156" y="708"/>
                  <a:pt x="156" y="704"/>
                </a:cubicBezTo>
                <a:cubicBezTo>
                  <a:pt x="156" y="454"/>
                  <a:pt x="156" y="454"/>
                  <a:pt x="156" y="454"/>
                </a:cubicBezTo>
                <a:cubicBezTo>
                  <a:pt x="548" y="454"/>
                  <a:pt x="548" y="454"/>
                  <a:pt x="548" y="454"/>
                </a:cubicBezTo>
                <a:cubicBezTo>
                  <a:pt x="548" y="704"/>
                  <a:pt x="548" y="704"/>
                  <a:pt x="548" y="704"/>
                </a:cubicBezTo>
                <a:cubicBezTo>
                  <a:pt x="548" y="708"/>
                  <a:pt x="551" y="711"/>
                  <a:pt x="555" y="711"/>
                </a:cubicBezTo>
                <a:cubicBezTo>
                  <a:pt x="559" y="711"/>
                  <a:pt x="562" y="708"/>
                  <a:pt x="562" y="704"/>
                </a:cubicBezTo>
                <a:cubicBezTo>
                  <a:pt x="562" y="518"/>
                  <a:pt x="562" y="518"/>
                  <a:pt x="562" y="518"/>
                </a:cubicBezTo>
                <a:cubicBezTo>
                  <a:pt x="635" y="518"/>
                  <a:pt x="635" y="518"/>
                  <a:pt x="635" y="518"/>
                </a:cubicBezTo>
                <a:cubicBezTo>
                  <a:pt x="638" y="518"/>
                  <a:pt x="640" y="517"/>
                  <a:pt x="642" y="515"/>
                </a:cubicBezTo>
                <a:cubicBezTo>
                  <a:pt x="702" y="397"/>
                  <a:pt x="702" y="397"/>
                  <a:pt x="702" y="397"/>
                </a:cubicBezTo>
                <a:cubicBezTo>
                  <a:pt x="702" y="397"/>
                  <a:pt x="702" y="397"/>
                  <a:pt x="702" y="396"/>
                </a:cubicBezTo>
                <a:cubicBezTo>
                  <a:pt x="703" y="396"/>
                  <a:pt x="703" y="396"/>
                  <a:pt x="703" y="395"/>
                </a:cubicBezTo>
                <a:cubicBezTo>
                  <a:pt x="703" y="395"/>
                  <a:pt x="703" y="395"/>
                  <a:pt x="703" y="395"/>
                </a:cubicBezTo>
                <a:close/>
                <a:moveTo>
                  <a:pt x="555" y="232"/>
                </a:moveTo>
                <a:cubicBezTo>
                  <a:pt x="538" y="232"/>
                  <a:pt x="525" y="218"/>
                  <a:pt x="525" y="202"/>
                </a:cubicBezTo>
                <a:cubicBezTo>
                  <a:pt x="525" y="185"/>
                  <a:pt x="538" y="172"/>
                  <a:pt x="555" y="172"/>
                </a:cubicBezTo>
                <a:cubicBezTo>
                  <a:pt x="571" y="172"/>
                  <a:pt x="585" y="185"/>
                  <a:pt x="585" y="202"/>
                </a:cubicBezTo>
                <a:cubicBezTo>
                  <a:pt x="585" y="218"/>
                  <a:pt x="571" y="232"/>
                  <a:pt x="555" y="232"/>
                </a:cubicBezTo>
                <a:close/>
                <a:moveTo>
                  <a:pt x="275" y="106"/>
                </a:moveTo>
                <a:cubicBezTo>
                  <a:pt x="275" y="53"/>
                  <a:pt x="310" y="14"/>
                  <a:pt x="355" y="14"/>
                </a:cubicBezTo>
                <a:cubicBezTo>
                  <a:pt x="401" y="14"/>
                  <a:pt x="435" y="53"/>
                  <a:pt x="435" y="106"/>
                </a:cubicBezTo>
                <a:cubicBezTo>
                  <a:pt x="435" y="145"/>
                  <a:pt x="418" y="179"/>
                  <a:pt x="392" y="195"/>
                </a:cubicBezTo>
                <a:cubicBezTo>
                  <a:pt x="390" y="195"/>
                  <a:pt x="389" y="196"/>
                  <a:pt x="389" y="197"/>
                </a:cubicBezTo>
                <a:cubicBezTo>
                  <a:pt x="378" y="203"/>
                  <a:pt x="367" y="206"/>
                  <a:pt x="355" y="206"/>
                </a:cubicBezTo>
                <a:cubicBezTo>
                  <a:pt x="311" y="206"/>
                  <a:pt x="275" y="161"/>
                  <a:pt x="275" y="106"/>
                </a:cubicBezTo>
                <a:close/>
                <a:moveTo>
                  <a:pt x="288" y="271"/>
                </a:moveTo>
                <a:cubicBezTo>
                  <a:pt x="308" y="267"/>
                  <a:pt x="317" y="266"/>
                  <a:pt x="318" y="258"/>
                </a:cubicBezTo>
                <a:cubicBezTo>
                  <a:pt x="320" y="250"/>
                  <a:pt x="320" y="226"/>
                  <a:pt x="319" y="211"/>
                </a:cubicBezTo>
                <a:cubicBezTo>
                  <a:pt x="330" y="217"/>
                  <a:pt x="342" y="220"/>
                  <a:pt x="355" y="220"/>
                </a:cubicBezTo>
                <a:cubicBezTo>
                  <a:pt x="366" y="220"/>
                  <a:pt x="376" y="218"/>
                  <a:pt x="386" y="214"/>
                </a:cubicBezTo>
                <a:cubicBezTo>
                  <a:pt x="386" y="228"/>
                  <a:pt x="385" y="251"/>
                  <a:pt x="387" y="258"/>
                </a:cubicBezTo>
                <a:cubicBezTo>
                  <a:pt x="389" y="266"/>
                  <a:pt x="397" y="267"/>
                  <a:pt x="418" y="271"/>
                </a:cubicBezTo>
                <a:cubicBezTo>
                  <a:pt x="452" y="277"/>
                  <a:pt x="509" y="288"/>
                  <a:pt x="523" y="325"/>
                </a:cubicBezTo>
                <a:cubicBezTo>
                  <a:pt x="183" y="325"/>
                  <a:pt x="183" y="325"/>
                  <a:pt x="183" y="325"/>
                </a:cubicBezTo>
                <a:cubicBezTo>
                  <a:pt x="197" y="288"/>
                  <a:pt x="253" y="277"/>
                  <a:pt x="288" y="271"/>
                </a:cubicBezTo>
                <a:close/>
                <a:moveTo>
                  <a:pt x="14" y="339"/>
                </a:moveTo>
                <a:cubicBezTo>
                  <a:pt x="689" y="339"/>
                  <a:pt x="689" y="339"/>
                  <a:pt x="689" y="339"/>
                </a:cubicBezTo>
                <a:cubicBezTo>
                  <a:pt x="689" y="386"/>
                  <a:pt x="689" y="386"/>
                  <a:pt x="689" y="386"/>
                </a:cubicBezTo>
                <a:cubicBezTo>
                  <a:pt x="14" y="386"/>
                  <a:pt x="14" y="386"/>
                  <a:pt x="14" y="386"/>
                </a:cubicBezTo>
                <a:lnTo>
                  <a:pt x="14" y="339"/>
                </a:lnTo>
                <a:close/>
                <a:moveTo>
                  <a:pt x="631" y="504"/>
                </a:moveTo>
                <a:cubicBezTo>
                  <a:pt x="562" y="504"/>
                  <a:pt x="562" y="504"/>
                  <a:pt x="562" y="504"/>
                </a:cubicBezTo>
                <a:cubicBezTo>
                  <a:pt x="562" y="447"/>
                  <a:pt x="562" y="447"/>
                  <a:pt x="562" y="447"/>
                </a:cubicBezTo>
                <a:cubicBezTo>
                  <a:pt x="562" y="443"/>
                  <a:pt x="559" y="440"/>
                  <a:pt x="555" y="440"/>
                </a:cubicBezTo>
                <a:cubicBezTo>
                  <a:pt x="149" y="440"/>
                  <a:pt x="149" y="440"/>
                  <a:pt x="149" y="440"/>
                </a:cubicBezTo>
                <a:cubicBezTo>
                  <a:pt x="145" y="440"/>
                  <a:pt x="142" y="443"/>
                  <a:pt x="142" y="447"/>
                </a:cubicBezTo>
                <a:cubicBezTo>
                  <a:pt x="142" y="504"/>
                  <a:pt x="142" y="504"/>
                  <a:pt x="142" y="504"/>
                </a:cubicBezTo>
                <a:cubicBezTo>
                  <a:pt x="72" y="504"/>
                  <a:pt x="72" y="504"/>
                  <a:pt x="72" y="504"/>
                </a:cubicBezTo>
                <a:cubicBezTo>
                  <a:pt x="19" y="400"/>
                  <a:pt x="19" y="400"/>
                  <a:pt x="19" y="400"/>
                </a:cubicBezTo>
                <a:cubicBezTo>
                  <a:pt x="685" y="400"/>
                  <a:pt x="685" y="400"/>
                  <a:pt x="685" y="400"/>
                </a:cubicBezTo>
                <a:lnTo>
                  <a:pt x="631" y="504"/>
                </a:ln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5" name="Oval 6"/>
          <p:cNvSpPr>
            <a:spLocks noChangeArrowheads="1"/>
          </p:cNvSpPr>
          <p:nvPr/>
        </p:nvSpPr>
        <p:spPr bwMode="auto">
          <a:xfrm>
            <a:off x="10105564" y="1528549"/>
            <a:ext cx="1119124" cy="1119124"/>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9260" name="Freeform 127"/>
          <p:cNvSpPr>
            <a:spLocks noEditPoints="1"/>
          </p:cNvSpPr>
          <p:nvPr/>
        </p:nvSpPr>
        <p:spPr bwMode="auto">
          <a:xfrm>
            <a:off x="10295330" y="1796166"/>
            <a:ext cx="739595" cy="582675"/>
          </a:xfrm>
          <a:custGeom>
            <a:avLst/>
            <a:gdLst>
              <a:gd name="T0" fmla="*/ 703 w 703"/>
              <a:gd name="T1" fmla="*/ 237 h 553"/>
              <a:gd name="T2" fmla="*/ 703 w 703"/>
              <a:gd name="T3" fmla="*/ 235 h 553"/>
              <a:gd name="T4" fmla="*/ 703 w 703"/>
              <a:gd name="T5" fmla="*/ 174 h 553"/>
              <a:gd name="T6" fmla="*/ 696 w 703"/>
              <a:gd name="T7" fmla="*/ 167 h 553"/>
              <a:gd name="T8" fmla="*/ 658 w 703"/>
              <a:gd name="T9" fmla="*/ 167 h 553"/>
              <a:gd name="T10" fmla="*/ 595 w 703"/>
              <a:gd name="T11" fmla="*/ 60 h 553"/>
              <a:gd name="T12" fmla="*/ 599 w 703"/>
              <a:gd name="T13" fmla="*/ 44 h 553"/>
              <a:gd name="T14" fmla="*/ 554 w 703"/>
              <a:gd name="T15" fmla="*/ 0 h 553"/>
              <a:gd name="T16" fmla="*/ 510 w 703"/>
              <a:gd name="T17" fmla="*/ 44 h 553"/>
              <a:gd name="T18" fmla="*/ 554 w 703"/>
              <a:gd name="T19" fmla="*/ 88 h 553"/>
              <a:gd name="T20" fmla="*/ 588 w 703"/>
              <a:gd name="T21" fmla="*/ 72 h 553"/>
              <a:gd name="T22" fmla="*/ 644 w 703"/>
              <a:gd name="T23" fmla="*/ 167 h 553"/>
              <a:gd name="T24" fmla="*/ 7 w 703"/>
              <a:gd name="T25" fmla="*/ 167 h 553"/>
              <a:gd name="T26" fmla="*/ 0 w 703"/>
              <a:gd name="T27" fmla="*/ 174 h 553"/>
              <a:gd name="T28" fmla="*/ 0 w 703"/>
              <a:gd name="T29" fmla="*/ 235 h 553"/>
              <a:gd name="T30" fmla="*/ 0 w 703"/>
              <a:gd name="T31" fmla="*/ 237 h 553"/>
              <a:gd name="T32" fmla="*/ 0 w 703"/>
              <a:gd name="T33" fmla="*/ 237 h 553"/>
              <a:gd name="T34" fmla="*/ 1 w 703"/>
              <a:gd name="T35" fmla="*/ 238 h 553"/>
              <a:gd name="T36" fmla="*/ 1 w 703"/>
              <a:gd name="T37" fmla="*/ 239 h 553"/>
              <a:gd name="T38" fmla="*/ 62 w 703"/>
              <a:gd name="T39" fmla="*/ 357 h 553"/>
              <a:gd name="T40" fmla="*/ 68 w 703"/>
              <a:gd name="T41" fmla="*/ 360 h 553"/>
              <a:gd name="T42" fmla="*/ 141 w 703"/>
              <a:gd name="T43" fmla="*/ 360 h 553"/>
              <a:gd name="T44" fmla="*/ 141 w 703"/>
              <a:gd name="T45" fmla="*/ 546 h 553"/>
              <a:gd name="T46" fmla="*/ 148 w 703"/>
              <a:gd name="T47" fmla="*/ 553 h 553"/>
              <a:gd name="T48" fmla="*/ 155 w 703"/>
              <a:gd name="T49" fmla="*/ 546 h 553"/>
              <a:gd name="T50" fmla="*/ 155 w 703"/>
              <a:gd name="T51" fmla="*/ 296 h 553"/>
              <a:gd name="T52" fmla="*/ 547 w 703"/>
              <a:gd name="T53" fmla="*/ 296 h 553"/>
              <a:gd name="T54" fmla="*/ 547 w 703"/>
              <a:gd name="T55" fmla="*/ 546 h 553"/>
              <a:gd name="T56" fmla="*/ 554 w 703"/>
              <a:gd name="T57" fmla="*/ 553 h 553"/>
              <a:gd name="T58" fmla="*/ 561 w 703"/>
              <a:gd name="T59" fmla="*/ 546 h 553"/>
              <a:gd name="T60" fmla="*/ 561 w 703"/>
              <a:gd name="T61" fmla="*/ 360 h 553"/>
              <a:gd name="T62" fmla="*/ 635 w 703"/>
              <a:gd name="T63" fmla="*/ 360 h 553"/>
              <a:gd name="T64" fmla="*/ 641 w 703"/>
              <a:gd name="T65" fmla="*/ 357 h 553"/>
              <a:gd name="T66" fmla="*/ 702 w 703"/>
              <a:gd name="T67" fmla="*/ 239 h 553"/>
              <a:gd name="T68" fmla="*/ 702 w 703"/>
              <a:gd name="T69" fmla="*/ 238 h 553"/>
              <a:gd name="T70" fmla="*/ 703 w 703"/>
              <a:gd name="T71" fmla="*/ 237 h 553"/>
              <a:gd name="T72" fmla="*/ 703 w 703"/>
              <a:gd name="T73" fmla="*/ 237 h 553"/>
              <a:gd name="T74" fmla="*/ 554 w 703"/>
              <a:gd name="T75" fmla="*/ 74 h 553"/>
              <a:gd name="T76" fmla="*/ 524 w 703"/>
              <a:gd name="T77" fmla="*/ 44 h 553"/>
              <a:gd name="T78" fmla="*/ 554 w 703"/>
              <a:gd name="T79" fmla="*/ 14 h 553"/>
              <a:gd name="T80" fmla="*/ 585 w 703"/>
              <a:gd name="T81" fmla="*/ 44 h 553"/>
              <a:gd name="T82" fmla="*/ 554 w 703"/>
              <a:gd name="T83" fmla="*/ 74 h 553"/>
              <a:gd name="T84" fmla="*/ 14 w 703"/>
              <a:gd name="T85" fmla="*/ 181 h 553"/>
              <a:gd name="T86" fmla="*/ 689 w 703"/>
              <a:gd name="T87" fmla="*/ 181 h 553"/>
              <a:gd name="T88" fmla="*/ 689 w 703"/>
              <a:gd name="T89" fmla="*/ 228 h 553"/>
              <a:gd name="T90" fmla="*/ 14 w 703"/>
              <a:gd name="T91" fmla="*/ 228 h 553"/>
              <a:gd name="T92" fmla="*/ 14 w 703"/>
              <a:gd name="T93" fmla="*/ 181 h 553"/>
              <a:gd name="T94" fmla="*/ 631 w 703"/>
              <a:gd name="T95" fmla="*/ 346 h 553"/>
              <a:gd name="T96" fmla="*/ 561 w 703"/>
              <a:gd name="T97" fmla="*/ 346 h 553"/>
              <a:gd name="T98" fmla="*/ 561 w 703"/>
              <a:gd name="T99" fmla="*/ 289 h 553"/>
              <a:gd name="T100" fmla="*/ 554 w 703"/>
              <a:gd name="T101" fmla="*/ 282 h 553"/>
              <a:gd name="T102" fmla="*/ 148 w 703"/>
              <a:gd name="T103" fmla="*/ 282 h 553"/>
              <a:gd name="T104" fmla="*/ 141 w 703"/>
              <a:gd name="T105" fmla="*/ 289 h 553"/>
              <a:gd name="T106" fmla="*/ 141 w 703"/>
              <a:gd name="T107" fmla="*/ 346 h 553"/>
              <a:gd name="T108" fmla="*/ 72 w 703"/>
              <a:gd name="T109" fmla="*/ 346 h 553"/>
              <a:gd name="T110" fmla="*/ 18 w 703"/>
              <a:gd name="T111" fmla="*/ 242 h 553"/>
              <a:gd name="T112" fmla="*/ 684 w 703"/>
              <a:gd name="T113" fmla="*/ 242 h 553"/>
              <a:gd name="T114" fmla="*/ 631 w 703"/>
              <a:gd name="T115" fmla="*/ 346 h 5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03" h="553">
                <a:moveTo>
                  <a:pt x="703" y="237"/>
                </a:moveTo>
                <a:cubicBezTo>
                  <a:pt x="703" y="236"/>
                  <a:pt x="703" y="236"/>
                  <a:pt x="703" y="235"/>
                </a:cubicBezTo>
                <a:cubicBezTo>
                  <a:pt x="703" y="174"/>
                  <a:pt x="703" y="174"/>
                  <a:pt x="703" y="174"/>
                </a:cubicBezTo>
                <a:cubicBezTo>
                  <a:pt x="703" y="170"/>
                  <a:pt x="700" y="167"/>
                  <a:pt x="696" y="167"/>
                </a:cubicBezTo>
                <a:cubicBezTo>
                  <a:pt x="658" y="167"/>
                  <a:pt x="658" y="167"/>
                  <a:pt x="658" y="167"/>
                </a:cubicBezTo>
                <a:cubicBezTo>
                  <a:pt x="656" y="116"/>
                  <a:pt x="626" y="74"/>
                  <a:pt x="595" y="60"/>
                </a:cubicBezTo>
                <a:cubicBezTo>
                  <a:pt x="597" y="55"/>
                  <a:pt x="599" y="49"/>
                  <a:pt x="599" y="44"/>
                </a:cubicBezTo>
                <a:cubicBezTo>
                  <a:pt x="599" y="19"/>
                  <a:pt x="579" y="0"/>
                  <a:pt x="554" y="0"/>
                </a:cubicBezTo>
                <a:cubicBezTo>
                  <a:pt x="530" y="0"/>
                  <a:pt x="510" y="19"/>
                  <a:pt x="510" y="44"/>
                </a:cubicBezTo>
                <a:cubicBezTo>
                  <a:pt x="510" y="68"/>
                  <a:pt x="530" y="88"/>
                  <a:pt x="554" y="88"/>
                </a:cubicBezTo>
                <a:cubicBezTo>
                  <a:pt x="568" y="88"/>
                  <a:pt x="580" y="82"/>
                  <a:pt x="588" y="72"/>
                </a:cubicBezTo>
                <a:cubicBezTo>
                  <a:pt x="615" y="84"/>
                  <a:pt x="642" y="120"/>
                  <a:pt x="644" y="167"/>
                </a:cubicBezTo>
                <a:cubicBezTo>
                  <a:pt x="7" y="167"/>
                  <a:pt x="7" y="167"/>
                  <a:pt x="7" y="167"/>
                </a:cubicBezTo>
                <a:cubicBezTo>
                  <a:pt x="3" y="167"/>
                  <a:pt x="0" y="170"/>
                  <a:pt x="0" y="174"/>
                </a:cubicBezTo>
                <a:cubicBezTo>
                  <a:pt x="0" y="235"/>
                  <a:pt x="0" y="235"/>
                  <a:pt x="0" y="235"/>
                </a:cubicBezTo>
                <a:cubicBezTo>
                  <a:pt x="0" y="236"/>
                  <a:pt x="0" y="236"/>
                  <a:pt x="0" y="237"/>
                </a:cubicBezTo>
                <a:cubicBezTo>
                  <a:pt x="0" y="237"/>
                  <a:pt x="0" y="237"/>
                  <a:pt x="0" y="237"/>
                </a:cubicBezTo>
                <a:cubicBezTo>
                  <a:pt x="0" y="238"/>
                  <a:pt x="1" y="238"/>
                  <a:pt x="1" y="238"/>
                </a:cubicBezTo>
                <a:cubicBezTo>
                  <a:pt x="1" y="238"/>
                  <a:pt x="1" y="239"/>
                  <a:pt x="1" y="239"/>
                </a:cubicBezTo>
                <a:cubicBezTo>
                  <a:pt x="62" y="357"/>
                  <a:pt x="62" y="357"/>
                  <a:pt x="62" y="357"/>
                </a:cubicBezTo>
                <a:cubicBezTo>
                  <a:pt x="63" y="359"/>
                  <a:pt x="65" y="360"/>
                  <a:pt x="68" y="360"/>
                </a:cubicBezTo>
                <a:cubicBezTo>
                  <a:pt x="141" y="360"/>
                  <a:pt x="141" y="360"/>
                  <a:pt x="141" y="360"/>
                </a:cubicBezTo>
                <a:cubicBezTo>
                  <a:pt x="141" y="546"/>
                  <a:pt x="141" y="546"/>
                  <a:pt x="141" y="546"/>
                </a:cubicBezTo>
                <a:cubicBezTo>
                  <a:pt x="141" y="550"/>
                  <a:pt x="145" y="553"/>
                  <a:pt x="148" y="553"/>
                </a:cubicBezTo>
                <a:cubicBezTo>
                  <a:pt x="152" y="553"/>
                  <a:pt x="155" y="550"/>
                  <a:pt x="155" y="546"/>
                </a:cubicBezTo>
                <a:cubicBezTo>
                  <a:pt x="155" y="296"/>
                  <a:pt x="155" y="296"/>
                  <a:pt x="155" y="296"/>
                </a:cubicBezTo>
                <a:cubicBezTo>
                  <a:pt x="547" y="296"/>
                  <a:pt x="547" y="296"/>
                  <a:pt x="547" y="296"/>
                </a:cubicBezTo>
                <a:cubicBezTo>
                  <a:pt x="547" y="546"/>
                  <a:pt x="547" y="546"/>
                  <a:pt x="547" y="546"/>
                </a:cubicBezTo>
                <a:cubicBezTo>
                  <a:pt x="547" y="550"/>
                  <a:pt x="551" y="553"/>
                  <a:pt x="554" y="553"/>
                </a:cubicBezTo>
                <a:cubicBezTo>
                  <a:pt x="558" y="553"/>
                  <a:pt x="561" y="550"/>
                  <a:pt x="561" y="546"/>
                </a:cubicBezTo>
                <a:cubicBezTo>
                  <a:pt x="561" y="360"/>
                  <a:pt x="561" y="360"/>
                  <a:pt x="561" y="360"/>
                </a:cubicBezTo>
                <a:cubicBezTo>
                  <a:pt x="635" y="360"/>
                  <a:pt x="635" y="360"/>
                  <a:pt x="635" y="360"/>
                </a:cubicBezTo>
                <a:cubicBezTo>
                  <a:pt x="638" y="360"/>
                  <a:pt x="640" y="359"/>
                  <a:pt x="641" y="357"/>
                </a:cubicBezTo>
                <a:cubicBezTo>
                  <a:pt x="702" y="239"/>
                  <a:pt x="702" y="239"/>
                  <a:pt x="702" y="239"/>
                </a:cubicBezTo>
                <a:cubicBezTo>
                  <a:pt x="702" y="239"/>
                  <a:pt x="702" y="238"/>
                  <a:pt x="702" y="238"/>
                </a:cubicBezTo>
                <a:cubicBezTo>
                  <a:pt x="702" y="238"/>
                  <a:pt x="703" y="238"/>
                  <a:pt x="703" y="237"/>
                </a:cubicBezTo>
                <a:cubicBezTo>
                  <a:pt x="703" y="237"/>
                  <a:pt x="703" y="237"/>
                  <a:pt x="703" y="237"/>
                </a:cubicBezTo>
                <a:close/>
                <a:moveTo>
                  <a:pt x="554" y="74"/>
                </a:moveTo>
                <a:cubicBezTo>
                  <a:pt x="538" y="74"/>
                  <a:pt x="524" y="60"/>
                  <a:pt x="524" y="44"/>
                </a:cubicBezTo>
                <a:cubicBezTo>
                  <a:pt x="524" y="27"/>
                  <a:pt x="538" y="14"/>
                  <a:pt x="554" y="14"/>
                </a:cubicBezTo>
                <a:cubicBezTo>
                  <a:pt x="571" y="14"/>
                  <a:pt x="585" y="27"/>
                  <a:pt x="585" y="44"/>
                </a:cubicBezTo>
                <a:cubicBezTo>
                  <a:pt x="585" y="60"/>
                  <a:pt x="571" y="74"/>
                  <a:pt x="554" y="74"/>
                </a:cubicBezTo>
                <a:close/>
                <a:moveTo>
                  <a:pt x="14" y="181"/>
                </a:moveTo>
                <a:cubicBezTo>
                  <a:pt x="689" y="181"/>
                  <a:pt x="689" y="181"/>
                  <a:pt x="689" y="181"/>
                </a:cubicBezTo>
                <a:cubicBezTo>
                  <a:pt x="689" y="228"/>
                  <a:pt x="689" y="228"/>
                  <a:pt x="689" y="228"/>
                </a:cubicBezTo>
                <a:cubicBezTo>
                  <a:pt x="14" y="228"/>
                  <a:pt x="14" y="228"/>
                  <a:pt x="14" y="228"/>
                </a:cubicBezTo>
                <a:lnTo>
                  <a:pt x="14" y="181"/>
                </a:lnTo>
                <a:close/>
                <a:moveTo>
                  <a:pt x="631" y="346"/>
                </a:moveTo>
                <a:cubicBezTo>
                  <a:pt x="561" y="346"/>
                  <a:pt x="561" y="346"/>
                  <a:pt x="561" y="346"/>
                </a:cubicBezTo>
                <a:cubicBezTo>
                  <a:pt x="561" y="289"/>
                  <a:pt x="561" y="289"/>
                  <a:pt x="561" y="289"/>
                </a:cubicBezTo>
                <a:cubicBezTo>
                  <a:pt x="561" y="285"/>
                  <a:pt x="558" y="282"/>
                  <a:pt x="554" y="282"/>
                </a:cubicBezTo>
                <a:cubicBezTo>
                  <a:pt x="148" y="282"/>
                  <a:pt x="148" y="282"/>
                  <a:pt x="148" y="282"/>
                </a:cubicBezTo>
                <a:cubicBezTo>
                  <a:pt x="145" y="282"/>
                  <a:pt x="141" y="285"/>
                  <a:pt x="141" y="289"/>
                </a:cubicBezTo>
                <a:cubicBezTo>
                  <a:pt x="141" y="346"/>
                  <a:pt x="141" y="346"/>
                  <a:pt x="141" y="346"/>
                </a:cubicBezTo>
                <a:cubicBezTo>
                  <a:pt x="72" y="346"/>
                  <a:pt x="72" y="346"/>
                  <a:pt x="72" y="346"/>
                </a:cubicBezTo>
                <a:cubicBezTo>
                  <a:pt x="18" y="242"/>
                  <a:pt x="18" y="242"/>
                  <a:pt x="18" y="242"/>
                </a:cubicBezTo>
                <a:cubicBezTo>
                  <a:pt x="684" y="242"/>
                  <a:pt x="684" y="242"/>
                  <a:pt x="684" y="242"/>
                </a:cubicBezTo>
                <a:lnTo>
                  <a:pt x="631" y="346"/>
                </a:ln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7168" name="Oval 8"/>
          <p:cNvSpPr>
            <a:spLocks noChangeArrowheads="1"/>
          </p:cNvSpPr>
          <p:nvPr/>
        </p:nvSpPr>
        <p:spPr bwMode="auto">
          <a:xfrm>
            <a:off x="6589621" y="1528549"/>
            <a:ext cx="1119124" cy="1119124"/>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9261" name="Freeform 128"/>
          <p:cNvSpPr>
            <a:spLocks noEditPoints="1"/>
          </p:cNvSpPr>
          <p:nvPr/>
        </p:nvSpPr>
        <p:spPr bwMode="auto">
          <a:xfrm>
            <a:off x="6914410" y="1796166"/>
            <a:ext cx="468329" cy="582675"/>
          </a:xfrm>
          <a:custGeom>
            <a:avLst/>
            <a:gdLst>
              <a:gd name="T0" fmla="*/ 438 w 445"/>
              <a:gd name="T1" fmla="*/ 57 h 553"/>
              <a:gd name="T2" fmla="*/ 388 w 445"/>
              <a:gd name="T3" fmla="*/ 57 h 553"/>
              <a:gd name="T4" fmla="*/ 388 w 445"/>
              <a:gd name="T5" fmla="*/ 7 h 553"/>
              <a:gd name="T6" fmla="*/ 381 w 445"/>
              <a:gd name="T7" fmla="*/ 0 h 553"/>
              <a:gd name="T8" fmla="*/ 7 w 445"/>
              <a:gd name="T9" fmla="*/ 0 h 553"/>
              <a:gd name="T10" fmla="*/ 0 w 445"/>
              <a:gd name="T11" fmla="*/ 7 h 553"/>
              <a:gd name="T12" fmla="*/ 0 w 445"/>
              <a:gd name="T13" fmla="*/ 489 h 553"/>
              <a:gd name="T14" fmla="*/ 7 w 445"/>
              <a:gd name="T15" fmla="*/ 496 h 553"/>
              <a:gd name="T16" fmla="*/ 57 w 445"/>
              <a:gd name="T17" fmla="*/ 496 h 553"/>
              <a:gd name="T18" fmla="*/ 57 w 445"/>
              <a:gd name="T19" fmla="*/ 546 h 553"/>
              <a:gd name="T20" fmla="*/ 64 w 445"/>
              <a:gd name="T21" fmla="*/ 553 h 553"/>
              <a:gd name="T22" fmla="*/ 438 w 445"/>
              <a:gd name="T23" fmla="*/ 553 h 553"/>
              <a:gd name="T24" fmla="*/ 445 w 445"/>
              <a:gd name="T25" fmla="*/ 546 h 553"/>
              <a:gd name="T26" fmla="*/ 445 w 445"/>
              <a:gd name="T27" fmla="*/ 64 h 553"/>
              <a:gd name="T28" fmla="*/ 438 w 445"/>
              <a:gd name="T29" fmla="*/ 57 h 553"/>
              <a:gd name="T30" fmla="*/ 14 w 445"/>
              <a:gd name="T31" fmla="*/ 14 h 553"/>
              <a:gd name="T32" fmla="*/ 374 w 445"/>
              <a:gd name="T33" fmla="*/ 14 h 553"/>
              <a:gd name="T34" fmla="*/ 374 w 445"/>
              <a:gd name="T35" fmla="*/ 482 h 553"/>
              <a:gd name="T36" fmla="*/ 14 w 445"/>
              <a:gd name="T37" fmla="*/ 482 h 553"/>
              <a:gd name="T38" fmla="*/ 14 w 445"/>
              <a:gd name="T39" fmla="*/ 14 h 553"/>
              <a:gd name="T40" fmla="*/ 431 w 445"/>
              <a:gd name="T41" fmla="*/ 539 h 553"/>
              <a:gd name="T42" fmla="*/ 71 w 445"/>
              <a:gd name="T43" fmla="*/ 539 h 553"/>
              <a:gd name="T44" fmla="*/ 71 w 445"/>
              <a:gd name="T45" fmla="*/ 496 h 553"/>
              <a:gd name="T46" fmla="*/ 381 w 445"/>
              <a:gd name="T47" fmla="*/ 496 h 553"/>
              <a:gd name="T48" fmla="*/ 388 w 445"/>
              <a:gd name="T49" fmla="*/ 489 h 553"/>
              <a:gd name="T50" fmla="*/ 388 w 445"/>
              <a:gd name="T51" fmla="*/ 71 h 553"/>
              <a:gd name="T52" fmla="*/ 431 w 445"/>
              <a:gd name="T53" fmla="*/ 71 h 553"/>
              <a:gd name="T54" fmla="*/ 431 w 445"/>
              <a:gd name="T55" fmla="*/ 539 h 553"/>
              <a:gd name="T56" fmla="*/ 75 w 445"/>
              <a:gd name="T57" fmla="*/ 335 h 553"/>
              <a:gd name="T58" fmla="*/ 75 w 445"/>
              <a:gd name="T59" fmla="*/ 325 h 553"/>
              <a:gd name="T60" fmla="*/ 145 w 445"/>
              <a:gd name="T61" fmla="*/ 256 h 553"/>
              <a:gd name="T62" fmla="*/ 155 w 445"/>
              <a:gd name="T63" fmla="*/ 256 h 553"/>
              <a:gd name="T64" fmla="*/ 194 w 445"/>
              <a:gd name="T65" fmla="*/ 295 h 553"/>
              <a:gd name="T66" fmla="*/ 288 w 445"/>
              <a:gd name="T67" fmla="*/ 201 h 553"/>
              <a:gd name="T68" fmla="*/ 210 w 445"/>
              <a:gd name="T69" fmla="*/ 201 h 553"/>
              <a:gd name="T70" fmla="*/ 203 w 445"/>
              <a:gd name="T71" fmla="*/ 194 h 553"/>
              <a:gd name="T72" fmla="*/ 210 w 445"/>
              <a:gd name="T73" fmla="*/ 187 h 553"/>
              <a:gd name="T74" fmla="*/ 304 w 445"/>
              <a:gd name="T75" fmla="*/ 187 h 553"/>
              <a:gd name="T76" fmla="*/ 310 w 445"/>
              <a:gd name="T77" fmla="*/ 189 h 553"/>
              <a:gd name="T78" fmla="*/ 310 w 445"/>
              <a:gd name="T79" fmla="*/ 189 h 553"/>
              <a:gd name="T80" fmla="*/ 311 w 445"/>
              <a:gd name="T81" fmla="*/ 196 h 553"/>
              <a:gd name="T82" fmla="*/ 311 w 445"/>
              <a:gd name="T83" fmla="*/ 288 h 553"/>
              <a:gd name="T84" fmla="*/ 304 w 445"/>
              <a:gd name="T85" fmla="*/ 295 h 553"/>
              <a:gd name="T86" fmla="*/ 297 w 445"/>
              <a:gd name="T87" fmla="*/ 288 h 553"/>
              <a:gd name="T88" fmla="*/ 297 w 445"/>
              <a:gd name="T89" fmla="*/ 211 h 553"/>
              <a:gd name="T90" fmla="*/ 199 w 445"/>
              <a:gd name="T91" fmla="*/ 310 h 553"/>
              <a:gd name="T92" fmla="*/ 189 w 445"/>
              <a:gd name="T93" fmla="*/ 310 h 553"/>
              <a:gd name="T94" fmla="*/ 150 w 445"/>
              <a:gd name="T95" fmla="*/ 271 h 553"/>
              <a:gd name="T96" fmla="*/ 85 w 445"/>
              <a:gd name="T97" fmla="*/ 335 h 553"/>
              <a:gd name="T98" fmla="*/ 80 w 445"/>
              <a:gd name="T99" fmla="*/ 337 h 553"/>
              <a:gd name="T100" fmla="*/ 75 w 445"/>
              <a:gd name="T101" fmla="*/ 335 h 5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45" h="553">
                <a:moveTo>
                  <a:pt x="438" y="57"/>
                </a:moveTo>
                <a:cubicBezTo>
                  <a:pt x="388" y="57"/>
                  <a:pt x="388" y="57"/>
                  <a:pt x="388" y="57"/>
                </a:cubicBezTo>
                <a:cubicBezTo>
                  <a:pt x="388" y="7"/>
                  <a:pt x="388" y="7"/>
                  <a:pt x="388" y="7"/>
                </a:cubicBezTo>
                <a:cubicBezTo>
                  <a:pt x="388" y="3"/>
                  <a:pt x="385" y="0"/>
                  <a:pt x="381" y="0"/>
                </a:cubicBezTo>
                <a:cubicBezTo>
                  <a:pt x="7" y="0"/>
                  <a:pt x="7" y="0"/>
                  <a:pt x="7" y="0"/>
                </a:cubicBezTo>
                <a:cubicBezTo>
                  <a:pt x="3" y="0"/>
                  <a:pt x="0" y="3"/>
                  <a:pt x="0" y="7"/>
                </a:cubicBezTo>
                <a:cubicBezTo>
                  <a:pt x="0" y="489"/>
                  <a:pt x="0" y="489"/>
                  <a:pt x="0" y="489"/>
                </a:cubicBezTo>
                <a:cubicBezTo>
                  <a:pt x="0" y="493"/>
                  <a:pt x="3" y="496"/>
                  <a:pt x="7" y="496"/>
                </a:cubicBezTo>
                <a:cubicBezTo>
                  <a:pt x="57" y="496"/>
                  <a:pt x="57" y="496"/>
                  <a:pt x="57" y="496"/>
                </a:cubicBezTo>
                <a:cubicBezTo>
                  <a:pt x="57" y="546"/>
                  <a:pt x="57" y="546"/>
                  <a:pt x="57" y="546"/>
                </a:cubicBezTo>
                <a:cubicBezTo>
                  <a:pt x="57" y="550"/>
                  <a:pt x="60" y="553"/>
                  <a:pt x="64" y="553"/>
                </a:cubicBezTo>
                <a:cubicBezTo>
                  <a:pt x="438" y="553"/>
                  <a:pt x="438" y="553"/>
                  <a:pt x="438" y="553"/>
                </a:cubicBezTo>
                <a:cubicBezTo>
                  <a:pt x="442" y="553"/>
                  <a:pt x="445" y="550"/>
                  <a:pt x="445" y="546"/>
                </a:cubicBezTo>
                <a:cubicBezTo>
                  <a:pt x="445" y="64"/>
                  <a:pt x="445" y="64"/>
                  <a:pt x="445" y="64"/>
                </a:cubicBezTo>
                <a:cubicBezTo>
                  <a:pt x="445" y="60"/>
                  <a:pt x="442" y="57"/>
                  <a:pt x="438" y="57"/>
                </a:cubicBezTo>
                <a:close/>
                <a:moveTo>
                  <a:pt x="14" y="14"/>
                </a:moveTo>
                <a:cubicBezTo>
                  <a:pt x="374" y="14"/>
                  <a:pt x="374" y="14"/>
                  <a:pt x="374" y="14"/>
                </a:cubicBezTo>
                <a:cubicBezTo>
                  <a:pt x="374" y="482"/>
                  <a:pt x="374" y="482"/>
                  <a:pt x="374" y="482"/>
                </a:cubicBezTo>
                <a:cubicBezTo>
                  <a:pt x="14" y="482"/>
                  <a:pt x="14" y="482"/>
                  <a:pt x="14" y="482"/>
                </a:cubicBezTo>
                <a:lnTo>
                  <a:pt x="14" y="14"/>
                </a:lnTo>
                <a:close/>
                <a:moveTo>
                  <a:pt x="431" y="539"/>
                </a:moveTo>
                <a:cubicBezTo>
                  <a:pt x="71" y="539"/>
                  <a:pt x="71" y="539"/>
                  <a:pt x="71" y="539"/>
                </a:cubicBezTo>
                <a:cubicBezTo>
                  <a:pt x="71" y="496"/>
                  <a:pt x="71" y="496"/>
                  <a:pt x="71" y="496"/>
                </a:cubicBezTo>
                <a:cubicBezTo>
                  <a:pt x="381" y="496"/>
                  <a:pt x="381" y="496"/>
                  <a:pt x="381" y="496"/>
                </a:cubicBezTo>
                <a:cubicBezTo>
                  <a:pt x="385" y="496"/>
                  <a:pt x="388" y="493"/>
                  <a:pt x="388" y="489"/>
                </a:cubicBezTo>
                <a:cubicBezTo>
                  <a:pt x="388" y="71"/>
                  <a:pt x="388" y="71"/>
                  <a:pt x="388" y="71"/>
                </a:cubicBezTo>
                <a:cubicBezTo>
                  <a:pt x="431" y="71"/>
                  <a:pt x="431" y="71"/>
                  <a:pt x="431" y="71"/>
                </a:cubicBezTo>
                <a:lnTo>
                  <a:pt x="431" y="539"/>
                </a:lnTo>
                <a:close/>
                <a:moveTo>
                  <a:pt x="75" y="335"/>
                </a:moveTo>
                <a:cubicBezTo>
                  <a:pt x="72" y="333"/>
                  <a:pt x="72" y="328"/>
                  <a:pt x="75" y="325"/>
                </a:cubicBezTo>
                <a:cubicBezTo>
                  <a:pt x="145" y="256"/>
                  <a:pt x="145" y="256"/>
                  <a:pt x="145" y="256"/>
                </a:cubicBezTo>
                <a:cubicBezTo>
                  <a:pt x="147" y="253"/>
                  <a:pt x="152" y="253"/>
                  <a:pt x="155" y="256"/>
                </a:cubicBezTo>
                <a:cubicBezTo>
                  <a:pt x="194" y="295"/>
                  <a:pt x="194" y="295"/>
                  <a:pt x="194" y="295"/>
                </a:cubicBezTo>
                <a:cubicBezTo>
                  <a:pt x="288" y="201"/>
                  <a:pt x="288" y="201"/>
                  <a:pt x="288" y="201"/>
                </a:cubicBezTo>
                <a:cubicBezTo>
                  <a:pt x="210" y="201"/>
                  <a:pt x="210" y="201"/>
                  <a:pt x="210" y="201"/>
                </a:cubicBezTo>
                <a:cubicBezTo>
                  <a:pt x="207" y="201"/>
                  <a:pt x="203" y="198"/>
                  <a:pt x="203" y="194"/>
                </a:cubicBezTo>
                <a:cubicBezTo>
                  <a:pt x="203" y="190"/>
                  <a:pt x="207" y="187"/>
                  <a:pt x="210" y="187"/>
                </a:cubicBezTo>
                <a:cubicBezTo>
                  <a:pt x="304" y="187"/>
                  <a:pt x="304" y="187"/>
                  <a:pt x="304" y="187"/>
                </a:cubicBezTo>
                <a:cubicBezTo>
                  <a:pt x="306" y="187"/>
                  <a:pt x="308" y="188"/>
                  <a:pt x="310" y="189"/>
                </a:cubicBezTo>
                <a:cubicBezTo>
                  <a:pt x="310" y="189"/>
                  <a:pt x="310" y="189"/>
                  <a:pt x="310" y="189"/>
                </a:cubicBezTo>
                <a:cubicBezTo>
                  <a:pt x="312" y="191"/>
                  <a:pt x="312" y="194"/>
                  <a:pt x="311" y="196"/>
                </a:cubicBezTo>
                <a:cubicBezTo>
                  <a:pt x="311" y="288"/>
                  <a:pt x="311" y="288"/>
                  <a:pt x="311" y="288"/>
                </a:cubicBezTo>
                <a:cubicBezTo>
                  <a:pt x="311" y="292"/>
                  <a:pt x="308" y="295"/>
                  <a:pt x="304" y="295"/>
                </a:cubicBezTo>
                <a:cubicBezTo>
                  <a:pt x="301" y="295"/>
                  <a:pt x="297" y="292"/>
                  <a:pt x="297" y="288"/>
                </a:cubicBezTo>
                <a:cubicBezTo>
                  <a:pt x="297" y="211"/>
                  <a:pt x="297" y="211"/>
                  <a:pt x="297" y="211"/>
                </a:cubicBezTo>
                <a:cubicBezTo>
                  <a:pt x="199" y="310"/>
                  <a:pt x="199" y="310"/>
                  <a:pt x="199" y="310"/>
                </a:cubicBezTo>
                <a:cubicBezTo>
                  <a:pt x="196" y="313"/>
                  <a:pt x="192" y="313"/>
                  <a:pt x="189" y="310"/>
                </a:cubicBezTo>
                <a:cubicBezTo>
                  <a:pt x="150" y="271"/>
                  <a:pt x="150" y="271"/>
                  <a:pt x="150" y="271"/>
                </a:cubicBezTo>
                <a:cubicBezTo>
                  <a:pt x="85" y="335"/>
                  <a:pt x="85" y="335"/>
                  <a:pt x="85" y="335"/>
                </a:cubicBezTo>
                <a:cubicBezTo>
                  <a:pt x="84" y="337"/>
                  <a:pt x="82" y="337"/>
                  <a:pt x="80" y="337"/>
                </a:cubicBezTo>
                <a:cubicBezTo>
                  <a:pt x="78" y="337"/>
                  <a:pt x="76" y="337"/>
                  <a:pt x="75" y="335"/>
                </a:cubicBez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7184" name="Oval 23"/>
          <p:cNvSpPr>
            <a:spLocks noChangeArrowheads="1"/>
          </p:cNvSpPr>
          <p:nvPr/>
        </p:nvSpPr>
        <p:spPr bwMode="auto">
          <a:xfrm>
            <a:off x="8347593" y="4711628"/>
            <a:ext cx="1119124" cy="1119124"/>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9275" name="Freeform 142"/>
          <p:cNvSpPr>
            <a:spLocks noEditPoints="1"/>
          </p:cNvSpPr>
          <p:nvPr/>
        </p:nvSpPr>
        <p:spPr bwMode="auto">
          <a:xfrm>
            <a:off x="8740502" y="4968297"/>
            <a:ext cx="333305" cy="605786"/>
          </a:xfrm>
          <a:custGeom>
            <a:avLst/>
            <a:gdLst>
              <a:gd name="T0" fmla="*/ 162 w 317"/>
              <a:gd name="T1" fmla="*/ 455 h 575"/>
              <a:gd name="T2" fmla="*/ 155 w 317"/>
              <a:gd name="T3" fmla="*/ 448 h 575"/>
              <a:gd name="T4" fmla="*/ 155 w 317"/>
              <a:gd name="T5" fmla="*/ 398 h 575"/>
              <a:gd name="T6" fmla="*/ 220 w 317"/>
              <a:gd name="T7" fmla="*/ 301 h 575"/>
              <a:gd name="T8" fmla="*/ 303 w 317"/>
              <a:gd name="T9" fmla="*/ 159 h 575"/>
              <a:gd name="T10" fmla="*/ 158 w 317"/>
              <a:gd name="T11" fmla="*/ 14 h 575"/>
              <a:gd name="T12" fmla="*/ 14 w 317"/>
              <a:gd name="T13" fmla="*/ 159 h 575"/>
              <a:gd name="T14" fmla="*/ 7 w 317"/>
              <a:gd name="T15" fmla="*/ 166 h 575"/>
              <a:gd name="T16" fmla="*/ 0 w 317"/>
              <a:gd name="T17" fmla="*/ 159 h 575"/>
              <a:gd name="T18" fmla="*/ 158 w 317"/>
              <a:gd name="T19" fmla="*/ 0 h 575"/>
              <a:gd name="T20" fmla="*/ 317 w 317"/>
              <a:gd name="T21" fmla="*/ 159 h 575"/>
              <a:gd name="T22" fmla="*/ 229 w 317"/>
              <a:gd name="T23" fmla="*/ 311 h 575"/>
              <a:gd name="T24" fmla="*/ 169 w 317"/>
              <a:gd name="T25" fmla="*/ 398 h 575"/>
              <a:gd name="T26" fmla="*/ 169 w 317"/>
              <a:gd name="T27" fmla="*/ 448 h 575"/>
              <a:gd name="T28" fmla="*/ 162 w 317"/>
              <a:gd name="T29" fmla="*/ 455 h 575"/>
              <a:gd name="T30" fmla="*/ 195 w 317"/>
              <a:gd name="T31" fmla="*/ 542 h 575"/>
              <a:gd name="T32" fmla="*/ 162 w 317"/>
              <a:gd name="T33" fmla="*/ 510 h 575"/>
              <a:gd name="T34" fmla="*/ 129 w 317"/>
              <a:gd name="T35" fmla="*/ 542 h 575"/>
              <a:gd name="T36" fmla="*/ 162 w 317"/>
              <a:gd name="T37" fmla="*/ 575 h 575"/>
              <a:gd name="T38" fmla="*/ 195 w 317"/>
              <a:gd name="T39" fmla="*/ 542 h 575"/>
              <a:gd name="T40" fmla="*/ 181 w 317"/>
              <a:gd name="T41" fmla="*/ 542 h 575"/>
              <a:gd name="T42" fmla="*/ 162 w 317"/>
              <a:gd name="T43" fmla="*/ 561 h 575"/>
              <a:gd name="T44" fmla="*/ 143 w 317"/>
              <a:gd name="T45" fmla="*/ 542 h 575"/>
              <a:gd name="T46" fmla="*/ 162 w 317"/>
              <a:gd name="T47" fmla="*/ 524 h 575"/>
              <a:gd name="T48" fmla="*/ 181 w 317"/>
              <a:gd name="T49" fmla="*/ 542 h 5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17" h="575">
                <a:moveTo>
                  <a:pt x="162" y="455"/>
                </a:moveTo>
                <a:cubicBezTo>
                  <a:pt x="158" y="455"/>
                  <a:pt x="155" y="452"/>
                  <a:pt x="155" y="448"/>
                </a:cubicBezTo>
                <a:cubicBezTo>
                  <a:pt x="155" y="398"/>
                  <a:pt x="155" y="398"/>
                  <a:pt x="155" y="398"/>
                </a:cubicBezTo>
                <a:cubicBezTo>
                  <a:pt x="155" y="358"/>
                  <a:pt x="186" y="330"/>
                  <a:pt x="220" y="301"/>
                </a:cubicBezTo>
                <a:cubicBezTo>
                  <a:pt x="261" y="264"/>
                  <a:pt x="303" y="227"/>
                  <a:pt x="303" y="159"/>
                </a:cubicBezTo>
                <a:cubicBezTo>
                  <a:pt x="303" y="79"/>
                  <a:pt x="238" y="14"/>
                  <a:pt x="158" y="14"/>
                </a:cubicBezTo>
                <a:cubicBezTo>
                  <a:pt x="79" y="14"/>
                  <a:pt x="14" y="79"/>
                  <a:pt x="14" y="159"/>
                </a:cubicBezTo>
                <a:cubicBezTo>
                  <a:pt x="14" y="163"/>
                  <a:pt x="10" y="166"/>
                  <a:pt x="7" y="166"/>
                </a:cubicBezTo>
                <a:cubicBezTo>
                  <a:pt x="3" y="166"/>
                  <a:pt x="0" y="163"/>
                  <a:pt x="0" y="159"/>
                </a:cubicBezTo>
                <a:cubicBezTo>
                  <a:pt x="0" y="71"/>
                  <a:pt x="71" y="0"/>
                  <a:pt x="158" y="0"/>
                </a:cubicBezTo>
                <a:cubicBezTo>
                  <a:pt x="246" y="0"/>
                  <a:pt x="317" y="71"/>
                  <a:pt x="317" y="159"/>
                </a:cubicBezTo>
                <a:cubicBezTo>
                  <a:pt x="317" y="233"/>
                  <a:pt x="270" y="275"/>
                  <a:pt x="229" y="311"/>
                </a:cubicBezTo>
                <a:cubicBezTo>
                  <a:pt x="197" y="339"/>
                  <a:pt x="169" y="364"/>
                  <a:pt x="169" y="398"/>
                </a:cubicBezTo>
                <a:cubicBezTo>
                  <a:pt x="169" y="448"/>
                  <a:pt x="169" y="448"/>
                  <a:pt x="169" y="448"/>
                </a:cubicBezTo>
                <a:cubicBezTo>
                  <a:pt x="169" y="452"/>
                  <a:pt x="166" y="455"/>
                  <a:pt x="162" y="455"/>
                </a:cubicBezTo>
                <a:close/>
                <a:moveTo>
                  <a:pt x="195" y="542"/>
                </a:moveTo>
                <a:cubicBezTo>
                  <a:pt x="195" y="524"/>
                  <a:pt x="180" y="510"/>
                  <a:pt x="162" y="510"/>
                </a:cubicBezTo>
                <a:cubicBezTo>
                  <a:pt x="144" y="510"/>
                  <a:pt x="129" y="524"/>
                  <a:pt x="129" y="542"/>
                </a:cubicBezTo>
                <a:cubicBezTo>
                  <a:pt x="129" y="560"/>
                  <a:pt x="144" y="575"/>
                  <a:pt x="162" y="575"/>
                </a:cubicBezTo>
                <a:cubicBezTo>
                  <a:pt x="180" y="575"/>
                  <a:pt x="195" y="560"/>
                  <a:pt x="195" y="542"/>
                </a:cubicBezTo>
                <a:close/>
                <a:moveTo>
                  <a:pt x="181" y="542"/>
                </a:moveTo>
                <a:cubicBezTo>
                  <a:pt x="181" y="553"/>
                  <a:pt x="172" y="561"/>
                  <a:pt x="162" y="561"/>
                </a:cubicBezTo>
                <a:cubicBezTo>
                  <a:pt x="152" y="561"/>
                  <a:pt x="143" y="553"/>
                  <a:pt x="143" y="542"/>
                </a:cubicBezTo>
                <a:cubicBezTo>
                  <a:pt x="143" y="532"/>
                  <a:pt x="152" y="524"/>
                  <a:pt x="162" y="524"/>
                </a:cubicBezTo>
                <a:cubicBezTo>
                  <a:pt x="172" y="524"/>
                  <a:pt x="181" y="532"/>
                  <a:pt x="181" y="542"/>
                </a:cubicBez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7183" name="Oval 22"/>
          <p:cNvSpPr>
            <a:spLocks noChangeArrowheads="1"/>
          </p:cNvSpPr>
          <p:nvPr/>
        </p:nvSpPr>
        <p:spPr bwMode="auto">
          <a:xfrm>
            <a:off x="10105564" y="4711628"/>
            <a:ext cx="1119124" cy="1119124"/>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9276" name="Freeform 143"/>
          <p:cNvSpPr>
            <a:spLocks noEditPoints="1"/>
          </p:cNvSpPr>
          <p:nvPr/>
        </p:nvSpPr>
        <p:spPr bwMode="auto">
          <a:xfrm>
            <a:off x="10319658" y="5083859"/>
            <a:ext cx="690937" cy="374663"/>
          </a:xfrm>
          <a:custGeom>
            <a:avLst/>
            <a:gdLst>
              <a:gd name="T0" fmla="*/ 657 w 657"/>
              <a:gd name="T1" fmla="*/ 7 h 357"/>
              <a:gd name="T2" fmla="*/ 650 w 657"/>
              <a:gd name="T3" fmla="*/ 0 h 357"/>
              <a:gd name="T4" fmla="*/ 126 w 657"/>
              <a:gd name="T5" fmla="*/ 0 h 357"/>
              <a:gd name="T6" fmla="*/ 119 w 657"/>
              <a:gd name="T7" fmla="*/ 7 h 357"/>
              <a:gd name="T8" fmla="*/ 119 w 657"/>
              <a:gd name="T9" fmla="*/ 24 h 357"/>
              <a:gd name="T10" fmla="*/ 7 w 657"/>
              <a:gd name="T11" fmla="*/ 24 h 357"/>
              <a:gd name="T12" fmla="*/ 0 w 657"/>
              <a:gd name="T13" fmla="*/ 31 h 357"/>
              <a:gd name="T14" fmla="*/ 86 w 657"/>
              <a:gd name="T15" fmla="*/ 117 h 357"/>
              <a:gd name="T16" fmla="*/ 119 w 657"/>
              <a:gd name="T17" fmla="*/ 117 h 357"/>
              <a:gd name="T18" fmla="*/ 119 w 657"/>
              <a:gd name="T19" fmla="*/ 137 h 357"/>
              <a:gd name="T20" fmla="*/ 126 w 657"/>
              <a:gd name="T21" fmla="*/ 144 h 357"/>
              <a:gd name="T22" fmla="*/ 248 w 657"/>
              <a:gd name="T23" fmla="*/ 144 h 357"/>
              <a:gd name="T24" fmla="*/ 126 w 657"/>
              <a:gd name="T25" fmla="*/ 260 h 357"/>
              <a:gd name="T26" fmla="*/ 119 w 657"/>
              <a:gd name="T27" fmla="*/ 267 h 357"/>
              <a:gd name="T28" fmla="*/ 119 w 657"/>
              <a:gd name="T29" fmla="*/ 350 h 357"/>
              <a:gd name="T30" fmla="*/ 126 w 657"/>
              <a:gd name="T31" fmla="*/ 357 h 357"/>
              <a:gd name="T32" fmla="*/ 236 w 657"/>
              <a:gd name="T33" fmla="*/ 357 h 357"/>
              <a:gd name="T34" fmla="*/ 242 w 657"/>
              <a:gd name="T35" fmla="*/ 353 h 357"/>
              <a:gd name="T36" fmla="*/ 348 w 657"/>
              <a:gd name="T37" fmla="*/ 292 h 357"/>
              <a:gd name="T38" fmla="*/ 455 w 657"/>
              <a:gd name="T39" fmla="*/ 353 h 357"/>
              <a:gd name="T40" fmla="*/ 461 w 657"/>
              <a:gd name="T41" fmla="*/ 357 h 357"/>
              <a:gd name="T42" fmla="*/ 577 w 657"/>
              <a:gd name="T43" fmla="*/ 357 h 357"/>
              <a:gd name="T44" fmla="*/ 584 w 657"/>
              <a:gd name="T45" fmla="*/ 350 h 357"/>
              <a:gd name="T46" fmla="*/ 584 w 657"/>
              <a:gd name="T47" fmla="*/ 267 h 357"/>
              <a:gd name="T48" fmla="*/ 577 w 657"/>
              <a:gd name="T49" fmla="*/ 260 h 357"/>
              <a:gd name="T50" fmla="*/ 455 w 657"/>
              <a:gd name="T51" fmla="*/ 144 h 357"/>
              <a:gd name="T52" fmla="*/ 520 w 657"/>
              <a:gd name="T53" fmla="*/ 144 h 357"/>
              <a:gd name="T54" fmla="*/ 657 w 657"/>
              <a:gd name="T55" fmla="*/ 7 h 357"/>
              <a:gd name="T56" fmla="*/ 86 w 657"/>
              <a:gd name="T57" fmla="*/ 103 h 357"/>
              <a:gd name="T58" fmla="*/ 14 w 657"/>
              <a:gd name="T59" fmla="*/ 38 h 357"/>
              <a:gd name="T60" fmla="*/ 119 w 657"/>
              <a:gd name="T61" fmla="*/ 38 h 357"/>
              <a:gd name="T62" fmla="*/ 119 w 657"/>
              <a:gd name="T63" fmla="*/ 103 h 357"/>
              <a:gd name="T64" fmla="*/ 86 w 657"/>
              <a:gd name="T65" fmla="*/ 103 h 357"/>
              <a:gd name="T66" fmla="*/ 133 w 657"/>
              <a:gd name="T67" fmla="*/ 14 h 357"/>
              <a:gd name="T68" fmla="*/ 643 w 657"/>
              <a:gd name="T69" fmla="*/ 14 h 357"/>
              <a:gd name="T70" fmla="*/ 520 w 657"/>
              <a:gd name="T71" fmla="*/ 130 h 357"/>
              <a:gd name="T72" fmla="*/ 133 w 657"/>
              <a:gd name="T73" fmla="*/ 130 h 357"/>
              <a:gd name="T74" fmla="*/ 133 w 657"/>
              <a:gd name="T75" fmla="*/ 14 h 357"/>
              <a:gd name="T76" fmla="*/ 570 w 657"/>
              <a:gd name="T77" fmla="*/ 274 h 357"/>
              <a:gd name="T78" fmla="*/ 570 w 657"/>
              <a:gd name="T79" fmla="*/ 343 h 357"/>
              <a:gd name="T80" fmla="*/ 465 w 657"/>
              <a:gd name="T81" fmla="*/ 343 h 357"/>
              <a:gd name="T82" fmla="*/ 348 w 657"/>
              <a:gd name="T83" fmla="*/ 278 h 357"/>
              <a:gd name="T84" fmla="*/ 232 w 657"/>
              <a:gd name="T85" fmla="*/ 343 h 357"/>
              <a:gd name="T86" fmla="*/ 133 w 657"/>
              <a:gd name="T87" fmla="*/ 343 h 357"/>
              <a:gd name="T88" fmla="*/ 133 w 657"/>
              <a:gd name="T89" fmla="*/ 274 h 357"/>
              <a:gd name="T90" fmla="*/ 262 w 657"/>
              <a:gd name="T91" fmla="*/ 144 h 357"/>
              <a:gd name="T92" fmla="*/ 440 w 657"/>
              <a:gd name="T93" fmla="*/ 144 h 357"/>
              <a:gd name="T94" fmla="*/ 570 w 657"/>
              <a:gd name="T95" fmla="*/ 274 h 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657" h="357">
                <a:moveTo>
                  <a:pt x="657" y="7"/>
                </a:moveTo>
                <a:cubicBezTo>
                  <a:pt x="657" y="4"/>
                  <a:pt x="654" y="0"/>
                  <a:pt x="650" y="0"/>
                </a:cubicBezTo>
                <a:cubicBezTo>
                  <a:pt x="126" y="0"/>
                  <a:pt x="126" y="0"/>
                  <a:pt x="126" y="0"/>
                </a:cubicBezTo>
                <a:cubicBezTo>
                  <a:pt x="122" y="0"/>
                  <a:pt x="119" y="4"/>
                  <a:pt x="119" y="7"/>
                </a:cubicBezTo>
                <a:cubicBezTo>
                  <a:pt x="119" y="24"/>
                  <a:pt x="119" y="24"/>
                  <a:pt x="119" y="24"/>
                </a:cubicBezTo>
                <a:cubicBezTo>
                  <a:pt x="7" y="24"/>
                  <a:pt x="7" y="24"/>
                  <a:pt x="7" y="24"/>
                </a:cubicBezTo>
                <a:cubicBezTo>
                  <a:pt x="3" y="24"/>
                  <a:pt x="0" y="27"/>
                  <a:pt x="0" y="31"/>
                </a:cubicBezTo>
                <a:cubicBezTo>
                  <a:pt x="0" y="79"/>
                  <a:pt x="38" y="117"/>
                  <a:pt x="86" y="117"/>
                </a:cubicBezTo>
                <a:cubicBezTo>
                  <a:pt x="119" y="117"/>
                  <a:pt x="119" y="117"/>
                  <a:pt x="119" y="117"/>
                </a:cubicBezTo>
                <a:cubicBezTo>
                  <a:pt x="119" y="137"/>
                  <a:pt x="119" y="137"/>
                  <a:pt x="119" y="137"/>
                </a:cubicBezTo>
                <a:cubicBezTo>
                  <a:pt x="119" y="141"/>
                  <a:pt x="122" y="144"/>
                  <a:pt x="126" y="144"/>
                </a:cubicBezTo>
                <a:cubicBezTo>
                  <a:pt x="248" y="144"/>
                  <a:pt x="248" y="144"/>
                  <a:pt x="248" y="144"/>
                </a:cubicBezTo>
                <a:cubicBezTo>
                  <a:pt x="244" y="208"/>
                  <a:pt x="191" y="260"/>
                  <a:pt x="126" y="260"/>
                </a:cubicBezTo>
                <a:cubicBezTo>
                  <a:pt x="122" y="260"/>
                  <a:pt x="119" y="263"/>
                  <a:pt x="119" y="267"/>
                </a:cubicBezTo>
                <a:cubicBezTo>
                  <a:pt x="119" y="350"/>
                  <a:pt x="119" y="350"/>
                  <a:pt x="119" y="350"/>
                </a:cubicBezTo>
                <a:cubicBezTo>
                  <a:pt x="119" y="354"/>
                  <a:pt x="122" y="357"/>
                  <a:pt x="126" y="357"/>
                </a:cubicBezTo>
                <a:cubicBezTo>
                  <a:pt x="236" y="357"/>
                  <a:pt x="236" y="357"/>
                  <a:pt x="236" y="357"/>
                </a:cubicBezTo>
                <a:cubicBezTo>
                  <a:pt x="238" y="357"/>
                  <a:pt x="241" y="356"/>
                  <a:pt x="242" y="353"/>
                </a:cubicBezTo>
                <a:cubicBezTo>
                  <a:pt x="264" y="315"/>
                  <a:pt x="305" y="292"/>
                  <a:pt x="348" y="292"/>
                </a:cubicBezTo>
                <a:cubicBezTo>
                  <a:pt x="392" y="292"/>
                  <a:pt x="433" y="315"/>
                  <a:pt x="455" y="353"/>
                </a:cubicBezTo>
                <a:cubicBezTo>
                  <a:pt x="456" y="356"/>
                  <a:pt x="458" y="357"/>
                  <a:pt x="461" y="357"/>
                </a:cubicBezTo>
                <a:cubicBezTo>
                  <a:pt x="577" y="357"/>
                  <a:pt x="577" y="357"/>
                  <a:pt x="577" y="357"/>
                </a:cubicBezTo>
                <a:cubicBezTo>
                  <a:pt x="581" y="357"/>
                  <a:pt x="584" y="354"/>
                  <a:pt x="584" y="350"/>
                </a:cubicBezTo>
                <a:cubicBezTo>
                  <a:pt x="584" y="267"/>
                  <a:pt x="584" y="267"/>
                  <a:pt x="584" y="267"/>
                </a:cubicBezTo>
                <a:cubicBezTo>
                  <a:pt x="584" y="263"/>
                  <a:pt x="581" y="260"/>
                  <a:pt x="577" y="260"/>
                </a:cubicBezTo>
                <a:cubicBezTo>
                  <a:pt x="512" y="260"/>
                  <a:pt x="458" y="208"/>
                  <a:pt x="455" y="144"/>
                </a:cubicBezTo>
                <a:cubicBezTo>
                  <a:pt x="520" y="144"/>
                  <a:pt x="520" y="144"/>
                  <a:pt x="520" y="144"/>
                </a:cubicBezTo>
                <a:cubicBezTo>
                  <a:pt x="596" y="144"/>
                  <a:pt x="657" y="83"/>
                  <a:pt x="657" y="7"/>
                </a:cubicBezTo>
                <a:close/>
                <a:moveTo>
                  <a:pt x="86" y="103"/>
                </a:moveTo>
                <a:cubicBezTo>
                  <a:pt x="48" y="103"/>
                  <a:pt x="17" y="75"/>
                  <a:pt x="14" y="38"/>
                </a:cubicBezTo>
                <a:cubicBezTo>
                  <a:pt x="119" y="38"/>
                  <a:pt x="119" y="38"/>
                  <a:pt x="119" y="38"/>
                </a:cubicBezTo>
                <a:cubicBezTo>
                  <a:pt x="119" y="103"/>
                  <a:pt x="119" y="103"/>
                  <a:pt x="119" y="103"/>
                </a:cubicBezTo>
                <a:lnTo>
                  <a:pt x="86" y="103"/>
                </a:lnTo>
                <a:close/>
                <a:moveTo>
                  <a:pt x="133" y="14"/>
                </a:moveTo>
                <a:cubicBezTo>
                  <a:pt x="643" y="14"/>
                  <a:pt x="643" y="14"/>
                  <a:pt x="643" y="14"/>
                </a:cubicBezTo>
                <a:cubicBezTo>
                  <a:pt x="639" y="79"/>
                  <a:pt x="586" y="130"/>
                  <a:pt x="520" y="130"/>
                </a:cubicBezTo>
                <a:cubicBezTo>
                  <a:pt x="133" y="130"/>
                  <a:pt x="133" y="130"/>
                  <a:pt x="133" y="130"/>
                </a:cubicBezTo>
                <a:lnTo>
                  <a:pt x="133" y="14"/>
                </a:lnTo>
                <a:close/>
                <a:moveTo>
                  <a:pt x="570" y="274"/>
                </a:moveTo>
                <a:cubicBezTo>
                  <a:pt x="570" y="343"/>
                  <a:pt x="570" y="343"/>
                  <a:pt x="570" y="343"/>
                </a:cubicBezTo>
                <a:cubicBezTo>
                  <a:pt x="465" y="343"/>
                  <a:pt x="465" y="343"/>
                  <a:pt x="465" y="343"/>
                </a:cubicBezTo>
                <a:cubicBezTo>
                  <a:pt x="440" y="302"/>
                  <a:pt x="396" y="278"/>
                  <a:pt x="348" y="278"/>
                </a:cubicBezTo>
                <a:cubicBezTo>
                  <a:pt x="301" y="278"/>
                  <a:pt x="257" y="302"/>
                  <a:pt x="232" y="343"/>
                </a:cubicBezTo>
                <a:cubicBezTo>
                  <a:pt x="133" y="343"/>
                  <a:pt x="133" y="343"/>
                  <a:pt x="133" y="343"/>
                </a:cubicBezTo>
                <a:cubicBezTo>
                  <a:pt x="133" y="274"/>
                  <a:pt x="133" y="274"/>
                  <a:pt x="133" y="274"/>
                </a:cubicBezTo>
                <a:cubicBezTo>
                  <a:pt x="202" y="270"/>
                  <a:pt x="259" y="214"/>
                  <a:pt x="262" y="144"/>
                </a:cubicBezTo>
                <a:cubicBezTo>
                  <a:pt x="440" y="144"/>
                  <a:pt x="440" y="144"/>
                  <a:pt x="440" y="144"/>
                </a:cubicBezTo>
                <a:cubicBezTo>
                  <a:pt x="444" y="214"/>
                  <a:pt x="500" y="270"/>
                  <a:pt x="570" y="274"/>
                </a:cubicBez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7173" name="Oval 12"/>
          <p:cNvSpPr>
            <a:spLocks noChangeArrowheads="1"/>
          </p:cNvSpPr>
          <p:nvPr/>
        </p:nvSpPr>
        <p:spPr bwMode="auto">
          <a:xfrm>
            <a:off x="3073678" y="3120088"/>
            <a:ext cx="1119124" cy="1119124"/>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9277" name="Freeform 144"/>
          <p:cNvSpPr>
            <a:spLocks noEditPoints="1"/>
          </p:cNvSpPr>
          <p:nvPr/>
        </p:nvSpPr>
        <p:spPr bwMode="auto">
          <a:xfrm>
            <a:off x="3309667" y="3373108"/>
            <a:ext cx="647146" cy="613086"/>
          </a:xfrm>
          <a:custGeom>
            <a:avLst/>
            <a:gdLst>
              <a:gd name="T0" fmla="*/ 615 w 615"/>
              <a:gd name="T1" fmla="*/ 217 h 583"/>
              <a:gd name="T2" fmla="*/ 314 w 615"/>
              <a:gd name="T3" fmla="*/ 7 h 583"/>
              <a:gd name="T4" fmla="*/ 300 w 615"/>
              <a:gd name="T5" fmla="*/ 7 h 583"/>
              <a:gd name="T6" fmla="*/ 0 w 615"/>
              <a:gd name="T7" fmla="*/ 217 h 583"/>
              <a:gd name="T8" fmla="*/ 96 w 615"/>
              <a:gd name="T9" fmla="*/ 377 h 583"/>
              <a:gd name="T10" fmla="*/ 213 w 615"/>
              <a:gd name="T11" fmla="*/ 560 h 583"/>
              <a:gd name="T12" fmla="*/ 401 w 615"/>
              <a:gd name="T13" fmla="*/ 561 h 583"/>
              <a:gd name="T14" fmla="*/ 402 w 615"/>
              <a:gd name="T15" fmla="*/ 560 h 583"/>
              <a:gd name="T16" fmla="*/ 518 w 615"/>
              <a:gd name="T17" fmla="*/ 377 h 583"/>
              <a:gd name="T18" fmla="*/ 300 w 615"/>
              <a:gd name="T19" fmla="*/ 149 h 583"/>
              <a:gd name="T20" fmla="*/ 221 w 615"/>
              <a:gd name="T21" fmla="*/ 166 h 583"/>
              <a:gd name="T22" fmla="*/ 211 w 615"/>
              <a:gd name="T23" fmla="*/ 176 h 583"/>
              <a:gd name="T24" fmla="*/ 302 w 615"/>
              <a:gd name="T25" fmla="*/ 268 h 583"/>
              <a:gd name="T26" fmla="*/ 304 w 615"/>
              <a:gd name="T27" fmla="*/ 269 h 583"/>
              <a:gd name="T28" fmla="*/ 305 w 615"/>
              <a:gd name="T29" fmla="*/ 269 h 583"/>
              <a:gd name="T30" fmla="*/ 307 w 615"/>
              <a:gd name="T31" fmla="*/ 270 h 583"/>
              <a:gd name="T32" fmla="*/ 307 w 615"/>
              <a:gd name="T33" fmla="*/ 270 h 583"/>
              <a:gd name="T34" fmla="*/ 309 w 615"/>
              <a:gd name="T35" fmla="*/ 269 h 583"/>
              <a:gd name="T36" fmla="*/ 310 w 615"/>
              <a:gd name="T37" fmla="*/ 269 h 583"/>
              <a:gd name="T38" fmla="*/ 311 w 615"/>
              <a:gd name="T39" fmla="*/ 268 h 583"/>
              <a:gd name="T40" fmla="*/ 404 w 615"/>
              <a:gd name="T41" fmla="*/ 176 h 583"/>
              <a:gd name="T42" fmla="*/ 394 w 615"/>
              <a:gd name="T43" fmla="*/ 166 h 583"/>
              <a:gd name="T44" fmla="*/ 314 w 615"/>
              <a:gd name="T45" fmla="*/ 149 h 583"/>
              <a:gd name="T46" fmla="*/ 600 w 615"/>
              <a:gd name="T47" fmla="*/ 219 h 583"/>
              <a:gd name="T48" fmla="*/ 597 w 615"/>
              <a:gd name="T49" fmla="*/ 227 h 583"/>
              <a:gd name="T50" fmla="*/ 18 w 615"/>
              <a:gd name="T51" fmla="*/ 227 h 583"/>
              <a:gd name="T52" fmla="*/ 14 w 615"/>
              <a:gd name="T53" fmla="*/ 219 h 583"/>
              <a:gd name="T54" fmla="*/ 300 w 615"/>
              <a:gd name="T55" fmla="*/ 149 h 583"/>
              <a:gd name="T56" fmla="*/ 307 w 615"/>
              <a:gd name="T57" fmla="*/ 569 h 583"/>
              <a:gd name="T58" fmla="*/ 108 w 615"/>
              <a:gd name="T59" fmla="*/ 369 h 583"/>
              <a:gd name="T60" fmla="*/ 307 w 615"/>
              <a:gd name="T61" fmla="*/ 299 h 583"/>
              <a:gd name="T62" fmla="*/ 507 w 615"/>
              <a:gd name="T63" fmla="*/ 369 h 5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15" h="583">
                <a:moveTo>
                  <a:pt x="609" y="234"/>
                </a:moveTo>
                <a:cubicBezTo>
                  <a:pt x="613" y="228"/>
                  <a:pt x="615" y="223"/>
                  <a:pt x="615" y="217"/>
                </a:cubicBezTo>
                <a:cubicBezTo>
                  <a:pt x="615" y="164"/>
                  <a:pt x="461" y="135"/>
                  <a:pt x="314" y="135"/>
                </a:cubicBezTo>
                <a:cubicBezTo>
                  <a:pt x="314" y="7"/>
                  <a:pt x="314" y="7"/>
                  <a:pt x="314" y="7"/>
                </a:cubicBezTo>
                <a:cubicBezTo>
                  <a:pt x="314" y="3"/>
                  <a:pt x="311" y="0"/>
                  <a:pt x="307" y="0"/>
                </a:cubicBezTo>
                <a:cubicBezTo>
                  <a:pt x="303" y="0"/>
                  <a:pt x="300" y="3"/>
                  <a:pt x="300" y="7"/>
                </a:cubicBezTo>
                <a:cubicBezTo>
                  <a:pt x="300" y="135"/>
                  <a:pt x="300" y="135"/>
                  <a:pt x="300" y="135"/>
                </a:cubicBezTo>
                <a:cubicBezTo>
                  <a:pt x="153" y="135"/>
                  <a:pt x="0" y="164"/>
                  <a:pt x="0" y="217"/>
                </a:cubicBezTo>
                <a:cubicBezTo>
                  <a:pt x="0" y="223"/>
                  <a:pt x="2" y="228"/>
                  <a:pt x="5" y="234"/>
                </a:cubicBezTo>
                <a:cubicBezTo>
                  <a:pt x="9" y="239"/>
                  <a:pt x="51" y="305"/>
                  <a:pt x="96" y="377"/>
                </a:cubicBezTo>
                <a:cubicBezTo>
                  <a:pt x="198" y="537"/>
                  <a:pt x="211" y="558"/>
                  <a:pt x="213" y="560"/>
                </a:cubicBezTo>
                <a:cubicBezTo>
                  <a:pt x="213" y="560"/>
                  <a:pt x="213" y="560"/>
                  <a:pt x="213" y="560"/>
                </a:cubicBezTo>
                <a:cubicBezTo>
                  <a:pt x="222" y="576"/>
                  <a:pt x="274" y="583"/>
                  <a:pt x="307" y="583"/>
                </a:cubicBezTo>
                <a:cubicBezTo>
                  <a:pt x="340" y="583"/>
                  <a:pt x="391" y="576"/>
                  <a:pt x="401" y="561"/>
                </a:cubicBezTo>
                <a:cubicBezTo>
                  <a:pt x="401" y="561"/>
                  <a:pt x="401" y="561"/>
                  <a:pt x="401" y="561"/>
                </a:cubicBezTo>
                <a:cubicBezTo>
                  <a:pt x="401" y="561"/>
                  <a:pt x="402" y="561"/>
                  <a:pt x="402" y="560"/>
                </a:cubicBezTo>
                <a:cubicBezTo>
                  <a:pt x="402" y="560"/>
                  <a:pt x="402" y="560"/>
                  <a:pt x="402" y="560"/>
                </a:cubicBezTo>
                <a:cubicBezTo>
                  <a:pt x="404" y="557"/>
                  <a:pt x="419" y="534"/>
                  <a:pt x="518" y="377"/>
                </a:cubicBezTo>
                <a:cubicBezTo>
                  <a:pt x="564" y="305"/>
                  <a:pt x="605" y="239"/>
                  <a:pt x="609" y="234"/>
                </a:cubicBezTo>
                <a:close/>
                <a:moveTo>
                  <a:pt x="300" y="149"/>
                </a:moveTo>
                <a:cubicBezTo>
                  <a:pt x="300" y="246"/>
                  <a:pt x="300" y="246"/>
                  <a:pt x="300" y="246"/>
                </a:cubicBezTo>
                <a:cubicBezTo>
                  <a:pt x="221" y="166"/>
                  <a:pt x="221" y="166"/>
                  <a:pt x="221" y="166"/>
                </a:cubicBezTo>
                <a:cubicBezTo>
                  <a:pt x="218" y="164"/>
                  <a:pt x="214" y="164"/>
                  <a:pt x="211" y="166"/>
                </a:cubicBezTo>
                <a:cubicBezTo>
                  <a:pt x="208" y="169"/>
                  <a:pt x="208" y="173"/>
                  <a:pt x="211" y="176"/>
                </a:cubicBezTo>
                <a:cubicBezTo>
                  <a:pt x="302" y="268"/>
                  <a:pt x="302" y="268"/>
                  <a:pt x="302" y="268"/>
                </a:cubicBezTo>
                <a:cubicBezTo>
                  <a:pt x="302" y="268"/>
                  <a:pt x="302" y="268"/>
                  <a:pt x="302" y="268"/>
                </a:cubicBezTo>
                <a:cubicBezTo>
                  <a:pt x="303" y="268"/>
                  <a:pt x="303" y="268"/>
                  <a:pt x="303" y="268"/>
                </a:cubicBezTo>
                <a:cubicBezTo>
                  <a:pt x="304" y="269"/>
                  <a:pt x="304" y="269"/>
                  <a:pt x="304" y="269"/>
                </a:cubicBezTo>
                <a:cubicBezTo>
                  <a:pt x="304" y="269"/>
                  <a:pt x="304" y="269"/>
                  <a:pt x="305" y="269"/>
                </a:cubicBezTo>
                <a:cubicBezTo>
                  <a:pt x="305" y="269"/>
                  <a:pt x="305" y="269"/>
                  <a:pt x="305" y="269"/>
                </a:cubicBezTo>
                <a:cubicBezTo>
                  <a:pt x="306" y="269"/>
                  <a:pt x="306" y="269"/>
                  <a:pt x="306" y="269"/>
                </a:cubicBezTo>
                <a:cubicBezTo>
                  <a:pt x="306" y="270"/>
                  <a:pt x="307" y="270"/>
                  <a:pt x="307" y="270"/>
                </a:cubicBezTo>
                <a:cubicBezTo>
                  <a:pt x="307" y="270"/>
                  <a:pt x="307" y="270"/>
                  <a:pt x="307" y="270"/>
                </a:cubicBezTo>
                <a:cubicBezTo>
                  <a:pt x="307" y="270"/>
                  <a:pt x="307" y="270"/>
                  <a:pt x="307" y="270"/>
                </a:cubicBezTo>
                <a:cubicBezTo>
                  <a:pt x="307" y="270"/>
                  <a:pt x="307" y="270"/>
                  <a:pt x="307" y="270"/>
                </a:cubicBezTo>
                <a:cubicBezTo>
                  <a:pt x="308" y="270"/>
                  <a:pt x="308" y="270"/>
                  <a:pt x="309" y="269"/>
                </a:cubicBezTo>
                <a:cubicBezTo>
                  <a:pt x="309" y="269"/>
                  <a:pt x="309" y="269"/>
                  <a:pt x="309" y="269"/>
                </a:cubicBezTo>
                <a:cubicBezTo>
                  <a:pt x="310" y="269"/>
                  <a:pt x="310" y="269"/>
                  <a:pt x="310" y="269"/>
                </a:cubicBezTo>
                <a:cubicBezTo>
                  <a:pt x="310" y="269"/>
                  <a:pt x="310" y="269"/>
                  <a:pt x="311" y="269"/>
                </a:cubicBezTo>
                <a:cubicBezTo>
                  <a:pt x="311" y="269"/>
                  <a:pt x="311" y="268"/>
                  <a:pt x="311" y="268"/>
                </a:cubicBezTo>
                <a:cubicBezTo>
                  <a:pt x="312" y="268"/>
                  <a:pt x="312" y="268"/>
                  <a:pt x="312" y="268"/>
                </a:cubicBezTo>
                <a:cubicBezTo>
                  <a:pt x="404" y="176"/>
                  <a:pt x="404" y="176"/>
                  <a:pt x="404" y="176"/>
                </a:cubicBezTo>
                <a:cubicBezTo>
                  <a:pt x="406" y="173"/>
                  <a:pt x="406" y="169"/>
                  <a:pt x="404" y="166"/>
                </a:cubicBezTo>
                <a:cubicBezTo>
                  <a:pt x="401" y="164"/>
                  <a:pt x="396" y="164"/>
                  <a:pt x="394" y="166"/>
                </a:cubicBezTo>
                <a:cubicBezTo>
                  <a:pt x="314" y="246"/>
                  <a:pt x="314" y="246"/>
                  <a:pt x="314" y="246"/>
                </a:cubicBezTo>
                <a:cubicBezTo>
                  <a:pt x="314" y="149"/>
                  <a:pt x="314" y="149"/>
                  <a:pt x="314" y="149"/>
                </a:cubicBezTo>
                <a:cubicBezTo>
                  <a:pt x="483" y="150"/>
                  <a:pt x="601" y="185"/>
                  <a:pt x="601" y="217"/>
                </a:cubicBezTo>
                <a:cubicBezTo>
                  <a:pt x="601" y="218"/>
                  <a:pt x="600" y="218"/>
                  <a:pt x="600" y="219"/>
                </a:cubicBezTo>
                <a:cubicBezTo>
                  <a:pt x="600" y="221"/>
                  <a:pt x="599" y="224"/>
                  <a:pt x="597" y="226"/>
                </a:cubicBezTo>
                <a:cubicBezTo>
                  <a:pt x="597" y="226"/>
                  <a:pt x="597" y="226"/>
                  <a:pt x="597" y="227"/>
                </a:cubicBezTo>
                <a:cubicBezTo>
                  <a:pt x="575" y="256"/>
                  <a:pt x="462" y="285"/>
                  <a:pt x="307" y="285"/>
                </a:cubicBezTo>
                <a:cubicBezTo>
                  <a:pt x="153" y="285"/>
                  <a:pt x="40" y="256"/>
                  <a:pt x="18" y="227"/>
                </a:cubicBezTo>
                <a:cubicBezTo>
                  <a:pt x="17" y="226"/>
                  <a:pt x="17" y="226"/>
                  <a:pt x="17" y="226"/>
                </a:cubicBezTo>
                <a:cubicBezTo>
                  <a:pt x="16" y="224"/>
                  <a:pt x="15" y="221"/>
                  <a:pt x="14" y="219"/>
                </a:cubicBezTo>
                <a:cubicBezTo>
                  <a:pt x="14" y="218"/>
                  <a:pt x="14" y="218"/>
                  <a:pt x="14" y="217"/>
                </a:cubicBezTo>
                <a:cubicBezTo>
                  <a:pt x="14" y="185"/>
                  <a:pt x="131" y="150"/>
                  <a:pt x="300" y="149"/>
                </a:cubicBezTo>
                <a:close/>
                <a:moveTo>
                  <a:pt x="390" y="553"/>
                </a:moveTo>
                <a:cubicBezTo>
                  <a:pt x="386" y="559"/>
                  <a:pt x="349" y="569"/>
                  <a:pt x="307" y="569"/>
                </a:cubicBezTo>
                <a:cubicBezTo>
                  <a:pt x="266" y="569"/>
                  <a:pt x="229" y="559"/>
                  <a:pt x="225" y="553"/>
                </a:cubicBezTo>
                <a:cubicBezTo>
                  <a:pt x="224" y="552"/>
                  <a:pt x="164" y="457"/>
                  <a:pt x="108" y="369"/>
                </a:cubicBezTo>
                <a:cubicBezTo>
                  <a:pt x="81" y="326"/>
                  <a:pt x="55" y="285"/>
                  <a:pt x="38" y="258"/>
                </a:cubicBezTo>
                <a:cubicBezTo>
                  <a:pt x="93" y="285"/>
                  <a:pt x="203" y="299"/>
                  <a:pt x="307" y="299"/>
                </a:cubicBezTo>
                <a:cubicBezTo>
                  <a:pt x="412" y="299"/>
                  <a:pt x="521" y="285"/>
                  <a:pt x="577" y="258"/>
                </a:cubicBezTo>
                <a:cubicBezTo>
                  <a:pt x="560" y="285"/>
                  <a:pt x="534" y="326"/>
                  <a:pt x="507" y="369"/>
                </a:cubicBezTo>
                <a:cubicBezTo>
                  <a:pt x="451" y="457"/>
                  <a:pt x="390" y="552"/>
                  <a:pt x="390" y="553"/>
                </a:cubicBez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7172" name="Oval 11"/>
          <p:cNvSpPr>
            <a:spLocks noChangeArrowheads="1"/>
          </p:cNvSpPr>
          <p:nvPr/>
        </p:nvSpPr>
        <p:spPr bwMode="auto">
          <a:xfrm>
            <a:off x="4831649" y="3120088"/>
            <a:ext cx="1119124" cy="1119124"/>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9278" name="Freeform 145"/>
          <p:cNvSpPr>
            <a:spLocks noEditPoints="1"/>
          </p:cNvSpPr>
          <p:nvPr/>
        </p:nvSpPr>
        <p:spPr bwMode="auto">
          <a:xfrm>
            <a:off x="5067638" y="3324450"/>
            <a:ext cx="647146" cy="710400"/>
          </a:xfrm>
          <a:custGeom>
            <a:avLst/>
            <a:gdLst>
              <a:gd name="T0" fmla="*/ 301 w 615"/>
              <a:gd name="T1" fmla="*/ 7 h 675"/>
              <a:gd name="T2" fmla="*/ 315 w 615"/>
              <a:gd name="T3" fmla="*/ 7 h 675"/>
              <a:gd name="T4" fmla="*/ 374 w 615"/>
              <a:gd name="T5" fmla="*/ 140 h 675"/>
              <a:gd name="T6" fmla="*/ 384 w 615"/>
              <a:gd name="T7" fmla="*/ 150 h 675"/>
              <a:gd name="T8" fmla="*/ 311 w 615"/>
              <a:gd name="T9" fmla="*/ 223 h 675"/>
              <a:gd name="T10" fmla="*/ 310 w 615"/>
              <a:gd name="T11" fmla="*/ 223 h 675"/>
              <a:gd name="T12" fmla="*/ 309 w 615"/>
              <a:gd name="T13" fmla="*/ 224 h 675"/>
              <a:gd name="T14" fmla="*/ 306 w 615"/>
              <a:gd name="T15" fmla="*/ 224 h 675"/>
              <a:gd name="T16" fmla="*/ 305 w 615"/>
              <a:gd name="T17" fmla="*/ 223 h 675"/>
              <a:gd name="T18" fmla="*/ 304 w 615"/>
              <a:gd name="T19" fmla="*/ 223 h 675"/>
              <a:gd name="T20" fmla="*/ 231 w 615"/>
              <a:gd name="T21" fmla="*/ 150 h 675"/>
              <a:gd name="T22" fmla="*/ 241 w 615"/>
              <a:gd name="T23" fmla="*/ 140 h 675"/>
              <a:gd name="T24" fmla="*/ 609 w 615"/>
              <a:gd name="T25" fmla="*/ 197 h 675"/>
              <a:gd name="T26" fmla="*/ 402 w 615"/>
              <a:gd name="T27" fmla="*/ 524 h 675"/>
              <a:gd name="T28" fmla="*/ 315 w 615"/>
              <a:gd name="T29" fmla="*/ 546 h 675"/>
              <a:gd name="T30" fmla="*/ 374 w 615"/>
              <a:gd name="T31" fmla="*/ 591 h 675"/>
              <a:gd name="T32" fmla="*/ 384 w 615"/>
              <a:gd name="T33" fmla="*/ 601 h 675"/>
              <a:gd name="T34" fmla="*/ 311 w 615"/>
              <a:gd name="T35" fmla="*/ 673 h 675"/>
              <a:gd name="T36" fmla="*/ 310 w 615"/>
              <a:gd name="T37" fmla="*/ 674 h 675"/>
              <a:gd name="T38" fmla="*/ 309 w 615"/>
              <a:gd name="T39" fmla="*/ 675 h 675"/>
              <a:gd name="T40" fmla="*/ 306 w 615"/>
              <a:gd name="T41" fmla="*/ 675 h 675"/>
              <a:gd name="T42" fmla="*/ 305 w 615"/>
              <a:gd name="T43" fmla="*/ 674 h 675"/>
              <a:gd name="T44" fmla="*/ 304 w 615"/>
              <a:gd name="T45" fmla="*/ 673 h 675"/>
              <a:gd name="T46" fmla="*/ 231 w 615"/>
              <a:gd name="T47" fmla="*/ 601 h 675"/>
              <a:gd name="T48" fmla="*/ 241 w 615"/>
              <a:gd name="T49" fmla="*/ 591 h 675"/>
              <a:gd name="T50" fmla="*/ 301 w 615"/>
              <a:gd name="T51" fmla="*/ 546 h 675"/>
              <a:gd name="T52" fmla="*/ 213 w 615"/>
              <a:gd name="T53" fmla="*/ 524 h 675"/>
              <a:gd name="T54" fmla="*/ 6 w 615"/>
              <a:gd name="T55" fmla="*/ 197 h 675"/>
              <a:gd name="T56" fmla="*/ 83 w 615"/>
              <a:gd name="T57" fmla="*/ 123 h 675"/>
              <a:gd name="T58" fmla="*/ 275 w 615"/>
              <a:gd name="T59" fmla="*/ 98 h 675"/>
              <a:gd name="T60" fmla="*/ 275 w 615"/>
              <a:gd name="T61" fmla="*/ 112 h 675"/>
              <a:gd name="T62" fmla="*/ 15 w 615"/>
              <a:gd name="T63" fmla="*/ 182 h 675"/>
              <a:gd name="T64" fmla="*/ 18 w 615"/>
              <a:gd name="T65" fmla="*/ 191 h 675"/>
              <a:gd name="T66" fmla="*/ 597 w 615"/>
              <a:gd name="T67" fmla="*/ 191 h 675"/>
              <a:gd name="T68" fmla="*/ 601 w 615"/>
              <a:gd name="T69" fmla="*/ 182 h 675"/>
              <a:gd name="T70" fmla="*/ 340 w 615"/>
              <a:gd name="T71" fmla="*/ 112 h 675"/>
              <a:gd name="T72" fmla="*/ 340 w 615"/>
              <a:gd name="T73" fmla="*/ 98 h 675"/>
              <a:gd name="T74" fmla="*/ 615 w 615"/>
              <a:gd name="T75" fmla="*/ 180 h 675"/>
              <a:gd name="T76" fmla="*/ 577 w 615"/>
              <a:gd name="T77" fmla="*/ 221 h 675"/>
              <a:gd name="T78" fmla="*/ 38 w 615"/>
              <a:gd name="T79" fmla="*/ 221 h 675"/>
              <a:gd name="T80" fmla="*/ 225 w 615"/>
              <a:gd name="T81" fmla="*/ 516 h 675"/>
              <a:gd name="T82" fmla="*/ 308 w 615"/>
              <a:gd name="T83" fmla="*/ 532 h 675"/>
              <a:gd name="T84" fmla="*/ 390 w 615"/>
              <a:gd name="T85" fmla="*/ 516 h 675"/>
              <a:gd name="T86" fmla="*/ 577 w 615"/>
              <a:gd name="T87" fmla="*/ 221 h 6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15" h="675">
                <a:moveTo>
                  <a:pt x="301" y="200"/>
                </a:moveTo>
                <a:cubicBezTo>
                  <a:pt x="301" y="7"/>
                  <a:pt x="301" y="7"/>
                  <a:pt x="301" y="7"/>
                </a:cubicBezTo>
                <a:cubicBezTo>
                  <a:pt x="301" y="3"/>
                  <a:pt x="304" y="0"/>
                  <a:pt x="308" y="0"/>
                </a:cubicBezTo>
                <a:cubicBezTo>
                  <a:pt x="311" y="0"/>
                  <a:pt x="315" y="3"/>
                  <a:pt x="315" y="7"/>
                </a:cubicBezTo>
                <a:cubicBezTo>
                  <a:pt x="315" y="200"/>
                  <a:pt x="315" y="200"/>
                  <a:pt x="315" y="200"/>
                </a:cubicBezTo>
                <a:cubicBezTo>
                  <a:pt x="374" y="140"/>
                  <a:pt x="374" y="140"/>
                  <a:pt x="374" y="140"/>
                </a:cubicBezTo>
                <a:cubicBezTo>
                  <a:pt x="377" y="137"/>
                  <a:pt x="382" y="137"/>
                  <a:pt x="384" y="140"/>
                </a:cubicBezTo>
                <a:cubicBezTo>
                  <a:pt x="387" y="143"/>
                  <a:pt x="387" y="147"/>
                  <a:pt x="384" y="150"/>
                </a:cubicBezTo>
                <a:cubicBezTo>
                  <a:pt x="313" y="222"/>
                  <a:pt x="313" y="222"/>
                  <a:pt x="313" y="222"/>
                </a:cubicBezTo>
                <a:cubicBezTo>
                  <a:pt x="312" y="222"/>
                  <a:pt x="312" y="223"/>
                  <a:pt x="311" y="223"/>
                </a:cubicBezTo>
                <a:cubicBezTo>
                  <a:pt x="311" y="223"/>
                  <a:pt x="311" y="223"/>
                  <a:pt x="311" y="223"/>
                </a:cubicBezTo>
                <a:cubicBezTo>
                  <a:pt x="311" y="223"/>
                  <a:pt x="310" y="223"/>
                  <a:pt x="310" y="223"/>
                </a:cubicBezTo>
                <a:cubicBezTo>
                  <a:pt x="310" y="224"/>
                  <a:pt x="310" y="224"/>
                  <a:pt x="310" y="224"/>
                </a:cubicBezTo>
                <a:cubicBezTo>
                  <a:pt x="309" y="224"/>
                  <a:pt x="309" y="224"/>
                  <a:pt x="309" y="224"/>
                </a:cubicBezTo>
                <a:cubicBezTo>
                  <a:pt x="308" y="224"/>
                  <a:pt x="308" y="224"/>
                  <a:pt x="308" y="224"/>
                </a:cubicBezTo>
                <a:cubicBezTo>
                  <a:pt x="307" y="224"/>
                  <a:pt x="307" y="224"/>
                  <a:pt x="306" y="224"/>
                </a:cubicBezTo>
                <a:cubicBezTo>
                  <a:pt x="306" y="224"/>
                  <a:pt x="306" y="224"/>
                  <a:pt x="306" y="224"/>
                </a:cubicBezTo>
                <a:cubicBezTo>
                  <a:pt x="305" y="224"/>
                  <a:pt x="305" y="224"/>
                  <a:pt x="305" y="223"/>
                </a:cubicBezTo>
                <a:cubicBezTo>
                  <a:pt x="305" y="223"/>
                  <a:pt x="304" y="223"/>
                  <a:pt x="304" y="223"/>
                </a:cubicBezTo>
                <a:cubicBezTo>
                  <a:pt x="304" y="223"/>
                  <a:pt x="304" y="223"/>
                  <a:pt x="304" y="223"/>
                </a:cubicBezTo>
                <a:cubicBezTo>
                  <a:pt x="303" y="223"/>
                  <a:pt x="303" y="222"/>
                  <a:pt x="303" y="222"/>
                </a:cubicBezTo>
                <a:cubicBezTo>
                  <a:pt x="231" y="150"/>
                  <a:pt x="231" y="150"/>
                  <a:pt x="231" y="150"/>
                </a:cubicBezTo>
                <a:cubicBezTo>
                  <a:pt x="228" y="147"/>
                  <a:pt x="228" y="143"/>
                  <a:pt x="231" y="140"/>
                </a:cubicBezTo>
                <a:cubicBezTo>
                  <a:pt x="233" y="137"/>
                  <a:pt x="238" y="137"/>
                  <a:pt x="241" y="140"/>
                </a:cubicBezTo>
                <a:lnTo>
                  <a:pt x="301" y="200"/>
                </a:lnTo>
                <a:close/>
                <a:moveTo>
                  <a:pt x="609" y="197"/>
                </a:moveTo>
                <a:cubicBezTo>
                  <a:pt x="505" y="361"/>
                  <a:pt x="505" y="361"/>
                  <a:pt x="505" y="361"/>
                </a:cubicBezTo>
                <a:cubicBezTo>
                  <a:pt x="454" y="442"/>
                  <a:pt x="402" y="523"/>
                  <a:pt x="402" y="524"/>
                </a:cubicBezTo>
                <a:cubicBezTo>
                  <a:pt x="402" y="524"/>
                  <a:pt x="402" y="524"/>
                  <a:pt x="402" y="524"/>
                </a:cubicBezTo>
                <a:cubicBezTo>
                  <a:pt x="393" y="538"/>
                  <a:pt x="348" y="545"/>
                  <a:pt x="315" y="546"/>
                </a:cubicBezTo>
                <a:cubicBezTo>
                  <a:pt x="315" y="651"/>
                  <a:pt x="315" y="651"/>
                  <a:pt x="315" y="651"/>
                </a:cubicBezTo>
                <a:cubicBezTo>
                  <a:pt x="374" y="591"/>
                  <a:pt x="374" y="591"/>
                  <a:pt x="374" y="591"/>
                </a:cubicBezTo>
                <a:cubicBezTo>
                  <a:pt x="377" y="588"/>
                  <a:pt x="382" y="588"/>
                  <a:pt x="384" y="591"/>
                </a:cubicBezTo>
                <a:cubicBezTo>
                  <a:pt x="387" y="594"/>
                  <a:pt x="387" y="598"/>
                  <a:pt x="384" y="601"/>
                </a:cubicBezTo>
                <a:cubicBezTo>
                  <a:pt x="313" y="673"/>
                  <a:pt x="313" y="673"/>
                  <a:pt x="313" y="673"/>
                </a:cubicBezTo>
                <a:cubicBezTo>
                  <a:pt x="312" y="673"/>
                  <a:pt x="312" y="673"/>
                  <a:pt x="311" y="673"/>
                </a:cubicBezTo>
                <a:cubicBezTo>
                  <a:pt x="311" y="674"/>
                  <a:pt x="311" y="674"/>
                  <a:pt x="311" y="674"/>
                </a:cubicBezTo>
                <a:cubicBezTo>
                  <a:pt x="311" y="674"/>
                  <a:pt x="310" y="674"/>
                  <a:pt x="310" y="674"/>
                </a:cubicBezTo>
                <a:cubicBezTo>
                  <a:pt x="310" y="674"/>
                  <a:pt x="310" y="674"/>
                  <a:pt x="310" y="674"/>
                </a:cubicBezTo>
                <a:cubicBezTo>
                  <a:pt x="309" y="674"/>
                  <a:pt x="309" y="674"/>
                  <a:pt x="309" y="675"/>
                </a:cubicBezTo>
                <a:cubicBezTo>
                  <a:pt x="308" y="675"/>
                  <a:pt x="308" y="675"/>
                  <a:pt x="308" y="675"/>
                </a:cubicBezTo>
                <a:cubicBezTo>
                  <a:pt x="307" y="675"/>
                  <a:pt x="307" y="675"/>
                  <a:pt x="306" y="675"/>
                </a:cubicBezTo>
                <a:cubicBezTo>
                  <a:pt x="306" y="674"/>
                  <a:pt x="306" y="674"/>
                  <a:pt x="306" y="674"/>
                </a:cubicBezTo>
                <a:cubicBezTo>
                  <a:pt x="305" y="674"/>
                  <a:pt x="305" y="674"/>
                  <a:pt x="305" y="674"/>
                </a:cubicBezTo>
                <a:cubicBezTo>
                  <a:pt x="305" y="674"/>
                  <a:pt x="304" y="674"/>
                  <a:pt x="304" y="674"/>
                </a:cubicBezTo>
                <a:cubicBezTo>
                  <a:pt x="304" y="674"/>
                  <a:pt x="304" y="674"/>
                  <a:pt x="304" y="673"/>
                </a:cubicBezTo>
                <a:cubicBezTo>
                  <a:pt x="303" y="673"/>
                  <a:pt x="303" y="673"/>
                  <a:pt x="303" y="673"/>
                </a:cubicBezTo>
                <a:cubicBezTo>
                  <a:pt x="231" y="601"/>
                  <a:pt x="231" y="601"/>
                  <a:pt x="231" y="601"/>
                </a:cubicBezTo>
                <a:cubicBezTo>
                  <a:pt x="228" y="598"/>
                  <a:pt x="228" y="594"/>
                  <a:pt x="231" y="591"/>
                </a:cubicBezTo>
                <a:cubicBezTo>
                  <a:pt x="233" y="588"/>
                  <a:pt x="238" y="588"/>
                  <a:pt x="241" y="591"/>
                </a:cubicBezTo>
                <a:cubicBezTo>
                  <a:pt x="301" y="651"/>
                  <a:pt x="301" y="651"/>
                  <a:pt x="301" y="651"/>
                </a:cubicBezTo>
                <a:cubicBezTo>
                  <a:pt x="301" y="546"/>
                  <a:pt x="301" y="546"/>
                  <a:pt x="301" y="546"/>
                </a:cubicBezTo>
                <a:cubicBezTo>
                  <a:pt x="268" y="545"/>
                  <a:pt x="223" y="538"/>
                  <a:pt x="213" y="524"/>
                </a:cubicBezTo>
                <a:cubicBezTo>
                  <a:pt x="213" y="524"/>
                  <a:pt x="213" y="524"/>
                  <a:pt x="213" y="524"/>
                </a:cubicBezTo>
                <a:cubicBezTo>
                  <a:pt x="213" y="523"/>
                  <a:pt x="123" y="382"/>
                  <a:pt x="62" y="285"/>
                </a:cubicBezTo>
                <a:cubicBezTo>
                  <a:pt x="6" y="197"/>
                  <a:pt x="6" y="197"/>
                  <a:pt x="6" y="197"/>
                </a:cubicBezTo>
                <a:cubicBezTo>
                  <a:pt x="2" y="192"/>
                  <a:pt x="0" y="186"/>
                  <a:pt x="0" y="180"/>
                </a:cubicBezTo>
                <a:cubicBezTo>
                  <a:pt x="0" y="158"/>
                  <a:pt x="29" y="138"/>
                  <a:pt x="83" y="123"/>
                </a:cubicBezTo>
                <a:cubicBezTo>
                  <a:pt x="133" y="109"/>
                  <a:pt x="201" y="100"/>
                  <a:pt x="275" y="98"/>
                </a:cubicBezTo>
                <a:cubicBezTo>
                  <a:pt x="275" y="98"/>
                  <a:pt x="275" y="98"/>
                  <a:pt x="275" y="98"/>
                </a:cubicBezTo>
                <a:cubicBezTo>
                  <a:pt x="279" y="98"/>
                  <a:pt x="282" y="101"/>
                  <a:pt x="282" y="105"/>
                </a:cubicBezTo>
                <a:cubicBezTo>
                  <a:pt x="282" y="109"/>
                  <a:pt x="279" y="112"/>
                  <a:pt x="275" y="112"/>
                </a:cubicBezTo>
                <a:cubicBezTo>
                  <a:pt x="114" y="117"/>
                  <a:pt x="14" y="151"/>
                  <a:pt x="14" y="180"/>
                </a:cubicBezTo>
                <a:cubicBezTo>
                  <a:pt x="14" y="181"/>
                  <a:pt x="14" y="182"/>
                  <a:pt x="15" y="182"/>
                </a:cubicBezTo>
                <a:cubicBezTo>
                  <a:pt x="15" y="185"/>
                  <a:pt x="16" y="187"/>
                  <a:pt x="17" y="189"/>
                </a:cubicBezTo>
                <a:cubicBezTo>
                  <a:pt x="18" y="191"/>
                  <a:pt x="18" y="191"/>
                  <a:pt x="18" y="191"/>
                </a:cubicBezTo>
                <a:cubicBezTo>
                  <a:pt x="40" y="220"/>
                  <a:pt x="153" y="249"/>
                  <a:pt x="308" y="249"/>
                </a:cubicBezTo>
                <a:cubicBezTo>
                  <a:pt x="462" y="249"/>
                  <a:pt x="575" y="220"/>
                  <a:pt x="597" y="191"/>
                </a:cubicBezTo>
                <a:cubicBezTo>
                  <a:pt x="598" y="189"/>
                  <a:pt x="598" y="189"/>
                  <a:pt x="598" y="189"/>
                </a:cubicBezTo>
                <a:cubicBezTo>
                  <a:pt x="599" y="187"/>
                  <a:pt x="600" y="185"/>
                  <a:pt x="601" y="182"/>
                </a:cubicBezTo>
                <a:cubicBezTo>
                  <a:pt x="601" y="182"/>
                  <a:pt x="601" y="181"/>
                  <a:pt x="601" y="180"/>
                </a:cubicBezTo>
                <a:cubicBezTo>
                  <a:pt x="601" y="151"/>
                  <a:pt x="501" y="117"/>
                  <a:pt x="340" y="112"/>
                </a:cubicBezTo>
                <a:cubicBezTo>
                  <a:pt x="336" y="112"/>
                  <a:pt x="333" y="109"/>
                  <a:pt x="333" y="105"/>
                </a:cubicBezTo>
                <a:cubicBezTo>
                  <a:pt x="333" y="101"/>
                  <a:pt x="336" y="98"/>
                  <a:pt x="340" y="98"/>
                </a:cubicBezTo>
                <a:cubicBezTo>
                  <a:pt x="414" y="100"/>
                  <a:pt x="482" y="109"/>
                  <a:pt x="532" y="123"/>
                </a:cubicBezTo>
                <a:cubicBezTo>
                  <a:pt x="586" y="138"/>
                  <a:pt x="615" y="158"/>
                  <a:pt x="615" y="180"/>
                </a:cubicBezTo>
                <a:cubicBezTo>
                  <a:pt x="615" y="186"/>
                  <a:pt x="613" y="192"/>
                  <a:pt x="609" y="197"/>
                </a:cubicBezTo>
                <a:close/>
                <a:moveTo>
                  <a:pt x="577" y="221"/>
                </a:moveTo>
                <a:cubicBezTo>
                  <a:pt x="522" y="248"/>
                  <a:pt x="412" y="263"/>
                  <a:pt x="308" y="263"/>
                </a:cubicBezTo>
                <a:cubicBezTo>
                  <a:pt x="203" y="263"/>
                  <a:pt x="94" y="248"/>
                  <a:pt x="38" y="221"/>
                </a:cubicBezTo>
                <a:cubicBezTo>
                  <a:pt x="73" y="277"/>
                  <a:pt x="73" y="277"/>
                  <a:pt x="73" y="277"/>
                </a:cubicBezTo>
                <a:cubicBezTo>
                  <a:pt x="201" y="479"/>
                  <a:pt x="221" y="511"/>
                  <a:pt x="225" y="516"/>
                </a:cubicBezTo>
                <a:cubicBezTo>
                  <a:pt x="225" y="516"/>
                  <a:pt x="225" y="516"/>
                  <a:pt x="225" y="517"/>
                </a:cubicBezTo>
                <a:cubicBezTo>
                  <a:pt x="229" y="523"/>
                  <a:pt x="266" y="532"/>
                  <a:pt x="308" y="532"/>
                </a:cubicBezTo>
                <a:cubicBezTo>
                  <a:pt x="349" y="532"/>
                  <a:pt x="386" y="523"/>
                  <a:pt x="390" y="517"/>
                </a:cubicBezTo>
                <a:cubicBezTo>
                  <a:pt x="390" y="516"/>
                  <a:pt x="390" y="516"/>
                  <a:pt x="390" y="516"/>
                </a:cubicBezTo>
                <a:cubicBezTo>
                  <a:pt x="392" y="514"/>
                  <a:pt x="403" y="496"/>
                  <a:pt x="493" y="353"/>
                </a:cubicBezTo>
                <a:lnTo>
                  <a:pt x="577" y="221"/>
                </a:ln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endParaRPr lang="en-US" sz="1836"/>
          </a:p>
        </p:txBody>
      </p:sp>
    </p:spTree>
    <p:extLst>
      <p:ext uri="{BB962C8B-B14F-4D97-AF65-F5344CB8AC3E}">
        <p14:creationId xmlns:p14="http://schemas.microsoft.com/office/powerpoint/2010/main" val="494481016"/>
      </p:ext>
    </p:extLst>
  </p:cSld>
  <p:clrMapOvr>
    <a:masterClrMapping/>
  </p:clrMapOvr>
  <p:transition>
    <p:fade/>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usiness</a:t>
            </a:r>
          </a:p>
        </p:txBody>
      </p:sp>
      <p:sp>
        <p:nvSpPr>
          <p:cNvPr id="7197" name="Oval 36"/>
          <p:cNvSpPr>
            <a:spLocks noChangeArrowheads="1"/>
          </p:cNvSpPr>
          <p:nvPr/>
        </p:nvSpPr>
        <p:spPr bwMode="auto">
          <a:xfrm>
            <a:off x="10105564" y="4711628"/>
            <a:ext cx="1119124" cy="1119124"/>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6164" name="Freeform 81"/>
          <p:cNvSpPr>
            <a:spLocks noEditPoints="1"/>
          </p:cNvSpPr>
          <p:nvPr/>
        </p:nvSpPr>
        <p:spPr bwMode="auto">
          <a:xfrm>
            <a:off x="10286060" y="4956510"/>
            <a:ext cx="693371" cy="694125"/>
          </a:xfrm>
          <a:custGeom>
            <a:avLst/>
            <a:gdLst>
              <a:gd name="T0" fmla="*/ 293 w 659"/>
              <a:gd name="T1" fmla="*/ 658 h 658"/>
              <a:gd name="T2" fmla="*/ 288 w 659"/>
              <a:gd name="T3" fmla="*/ 656 h 658"/>
              <a:gd name="T4" fmla="*/ 2 w 659"/>
              <a:gd name="T5" fmla="*/ 370 h 658"/>
              <a:gd name="T6" fmla="*/ 0 w 659"/>
              <a:gd name="T7" fmla="*/ 366 h 658"/>
              <a:gd name="T8" fmla="*/ 2 w 659"/>
              <a:gd name="T9" fmla="*/ 361 h 658"/>
              <a:gd name="T10" fmla="*/ 361 w 659"/>
              <a:gd name="T11" fmla="*/ 2 h 658"/>
              <a:gd name="T12" fmla="*/ 366 w 659"/>
              <a:gd name="T13" fmla="*/ 0 h 658"/>
              <a:gd name="T14" fmla="*/ 366 w 659"/>
              <a:gd name="T15" fmla="*/ 0 h 658"/>
              <a:gd name="T16" fmla="*/ 652 w 659"/>
              <a:gd name="T17" fmla="*/ 0 h 658"/>
              <a:gd name="T18" fmla="*/ 659 w 659"/>
              <a:gd name="T19" fmla="*/ 7 h 658"/>
              <a:gd name="T20" fmla="*/ 659 w 659"/>
              <a:gd name="T21" fmla="*/ 292 h 658"/>
              <a:gd name="T22" fmla="*/ 657 w 659"/>
              <a:gd name="T23" fmla="*/ 297 h 658"/>
              <a:gd name="T24" fmla="*/ 298 w 659"/>
              <a:gd name="T25" fmla="*/ 656 h 658"/>
              <a:gd name="T26" fmla="*/ 293 w 659"/>
              <a:gd name="T27" fmla="*/ 658 h 658"/>
              <a:gd name="T28" fmla="*/ 17 w 659"/>
              <a:gd name="T29" fmla="*/ 366 h 658"/>
              <a:gd name="T30" fmla="*/ 293 w 659"/>
              <a:gd name="T31" fmla="*/ 641 h 658"/>
              <a:gd name="T32" fmla="*/ 645 w 659"/>
              <a:gd name="T33" fmla="*/ 289 h 658"/>
              <a:gd name="T34" fmla="*/ 645 w 659"/>
              <a:gd name="T35" fmla="*/ 14 h 658"/>
              <a:gd name="T36" fmla="*/ 369 w 659"/>
              <a:gd name="T37" fmla="*/ 14 h 658"/>
              <a:gd name="T38" fmla="*/ 17 w 659"/>
              <a:gd name="T39" fmla="*/ 366 h 658"/>
              <a:gd name="T40" fmla="*/ 515 w 659"/>
              <a:gd name="T41" fmla="*/ 206 h 658"/>
              <a:gd name="T42" fmla="*/ 452 w 659"/>
              <a:gd name="T43" fmla="*/ 144 h 658"/>
              <a:gd name="T44" fmla="*/ 470 w 659"/>
              <a:gd name="T45" fmla="*/ 100 h 658"/>
              <a:gd name="T46" fmla="*/ 515 w 659"/>
              <a:gd name="T47" fmla="*/ 81 h 658"/>
              <a:gd name="T48" fmla="*/ 515 w 659"/>
              <a:gd name="T49" fmla="*/ 81 h 658"/>
              <a:gd name="T50" fmla="*/ 577 w 659"/>
              <a:gd name="T51" fmla="*/ 144 h 658"/>
              <a:gd name="T52" fmla="*/ 515 w 659"/>
              <a:gd name="T53" fmla="*/ 206 h 658"/>
              <a:gd name="T54" fmla="*/ 515 w 659"/>
              <a:gd name="T55" fmla="*/ 95 h 658"/>
              <a:gd name="T56" fmla="*/ 480 w 659"/>
              <a:gd name="T57" fmla="*/ 110 h 658"/>
              <a:gd name="T58" fmla="*/ 466 w 659"/>
              <a:gd name="T59" fmla="*/ 144 h 658"/>
              <a:gd name="T60" fmla="*/ 515 w 659"/>
              <a:gd name="T61" fmla="*/ 192 h 658"/>
              <a:gd name="T62" fmla="*/ 563 w 659"/>
              <a:gd name="T63" fmla="*/ 144 h 658"/>
              <a:gd name="T64" fmla="*/ 515 w 659"/>
              <a:gd name="T65" fmla="*/ 95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59" h="658">
                <a:moveTo>
                  <a:pt x="293" y="658"/>
                </a:moveTo>
                <a:cubicBezTo>
                  <a:pt x="291" y="658"/>
                  <a:pt x="289" y="657"/>
                  <a:pt x="288" y="656"/>
                </a:cubicBezTo>
                <a:cubicBezTo>
                  <a:pt x="2" y="370"/>
                  <a:pt x="2" y="370"/>
                  <a:pt x="2" y="370"/>
                </a:cubicBezTo>
                <a:cubicBezTo>
                  <a:pt x="1" y="369"/>
                  <a:pt x="0" y="367"/>
                  <a:pt x="0" y="366"/>
                </a:cubicBezTo>
                <a:cubicBezTo>
                  <a:pt x="0" y="364"/>
                  <a:pt x="1" y="362"/>
                  <a:pt x="2" y="361"/>
                </a:cubicBezTo>
                <a:cubicBezTo>
                  <a:pt x="361" y="2"/>
                  <a:pt x="361" y="2"/>
                  <a:pt x="361" y="2"/>
                </a:cubicBezTo>
                <a:cubicBezTo>
                  <a:pt x="362" y="0"/>
                  <a:pt x="364" y="0"/>
                  <a:pt x="366" y="0"/>
                </a:cubicBezTo>
                <a:cubicBezTo>
                  <a:pt x="366" y="0"/>
                  <a:pt x="366" y="0"/>
                  <a:pt x="366" y="0"/>
                </a:cubicBezTo>
                <a:cubicBezTo>
                  <a:pt x="652" y="0"/>
                  <a:pt x="652" y="0"/>
                  <a:pt x="652" y="0"/>
                </a:cubicBezTo>
                <a:cubicBezTo>
                  <a:pt x="655" y="0"/>
                  <a:pt x="659" y="3"/>
                  <a:pt x="659" y="7"/>
                </a:cubicBezTo>
                <a:cubicBezTo>
                  <a:pt x="659" y="292"/>
                  <a:pt x="659" y="292"/>
                  <a:pt x="659" y="292"/>
                </a:cubicBezTo>
                <a:cubicBezTo>
                  <a:pt x="659" y="294"/>
                  <a:pt x="658" y="296"/>
                  <a:pt x="657" y="297"/>
                </a:cubicBezTo>
                <a:cubicBezTo>
                  <a:pt x="298" y="656"/>
                  <a:pt x="298" y="656"/>
                  <a:pt x="298" y="656"/>
                </a:cubicBezTo>
                <a:cubicBezTo>
                  <a:pt x="296" y="657"/>
                  <a:pt x="295" y="658"/>
                  <a:pt x="293" y="658"/>
                </a:cubicBezTo>
                <a:close/>
                <a:moveTo>
                  <a:pt x="17" y="366"/>
                </a:moveTo>
                <a:cubicBezTo>
                  <a:pt x="293" y="641"/>
                  <a:pt x="293" y="641"/>
                  <a:pt x="293" y="641"/>
                </a:cubicBezTo>
                <a:cubicBezTo>
                  <a:pt x="645" y="289"/>
                  <a:pt x="645" y="289"/>
                  <a:pt x="645" y="289"/>
                </a:cubicBezTo>
                <a:cubicBezTo>
                  <a:pt x="645" y="14"/>
                  <a:pt x="645" y="14"/>
                  <a:pt x="645" y="14"/>
                </a:cubicBezTo>
                <a:cubicBezTo>
                  <a:pt x="369" y="14"/>
                  <a:pt x="369" y="14"/>
                  <a:pt x="369" y="14"/>
                </a:cubicBezTo>
                <a:lnTo>
                  <a:pt x="17" y="366"/>
                </a:lnTo>
                <a:close/>
                <a:moveTo>
                  <a:pt x="515" y="206"/>
                </a:moveTo>
                <a:cubicBezTo>
                  <a:pt x="480" y="206"/>
                  <a:pt x="452" y="178"/>
                  <a:pt x="452" y="144"/>
                </a:cubicBezTo>
                <a:cubicBezTo>
                  <a:pt x="452" y="127"/>
                  <a:pt x="459" y="111"/>
                  <a:pt x="470" y="100"/>
                </a:cubicBezTo>
                <a:cubicBezTo>
                  <a:pt x="482" y="88"/>
                  <a:pt x="498" y="81"/>
                  <a:pt x="515" y="81"/>
                </a:cubicBezTo>
                <a:cubicBezTo>
                  <a:pt x="515" y="81"/>
                  <a:pt x="515" y="81"/>
                  <a:pt x="515" y="81"/>
                </a:cubicBezTo>
                <a:cubicBezTo>
                  <a:pt x="549" y="81"/>
                  <a:pt x="577" y="109"/>
                  <a:pt x="577" y="144"/>
                </a:cubicBezTo>
                <a:cubicBezTo>
                  <a:pt x="577" y="178"/>
                  <a:pt x="549" y="206"/>
                  <a:pt x="515" y="206"/>
                </a:cubicBezTo>
                <a:close/>
                <a:moveTo>
                  <a:pt x="515" y="95"/>
                </a:moveTo>
                <a:cubicBezTo>
                  <a:pt x="502" y="95"/>
                  <a:pt x="489" y="100"/>
                  <a:pt x="480" y="110"/>
                </a:cubicBezTo>
                <a:cubicBezTo>
                  <a:pt x="471" y="119"/>
                  <a:pt x="466" y="131"/>
                  <a:pt x="466" y="144"/>
                </a:cubicBezTo>
                <a:cubicBezTo>
                  <a:pt x="466" y="171"/>
                  <a:pt x="488" y="192"/>
                  <a:pt x="515" y="192"/>
                </a:cubicBezTo>
                <a:cubicBezTo>
                  <a:pt x="541" y="192"/>
                  <a:pt x="563" y="171"/>
                  <a:pt x="563" y="144"/>
                </a:cubicBezTo>
                <a:cubicBezTo>
                  <a:pt x="563" y="117"/>
                  <a:pt x="541" y="95"/>
                  <a:pt x="515" y="95"/>
                </a:cubicBez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7182" name="Oval 21"/>
          <p:cNvSpPr>
            <a:spLocks noChangeArrowheads="1"/>
          </p:cNvSpPr>
          <p:nvPr/>
        </p:nvSpPr>
        <p:spPr bwMode="auto">
          <a:xfrm>
            <a:off x="1315706" y="1528549"/>
            <a:ext cx="1119124" cy="1119124"/>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6165" name="Freeform 82"/>
          <p:cNvSpPr>
            <a:spLocks noEditPoints="1"/>
          </p:cNvSpPr>
          <p:nvPr/>
        </p:nvSpPr>
        <p:spPr bwMode="auto">
          <a:xfrm>
            <a:off x="1512770" y="1762140"/>
            <a:ext cx="724998" cy="613086"/>
          </a:xfrm>
          <a:custGeom>
            <a:avLst/>
            <a:gdLst>
              <a:gd name="T0" fmla="*/ 661 w 689"/>
              <a:gd name="T1" fmla="*/ 516 h 582"/>
              <a:gd name="T2" fmla="*/ 654 w 689"/>
              <a:gd name="T3" fmla="*/ 488 h 582"/>
              <a:gd name="T4" fmla="*/ 609 w 689"/>
              <a:gd name="T5" fmla="*/ 183 h 582"/>
              <a:gd name="T6" fmla="*/ 660 w 689"/>
              <a:gd name="T7" fmla="*/ 176 h 582"/>
              <a:gd name="T8" fmla="*/ 656 w 689"/>
              <a:gd name="T9" fmla="*/ 142 h 582"/>
              <a:gd name="T10" fmla="*/ 339 w 689"/>
              <a:gd name="T11" fmla="*/ 1 h 582"/>
              <a:gd name="T12" fmla="*/ 26 w 689"/>
              <a:gd name="T13" fmla="*/ 149 h 582"/>
              <a:gd name="T14" fmla="*/ 33 w 689"/>
              <a:gd name="T15" fmla="*/ 183 h 582"/>
              <a:gd name="T16" fmla="*/ 80 w 689"/>
              <a:gd name="T17" fmla="*/ 488 h 582"/>
              <a:gd name="T18" fmla="*/ 25 w 689"/>
              <a:gd name="T19" fmla="*/ 495 h 582"/>
              <a:gd name="T20" fmla="*/ 7 w 689"/>
              <a:gd name="T21" fmla="*/ 516 h 582"/>
              <a:gd name="T22" fmla="*/ 0 w 689"/>
              <a:gd name="T23" fmla="*/ 575 h 582"/>
              <a:gd name="T24" fmla="*/ 682 w 689"/>
              <a:gd name="T25" fmla="*/ 582 h 582"/>
              <a:gd name="T26" fmla="*/ 689 w 689"/>
              <a:gd name="T27" fmla="*/ 523 h 582"/>
              <a:gd name="T28" fmla="*/ 595 w 689"/>
              <a:gd name="T29" fmla="*/ 488 h 582"/>
              <a:gd name="T30" fmla="*/ 526 w 689"/>
              <a:gd name="T31" fmla="*/ 183 h 582"/>
              <a:gd name="T32" fmla="*/ 595 w 689"/>
              <a:gd name="T33" fmla="*/ 488 h 582"/>
              <a:gd name="T34" fmla="*/ 392 w 689"/>
              <a:gd name="T35" fmla="*/ 183 h 582"/>
              <a:gd name="T36" fmla="*/ 512 w 689"/>
              <a:gd name="T37" fmla="*/ 488 h 582"/>
              <a:gd name="T38" fmla="*/ 308 w 689"/>
              <a:gd name="T39" fmla="*/ 488 h 582"/>
              <a:gd name="T40" fmla="*/ 378 w 689"/>
              <a:gd name="T41" fmla="*/ 183 h 582"/>
              <a:gd name="T42" fmla="*/ 308 w 689"/>
              <a:gd name="T43" fmla="*/ 488 h 582"/>
              <a:gd name="T44" fmla="*/ 178 w 689"/>
              <a:gd name="T45" fmla="*/ 183 h 582"/>
              <a:gd name="T46" fmla="*/ 294 w 689"/>
              <a:gd name="T47" fmla="*/ 488 h 582"/>
              <a:gd name="T48" fmla="*/ 40 w 689"/>
              <a:gd name="T49" fmla="*/ 153 h 582"/>
              <a:gd name="T50" fmla="*/ 646 w 689"/>
              <a:gd name="T51" fmla="*/ 153 h 582"/>
              <a:gd name="T52" fmla="*/ 40 w 689"/>
              <a:gd name="T53" fmla="*/ 169 h 582"/>
              <a:gd name="T54" fmla="*/ 94 w 689"/>
              <a:gd name="T55" fmla="*/ 183 h 582"/>
              <a:gd name="T56" fmla="*/ 164 w 689"/>
              <a:gd name="T57" fmla="*/ 488 h 582"/>
              <a:gd name="T58" fmla="*/ 94 w 689"/>
              <a:gd name="T59" fmla="*/ 183 h 582"/>
              <a:gd name="T60" fmla="*/ 14 w 689"/>
              <a:gd name="T61" fmla="*/ 568 h 582"/>
              <a:gd name="T62" fmla="*/ 32 w 689"/>
              <a:gd name="T63" fmla="*/ 530 h 582"/>
              <a:gd name="T64" fmla="*/ 39 w 689"/>
              <a:gd name="T65" fmla="*/ 502 h 582"/>
              <a:gd name="T66" fmla="*/ 647 w 689"/>
              <a:gd name="T67" fmla="*/ 523 h 582"/>
              <a:gd name="T68" fmla="*/ 675 w 689"/>
              <a:gd name="T69" fmla="*/ 530 h 5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89" h="582">
                <a:moveTo>
                  <a:pt x="682" y="516"/>
                </a:moveTo>
                <a:cubicBezTo>
                  <a:pt x="661" y="516"/>
                  <a:pt x="661" y="516"/>
                  <a:pt x="661" y="516"/>
                </a:cubicBezTo>
                <a:cubicBezTo>
                  <a:pt x="661" y="495"/>
                  <a:pt x="661" y="495"/>
                  <a:pt x="661" y="495"/>
                </a:cubicBezTo>
                <a:cubicBezTo>
                  <a:pt x="661" y="491"/>
                  <a:pt x="658" y="488"/>
                  <a:pt x="654" y="488"/>
                </a:cubicBezTo>
                <a:cubicBezTo>
                  <a:pt x="609" y="488"/>
                  <a:pt x="609" y="488"/>
                  <a:pt x="609" y="488"/>
                </a:cubicBezTo>
                <a:cubicBezTo>
                  <a:pt x="609" y="183"/>
                  <a:pt x="609" y="183"/>
                  <a:pt x="609" y="183"/>
                </a:cubicBezTo>
                <a:cubicBezTo>
                  <a:pt x="653" y="183"/>
                  <a:pt x="653" y="183"/>
                  <a:pt x="653" y="183"/>
                </a:cubicBezTo>
                <a:cubicBezTo>
                  <a:pt x="657" y="183"/>
                  <a:pt x="660" y="180"/>
                  <a:pt x="660" y="176"/>
                </a:cubicBezTo>
                <a:cubicBezTo>
                  <a:pt x="660" y="149"/>
                  <a:pt x="660" y="149"/>
                  <a:pt x="660" y="149"/>
                </a:cubicBezTo>
                <a:cubicBezTo>
                  <a:pt x="660" y="146"/>
                  <a:pt x="658" y="143"/>
                  <a:pt x="656" y="142"/>
                </a:cubicBezTo>
                <a:cubicBezTo>
                  <a:pt x="345" y="1"/>
                  <a:pt x="345" y="1"/>
                  <a:pt x="345" y="1"/>
                </a:cubicBezTo>
                <a:cubicBezTo>
                  <a:pt x="343" y="0"/>
                  <a:pt x="341" y="0"/>
                  <a:pt x="339" y="1"/>
                </a:cubicBezTo>
                <a:cubicBezTo>
                  <a:pt x="30" y="142"/>
                  <a:pt x="30" y="142"/>
                  <a:pt x="30" y="142"/>
                </a:cubicBezTo>
                <a:cubicBezTo>
                  <a:pt x="27" y="143"/>
                  <a:pt x="26" y="146"/>
                  <a:pt x="26" y="149"/>
                </a:cubicBezTo>
                <a:cubicBezTo>
                  <a:pt x="26" y="176"/>
                  <a:pt x="26" y="176"/>
                  <a:pt x="26" y="176"/>
                </a:cubicBezTo>
                <a:cubicBezTo>
                  <a:pt x="26" y="180"/>
                  <a:pt x="29" y="183"/>
                  <a:pt x="33" y="183"/>
                </a:cubicBezTo>
                <a:cubicBezTo>
                  <a:pt x="80" y="183"/>
                  <a:pt x="80" y="183"/>
                  <a:pt x="80" y="183"/>
                </a:cubicBezTo>
                <a:cubicBezTo>
                  <a:pt x="80" y="488"/>
                  <a:pt x="80" y="488"/>
                  <a:pt x="80" y="488"/>
                </a:cubicBezTo>
                <a:cubicBezTo>
                  <a:pt x="32" y="488"/>
                  <a:pt x="32" y="488"/>
                  <a:pt x="32" y="488"/>
                </a:cubicBezTo>
                <a:cubicBezTo>
                  <a:pt x="28" y="488"/>
                  <a:pt x="25" y="491"/>
                  <a:pt x="25" y="495"/>
                </a:cubicBezTo>
                <a:cubicBezTo>
                  <a:pt x="25" y="516"/>
                  <a:pt x="25" y="516"/>
                  <a:pt x="25" y="516"/>
                </a:cubicBezTo>
                <a:cubicBezTo>
                  <a:pt x="7" y="516"/>
                  <a:pt x="7" y="516"/>
                  <a:pt x="7" y="516"/>
                </a:cubicBezTo>
                <a:cubicBezTo>
                  <a:pt x="3" y="516"/>
                  <a:pt x="0" y="520"/>
                  <a:pt x="0" y="523"/>
                </a:cubicBezTo>
                <a:cubicBezTo>
                  <a:pt x="0" y="575"/>
                  <a:pt x="0" y="575"/>
                  <a:pt x="0" y="575"/>
                </a:cubicBezTo>
                <a:cubicBezTo>
                  <a:pt x="0" y="579"/>
                  <a:pt x="3" y="582"/>
                  <a:pt x="7" y="582"/>
                </a:cubicBezTo>
                <a:cubicBezTo>
                  <a:pt x="682" y="582"/>
                  <a:pt x="682" y="582"/>
                  <a:pt x="682" y="582"/>
                </a:cubicBezTo>
                <a:cubicBezTo>
                  <a:pt x="686" y="582"/>
                  <a:pt x="689" y="579"/>
                  <a:pt x="689" y="575"/>
                </a:cubicBezTo>
                <a:cubicBezTo>
                  <a:pt x="689" y="523"/>
                  <a:pt x="689" y="523"/>
                  <a:pt x="689" y="523"/>
                </a:cubicBezTo>
                <a:cubicBezTo>
                  <a:pt x="689" y="520"/>
                  <a:pt x="686" y="516"/>
                  <a:pt x="682" y="516"/>
                </a:cubicBezTo>
                <a:close/>
                <a:moveTo>
                  <a:pt x="595" y="488"/>
                </a:moveTo>
                <a:cubicBezTo>
                  <a:pt x="526" y="488"/>
                  <a:pt x="526" y="488"/>
                  <a:pt x="526" y="488"/>
                </a:cubicBezTo>
                <a:cubicBezTo>
                  <a:pt x="526" y="183"/>
                  <a:pt x="526" y="183"/>
                  <a:pt x="526" y="183"/>
                </a:cubicBezTo>
                <a:cubicBezTo>
                  <a:pt x="595" y="183"/>
                  <a:pt x="595" y="183"/>
                  <a:pt x="595" y="183"/>
                </a:cubicBezTo>
                <a:lnTo>
                  <a:pt x="595" y="488"/>
                </a:lnTo>
                <a:close/>
                <a:moveTo>
                  <a:pt x="392" y="488"/>
                </a:moveTo>
                <a:cubicBezTo>
                  <a:pt x="392" y="183"/>
                  <a:pt x="392" y="183"/>
                  <a:pt x="392" y="183"/>
                </a:cubicBezTo>
                <a:cubicBezTo>
                  <a:pt x="512" y="183"/>
                  <a:pt x="512" y="183"/>
                  <a:pt x="512" y="183"/>
                </a:cubicBezTo>
                <a:cubicBezTo>
                  <a:pt x="512" y="488"/>
                  <a:pt x="512" y="488"/>
                  <a:pt x="512" y="488"/>
                </a:cubicBezTo>
                <a:lnTo>
                  <a:pt x="392" y="488"/>
                </a:lnTo>
                <a:close/>
                <a:moveTo>
                  <a:pt x="308" y="488"/>
                </a:moveTo>
                <a:cubicBezTo>
                  <a:pt x="308" y="183"/>
                  <a:pt x="308" y="183"/>
                  <a:pt x="308" y="183"/>
                </a:cubicBezTo>
                <a:cubicBezTo>
                  <a:pt x="378" y="183"/>
                  <a:pt x="378" y="183"/>
                  <a:pt x="378" y="183"/>
                </a:cubicBezTo>
                <a:cubicBezTo>
                  <a:pt x="378" y="488"/>
                  <a:pt x="378" y="488"/>
                  <a:pt x="378" y="488"/>
                </a:cubicBezTo>
                <a:lnTo>
                  <a:pt x="308" y="488"/>
                </a:lnTo>
                <a:close/>
                <a:moveTo>
                  <a:pt x="178" y="488"/>
                </a:moveTo>
                <a:cubicBezTo>
                  <a:pt x="178" y="183"/>
                  <a:pt x="178" y="183"/>
                  <a:pt x="178" y="183"/>
                </a:cubicBezTo>
                <a:cubicBezTo>
                  <a:pt x="294" y="183"/>
                  <a:pt x="294" y="183"/>
                  <a:pt x="294" y="183"/>
                </a:cubicBezTo>
                <a:cubicBezTo>
                  <a:pt x="294" y="488"/>
                  <a:pt x="294" y="488"/>
                  <a:pt x="294" y="488"/>
                </a:cubicBezTo>
                <a:lnTo>
                  <a:pt x="178" y="488"/>
                </a:lnTo>
                <a:close/>
                <a:moveTo>
                  <a:pt x="40" y="153"/>
                </a:moveTo>
                <a:cubicBezTo>
                  <a:pt x="342" y="15"/>
                  <a:pt x="342" y="15"/>
                  <a:pt x="342" y="15"/>
                </a:cubicBezTo>
                <a:cubicBezTo>
                  <a:pt x="646" y="153"/>
                  <a:pt x="646" y="153"/>
                  <a:pt x="646" y="153"/>
                </a:cubicBezTo>
                <a:cubicBezTo>
                  <a:pt x="646" y="169"/>
                  <a:pt x="646" y="169"/>
                  <a:pt x="646" y="169"/>
                </a:cubicBezTo>
                <a:cubicBezTo>
                  <a:pt x="40" y="169"/>
                  <a:pt x="40" y="169"/>
                  <a:pt x="40" y="169"/>
                </a:cubicBezTo>
                <a:lnTo>
                  <a:pt x="40" y="153"/>
                </a:lnTo>
                <a:close/>
                <a:moveTo>
                  <a:pt x="94" y="183"/>
                </a:moveTo>
                <a:cubicBezTo>
                  <a:pt x="164" y="183"/>
                  <a:pt x="164" y="183"/>
                  <a:pt x="164" y="183"/>
                </a:cubicBezTo>
                <a:cubicBezTo>
                  <a:pt x="164" y="488"/>
                  <a:pt x="164" y="488"/>
                  <a:pt x="164" y="488"/>
                </a:cubicBezTo>
                <a:cubicBezTo>
                  <a:pt x="94" y="488"/>
                  <a:pt x="94" y="488"/>
                  <a:pt x="94" y="488"/>
                </a:cubicBezTo>
                <a:lnTo>
                  <a:pt x="94" y="183"/>
                </a:lnTo>
                <a:close/>
                <a:moveTo>
                  <a:pt x="675" y="568"/>
                </a:moveTo>
                <a:cubicBezTo>
                  <a:pt x="14" y="568"/>
                  <a:pt x="14" y="568"/>
                  <a:pt x="14" y="568"/>
                </a:cubicBezTo>
                <a:cubicBezTo>
                  <a:pt x="14" y="530"/>
                  <a:pt x="14" y="530"/>
                  <a:pt x="14" y="530"/>
                </a:cubicBezTo>
                <a:cubicBezTo>
                  <a:pt x="32" y="530"/>
                  <a:pt x="32" y="530"/>
                  <a:pt x="32" y="530"/>
                </a:cubicBezTo>
                <a:cubicBezTo>
                  <a:pt x="36" y="530"/>
                  <a:pt x="39" y="527"/>
                  <a:pt x="39" y="523"/>
                </a:cubicBezTo>
                <a:cubicBezTo>
                  <a:pt x="39" y="502"/>
                  <a:pt x="39" y="502"/>
                  <a:pt x="39" y="502"/>
                </a:cubicBezTo>
                <a:cubicBezTo>
                  <a:pt x="647" y="502"/>
                  <a:pt x="647" y="502"/>
                  <a:pt x="647" y="502"/>
                </a:cubicBezTo>
                <a:cubicBezTo>
                  <a:pt x="647" y="523"/>
                  <a:pt x="647" y="523"/>
                  <a:pt x="647" y="523"/>
                </a:cubicBezTo>
                <a:cubicBezTo>
                  <a:pt x="647" y="527"/>
                  <a:pt x="650" y="530"/>
                  <a:pt x="654" y="530"/>
                </a:cubicBezTo>
                <a:cubicBezTo>
                  <a:pt x="675" y="530"/>
                  <a:pt x="675" y="530"/>
                  <a:pt x="675" y="530"/>
                </a:cubicBezTo>
                <a:lnTo>
                  <a:pt x="675" y="568"/>
                </a:ln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7189" name="Oval 28"/>
          <p:cNvSpPr>
            <a:spLocks noChangeArrowheads="1"/>
          </p:cNvSpPr>
          <p:nvPr/>
        </p:nvSpPr>
        <p:spPr bwMode="auto">
          <a:xfrm>
            <a:off x="10105564" y="1528549"/>
            <a:ext cx="1119124" cy="1119124"/>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8207" name="Freeform 98"/>
          <p:cNvSpPr>
            <a:spLocks noEditPoints="1"/>
          </p:cNvSpPr>
          <p:nvPr/>
        </p:nvSpPr>
        <p:spPr bwMode="auto">
          <a:xfrm>
            <a:off x="10358584" y="1745683"/>
            <a:ext cx="611869" cy="684856"/>
          </a:xfrm>
          <a:custGeom>
            <a:avLst/>
            <a:gdLst>
              <a:gd name="T0" fmla="*/ 581 w 581"/>
              <a:gd name="T1" fmla="*/ 375 h 650"/>
              <a:gd name="T2" fmla="*/ 581 w 581"/>
              <a:gd name="T3" fmla="*/ 375 h 650"/>
              <a:gd name="T4" fmla="*/ 580 w 581"/>
              <a:gd name="T5" fmla="*/ 373 h 650"/>
              <a:gd name="T6" fmla="*/ 580 w 581"/>
              <a:gd name="T7" fmla="*/ 373 h 650"/>
              <a:gd name="T8" fmla="*/ 489 w 581"/>
              <a:gd name="T9" fmla="*/ 181 h 650"/>
              <a:gd name="T10" fmla="*/ 482 w 581"/>
              <a:gd name="T11" fmla="*/ 177 h 650"/>
              <a:gd name="T12" fmla="*/ 151 w 581"/>
              <a:gd name="T13" fmla="*/ 177 h 650"/>
              <a:gd name="T14" fmla="*/ 151 w 581"/>
              <a:gd name="T15" fmla="*/ 107 h 650"/>
              <a:gd name="T16" fmla="*/ 245 w 581"/>
              <a:gd name="T17" fmla="*/ 14 h 650"/>
              <a:gd name="T18" fmla="*/ 308 w 581"/>
              <a:gd name="T19" fmla="*/ 38 h 650"/>
              <a:gd name="T20" fmla="*/ 297 w 581"/>
              <a:gd name="T21" fmla="*/ 66 h 650"/>
              <a:gd name="T22" fmla="*/ 343 w 581"/>
              <a:gd name="T23" fmla="*/ 112 h 650"/>
              <a:gd name="T24" fmla="*/ 388 w 581"/>
              <a:gd name="T25" fmla="*/ 66 h 650"/>
              <a:gd name="T26" fmla="*/ 343 w 581"/>
              <a:gd name="T27" fmla="*/ 21 h 650"/>
              <a:gd name="T28" fmla="*/ 318 w 581"/>
              <a:gd name="T29" fmla="*/ 28 h 650"/>
              <a:gd name="T30" fmla="*/ 245 w 581"/>
              <a:gd name="T31" fmla="*/ 0 h 650"/>
              <a:gd name="T32" fmla="*/ 137 w 581"/>
              <a:gd name="T33" fmla="*/ 107 h 650"/>
              <a:gd name="T34" fmla="*/ 137 w 581"/>
              <a:gd name="T35" fmla="*/ 177 h 650"/>
              <a:gd name="T36" fmla="*/ 98 w 581"/>
              <a:gd name="T37" fmla="*/ 177 h 650"/>
              <a:gd name="T38" fmla="*/ 92 w 581"/>
              <a:gd name="T39" fmla="*/ 181 h 650"/>
              <a:gd name="T40" fmla="*/ 0 w 581"/>
              <a:gd name="T41" fmla="*/ 373 h 650"/>
              <a:gd name="T42" fmla="*/ 0 w 581"/>
              <a:gd name="T43" fmla="*/ 373 h 650"/>
              <a:gd name="T44" fmla="*/ 0 w 581"/>
              <a:gd name="T45" fmla="*/ 375 h 650"/>
              <a:gd name="T46" fmla="*/ 0 w 581"/>
              <a:gd name="T47" fmla="*/ 375 h 650"/>
              <a:gd name="T48" fmla="*/ 0 w 581"/>
              <a:gd name="T49" fmla="*/ 376 h 650"/>
              <a:gd name="T50" fmla="*/ 0 w 581"/>
              <a:gd name="T51" fmla="*/ 427 h 650"/>
              <a:gd name="T52" fmla="*/ 7 w 581"/>
              <a:gd name="T53" fmla="*/ 434 h 650"/>
              <a:gd name="T54" fmla="*/ 283 w 581"/>
              <a:gd name="T55" fmla="*/ 434 h 650"/>
              <a:gd name="T56" fmla="*/ 283 w 581"/>
              <a:gd name="T57" fmla="*/ 643 h 650"/>
              <a:gd name="T58" fmla="*/ 290 w 581"/>
              <a:gd name="T59" fmla="*/ 650 h 650"/>
              <a:gd name="T60" fmla="*/ 297 w 581"/>
              <a:gd name="T61" fmla="*/ 643 h 650"/>
              <a:gd name="T62" fmla="*/ 297 w 581"/>
              <a:gd name="T63" fmla="*/ 434 h 650"/>
              <a:gd name="T64" fmla="*/ 574 w 581"/>
              <a:gd name="T65" fmla="*/ 434 h 650"/>
              <a:gd name="T66" fmla="*/ 581 w 581"/>
              <a:gd name="T67" fmla="*/ 427 h 650"/>
              <a:gd name="T68" fmla="*/ 581 w 581"/>
              <a:gd name="T69" fmla="*/ 376 h 650"/>
              <a:gd name="T70" fmla="*/ 581 w 581"/>
              <a:gd name="T71" fmla="*/ 375 h 650"/>
              <a:gd name="T72" fmla="*/ 374 w 581"/>
              <a:gd name="T73" fmla="*/ 66 h 650"/>
              <a:gd name="T74" fmla="*/ 343 w 581"/>
              <a:gd name="T75" fmla="*/ 98 h 650"/>
              <a:gd name="T76" fmla="*/ 311 w 581"/>
              <a:gd name="T77" fmla="*/ 66 h 650"/>
              <a:gd name="T78" fmla="*/ 343 w 581"/>
              <a:gd name="T79" fmla="*/ 35 h 650"/>
              <a:gd name="T80" fmla="*/ 374 w 581"/>
              <a:gd name="T81" fmla="*/ 66 h 650"/>
              <a:gd name="T82" fmla="*/ 103 w 581"/>
              <a:gd name="T83" fmla="*/ 191 h 650"/>
              <a:gd name="T84" fmla="*/ 137 w 581"/>
              <a:gd name="T85" fmla="*/ 191 h 650"/>
              <a:gd name="T86" fmla="*/ 137 w 581"/>
              <a:gd name="T87" fmla="*/ 223 h 650"/>
              <a:gd name="T88" fmla="*/ 144 w 581"/>
              <a:gd name="T89" fmla="*/ 230 h 650"/>
              <a:gd name="T90" fmla="*/ 151 w 581"/>
              <a:gd name="T91" fmla="*/ 223 h 650"/>
              <a:gd name="T92" fmla="*/ 151 w 581"/>
              <a:gd name="T93" fmla="*/ 191 h 650"/>
              <a:gd name="T94" fmla="*/ 478 w 581"/>
              <a:gd name="T95" fmla="*/ 191 h 650"/>
              <a:gd name="T96" fmla="*/ 563 w 581"/>
              <a:gd name="T97" fmla="*/ 369 h 650"/>
              <a:gd name="T98" fmla="*/ 18 w 581"/>
              <a:gd name="T99" fmla="*/ 369 h 650"/>
              <a:gd name="T100" fmla="*/ 103 w 581"/>
              <a:gd name="T101" fmla="*/ 191 h 650"/>
              <a:gd name="T102" fmla="*/ 567 w 581"/>
              <a:gd name="T103" fmla="*/ 420 h 650"/>
              <a:gd name="T104" fmla="*/ 14 w 581"/>
              <a:gd name="T105" fmla="*/ 420 h 650"/>
              <a:gd name="T106" fmla="*/ 14 w 581"/>
              <a:gd name="T107" fmla="*/ 383 h 650"/>
              <a:gd name="T108" fmla="*/ 567 w 581"/>
              <a:gd name="T109" fmla="*/ 383 h 650"/>
              <a:gd name="T110" fmla="*/ 567 w 581"/>
              <a:gd name="T111" fmla="*/ 420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1" h="650">
                <a:moveTo>
                  <a:pt x="581" y="375"/>
                </a:moveTo>
                <a:cubicBezTo>
                  <a:pt x="581" y="375"/>
                  <a:pt x="581" y="375"/>
                  <a:pt x="581" y="375"/>
                </a:cubicBezTo>
                <a:cubicBezTo>
                  <a:pt x="581" y="374"/>
                  <a:pt x="581" y="374"/>
                  <a:pt x="580" y="373"/>
                </a:cubicBezTo>
                <a:cubicBezTo>
                  <a:pt x="580" y="373"/>
                  <a:pt x="580" y="373"/>
                  <a:pt x="580" y="373"/>
                </a:cubicBezTo>
                <a:cubicBezTo>
                  <a:pt x="489" y="181"/>
                  <a:pt x="489" y="181"/>
                  <a:pt x="489" y="181"/>
                </a:cubicBezTo>
                <a:cubicBezTo>
                  <a:pt x="488" y="179"/>
                  <a:pt x="485" y="177"/>
                  <a:pt x="482" y="177"/>
                </a:cubicBezTo>
                <a:cubicBezTo>
                  <a:pt x="151" y="177"/>
                  <a:pt x="151" y="177"/>
                  <a:pt x="151" y="177"/>
                </a:cubicBezTo>
                <a:cubicBezTo>
                  <a:pt x="151" y="107"/>
                  <a:pt x="151" y="107"/>
                  <a:pt x="151" y="107"/>
                </a:cubicBezTo>
                <a:cubicBezTo>
                  <a:pt x="151" y="56"/>
                  <a:pt x="193" y="14"/>
                  <a:pt x="245" y="14"/>
                </a:cubicBezTo>
                <a:cubicBezTo>
                  <a:pt x="271" y="14"/>
                  <a:pt x="291" y="22"/>
                  <a:pt x="308" y="38"/>
                </a:cubicBezTo>
                <a:cubicBezTo>
                  <a:pt x="301" y="46"/>
                  <a:pt x="297" y="56"/>
                  <a:pt x="297" y="66"/>
                </a:cubicBezTo>
                <a:cubicBezTo>
                  <a:pt x="297" y="91"/>
                  <a:pt x="318" y="112"/>
                  <a:pt x="343" y="112"/>
                </a:cubicBezTo>
                <a:cubicBezTo>
                  <a:pt x="368" y="112"/>
                  <a:pt x="388" y="91"/>
                  <a:pt x="388" y="66"/>
                </a:cubicBezTo>
                <a:cubicBezTo>
                  <a:pt x="388" y="41"/>
                  <a:pt x="368" y="21"/>
                  <a:pt x="343" y="21"/>
                </a:cubicBezTo>
                <a:cubicBezTo>
                  <a:pt x="334" y="21"/>
                  <a:pt x="325" y="24"/>
                  <a:pt x="318" y="28"/>
                </a:cubicBezTo>
                <a:cubicBezTo>
                  <a:pt x="299" y="9"/>
                  <a:pt x="275" y="0"/>
                  <a:pt x="245" y="0"/>
                </a:cubicBezTo>
                <a:cubicBezTo>
                  <a:pt x="185" y="0"/>
                  <a:pt x="137" y="48"/>
                  <a:pt x="137" y="107"/>
                </a:cubicBezTo>
                <a:cubicBezTo>
                  <a:pt x="137" y="177"/>
                  <a:pt x="137" y="177"/>
                  <a:pt x="137" y="177"/>
                </a:cubicBezTo>
                <a:cubicBezTo>
                  <a:pt x="98" y="177"/>
                  <a:pt x="98" y="177"/>
                  <a:pt x="98" y="177"/>
                </a:cubicBezTo>
                <a:cubicBezTo>
                  <a:pt x="96" y="177"/>
                  <a:pt x="93" y="179"/>
                  <a:pt x="92" y="181"/>
                </a:cubicBezTo>
                <a:cubicBezTo>
                  <a:pt x="0" y="373"/>
                  <a:pt x="0" y="373"/>
                  <a:pt x="0" y="373"/>
                </a:cubicBezTo>
                <a:cubicBezTo>
                  <a:pt x="0" y="373"/>
                  <a:pt x="0" y="373"/>
                  <a:pt x="0" y="373"/>
                </a:cubicBezTo>
                <a:cubicBezTo>
                  <a:pt x="0" y="374"/>
                  <a:pt x="0" y="374"/>
                  <a:pt x="0" y="375"/>
                </a:cubicBezTo>
                <a:cubicBezTo>
                  <a:pt x="0" y="375"/>
                  <a:pt x="0" y="375"/>
                  <a:pt x="0" y="375"/>
                </a:cubicBezTo>
                <a:cubicBezTo>
                  <a:pt x="0" y="375"/>
                  <a:pt x="0" y="376"/>
                  <a:pt x="0" y="376"/>
                </a:cubicBezTo>
                <a:cubicBezTo>
                  <a:pt x="0" y="427"/>
                  <a:pt x="0" y="427"/>
                  <a:pt x="0" y="427"/>
                </a:cubicBezTo>
                <a:cubicBezTo>
                  <a:pt x="0" y="431"/>
                  <a:pt x="3" y="434"/>
                  <a:pt x="7" y="434"/>
                </a:cubicBezTo>
                <a:cubicBezTo>
                  <a:pt x="283" y="434"/>
                  <a:pt x="283" y="434"/>
                  <a:pt x="283" y="434"/>
                </a:cubicBezTo>
                <a:cubicBezTo>
                  <a:pt x="283" y="643"/>
                  <a:pt x="283" y="643"/>
                  <a:pt x="283" y="643"/>
                </a:cubicBezTo>
                <a:cubicBezTo>
                  <a:pt x="283" y="647"/>
                  <a:pt x="287" y="650"/>
                  <a:pt x="290" y="650"/>
                </a:cubicBezTo>
                <a:cubicBezTo>
                  <a:pt x="294" y="650"/>
                  <a:pt x="297" y="647"/>
                  <a:pt x="297" y="643"/>
                </a:cubicBezTo>
                <a:cubicBezTo>
                  <a:pt x="297" y="434"/>
                  <a:pt x="297" y="434"/>
                  <a:pt x="297" y="434"/>
                </a:cubicBezTo>
                <a:cubicBezTo>
                  <a:pt x="574" y="434"/>
                  <a:pt x="574" y="434"/>
                  <a:pt x="574" y="434"/>
                </a:cubicBezTo>
                <a:cubicBezTo>
                  <a:pt x="578" y="434"/>
                  <a:pt x="581" y="431"/>
                  <a:pt x="581" y="427"/>
                </a:cubicBezTo>
                <a:cubicBezTo>
                  <a:pt x="581" y="376"/>
                  <a:pt x="581" y="376"/>
                  <a:pt x="581" y="376"/>
                </a:cubicBezTo>
                <a:cubicBezTo>
                  <a:pt x="581" y="376"/>
                  <a:pt x="581" y="375"/>
                  <a:pt x="581" y="375"/>
                </a:cubicBezTo>
                <a:close/>
                <a:moveTo>
                  <a:pt x="374" y="66"/>
                </a:moveTo>
                <a:cubicBezTo>
                  <a:pt x="374" y="84"/>
                  <a:pt x="360" y="98"/>
                  <a:pt x="343" y="98"/>
                </a:cubicBezTo>
                <a:cubicBezTo>
                  <a:pt x="326" y="98"/>
                  <a:pt x="311" y="84"/>
                  <a:pt x="311" y="66"/>
                </a:cubicBezTo>
                <a:cubicBezTo>
                  <a:pt x="311" y="49"/>
                  <a:pt x="326" y="35"/>
                  <a:pt x="343" y="35"/>
                </a:cubicBezTo>
                <a:cubicBezTo>
                  <a:pt x="360" y="35"/>
                  <a:pt x="374" y="49"/>
                  <a:pt x="374" y="66"/>
                </a:cubicBezTo>
                <a:close/>
                <a:moveTo>
                  <a:pt x="103" y="191"/>
                </a:moveTo>
                <a:cubicBezTo>
                  <a:pt x="137" y="191"/>
                  <a:pt x="137" y="191"/>
                  <a:pt x="137" y="191"/>
                </a:cubicBezTo>
                <a:cubicBezTo>
                  <a:pt x="137" y="223"/>
                  <a:pt x="137" y="223"/>
                  <a:pt x="137" y="223"/>
                </a:cubicBezTo>
                <a:cubicBezTo>
                  <a:pt x="137" y="227"/>
                  <a:pt x="140" y="230"/>
                  <a:pt x="144" y="230"/>
                </a:cubicBezTo>
                <a:cubicBezTo>
                  <a:pt x="148" y="230"/>
                  <a:pt x="151" y="227"/>
                  <a:pt x="151" y="223"/>
                </a:cubicBezTo>
                <a:cubicBezTo>
                  <a:pt x="151" y="191"/>
                  <a:pt x="151" y="191"/>
                  <a:pt x="151" y="191"/>
                </a:cubicBezTo>
                <a:cubicBezTo>
                  <a:pt x="478" y="191"/>
                  <a:pt x="478" y="191"/>
                  <a:pt x="478" y="191"/>
                </a:cubicBezTo>
                <a:cubicBezTo>
                  <a:pt x="563" y="369"/>
                  <a:pt x="563" y="369"/>
                  <a:pt x="563" y="369"/>
                </a:cubicBezTo>
                <a:cubicBezTo>
                  <a:pt x="18" y="369"/>
                  <a:pt x="18" y="369"/>
                  <a:pt x="18" y="369"/>
                </a:cubicBezTo>
                <a:lnTo>
                  <a:pt x="103" y="191"/>
                </a:lnTo>
                <a:close/>
                <a:moveTo>
                  <a:pt x="567" y="420"/>
                </a:moveTo>
                <a:cubicBezTo>
                  <a:pt x="14" y="420"/>
                  <a:pt x="14" y="420"/>
                  <a:pt x="14" y="420"/>
                </a:cubicBezTo>
                <a:cubicBezTo>
                  <a:pt x="14" y="383"/>
                  <a:pt x="14" y="383"/>
                  <a:pt x="14" y="383"/>
                </a:cubicBezTo>
                <a:cubicBezTo>
                  <a:pt x="567" y="383"/>
                  <a:pt x="567" y="383"/>
                  <a:pt x="567" y="383"/>
                </a:cubicBezTo>
                <a:lnTo>
                  <a:pt x="567" y="420"/>
                </a:ln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7198" name="Oval 37"/>
          <p:cNvSpPr>
            <a:spLocks noChangeArrowheads="1"/>
          </p:cNvSpPr>
          <p:nvPr/>
        </p:nvSpPr>
        <p:spPr bwMode="auto">
          <a:xfrm>
            <a:off x="8347593" y="4711628"/>
            <a:ext cx="1119124" cy="1119124"/>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8209" name="Freeform 100"/>
          <p:cNvSpPr>
            <a:spLocks noEditPoints="1"/>
          </p:cNvSpPr>
          <p:nvPr/>
        </p:nvSpPr>
        <p:spPr bwMode="auto">
          <a:xfrm>
            <a:off x="8531275" y="5061126"/>
            <a:ext cx="751759" cy="420128"/>
          </a:xfrm>
          <a:custGeom>
            <a:avLst/>
            <a:gdLst>
              <a:gd name="T0" fmla="*/ 708 w 715"/>
              <a:gd name="T1" fmla="*/ 1 h 399"/>
              <a:gd name="T2" fmla="*/ 472 w 715"/>
              <a:gd name="T3" fmla="*/ 1 h 399"/>
              <a:gd name="T4" fmla="*/ 471 w 715"/>
              <a:gd name="T5" fmla="*/ 1 h 399"/>
              <a:gd name="T6" fmla="*/ 471 w 715"/>
              <a:gd name="T7" fmla="*/ 1 h 399"/>
              <a:gd name="T8" fmla="*/ 7 w 715"/>
              <a:gd name="T9" fmla="*/ 1 h 399"/>
              <a:gd name="T10" fmla="*/ 0 w 715"/>
              <a:gd name="T11" fmla="*/ 8 h 399"/>
              <a:gd name="T12" fmla="*/ 0 w 715"/>
              <a:gd name="T13" fmla="*/ 92 h 399"/>
              <a:gd name="T14" fmla="*/ 7 w 715"/>
              <a:gd name="T15" fmla="*/ 99 h 399"/>
              <a:gd name="T16" fmla="*/ 148 w 715"/>
              <a:gd name="T17" fmla="*/ 99 h 399"/>
              <a:gd name="T18" fmla="*/ 115 w 715"/>
              <a:gd name="T19" fmla="*/ 339 h 399"/>
              <a:gd name="T20" fmla="*/ 127 w 715"/>
              <a:gd name="T21" fmla="*/ 379 h 399"/>
              <a:gd name="T22" fmla="*/ 175 w 715"/>
              <a:gd name="T23" fmla="*/ 399 h 399"/>
              <a:gd name="T24" fmla="*/ 541 w 715"/>
              <a:gd name="T25" fmla="*/ 399 h 399"/>
              <a:gd name="T26" fmla="*/ 589 w 715"/>
              <a:gd name="T27" fmla="*/ 379 h 399"/>
              <a:gd name="T28" fmla="*/ 601 w 715"/>
              <a:gd name="T29" fmla="*/ 339 h 399"/>
              <a:gd name="T30" fmla="*/ 567 w 715"/>
              <a:gd name="T31" fmla="*/ 99 h 399"/>
              <a:gd name="T32" fmla="*/ 708 w 715"/>
              <a:gd name="T33" fmla="*/ 99 h 399"/>
              <a:gd name="T34" fmla="*/ 715 w 715"/>
              <a:gd name="T35" fmla="*/ 92 h 399"/>
              <a:gd name="T36" fmla="*/ 715 w 715"/>
              <a:gd name="T37" fmla="*/ 8 h 399"/>
              <a:gd name="T38" fmla="*/ 708 w 715"/>
              <a:gd name="T39" fmla="*/ 1 h 399"/>
              <a:gd name="T40" fmla="*/ 465 w 715"/>
              <a:gd name="T41" fmla="*/ 15 h 399"/>
              <a:gd name="T42" fmla="*/ 496 w 715"/>
              <a:gd name="T43" fmla="*/ 385 h 399"/>
              <a:gd name="T44" fmla="*/ 415 w 715"/>
              <a:gd name="T45" fmla="*/ 385 h 399"/>
              <a:gd name="T46" fmla="*/ 404 w 715"/>
              <a:gd name="T47" fmla="*/ 15 h 399"/>
              <a:gd name="T48" fmla="*/ 465 w 715"/>
              <a:gd name="T49" fmla="*/ 15 h 399"/>
              <a:gd name="T50" fmla="*/ 14 w 715"/>
              <a:gd name="T51" fmla="*/ 85 h 399"/>
              <a:gd name="T52" fmla="*/ 14 w 715"/>
              <a:gd name="T53" fmla="*/ 15 h 399"/>
              <a:gd name="T54" fmla="*/ 160 w 715"/>
              <a:gd name="T55" fmla="*/ 15 h 399"/>
              <a:gd name="T56" fmla="*/ 150 w 715"/>
              <a:gd name="T57" fmla="*/ 85 h 399"/>
              <a:gd name="T58" fmla="*/ 14 w 715"/>
              <a:gd name="T59" fmla="*/ 85 h 399"/>
              <a:gd name="T60" fmla="*/ 137 w 715"/>
              <a:gd name="T61" fmla="*/ 370 h 399"/>
              <a:gd name="T62" fmla="*/ 129 w 715"/>
              <a:gd name="T63" fmla="*/ 341 h 399"/>
              <a:gd name="T64" fmla="*/ 174 w 715"/>
              <a:gd name="T65" fmla="*/ 15 h 399"/>
              <a:gd name="T66" fmla="*/ 390 w 715"/>
              <a:gd name="T67" fmla="*/ 15 h 399"/>
              <a:gd name="T68" fmla="*/ 401 w 715"/>
              <a:gd name="T69" fmla="*/ 385 h 399"/>
              <a:gd name="T70" fmla="*/ 175 w 715"/>
              <a:gd name="T71" fmla="*/ 385 h 399"/>
              <a:gd name="T72" fmla="*/ 137 w 715"/>
              <a:gd name="T73" fmla="*/ 370 h 399"/>
              <a:gd name="T74" fmla="*/ 578 w 715"/>
              <a:gd name="T75" fmla="*/ 370 h 399"/>
              <a:gd name="T76" fmla="*/ 541 w 715"/>
              <a:gd name="T77" fmla="*/ 385 h 399"/>
              <a:gd name="T78" fmla="*/ 510 w 715"/>
              <a:gd name="T79" fmla="*/ 385 h 399"/>
              <a:gd name="T80" fmla="*/ 479 w 715"/>
              <a:gd name="T81" fmla="*/ 15 h 399"/>
              <a:gd name="T82" fmla="*/ 541 w 715"/>
              <a:gd name="T83" fmla="*/ 15 h 399"/>
              <a:gd name="T84" fmla="*/ 587 w 715"/>
              <a:gd name="T85" fmla="*/ 341 h 399"/>
              <a:gd name="T86" fmla="*/ 578 w 715"/>
              <a:gd name="T87" fmla="*/ 370 h 399"/>
              <a:gd name="T88" fmla="*/ 701 w 715"/>
              <a:gd name="T89" fmla="*/ 85 h 399"/>
              <a:gd name="T90" fmla="*/ 565 w 715"/>
              <a:gd name="T91" fmla="*/ 85 h 399"/>
              <a:gd name="T92" fmla="*/ 555 w 715"/>
              <a:gd name="T93" fmla="*/ 15 h 399"/>
              <a:gd name="T94" fmla="*/ 701 w 715"/>
              <a:gd name="T95" fmla="*/ 15 h 399"/>
              <a:gd name="T96" fmla="*/ 701 w 715"/>
              <a:gd name="T97" fmla="*/ 85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15" h="399">
                <a:moveTo>
                  <a:pt x="708" y="1"/>
                </a:moveTo>
                <a:cubicBezTo>
                  <a:pt x="472" y="1"/>
                  <a:pt x="472" y="1"/>
                  <a:pt x="472" y="1"/>
                </a:cubicBezTo>
                <a:cubicBezTo>
                  <a:pt x="471" y="1"/>
                  <a:pt x="471" y="0"/>
                  <a:pt x="471" y="1"/>
                </a:cubicBezTo>
                <a:cubicBezTo>
                  <a:pt x="471" y="1"/>
                  <a:pt x="471" y="1"/>
                  <a:pt x="471" y="1"/>
                </a:cubicBezTo>
                <a:cubicBezTo>
                  <a:pt x="7" y="1"/>
                  <a:pt x="7" y="1"/>
                  <a:pt x="7" y="1"/>
                </a:cubicBezTo>
                <a:cubicBezTo>
                  <a:pt x="3" y="1"/>
                  <a:pt x="0" y="4"/>
                  <a:pt x="0" y="8"/>
                </a:cubicBezTo>
                <a:cubicBezTo>
                  <a:pt x="0" y="92"/>
                  <a:pt x="0" y="92"/>
                  <a:pt x="0" y="92"/>
                </a:cubicBezTo>
                <a:cubicBezTo>
                  <a:pt x="0" y="96"/>
                  <a:pt x="3" y="99"/>
                  <a:pt x="7" y="99"/>
                </a:cubicBezTo>
                <a:cubicBezTo>
                  <a:pt x="148" y="99"/>
                  <a:pt x="148" y="99"/>
                  <a:pt x="148" y="99"/>
                </a:cubicBezTo>
                <a:cubicBezTo>
                  <a:pt x="115" y="339"/>
                  <a:pt x="115" y="339"/>
                  <a:pt x="115" y="339"/>
                </a:cubicBezTo>
                <a:cubicBezTo>
                  <a:pt x="113" y="354"/>
                  <a:pt x="117" y="368"/>
                  <a:pt x="127" y="379"/>
                </a:cubicBezTo>
                <a:cubicBezTo>
                  <a:pt x="138" y="392"/>
                  <a:pt x="155" y="399"/>
                  <a:pt x="175" y="399"/>
                </a:cubicBezTo>
                <a:cubicBezTo>
                  <a:pt x="541" y="399"/>
                  <a:pt x="541" y="399"/>
                  <a:pt x="541" y="399"/>
                </a:cubicBezTo>
                <a:cubicBezTo>
                  <a:pt x="560" y="399"/>
                  <a:pt x="578" y="392"/>
                  <a:pt x="589" y="379"/>
                </a:cubicBezTo>
                <a:cubicBezTo>
                  <a:pt x="598" y="368"/>
                  <a:pt x="603" y="354"/>
                  <a:pt x="601" y="339"/>
                </a:cubicBezTo>
                <a:cubicBezTo>
                  <a:pt x="567" y="99"/>
                  <a:pt x="567" y="99"/>
                  <a:pt x="567" y="99"/>
                </a:cubicBezTo>
                <a:cubicBezTo>
                  <a:pt x="708" y="99"/>
                  <a:pt x="708" y="99"/>
                  <a:pt x="708" y="99"/>
                </a:cubicBezTo>
                <a:cubicBezTo>
                  <a:pt x="712" y="99"/>
                  <a:pt x="715" y="96"/>
                  <a:pt x="715" y="92"/>
                </a:cubicBezTo>
                <a:cubicBezTo>
                  <a:pt x="715" y="8"/>
                  <a:pt x="715" y="8"/>
                  <a:pt x="715" y="8"/>
                </a:cubicBezTo>
                <a:cubicBezTo>
                  <a:pt x="715" y="4"/>
                  <a:pt x="712" y="1"/>
                  <a:pt x="708" y="1"/>
                </a:cubicBezTo>
                <a:close/>
                <a:moveTo>
                  <a:pt x="465" y="15"/>
                </a:moveTo>
                <a:cubicBezTo>
                  <a:pt x="496" y="385"/>
                  <a:pt x="496" y="385"/>
                  <a:pt x="496" y="385"/>
                </a:cubicBezTo>
                <a:cubicBezTo>
                  <a:pt x="415" y="385"/>
                  <a:pt x="415" y="385"/>
                  <a:pt x="415" y="385"/>
                </a:cubicBezTo>
                <a:cubicBezTo>
                  <a:pt x="404" y="15"/>
                  <a:pt x="404" y="15"/>
                  <a:pt x="404" y="15"/>
                </a:cubicBezTo>
                <a:lnTo>
                  <a:pt x="465" y="15"/>
                </a:lnTo>
                <a:close/>
                <a:moveTo>
                  <a:pt x="14" y="85"/>
                </a:moveTo>
                <a:cubicBezTo>
                  <a:pt x="14" y="15"/>
                  <a:pt x="14" y="15"/>
                  <a:pt x="14" y="15"/>
                </a:cubicBezTo>
                <a:cubicBezTo>
                  <a:pt x="160" y="15"/>
                  <a:pt x="160" y="15"/>
                  <a:pt x="160" y="15"/>
                </a:cubicBezTo>
                <a:cubicBezTo>
                  <a:pt x="150" y="85"/>
                  <a:pt x="150" y="85"/>
                  <a:pt x="150" y="85"/>
                </a:cubicBezTo>
                <a:lnTo>
                  <a:pt x="14" y="85"/>
                </a:lnTo>
                <a:close/>
                <a:moveTo>
                  <a:pt x="137" y="370"/>
                </a:moveTo>
                <a:cubicBezTo>
                  <a:pt x="130" y="362"/>
                  <a:pt x="127" y="352"/>
                  <a:pt x="129" y="341"/>
                </a:cubicBezTo>
                <a:cubicBezTo>
                  <a:pt x="174" y="15"/>
                  <a:pt x="174" y="15"/>
                  <a:pt x="174" y="15"/>
                </a:cubicBezTo>
                <a:cubicBezTo>
                  <a:pt x="390" y="15"/>
                  <a:pt x="390" y="15"/>
                  <a:pt x="390" y="15"/>
                </a:cubicBezTo>
                <a:cubicBezTo>
                  <a:pt x="401" y="385"/>
                  <a:pt x="401" y="385"/>
                  <a:pt x="401" y="385"/>
                </a:cubicBezTo>
                <a:cubicBezTo>
                  <a:pt x="175" y="385"/>
                  <a:pt x="175" y="385"/>
                  <a:pt x="175" y="385"/>
                </a:cubicBezTo>
                <a:cubicBezTo>
                  <a:pt x="160" y="385"/>
                  <a:pt x="146" y="380"/>
                  <a:pt x="137" y="370"/>
                </a:cubicBezTo>
                <a:close/>
                <a:moveTo>
                  <a:pt x="578" y="370"/>
                </a:moveTo>
                <a:cubicBezTo>
                  <a:pt x="570" y="380"/>
                  <a:pt x="556" y="385"/>
                  <a:pt x="541" y="385"/>
                </a:cubicBezTo>
                <a:cubicBezTo>
                  <a:pt x="510" y="385"/>
                  <a:pt x="510" y="385"/>
                  <a:pt x="510" y="385"/>
                </a:cubicBezTo>
                <a:cubicBezTo>
                  <a:pt x="479" y="15"/>
                  <a:pt x="479" y="15"/>
                  <a:pt x="479" y="15"/>
                </a:cubicBezTo>
                <a:cubicBezTo>
                  <a:pt x="541" y="15"/>
                  <a:pt x="541" y="15"/>
                  <a:pt x="541" y="15"/>
                </a:cubicBezTo>
                <a:cubicBezTo>
                  <a:pt x="587" y="341"/>
                  <a:pt x="587" y="341"/>
                  <a:pt x="587" y="341"/>
                </a:cubicBezTo>
                <a:cubicBezTo>
                  <a:pt x="588" y="352"/>
                  <a:pt x="585" y="362"/>
                  <a:pt x="578" y="370"/>
                </a:cubicBezTo>
                <a:close/>
                <a:moveTo>
                  <a:pt x="701" y="85"/>
                </a:moveTo>
                <a:cubicBezTo>
                  <a:pt x="565" y="85"/>
                  <a:pt x="565" y="85"/>
                  <a:pt x="565" y="85"/>
                </a:cubicBezTo>
                <a:cubicBezTo>
                  <a:pt x="555" y="15"/>
                  <a:pt x="555" y="15"/>
                  <a:pt x="555" y="15"/>
                </a:cubicBezTo>
                <a:cubicBezTo>
                  <a:pt x="701" y="15"/>
                  <a:pt x="701" y="15"/>
                  <a:pt x="701" y="15"/>
                </a:cubicBezTo>
                <a:lnTo>
                  <a:pt x="701" y="85"/>
                </a:ln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9216" name="Oval 39"/>
          <p:cNvSpPr>
            <a:spLocks noChangeArrowheads="1"/>
          </p:cNvSpPr>
          <p:nvPr/>
        </p:nvSpPr>
        <p:spPr bwMode="auto">
          <a:xfrm>
            <a:off x="4831649" y="4711628"/>
            <a:ext cx="1119124" cy="1119124"/>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8210" name="Freeform 101"/>
          <p:cNvSpPr>
            <a:spLocks noEditPoints="1"/>
          </p:cNvSpPr>
          <p:nvPr/>
        </p:nvSpPr>
        <p:spPr bwMode="auto">
          <a:xfrm>
            <a:off x="4971693" y="5028857"/>
            <a:ext cx="836604" cy="484669"/>
          </a:xfrm>
          <a:custGeom>
            <a:avLst/>
            <a:gdLst>
              <a:gd name="T0" fmla="*/ 329 w 794"/>
              <a:gd name="T1" fmla="*/ 0 h 460"/>
              <a:gd name="T2" fmla="*/ 212 w 794"/>
              <a:gd name="T3" fmla="*/ 39 h 460"/>
              <a:gd name="T4" fmla="*/ 3 w 794"/>
              <a:gd name="T5" fmla="*/ 211 h 460"/>
              <a:gd name="T6" fmla="*/ 13 w 794"/>
              <a:gd name="T7" fmla="*/ 212 h 460"/>
              <a:gd name="T8" fmla="*/ 283 w 794"/>
              <a:gd name="T9" fmla="*/ 32 h 460"/>
              <a:gd name="T10" fmla="*/ 280 w 794"/>
              <a:gd name="T11" fmla="*/ 244 h 460"/>
              <a:gd name="T12" fmla="*/ 241 w 794"/>
              <a:gd name="T13" fmla="*/ 270 h 460"/>
              <a:gd name="T14" fmla="*/ 450 w 794"/>
              <a:gd name="T15" fmla="*/ 182 h 460"/>
              <a:gd name="T16" fmla="*/ 492 w 794"/>
              <a:gd name="T17" fmla="*/ 261 h 460"/>
              <a:gd name="T18" fmla="*/ 371 w 794"/>
              <a:gd name="T19" fmla="*/ 324 h 460"/>
              <a:gd name="T20" fmla="*/ 369 w 794"/>
              <a:gd name="T21" fmla="*/ 326 h 460"/>
              <a:gd name="T22" fmla="*/ 274 w 794"/>
              <a:gd name="T23" fmla="*/ 409 h 460"/>
              <a:gd name="T24" fmla="*/ 74 w 794"/>
              <a:gd name="T25" fmla="*/ 431 h 460"/>
              <a:gd name="T26" fmla="*/ 81 w 794"/>
              <a:gd name="T27" fmla="*/ 438 h 460"/>
              <a:gd name="T28" fmla="*/ 310 w 794"/>
              <a:gd name="T29" fmla="*/ 406 h 460"/>
              <a:gd name="T30" fmla="*/ 354 w 794"/>
              <a:gd name="T31" fmla="*/ 436 h 460"/>
              <a:gd name="T32" fmla="*/ 386 w 794"/>
              <a:gd name="T33" fmla="*/ 428 h 460"/>
              <a:gd name="T34" fmla="*/ 431 w 794"/>
              <a:gd name="T35" fmla="*/ 460 h 460"/>
              <a:gd name="T36" fmla="*/ 485 w 794"/>
              <a:gd name="T37" fmla="*/ 410 h 460"/>
              <a:gd name="T38" fmla="*/ 530 w 794"/>
              <a:gd name="T39" fmla="*/ 442 h 460"/>
              <a:gd name="T40" fmla="*/ 611 w 794"/>
              <a:gd name="T41" fmla="*/ 337 h 460"/>
              <a:gd name="T42" fmla="*/ 794 w 794"/>
              <a:gd name="T43" fmla="*/ 288 h 460"/>
              <a:gd name="T44" fmla="*/ 745 w 794"/>
              <a:gd name="T45" fmla="*/ 0 h 460"/>
              <a:gd name="T46" fmla="*/ 780 w 794"/>
              <a:gd name="T47" fmla="*/ 82 h 460"/>
              <a:gd name="T48" fmla="*/ 294 w 794"/>
              <a:gd name="T49" fmla="*/ 134 h 460"/>
              <a:gd name="T50" fmla="*/ 329 w 794"/>
              <a:gd name="T51" fmla="*/ 14 h 460"/>
              <a:gd name="T52" fmla="*/ 780 w 794"/>
              <a:gd name="T53" fmla="*/ 49 h 460"/>
              <a:gd name="T54" fmla="*/ 294 w 794"/>
              <a:gd name="T55" fmla="*/ 68 h 460"/>
              <a:gd name="T56" fmla="*/ 329 w 794"/>
              <a:gd name="T57" fmla="*/ 14 h 460"/>
              <a:gd name="T58" fmla="*/ 321 w 794"/>
              <a:gd name="T59" fmla="*/ 396 h 460"/>
              <a:gd name="T60" fmla="*/ 378 w 794"/>
              <a:gd name="T61" fmla="*/ 337 h 460"/>
              <a:gd name="T62" fmla="*/ 383 w 794"/>
              <a:gd name="T63" fmla="*/ 403 h 460"/>
              <a:gd name="T64" fmla="*/ 461 w 794"/>
              <a:gd name="T65" fmla="*/ 428 h 460"/>
              <a:gd name="T66" fmla="*/ 400 w 794"/>
              <a:gd name="T67" fmla="*/ 424 h 460"/>
              <a:gd name="T68" fmla="*/ 432 w 794"/>
              <a:gd name="T69" fmla="*/ 337 h 460"/>
              <a:gd name="T70" fmla="*/ 488 w 794"/>
              <a:gd name="T71" fmla="*/ 374 h 460"/>
              <a:gd name="T72" fmla="*/ 461 w 794"/>
              <a:gd name="T73" fmla="*/ 428 h 460"/>
              <a:gd name="T74" fmla="*/ 515 w 794"/>
              <a:gd name="T75" fmla="*/ 425 h 460"/>
              <a:gd name="T76" fmla="*/ 522 w 794"/>
              <a:gd name="T77" fmla="*/ 337 h 460"/>
              <a:gd name="T78" fmla="*/ 560 w 794"/>
              <a:gd name="T79" fmla="*/ 410 h 460"/>
              <a:gd name="T80" fmla="*/ 398 w 794"/>
              <a:gd name="T81" fmla="*/ 323 h 460"/>
              <a:gd name="T82" fmla="*/ 500 w 794"/>
              <a:gd name="T83" fmla="*/ 273 h 460"/>
              <a:gd name="T84" fmla="*/ 445 w 794"/>
              <a:gd name="T85" fmla="*/ 169 h 460"/>
              <a:gd name="T86" fmla="*/ 294 w 794"/>
              <a:gd name="T87" fmla="*/ 148 h 460"/>
              <a:gd name="T88" fmla="*/ 780 w 794"/>
              <a:gd name="T89" fmla="*/ 288 h 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794" h="460">
                <a:moveTo>
                  <a:pt x="745" y="0"/>
                </a:moveTo>
                <a:cubicBezTo>
                  <a:pt x="329" y="0"/>
                  <a:pt x="329" y="0"/>
                  <a:pt x="329" y="0"/>
                </a:cubicBezTo>
                <a:cubicBezTo>
                  <a:pt x="313" y="0"/>
                  <a:pt x="299" y="7"/>
                  <a:pt x="290" y="20"/>
                </a:cubicBezTo>
                <a:cubicBezTo>
                  <a:pt x="278" y="14"/>
                  <a:pt x="248" y="8"/>
                  <a:pt x="212" y="39"/>
                </a:cubicBezTo>
                <a:cubicBezTo>
                  <a:pt x="168" y="77"/>
                  <a:pt x="6" y="200"/>
                  <a:pt x="4" y="201"/>
                </a:cubicBezTo>
                <a:cubicBezTo>
                  <a:pt x="1" y="204"/>
                  <a:pt x="0" y="208"/>
                  <a:pt x="3" y="211"/>
                </a:cubicBezTo>
                <a:cubicBezTo>
                  <a:pt x="4" y="213"/>
                  <a:pt x="6" y="214"/>
                  <a:pt x="8" y="214"/>
                </a:cubicBezTo>
                <a:cubicBezTo>
                  <a:pt x="10" y="214"/>
                  <a:pt x="11" y="213"/>
                  <a:pt x="13" y="212"/>
                </a:cubicBezTo>
                <a:cubicBezTo>
                  <a:pt x="14" y="211"/>
                  <a:pt x="177" y="88"/>
                  <a:pt x="221" y="50"/>
                </a:cubicBezTo>
                <a:cubicBezTo>
                  <a:pt x="251" y="24"/>
                  <a:pt x="274" y="28"/>
                  <a:pt x="283" y="32"/>
                </a:cubicBezTo>
                <a:cubicBezTo>
                  <a:pt x="281" y="37"/>
                  <a:pt x="280" y="43"/>
                  <a:pt x="280" y="49"/>
                </a:cubicBezTo>
                <a:cubicBezTo>
                  <a:pt x="280" y="244"/>
                  <a:pt x="280" y="244"/>
                  <a:pt x="280" y="244"/>
                </a:cubicBezTo>
                <a:cubicBezTo>
                  <a:pt x="260" y="253"/>
                  <a:pt x="246" y="259"/>
                  <a:pt x="245" y="260"/>
                </a:cubicBezTo>
                <a:cubicBezTo>
                  <a:pt x="241" y="262"/>
                  <a:pt x="240" y="266"/>
                  <a:pt x="241" y="270"/>
                </a:cubicBezTo>
                <a:cubicBezTo>
                  <a:pt x="243" y="273"/>
                  <a:pt x="247" y="275"/>
                  <a:pt x="251" y="273"/>
                </a:cubicBezTo>
                <a:cubicBezTo>
                  <a:pt x="252" y="272"/>
                  <a:pt x="410" y="198"/>
                  <a:pt x="450" y="182"/>
                </a:cubicBezTo>
                <a:cubicBezTo>
                  <a:pt x="479" y="170"/>
                  <a:pt x="498" y="184"/>
                  <a:pt x="507" y="201"/>
                </a:cubicBezTo>
                <a:cubicBezTo>
                  <a:pt x="516" y="221"/>
                  <a:pt x="514" y="248"/>
                  <a:pt x="492" y="261"/>
                </a:cubicBezTo>
                <a:cubicBezTo>
                  <a:pt x="482" y="267"/>
                  <a:pt x="464" y="275"/>
                  <a:pt x="444" y="285"/>
                </a:cubicBezTo>
                <a:cubicBezTo>
                  <a:pt x="411" y="300"/>
                  <a:pt x="381" y="315"/>
                  <a:pt x="371" y="324"/>
                </a:cubicBezTo>
                <a:cubicBezTo>
                  <a:pt x="371" y="324"/>
                  <a:pt x="370" y="324"/>
                  <a:pt x="370" y="325"/>
                </a:cubicBezTo>
                <a:cubicBezTo>
                  <a:pt x="370" y="325"/>
                  <a:pt x="369" y="325"/>
                  <a:pt x="369" y="326"/>
                </a:cubicBezTo>
                <a:cubicBezTo>
                  <a:pt x="366" y="329"/>
                  <a:pt x="361" y="334"/>
                  <a:pt x="356" y="340"/>
                </a:cubicBezTo>
                <a:cubicBezTo>
                  <a:pt x="336" y="363"/>
                  <a:pt x="303" y="401"/>
                  <a:pt x="274" y="409"/>
                </a:cubicBezTo>
                <a:cubicBezTo>
                  <a:pt x="236" y="419"/>
                  <a:pt x="82" y="424"/>
                  <a:pt x="80" y="424"/>
                </a:cubicBezTo>
                <a:cubicBezTo>
                  <a:pt x="76" y="424"/>
                  <a:pt x="73" y="428"/>
                  <a:pt x="74" y="431"/>
                </a:cubicBezTo>
                <a:cubicBezTo>
                  <a:pt x="74" y="435"/>
                  <a:pt x="77" y="438"/>
                  <a:pt x="81" y="438"/>
                </a:cubicBezTo>
                <a:cubicBezTo>
                  <a:pt x="81" y="438"/>
                  <a:pt x="81" y="438"/>
                  <a:pt x="81" y="438"/>
                </a:cubicBezTo>
                <a:cubicBezTo>
                  <a:pt x="87" y="438"/>
                  <a:pt x="238" y="433"/>
                  <a:pt x="278" y="422"/>
                </a:cubicBezTo>
                <a:cubicBezTo>
                  <a:pt x="289" y="419"/>
                  <a:pt x="299" y="413"/>
                  <a:pt x="310" y="406"/>
                </a:cubicBezTo>
                <a:cubicBezTo>
                  <a:pt x="314" y="416"/>
                  <a:pt x="322" y="425"/>
                  <a:pt x="333" y="431"/>
                </a:cubicBezTo>
                <a:cubicBezTo>
                  <a:pt x="339" y="434"/>
                  <a:pt x="347" y="436"/>
                  <a:pt x="354" y="436"/>
                </a:cubicBezTo>
                <a:cubicBezTo>
                  <a:pt x="365" y="436"/>
                  <a:pt x="376" y="431"/>
                  <a:pt x="385" y="423"/>
                </a:cubicBezTo>
                <a:cubicBezTo>
                  <a:pt x="386" y="425"/>
                  <a:pt x="386" y="426"/>
                  <a:pt x="386" y="428"/>
                </a:cubicBezTo>
                <a:cubicBezTo>
                  <a:pt x="391" y="440"/>
                  <a:pt x="399" y="450"/>
                  <a:pt x="410" y="455"/>
                </a:cubicBezTo>
                <a:cubicBezTo>
                  <a:pt x="417" y="459"/>
                  <a:pt x="424" y="460"/>
                  <a:pt x="431" y="460"/>
                </a:cubicBezTo>
                <a:cubicBezTo>
                  <a:pt x="449" y="460"/>
                  <a:pt x="465" y="451"/>
                  <a:pt x="474" y="434"/>
                </a:cubicBezTo>
                <a:cubicBezTo>
                  <a:pt x="485" y="410"/>
                  <a:pt x="485" y="410"/>
                  <a:pt x="485" y="410"/>
                </a:cubicBezTo>
                <a:cubicBezTo>
                  <a:pt x="489" y="421"/>
                  <a:pt x="497" y="431"/>
                  <a:pt x="509" y="437"/>
                </a:cubicBezTo>
                <a:cubicBezTo>
                  <a:pt x="516" y="440"/>
                  <a:pt x="523" y="442"/>
                  <a:pt x="530" y="442"/>
                </a:cubicBezTo>
                <a:cubicBezTo>
                  <a:pt x="547" y="442"/>
                  <a:pt x="564" y="432"/>
                  <a:pt x="572" y="416"/>
                </a:cubicBezTo>
                <a:cubicBezTo>
                  <a:pt x="611" y="337"/>
                  <a:pt x="611" y="337"/>
                  <a:pt x="611" y="337"/>
                </a:cubicBezTo>
                <a:cubicBezTo>
                  <a:pt x="745" y="337"/>
                  <a:pt x="745" y="337"/>
                  <a:pt x="745" y="337"/>
                </a:cubicBezTo>
                <a:cubicBezTo>
                  <a:pt x="772" y="337"/>
                  <a:pt x="794" y="315"/>
                  <a:pt x="794" y="288"/>
                </a:cubicBezTo>
                <a:cubicBezTo>
                  <a:pt x="794" y="49"/>
                  <a:pt x="794" y="49"/>
                  <a:pt x="794" y="49"/>
                </a:cubicBezTo>
                <a:cubicBezTo>
                  <a:pt x="794" y="22"/>
                  <a:pt x="772" y="0"/>
                  <a:pt x="745" y="0"/>
                </a:cubicBezTo>
                <a:close/>
                <a:moveTo>
                  <a:pt x="294" y="82"/>
                </a:moveTo>
                <a:cubicBezTo>
                  <a:pt x="780" y="82"/>
                  <a:pt x="780" y="82"/>
                  <a:pt x="780" y="82"/>
                </a:cubicBezTo>
                <a:cubicBezTo>
                  <a:pt x="780" y="134"/>
                  <a:pt x="780" y="134"/>
                  <a:pt x="780" y="134"/>
                </a:cubicBezTo>
                <a:cubicBezTo>
                  <a:pt x="294" y="134"/>
                  <a:pt x="294" y="134"/>
                  <a:pt x="294" y="134"/>
                </a:cubicBezTo>
                <a:lnTo>
                  <a:pt x="294" y="82"/>
                </a:lnTo>
                <a:close/>
                <a:moveTo>
                  <a:pt x="329" y="14"/>
                </a:moveTo>
                <a:cubicBezTo>
                  <a:pt x="745" y="14"/>
                  <a:pt x="745" y="14"/>
                  <a:pt x="745" y="14"/>
                </a:cubicBezTo>
                <a:cubicBezTo>
                  <a:pt x="765" y="14"/>
                  <a:pt x="780" y="29"/>
                  <a:pt x="780" y="49"/>
                </a:cubicBezTo>
                <a:cubicBezTo>
                  <a:pt x="780" y="68"/>
                  <a:pt x="780" y="68"/>
                  <a:pt x="780" y="68"/>
                </a:cubicBezTo>
                <a:cubicBezTo>
                  <a:pt x="294" y="68"/>
                  <a:pt x="294" y="68"/>
                  <a:pt x="294" y="68"/>
                </a:cubicBezTo>
                <a:cubicBezTo>
                  <a:pt x="294" y="49"/>
                  <a:pt x="294" y="49"/>
                  <a:pt x="294" y="49"/>
                </a:cubicBezTo>
                <a:cubicBezTo>
                  <a:pt x="294" y="29"/>
                  <a:pt x="310" y="14"/>
                  <a:pt x="329" y="14"/>
                </a:cubicBezTo>
                <a:close/>
                <a:moveTo>
                  <a:pt x="339" y="418"/>
                </a:moveTo>
                <a:cubicBezTo>
                  <a:pt x="330" y="414"/>
                  <a:pt x="324" y="406"/>
                  <a:pt x="321" y="396"/>
                </a:cubicBezTo>
                <a:cubicBezTo>
                  <a:pt x="338" y="382"/>
                  <a:pt x="354" y="364"/>
                  <a:pt x="366" y="350"/>
                </a:cubicBezTo>
                <a:cubicBezTo>
                  <a:pt x="371" y="345"/>
                  <a:pt x="375" y="340"/>
                  <a:pt x="378" y="337"/>
                </a:cubicBezTo>
                <a:cubicBezTo>
                  <a:pt x="416" y="337"/>
                  <a:pt x="416" y="337"/>
                  <a:pt x="416" y="337"/>
                </a:cubicBezTo>
                <a:cubicBezTo>
                  <a:pt x="383" y="403"/>
                  <a:pt x="383" y="403"/>
                  <a:pt x="383" y="403"/>
                </a:cubicBezTo>
                <a:cubicBezTo>
                  <a:pt x="375" y="420"/>
                  <a:pt x="355" y="426"/>
                  <a:pt x="339" y="418"/>
                </a:cubicBezTo>
                <a:close/>
                <a:moveTo>
                  <a:pt x="461" y="428"/>
                </a:moveTo>
                <a:cubicBezTo>
                  <a:pt x="453" y="444"/>
                  <a:pt x="433" y="451"/>
                  <a:pt x="416" y="443"/>
                </a:cubicBezTo>
                <a:cubicBezTo>
                  <a:pt x="409" y="439"/>
                  <a:pt x="403" y="432"/>
                  <a:pt x="400" y="424"/>
                </a:cubicBezTo>
                <a:cubicBezTo>
                  <a:pt x="397" y="415"/>
                  <a:pt x="398" y="406"/>
                  <a:pt x="401" y="398"/>
                </a:cubicBezTo>
                <a:cubicBezTo>
                  <a:pt x="432" y="337"/>
                  <a:pt x="432" y="337"/>
                  <a:pt x="432" y="337"/>
                </a:cubicBezTo>
                <a:cubicBezTo>
                  <a:pt x="506" y="337"/>
                  <a:pt x="506" y="337"/>
                  <a:pt x="506" y="337"/>
                </a:cubicBezTo>
                <a:cubicBezTo>
                  <a:pt x="488" y="374"/>
                  <a:pt x="488" y="374"/>
                  <a:pt x="488" y="374"/>
                </a:cubicBezTo>
                <a:cubicBezTo>
                  <a:pt x="488" y="374"/>
                  <a:pt x="488" y="374"/>
                  <a:pt x="488" y="374"/>
                </a:cubicBezTo>
                <a:lnTo>
                  <a:pt x="461" y="428"/>
                </a:lnTo>
                <a:close/>
                <a:moveTo>
                  <a:pt x="560" y="410"/>
                </a:moveTo>
                <a:cubicBezTo>
                  <a:pt x="552" y="426"/>
                  <a:pt x="532" y="433"/>
                  <a:pt x="515" y="425"/>
                </a:cubicBezTo>
                <a:cubicBezTo>
                  <a:pt x="499" y="416"/>
                  <a:pt x="492" y="397"/>
                  <a:pt x="500" y="380"/>
                </a:cubicBezTo>
                <a:cubicBezTo>
                  <a:pt x="522" y="337"/>
                  <a:pt x="522" y="337"/>
                  <a:pt x="522" y="337"/>
                </a:cubicBezTo>
                <a:cubicBezTo>
                  <a:pt x="596" y="337"/>
                  <a:pt x="596" y="337"/>
                  <a:pt x="596" y="337"/>
                </a:cubicBezTo>
                <a:lnTo>
                  <a:pt x="560" y="410"/>
                </a:lnTo>
                <a:close/>
                <a:moveTo>
                  <a:pt x="745" y="323"/>
                </a:moveTo>
                <a:cubicBezTo>
                  <a:pt x="398" y="323"/>
                  <a:pt x="398" y="323"/>
                  <a:pt x="398" y="323"/>
                </a:cubicBezTo>
                <a:cubicBezTo>
                  <a:pt x="412" y="315"/>
                  <a:pt x="432" y="306"/>
                  <a:pt x="450" y="297"/>
                </a:cubicBezTo>
                <a:cubicBezTo>
                  <a:pt x="470" y="288"/>
                  <a:pt x="489" y="279"/>
                  <a:pt x="500" y="273"/>
                </a:cubicBezTo>
                <a:cubicBezTo>
                  <a:pt x="529" y="255"/>
                  <a:pt x="531" y="220"/>
                  <a:pt x="519" y="195"/>
                </a:cubicBezTo>
                <a:cubicBezTo>
                  <a:pt x="509" y="174"/>
                  <a:pt x="483" y="154"/>
                  <a:pt x="445" y="169"/>
                </a:cubicBezTo>
                <a:cubicBezTo>
                  <a:pt x="419" y="179"/>
                  <a:pt x="345" y="214"/>
                  <a:pt x="294" y="237"/>
                </a:cubicBezTo>
                <a:cubicBezTo>
                  <a:pt x="294" y="148"/>
                  <a:pt x="294" y="148"/>
                  <a:pt x="294" y="148"/>
                </a:cubicBezTo>
                <a:cubicBezTo>
                  <a:pt x="780" y="148"/>
                  <a:pt x="780" y="148"/>
                  <a:pt x="780" y="148"/>
                </a:cubicBezTo>
                <a:cubicBezTo>
                  <a:pt x="780" y="288"/>
                  <a:pt x="780" y="288"/>
                  <a:pt x="780" y="288"/>
                </a:cubicBezTo>
                <a:cubicBezTo>
                  <a:pt x="780" y="307"/>
                  <a:pt x="765" y="323"/>
                  <a:pt x="745" y="323"/>
                </a:cubicBez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7199" name="Oval 38"/>
          <p:cNvSpPr>
            <a:spLocks noChangeArrowheads="1"/>
          </p:cNvSpPr>
          <p:nvPr/>
        </p:nvSpPr>
        <p:spPr bwMode="auto">
          <a:xfrm>
            <a:off x="6589621" y="4711628"/>
            <a:ext cx="1119124" cy="1119124"/>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8211" name="Freeform 102"/>
          <p:cNvSpPr>
            <a:spLocks noEditPoints="1"/>
          </p:cNvSpPr>
          <p:nvPr/>
        </p:nvSpPr>
        <p:spPr bwMode="auto">
          <a:xfrm>
            <a:off x="6772087" y="5061735"/>
            <a:ext cx="752976" cy="418911"/>
          </a:xfrm>
          <a:custGeom>
            <a:avLst/>
            <a:gdLst>
              <a:gd name="T0" fmla="*/ 708 w 715"/>
              <a:gd name="T1" fmla="*/ 0 h 398"/>
              <a:gd name="T2" fmla="*/ 7 w 715"/>
              <a:gd name="T3" fmla="*/ 0 h 398"/>
              <a:gd name="T4" fmla="*/ 0 w 715"/>
              <a:gd name="T5" fmla="*/ 7 h 398"/>
              <a:gd name="T6" fmla="*/ 0 w 715"/>
              <a:gd name="T7" fmla="*/ 91 h 398"/>
              <a:gd name="T8" fmla="*/ 7 w 715"/>
              <a:gd name="T9" fmla="*/ 98 h 398"/>
              <a:gd name="T10" fmla="*/ 148 w 715"/>
              <a:gd name="T11" fmla="*/ 98 h 398"/>
              <a:gd name="T12" fmla="*/ 114 w 715"/>
              <a:gd name="T13" fmla="*/ 338 h 398"/>
              <a:gd name="T14" fmla="*/ 126 w 715"/>
              <a:gd name="T15" fmla="*/ 378 h 398"/>
              <a:gd name="T16" fmla="*/ 175 w 715"/>
              <a:gd name="T17" fmla="*/ 398 h 398"/>
              <a:gd name="T18" fmla="*/ 540 w 715"/>
              <a:gd name="T19" fmla="*/ 398 h 398"/>
              <a:gd name="T20" fmla="*/ 589 w 715"/>
              <a:gd name="T21" fmla="*/ 378 h 398"/>
              <a:gd name="T22" fmla="*/ 600 w 715"/>
              <a:gd name="T23" fmla="*/ 338 h 398"/>
              <a:gd name="T24" fmla="*/ 567 w 715"/>
              <a:gd name="T25" fmla="*/ 98 h 398"/>
              <a:gd name="T26" fmla="*/ 708 w 715"/>
              <a:gd name="T27" fmla="*/ 98 h 398"/>
              <a:gd name="T28" fmla="*/ 715 w 715"/>
              <a:gd name="T29" fmla="*/ 91 h 398"/>
              <a:gd name="T30" fmla="*/ 715 w 715"/>
              <a:gd name="T31" fmla="*/ 7 h 398"/>
              <a:gd name="T32" fmla="*/ 708 w 715"/>
              <a:gd name="T33" fmla="*/ 0 h 398"/>
              <a:gd name="T34" fmla="*/ 14 w 715"/>
              <a:gd name="T35" fmla="*/ 84 h 398"/>
              <a:gd name="T36" fmla="*/ 14 w 715"/>
              <a:gd name="T37" fmla="*/ 14 h 398"/>
              <a:gd name="T38" fmla="*/ 160 w 715"/>
              <a:gd name="T39" fmla="*/ 14 h 398"/>
              <a:gd name="T40" fmla="*/ 150 w 715"/>
              <a:gd name="T41" fmla="*/ 84 h 398"/>
              <a:gd name="T42" fmla="*/ 14 w 715"/>
              <a:gd name="T43" fmla="*/ 84 h 398"/>
              <a:gd name="T44" fmla="*/ 578 w 715"/>
              <a:gd name="T45" fmla="*/ 369 h 398"/>
              <a:gd name="T46" fmla="*/ 540 w 715"/>
              <a:gd name="T47" fmla="*/ 384 h 398"/>
              <a:gd name="T48" fmla="*/ 175 w 715"/>
              <a:gd name="T49" fmla="*/ 384 h 398"/>
              <a:gd name="T50" fmla="*/ 137 w 715"/>
              <a:gd name="T51" fmla="*/ 369 h 398"/>
              <a:gd name="T52" fmla="*/ 128 w 715"/>
              <a:gd name="T53" fmla="*/ 340 h 398"/>
              <a:gd name="T54" fmla="*/ 174 w 715"/>
              <a:gd name="T55" fmla="*/ 14 h 398"/>
              <a:gd name="T56" fmla="*/ 255 w 715"/>
              <a:gd name="T57" fmla="*/ 14 h 398"/>
              <a:gd name="T58" fmla="*/ 236 w 715"/>
              <a:gd name="T59" fmla="*/ 290 h 398"/>
              <a:gd name="T60" fmla="*/ 242 w 715"/>
              <a:gd name="T61" fmla="*/ 298 h 398"/>
              <a:gd name="T62" fmla="*/ 243 w 715"/>
              <a:gd name="T63" fmla="*/ 298 h 398"/>
              <a:gd name="T64" fmla="*/ 250 w 715"/>
              <a:gd name="T65" fmla="*/ 291 h 398"/>
              <a:gd name="T66" fmla="*/ 269 w 715"/>
              <a:gd name="T67" fmla="*/ 14 h 398"/>
              <a:gd name="T68" fmla="*/ 541 w 715"/>
              <a:gd name="T69" fmla="*/ 14 h 398"/>
              <a:gd name="T70" fmla="*/ 586 w 715"/>
              <a:gd name="T71" fmla="*/ 340 h 398"/>
              <a:gd name="T72" fmla="*/ 578 w 715"/>
              <a:gd name="T73" fmla="*/ 369 h 398"/>
              <a:gd name="T74" fmla="*/ 701 w 715"/>
              <a:gd name="T75" fmla="*/ 84 h 398"/>
              <a:gd name="T76" fmla="*/ 565 w 715"/>
              <a:gd name="T77" fmla="*/ 84 h 398"/>
              <a:gd name="T78" fmla="*/ 555 w 715"/>
              <a:gd name="T79" fmla="*/ 14 h 398"/>
              <a:gd name="T80" fmla="*/ 701 w 715"/>
              <a:gd name="T81" fmla="*/ 14 h 398"/>
              <a:gd name="T82" fmla="*/ 701 w 715"/>
              <a:gd name="T83" fmla="*/ 84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715" h="398">
                <a:moveTo>
                  <a:pt x="708" y="0"/>
                </a:moveTo>
                <a:cubicBezTo>
                  <a:pt x="7" y="0"/>
                  <a:pt x="7" y="0"/>
                  <a:pt x="7" y="0"/>
                </a:cubicBezTo>
                <a:cubicBezTo>
                  <a:pt x="3" y="0"/>
                  <a:pt x="0" y="3"/>
                  <a:pt x="0" y="7"/>
                </a:cubicBezTo>
                <a:cubicBezTo>
                  <a:pt x="0" y="91"/>
                  <a:pt x="0" y="91"/>
                  <a:pt x="0" y="91"/>
                </a:cubicBezTo>
                <a:cubicBezTo>
                  <a:pt x="0" y="95"/>
                  <a:pt x="3" y="98"/>
                  <a:pt x="7" y="98"/>
                </a:cubicBezTo>
                <a:cubicBezTo>
                  <a:pt x="148" y="98"/>
                  <a:pt x="148" y="98"/>
                  <a:pt x="148" y="98"/>
                </a:cubicBezTo>
                <a:cubicBezTo>
                  <a:pt x="114" y="338"/>
                  <a:pt x="114" y="338"/>
                  <a:pt x="114" y="338"/>
                </a:cubicBezTo>
                <a:cubicBezTo>
                  <a:pt x="112" y="353"/>
                  <a:pt x="117" y="367"/>
                  <a:pt x="126" y="378"/>
                </a:cubicBezTo>
                <a:cubicBezTo>
                  <a:pt x="138" y="391"/>
                  <a:pt x="155" y="398"/>
                  <a:pt x="175" y="398"/>
                </a:cubicBezTo>
                <a:cubicBezTo>
                  <a:pt x="540" y="398"/>
                  <a:pt x="540" y="398"/>
                  <a:pt x="540" y="398"/>
                </a:cubicBezTo>
                <a:cubicBezTo>
                  <a:pt x="560" y="398"/>
                  <a:pt x="577" y="391"/>
                  <a:pt x="589" y="378"/>
                </a:cubicBezTo>
                <a:cubicBezTo>
                  <a:pt x="598" y="367"/>
                  <a:pt x="602" y="353"/>
                  <a:pt x="600" y="338"/>
                </a:cubicBezTo>
                <a:cubicBezTo>
                  <a:pt x="567" y="98"/>
                  <a:pt x="567" y="98"/>
                  <a:pt x="567" y="98"/>
                </a:cubicBezTo>
                <a:cubicBezTo>
                  <a:pt x="708" y="98"/>
                  <a:pt x="708" y="98"/>
                  <a:pt x="708" y="98"/>
                </a:cubicBezTo>
                <a:cubicBezTo>
                  <a:pt x="712" y="98"/>
                  <a:pt x="715" y="95"/>
                  <a:pt x="715" y="91"/>
                </a:cubicBezTo>
                <a:cubicBezTo>
                  <a:pt x="715" y="7"/>
                  <a:pt x="715" y="7"/>
                  <a:pt x="715" y="7"/>
                </a:cubicBezTo>
                <a:cubicBezTo>
                  <a:pt x="715" y="3"/>
                  <a:pt x="712" y="0"/>
                  <a:pt x="708" y="0"/>
                </a:cubicBezTo>
                <a:close/>
                <a:moveTo>
                  <a:pt x="14" y="84"/>
                </a:moveTo>
                <a:cubicBezTo>
                  <a:pt x="14" y="14"/>
                  <a:pt x="14" y="14"/>
                  <a:pt x="14" y="14"/>
                </a:cubicBezTo>
                <a:cubicBezTo>
                  <a:pt x="160" y="14"/>
                  <a:pt x="160" y="14"/>
                  <a:pt x="160" y="14"/>
                </a:cubicBezTo>
                <a:cubicBezTo>
                  <a:pt x="150" y="84"/>
                  <a:pt x="150" y="84"/>
                  <a:pt x="150" y="84"/>
                </a:cubicBezTo>
                <a:lnTo>
                  <a:pt x="14" y="84"/>
                </a:lnTo>
                <a:close/>
                <a:moveTo>
                  <a:pt x="578" y="369"/>
                </a:moveTo>
                <a:cubicBezTo>
                  <a:pt x="569" y="379"/>
                  <a:pt x="556" y="384"/>
                  <a:pt x="540" y="384"/>
                </a:cubicBezTo>
                <a:cubicBezTo>
                  <a:pt x="175" y="384"/>
                  <a:pt x="175" y="384"/>
                  <a:pt x="175" y="384"/>
                </a:cubicBezTo>
                <a:cubicBezTo>
                  <a:pt x="159" y="384"/>
                  <a:pt x="145" y="379"/>
                  <a:pt x="137" y="369"/>
                </a:cubicBezTo>
                <a:cubicBezTo>
                  <a:pt x="130" y="361"/>
                  <a:pt x="127" y="350"/>
                  <a:pt x="128" y="340"/>
                </a:cubicBezTo>
                <a:cubicBezTo>
                  <a:pt x="174" y="14"/>
                  <a:pt x="174" y="14"/>
                  <a:pt x="174" y="14"/>
                </a:cubicBezTo>
                <a:cubicBezTo>
                  <a:pt x="255" y="14"/>
                  <a:pt x="255" y="14"/>
                  <a:pt x="255" y="14"/>
                </a:cubicBezTo>
                <a:cubicBezTo>
                  <a:pt x="236" y="290"/>
                  <a:pt x="236" y="290"/>
                  <a:pt x="236" y="290"/>
                </a:cubicBezTo>
                <a:cubicBezTo>
                  <a:pt x="236" y="294"/>
                  <a:pt x="238" y="297"/>
                  <a:pt x="242" y="298"/>
                </a:cubicBezTo>
                <a:cubicBezTo>
                  <a:pt x="242" y="298"/>
                  <a:pt x="243" y="298"/>
                  <a:pt x="243" y="298"/>
                </a:cubicBezTo>
                <a:cubicBezTo>
                  <a:pt x="246" y="298"/>
                  <a:pt x="250" y="295"/>
                  <a:pt x="250" y="291"/>
                </a:cubicBezTo>
                <a:cubicBezTo>
                  <a:pt x="269" y="14"/>
                  <a:pt x="269" y="14"/>
                  <a:pt x="269" y="14"/>
                </a:cubicBezTo>
                <a:cubicBezTo>
                  <a:pt x="541" y="14"/>
                  <a:pt x="541" y="14"/>
                  <a:pt x="541" y="14"/>
                </a:cubicBezTo>
                <a:cubicBezTo>
                  <a:pt x="586" y="340"/>
                  <a:pt x="586" y="340"/>
                  <a:pt x="586" y="340"/>
                </a:cubicBezTo>
                <a:cubicBezTo>
                  <a:pt x="588" y="350"/>
                  <a:pt x="585" y="361"/>
                  <a:pt x="578" y="369"/>
                </a:cubicBezTo>
                <a:close/>
                <a:moveTo>
                  <a:pt x="701" y="84"/>
                </a:moveTo>
                <a:cubicBezTo>
                  <a:pt x="565" y="84"/>
                  <a:pt x="565" y="84"/>
                  <a:pt x="565" y="84"/>
                </a:cubicBezTo>
                <a:cubicBezTo>
                  <a:pt x="555" y="14"/>
                  <a:pt x="555" y="14"/>
                  <a:pt x="555" y="14"/>
                </a:cubicBezTo>
                <a:cubicBezTo>
                  <a:pt x="701" y="14"/>
                  <a:pt x="701" y="14"/>
                  <a:pt x="701" y="14"/>
                </a:cubicBezTo>
                <a:lnTo>
                  <a:pt x="701" y="84"/>
                </a:ln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9223" name="Oval 45"/>
          <p:cNvSpPr>
            <a:spLocks noChangeArrowheads="1"/>
          </p:cNvSpPr>
          <p:nvPr/>
        </p:nvSpPr>
        <p:spPr bwMode="auto">
          <a:xfrm>
            <a:off x="1315706" y="4711628"/>
            <a:ext cx="1119124" cy="1119124"/>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8212" name="Freeform 103"/>
          <p:cNvSpPr>
            <a:spLocks noEditPoints="1"/>
          </p:cNvSpPr>
          <p:nvPr/>
        </p:nvSpPr>
        <p:spPr bwMode="auto">
          <a:xfrm>
            <a:off x="1519073" y="4977710"/>
            <a:ext cx="711173" cy="586962"/>
          </a:xfrm>
          <a:custGeom>
            <a:avLst/>
            <a:gdLst>
              <a:gd name="T0" fmla="*/ 466 w 675"/>
              <a:gd name="T1" fmla="*/ 403 h 557"/>
              <a:gd name="T2" fmla="*/ 270 w 675"/>
              <a:gd name="T3" fmla="*/ 403 h 557"/>
              <a:gd name="T4" fmla="*/ 368 w 675"/>
              <a:gd name="T5" fmla="*/ 304 h 557"/>
              <a:gd name="T6" fmla="*/ 368 w 675"/>
              <a:gd name="T7" fmla="*/ 502 h 557"/>
              <a:gd name="T8" fmla="*/ 368 w 675"/>
              <a:gd name="T9" fmla="*/ 304 h 557"/>
              <a:gd name="T10" fmla="*/ 598 w 675"/>
              <a:gd name="T11" fmla="*/ 406 h 557"/>
              <a:gd name="T12" fmla="*/ 514 w 675"/>
              <a:gd name="T13" fmla="*/ 406 h 557"/>
              <a:gd name="T14" fmla="*/ 556 w 675"/>
              <a:gd name="T15" fmla="*/ 378 h 557"/>
              <a:gd name="T16" fmla="*/ 556 w 675"/>
              <a:gd name="T17" fmla="*/ 435 h 557"/>
              <a:gd name="T18" fmla="*/ 556 w 675"/>
              <a:gd name="T19" fmla="*/ 378 h 557"/>
              <a:gd name="T20" fmla="*/ 226 w 675"/>
              <a:gd name="T21" fmla="*/ 406 h 557"/>
              <a:gd name="T22" fmla="*/ 142 w 675"/>
              <a:gd name="T23" fmla="*/ 406 h 557"/>
              <a:gd name="T24" fmla="*/ 184 w 675"/>
              <a:gd name="T25" fmla="*/ 378 h 557"/>
              <a:gd name="T26" fmla="*/ 184 w 675"/>
              <a:gd name="T27" fmla="*/ 435 h 557"/>
              <a:gd name="T28" fmla="*/ 184 w 675"/>
              <a:gd name="T29" fmla="*/ 378 h 557"/>
              <a:gd name="T30" fmla="*/ 659 w 675"/>
              <a:gd name="T31" fmla="*/ 249 h 557"/>
              <a:gd name="T32" fmla="*/ 613 w 675"/>
              <a:gd name="T33" fmla="*/ 93 h 557"/>
              <a:gd name="T34" fmla="*/ 587 w 675"/>
              <a:gd name="T35" fmla="*/ 6 h 557"/>
              <a:gd name="T36" fmla="*/ 579 w 675"/>
              <a:gd name="T37" fmla="*/ 1 h 557"/>
              <a:gd name="T38" fmla="*/ 492 w 675"/>
              <a:gd name="T39" fmla="*/ 26 h 557"/>
              <a:gd name="T40" fmla="*/ 93 w 675"/>
              <a:gd name="T41" fmla="*/ 143 h 557"/>
              <a:gd name="T42" fmla="*/ 93 w 675"/>
              <a:gd name="T43" fmla="*/ 143 h 557"/>
              <a:gd name="T44" fmla="*/ 1 w 675"/>
              <a:gd name="T45" fmla="*/ 177 h 557"/>
              <a:gd name="T46" fmla="*/ 64 w 675"/>
              <a:gd name="T47" fmla="*/ 550 h 557"/>
              <a:gd name="T48" fmla="*/ 668 w 675"/>
              <a:gd name="T49" fmla="*/ 557 h 557"/>
              <a:gd name="T50" fmla="*/ 675 w 675"/>
              <a:gd name="T51" fmla="*/ 256 h 557"/>
              <a:gd name="T52" fmla="*/ 64 w 675"/>
              <a:gd name="T53" fmla="*/ 344 h 557"/>
              <a:gd name="T54" fmla="*/ 64 w 675"/>
              <a:gd name="T55" fmla="*/ 255 h 557"/>
              <a:gd name="T56" fmla="*/ 64 w 675"/>
              <a:gd name="T57" fmla="*/ 344 h 557"/>
              <a:gd name="T58" fmla="*/ 169 w 675"/>
              <a:gd name="T59" fmla="*/ 263 h 557"/>
              <a:gd name="T60" fmla="*/ 661 w 675"/>
              <a:gd name="T61" fmla="*/ 354 h 557"/>
              <a:gd name="T62" fmla="*/ 593 w 675"/>
              <a:gd name="T63" fmla="*/ 543 h 557"/>
              <a:gd name="T64" fmla="*/ 78 w 675"/>
              <a:gd name="T65" fmla="*/ 475 h 557"/>
              <a:gd name="T66" fmla="*/ 78 w 675"/>
              <a:gd name="T67" fmla="*/ 340 h 557"/>
              <a:gd name="T68" fmla="*/ 155 w 675"/>
              <a:gd name="T69" fmla="*/ 263 h 557"/>
              <a:gd name="T70" fmla="*/ 306 w 675"/>
              <a:gd name="T71" fmla="*/ 138 h 557"/>
              <a:gd name="T72" fmla="*/ 419 w 675"/>
              <a:gd name="T73" fmla="*/ 249 h 557"/>
              <a:gd name="T74" fmla="*/ 306 w 675"/>
              <a:gd name="T75" fmla="*/ 138 h 557"/>
              <a:gd name="T76" fmla="*/ 585 w 675"/>
              <a:gd name="T77" fmla="*/ 263 h 557"/>
              <a:gd name="T78" fmla="*/ 654 w 675"/>
              <a:gd name="T79" fmla="*/ 263 h 557"/>
              <a:gd name="T80" fmla="*/ 661 w 675"/>
              <a:gd name="T81" fmla="*/ 340 h 557"/>
              <a:gd name="T82" fmla="*/ 428 w 675"/>
              <a:gd name="T83" fmla="*/ 206 h 557"/>
              <a:gd name="T84" fmla="*/ 237 w 675"/>
              <a:gd name="T85" fmla="*/ 249 h 557"/>
              <a:gd name="T86" fmla="*/ 103 w 675"/>
              <a:gd name="T87" fmla="*/ 155 h 557"/>
              <a:gd name="T88" fmla="*/ 534 w 675"/>
              <a:gd name="T89" fmla="*/ 93 h 557"/>
              <a:gd name="T90" fmla="*/ 601 w 675"/>
              <a:gd name="T91" fmla="*/ 103 h 557"/>
              <a:gd name="T92" fmla="*/ 433 w 675"/>
              <a:gd name="T93" fmla="*/ 249 h 557"/>
              <a:gd name="T94" fmla="*/ 541 w 675"/>
              <a:gd name="T95" fmla="*/ 81 h 557"/>
              <a:gd name="T96" fmla="*/ 576 w 675"/>
              <a:gd name="T97" fmla="*/ 16 h 557"/>
              <a:gd name="T98" fmla="*/ 90 w 675"/>
              <a:gd name="T99" fmla="*/ 159 h 557"/>
              <a:gd name="T100" fmla="*/ 16 w 675"/>
              <a:gd name="T101" fmla="*/ 180 h 557"/>
              <a:gd name="T102" fmla="*/ 78 w 675"/>
              <a:gd name="T103" fmla="*/ 489 h 557"/>
              <a:gd name="T104" fmla="*/ 78 w 675"/>
              <a:gd name="T105" fmla="*/ 543 h 557"/>
              <a:gd name="T106" fmla="*/ 607 w 675"/>
              <a:gd name="T107" fmla="*/ 543 h 557"/>
              <a:gd name="T108" fmla="*/ 661 w 675"/>
              <a:gd name="T109" fmla="*/ 543 h 557"/>
              <a:gd name="T110" fmla="*/ 515 w 675"/>
              <a:gd name="T111" fmla="*/ 141 h 557"/>
              <a:gd name="T112" fmla="*/ 478 w 675"/>
              <a:gd name="T113" fmla="*/ 163 h 557"/>
              <a:gd name="T114" fmla="*/ 515 w 675"/>
              <a:gd name="T115" fmla="*/ 226 h 557"/>
              <a:gd name="T116" fmla="*/ 555 w 675"/>
              <a:gd name="T117" fmla="*/ 172 h 557"/>
              <a:gd name="T118" fmla="*/ 523 w 675"/>
              <a:gd name="T119" fmla="*/ 210 h 557"/>
              <a:gd name="T120" fmla="*/ 488 w 675"/>
              <a:gd name="T121" fmla="*/ 191 h 557"/>
              <a:gd name="T122" fmla="*/ 507 w 675"/>
              <a:gd name="T123" fmla="*/ 157 h 557"/>
              <a:gd name="T124" fmla="*/ 542 w 675"/>
              <a:gd name="T125" fmla="*/ 176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75" h="557">
                <a:moveTo>
                  <a:pt x="368" y="516"/>
                </a:moveTo>
                <a:cubicBezTo>
                  <a:pt x="422" y="516"/>
                  <a:pt x="466" y="465"/>
                  <a:pt x="466" y="403"/>
                </a:cubicBezTo>
                <a:cubicBezTo>
                  <a:pt x="466" y="341"/>
                  <a:pt x="422" y="290"/>
                  <a:pt x="368" y="290"/>
                </a:cubicBezTo>
                <a:cubicBezTo>
                  <a:pt x="314" y="290"/>
                  <a:pt x="270" y="341"/>
                  <a:pt x="270" y="403"/>
                </a:cubicBezTo>
                <a:cubicBezTo>
                  <a:pt x="270" y="465"/>
                  <a:pt x="314" y="516"/>
                  <a:pt x="368" y="516"/>
                </a:cubicBezTo>
                <a:close/>
                <a:moveTo>
                  <a:pt x="368" y="304"/>
                </a:moveTo>
                <a:cubicBezTo>
                  <a:pt x="414" y="304"/>
                  <a:pt x="452" y="349"/>
                  <a:pt x="452" y="403"/>
                </a:cubicBezTo>
                <a:cubicBezTo>
                  <a:pt x="452" y="458"/>
                  <a:pt x="414" y="502"/>
                  <a:pt x="368" y="502"/>
                </a:cubicBezTo>
                <a:cubicBezTo>
                  <a:pt x="322" y="502"/>
                  <a:pt x="284" y="458"/>
                  <a:pt x="284" y="403"/>
                </a:cubicBezTo>
                <a:cubicBezTo>
                  <a:pt x="284" y="349"/>
                  <a:pt x="322" y="304"/>
                  <a:pt x="368" y="304"/>
                </a:cubicBezTo>
                <a:close/>
                <a:moveTo>
                  <a:pt x="556" y="449"/>
                </a:moveTo>
                <a:cubicBezTo>
                  <a:pt x="579" y="449"/>
                  <a:pt x="598" y="430"/>
                  <a:pt x="598" y="406"/>
                </a:cubicBezTo>
                <a:cubicBezTo>
                  <a:pt x="598" y="383"/>
                  <a:pt x="579" y="364"/>
                  <a:pt x="556" y="364"/>
                </a:cubicBezTo>
                <a:cubicBezTo>
                  <a:pt x="533" y="364"/>
                  <a:pt x="514" y="383"/>
                  <a:pt x="514" y="406"/>
                </a:cubicBezTo>
                <a:cubicBezTo>
                  <a:pt x="514" y="430"/>
                  <a:pt x="533" y="449"/>
                  <a:pt x="556" y="449"/>
                </a:cubicBezTo>
                <a:close/>
                <a:moveTo>
                  <a:pt x="556" y="378"/>
                </a:moveTo>
                <a:cubicBezTo>
                  <a:pt x="571" y="378"/>
                  <a:pt x="584" y="391"/>
                  <a:pt x="584" y="406"/>
                </a:cubicBezTo>
                <a:cubicBezTo>
                  <a:pt x="584" y="422"/>
                  <a:pt x="571" y="435"/>
                  <a:pt x="556" y="435"/>
                </a:cubicBezTo>
                <a:cubicBezTo>
                  <a:pt x="540" y="435"/>
                  <a:pt x="528" y="422"/>
                  <a:pt x="528" y="406"/>
                </a:cubicBezTo>
                <a:cubicBezTo>
                  <a:pt x="528" y="391"/>
                  <a:pt x="540" y="378"/>
                  <a:pt x="556" y="378"/>
                </a:cubicBezTo>
                <a:close/>
                <a:moveTo>
                  <a:pt x="184" y="449"/>
                </a:moveTo>
                <a:cubicBezTo>
                  <a:pt x="207" y="449"/>
                  <a:pt x="226" y="430"/>
                  <a:pt x="226" y="406"/>
                </a:cubicBezTo>
                <a:cubicBezTo>
                  <a:pt x="226" y="383"/>
                  <a:pt x="207" y="364"/>
                  <a:pt x="184" y="364"/>
                </a:cubicBezTo>
                <a:cubicBezTo>
                  <a:pt x="161" y="364"/>
                  <a:pt x="142" y="383"/>
                  <a:pt x="142" y="406"/>
                </a:cubicBezTo>
                <a:cubicBezTo>
                  <a:pt x="142" y="430"/>
                  <a:pt x="161" y="449"/>
                  <a:pt x="184" y="449"/>
                </a:cubicBezTo>
                <a:close/>
                <a:moveTo>
                  <a:pt x="184" y="378"/>
                </a:moveTo>
                <a:cubicBezTo>
                  <a:pt x="199" y="378"/>
                  <a:pt x="212" y="391"/>
                  <a:pt x="212" y="406"/>
                </a:cubicBezTo>
                <a:cubicBezTo>
                  <a:pt x="212" y="422"/>
                  <a:pt x="199" y="435"/>
                  <a:pt x="184" y="435"/>
                </a:cubicBezTo>
                <a:cubicBezTo>
                  <a:pt x="168" y="435"/>
                  <a:pt x="156" y="422"/>
                  <a:pt x="156" y="406"/>
                </a:cubicBezTo>
                <a:cubicBezTo>
                  <a:pt x="156" y="391"/>
                  <a:pt x="168" y="378"/>
                  <a:pt x="184" y="378"/>
                </a:cubicBezTo>
                <a:close/>
                <a:moveTo>
                  <a:pt x="668" y="249"/>
                </a:moveTo>
                <a:cubicBezTo>
                  <a:pt x="659" y="249"/>
                  <a:pt x="659" y="249"/>
                  <a:pt x="659" y="249"/>
                </a:cubicBezTo>
                <a:cubicBezTo>
                  <a:pt x="613" y="93"/>
                  <a:pt x="613" y="93"/>
                  <a:pt x="613" y="93"/>
                </a:cubicBezTo>
                <a:cubicBezTo>
                  <a:pt x="613" y="93"/>
                  <a:pt x="613" y="93"/>
                  <a:pt x="613" y="93"/>
                </a:cubicBezTo>
                <a:cubicBezTo>
                  <a:pt x="613" y="93"/>
                  <a:pt x="613" y="93"/>
                  <a:pt x="613" y="93"/>
                </a:cubicBezTo>
                <a:cubicBezTo>
                  <a:pt x="587" y="6"/>
                  <a:pt x="587" y="6"/>
                  <a:pt x="587" y="6"/>
                </a:cubicBezTo>
                <a:cubicBezTo>
                  <a:pt x="587" y="4"/>
                  <a:pt x="586" y="2"/>
                  <a:pt x="584" y="1"/>
                </a:cubicBezTo>
                <a:cubicBezTo>
                  <a:pt x="582" y="1"/>
                  <a:pt x="581" y="0"/>
                  <a:pt x="579" y="1"/>
                </a:cubicBezTo>
                <a:cubicBezTo>
                  <a:pt x="492" y="26"/>
                  <a:pt x="492" y="26"/>
                  <a:pt x="492" y="26"/>
                </a:cubicBezTo>
                <a:cubicBezTo>
                  <a:pt x="492" y="26"/>
                  <a:pt x="492" y="26"/>
                  <a:pt x="492" y="26"/>
                </a:cubicBezTo>
                <a:cubicBezTo>
                  <a:pt x="492" y="26"/>
                  <a:pt x="492" y="26"/>
                  <a:pt x="492" y="26"/>
                </a:cubicBezTo>
                <a:cubicBezTo>
                  <a:pt x="93" y="143"/>
                  <a:pt x="93" y="143"/>
                  <a:pt x="93" y="143"/>
                </a:cubicBezTo>
                <a:cubicBezTo>
                  <a:pt x="93" y="143"/>
                  <a:pt x="93" y="143"/>
                  <a:pt x="93" y="143"/>
                </a:cubicBezTo>
                <a:cubicBezTo>
                  <a:pt x="93" y="143"/>
                  <a:pt x="93" y="143"/>
                  <a:pt x="93" y="143"/>
                </a:cubicBezTo>
                <a:cubicBezTo>
                  <a:pt x="6" y="169"/>
                  <a:pt x="6" y="169"/>
                  <a:pt x="6" y="169"/>
                </a:cubicBezTo>
                <a:cubicBezTo>
                  <a:pt x="2" y="170"/>
                  <a:pt x="0" y="173"/>
                  <a:pt x="1" y="177"/>
                </a:cubicBezTo>
                <a:cubicBezTo>
                  <a:pt x="64" y="394"/>
                  <a:pt x="64" y="394"/>
                  <a:pt x="64" y="394"/>
                </a:cubicBezTo>
                <a:cubicBezTo>
                  <a:pt x="64" y="550"/>
                  <a:pt x="64" y="550"/>
                  <a:pt x="64" y="550"/>
                </a:cubicBezTo>
                <a:cubicBezTo>
                  <a:pt x="64" y="554"/>
                  <a:pt x="67" y="557"/>
                  <a:pt x="71" y="557"/>
                </a:cubicBezTo>
                <a:cubicBezTo>
                  <a:pt x="668" y="557"/>
                  <a:pt x="668" y="557"/>
                  <a:pt x="668" y="557"/>
                </a:cubicBezTo>
                <a:cubicBezTo>
                  <a:pt x="672" y="557"/>
                  <a:pt x="675" y="554"/>
                  <a:pt x="675" y="550"/>
                </a:cubicBezTo>
                <a:cubicBezTo>
                  <a:pt x="675" y="256"/>
                  <a:pt x="675" y="256"/>
                  <a:pt x="675" y="256"/>
                </a:cubicBezTo>
                <a:cubicBezTo>
                  <a:pt x="675" y="252"/>
                  <a:pt x="672" y="249"/>
                  <a:pt x="668" y="249"/>
                </a:cubicBezTo>
                <a:close/>
                <a:moveTo>
                  <a:pt x="64" y="344"/>
                </a:moveTo>
                <a:cubicBezTo>
                  <a:pt x="42" y="267"/>
                  <a:pt x="42" y="267"/>
                  <a:pt x="42" y="267"/>
                </a:cubicBezTo>
                <a:cubicBezTo>
                  <a:pt x="50" y="264"/>
                  <a:pt x="58" y="260"/>
                  <a:pt x="64" y="255"/>
                </a:cubicBezTo>
                <a:cubicBezTo>
                  <a:pt x="64" y="255"/>
                  <a:pt x="64" y="256"/>
                  <a:pt x="64" y="256"/>
                </a:cubicBezTo>
                <a:lnTo>
                  <a:pt x="64" y="344"/>
                </a:lnTo>
                <a:close/>
                <a:moveTo>
                  <a:pt x="78" y="354"/>
                </a:moveTo>
                <a:cubicBezTo>
                  <a:pt x="127" y="350"/>
                  <a:pt x="165" y="311"/>
                  <a:pt x="169" y="263"/>
                </a:cubicBezTo>
                <a:cubicBezTo>
                  <a:pt x="571" y="263"/>
                  <a:pt x="571" y="263"/>
                  <a:pt x="571" y="263"/>
                </a:cubicBezTo>
                <a:cubicBezTo>
                  <a:pt x="574" y="311"/>
                  <a:pt x="613" y="350"/>
                  <a:pt x="661" y="354"/>
                </a:cubicBezTo>
                <a:cubicBezTo>
                  <a:pt x="661" y="475"/>
                  <a:pt x="661" y="475"/>
                  <a:pt x="661" y="475"/>
                </a:cubicBezTo>
                <a:cubicBezTo>
                  <a:pt x="625" y="478"/>
                  <a:pt x="596" y="507"/>
                  <a:pt x="593" y="543"/>
                </a:cubicBezTo>
                <a:cubicBezTo>
                  <a:pt x="147" y="543"/>
                  <a:pt x="147" y="543"/>
                  <a:pt x="147" y="543"/>
                </a:cubicBezTo>
                <a:cubicBezTo>
                  <a:pt x="143" y="507"/>
                  <a:pt x="114" y="478"/>
                  <a:pt x="78" y="475"/>
                </a:cubicBezTo>
                <a:lnTo>
                  <a:pt x="78" y="354"/>
                </a:lnTo>
                <a:close/>
                <a:moveTo>
                  <a:pt x="78" y="340"/>
                </a:moveTo>
                <a:cubicBezTo>
                  <a:pt x="78" y="263"/>
                  <a:pt x="78" y="263"/>
                  <a:pt x="78" y="263"/>
                </a:cubicBezTo>
                <a:cubicBezTo>
                  <a:pt x="155" y="263"/>
                  <a:pt x="155" y="263"/>
                  <a:pt x="155" y="263"/>
                </a:cubicBezTo>
                <a:cubicBezTo>
                  <a:pt x="151" y="304"/>
                  <a:pt x="119" y="336"/>
                  <a:pt x="78" y="340"/>
                </a:cubicBezTo>
                <a:close/>
                <a:moveTo>
                  <a:pt x="306" y="138"/>
                </a:moveTo>
                <a:cubicBezTo>
                  <a:pt x="351" y="125"/>
                  <a:pt x="399" y="157"/>
                  <a:pt x="414" y="210"/>
                </a:cubicBezTo>
                <a:cubicBezTo>
                  <a:pt x="418" y="223"/>
                  <a:pt x="420" y="236"/>
                  <a:pt x="419" y="249"/>
                </a:cubicBezTo>
                <a:cubicBezTo>
                  <a:pt x="252" y="249"/>
                  <a:pt x="252" y="249"/>
                  <a:pt x="252" y="249"/>
                </a:cubicBezTo>
                <a:cubicBezTo>
                  <a:pt x="241" y="200"/>
                  <a:pt x="264" y="150"/>
                  <a:pt x="306" y="138"/>
                </a:cubicBezTo>
                <a:close/>
                <a:moveTo>
                  <a:pt x="661" y="340"/>
                </a:moveTo>
                <a:cubicBezTo>
                  <a:pt x="621" y="336"/>
                  <a:pt x="588" y="304"/>
                  <a:pt x="585" y="263"/>
                </a:cubicBezTo>
                <a:cubicBezTo>
                  <a:pt x="654" y="263"/>
                  <a:pt x="654" y="263"/>
                  <a:pt x="654" y="263"/>
                </a:cubicBezTo>
                <a:cubicBezTo>
                  <a:pt x="654" y="263"/>
                  <a:pt x="654" y="263"/>
                  <a:pt x="654" y="263"/>
                </a:cubicBezTo>
                <a:cubicBezTo>
                  <a:pt x="661" y="263"/>
                  <a:pt x="661" y="263"/>
                  <a:pt x="661" y="263"/>
                </a:cubicBezTo>
                <a:lnTo>
                  <a:pt x="661" y="340"/>
                </a:lnTo>
                <a:close/>
                <a:moveTo>
                  <a:pt x="433" y="249"/>
                </a:moveTo>
                <a:cubicBezTo>
                  <a:pt x="434" y="235"/>
                  <a:pt x="432" y="220"/>
                  <a:pt x="428" y="206"/>
                </a:cubicBezTo>
                <a:cubicBezTo>
                  <a:pt x="410" y="146"/>
                  <a:pt x="354" y="110"/>
                  <a:pt x="302" y="125"/>
                </a:cubicBezTo>
                <a:cubicBezTo>
                  <a:pt x="253" y="139"/>
                  <a:pt x="226" y="193"/>
                  <a:pt x="237" y="249"/>
                </a:cubicBezTo>
                <a:cubicBezTo>
                  <a:pt x="72" y="249"/>
                  <a:pt x="72" y="249"/>
                  <a:pt x="72" y="249"/>
                </a:cubicBezTo>
                <a:cubicBezTo>
                  <a:pt x="98" y="226"/>
                  <a:pt x="111" y="190"/>
                  <a:pt x="103" y="155"/>
                </a:cubicBezTo>
                <a:cubicBezTo>
                  <a:pt x="489" y="42"/>
                  <a:pt x="489" y="42"/>
                  <a:pt x="489" y="42"/>
                </a:cubicBezTo>
                <a:cubicBezTo>
                  <a:pt x="497" y="64"/>
                  <a:pt x="513" y="82"/>
                  <a:pt x="534" y="93"/>
                </a:cubicBezTo>
                <a:cubicBezTo>
                  <a:pt x="548" y="101"/>
                  <a:pt x="564" y="105"/>
                  <a:pt x="581" y="105"/>
                </a:cubicBezTo>
                <a:cubicBezTo>
                  <a:pt x="588" y="105"/>
                  <a:pt x="595" y="105"/>
                  <a:pt x="601" y="103"/>
                </a:cubicBezTo>
                <a:cubicBezTo>
                  <a:pt x="644" y="249"/>
                  <a:pt x="644" y="249"/>
                  <a:pt x="644" y="249"/>
                </a:cubicBezTo>
                <a:lnTo>
                  <a:pt x="433" y="249"/>
                </a:lnTo>
                <a:close/>
                <a:moveTo>
                  <a:pt x="597" y="90"/>
                </a:moveTo>
                <a:cubicBezTo>
                  <a:pt x="578" y="94"/>
                  <a:pt x="558" y="91"/>
                  <a:pt x="541" y="81"/>
                </a:cubicBezTo>
                <a:cubicBezTo>
                  <a:pt x="523" y="71"/>
                  <a:pt x="510" y="56"/>
                  <a:pt x="503" y="38"/>
                </a:cubicBezTo>
                <a:cubicBezTo>
                  <a:pt x="576" y="16"/>
                  <a:pt x="576" y="16"/>
                  <a:pt x="576" y="16"/>
                </a:cubicBezTo>
                <a:lnTo>
                  <a:pt x="597" y="90"/>
                </a:lnTo>
                <a:close/>
                <a:moveTo>
                  <a:pt x="90" y="159"/>
                </a:moveTo>
                <a:cubicBezTo>
                  <a:pt x="98" y="198"/>
                  <a:pt x="76" y="239"/>
                  <a:pt x="38" y="253"/>
                </a:cubicBezTo>
                <a:cubicBezTo>
                  <a:pt x="16" y="180"/>
                  <a:pt x="16" y="180"/>
                  <a:pt x="16" y="180"/>
                </a:cubicBezTo>
                <a:lnTo>
                  <a:pt x="90" y="159"/>
                </a:lnTo>
                <a:close/>
                <a:moveTo>
                  <a:pt x="78" y="489"/>
                </a:moveTo>
                <a:cubicBezTo>
                  <a:pt x="107" y="492"/>
                  <a:pt x="129" y="515"/>
                  <a:pt x="133" y="543"/>
                </a:cubicBezTo>
                <a:cubicBezTo>
                  <a:pt x="78" y="543"/>
                  <a:pt x="78" y="543"/>
                  <a:pt x="78" y="543"/>
                </a:cubicBezTo>
                <a:lnTo>
                  <a:pt x="78" y="489"/>
                </a:lnTo>
                <a:close/>
                <a:moveTo>
                  <a:pt x="607" y="543"/>
                </a:moveTo>
                <a:cubicBezTo>
                  <a:pt x="610" y="515"/>
                  <a:pt x="633" y="492"/>
                  <a:pt x="661" y="489"/>
                </a:cubicBezTo>
                <a:cubicBezTo>
                  <a:pt x="661" y="543"/>
                  <a:pt x="661" y="543"/>
                  <a:pt x="661" y="543"/>
                </a:cubicBezTo>
                <a:lnTo>
                  <a:pt x="607" y="543"/>
                </a:lnTo>
                <a:close/>
                <a:moveTo>
                  <a:pt x="515" y="141"/>
                </a:moveTo>
                <a:cubicBezTo>
                  <a:pt x="511" y="141"/>
                  <a:pt x="507" y="142"/>
                  <a:pt x="503" y="143"/>
                </a:cubicBezTo>
                <a:cubicBezTo>
                  <a:pt x="492" y="146"/>
                  <a:pt x="484" y="153"/>
                  <a:pt x="478" y="163"/>
                </a:cubicBezTo>
                <a:cubicBezTo>
                  <a:pt x="473" y="173"/>
                  <a:pt x="471" y="185"/>
                  <a:pt x="475" y="195"/>
                </a:cubicBezTo>
                <a:cubicBezTo>
                  <a:pt x="480" y="213"/>
                  <a:pt x="496" y="226"/>
                  <a:pt x="515" y="226"/>
                </a:cubicBezTo>
                <a:cubicBezTo>
                  <a:pt x="519" y="226"/>
                  <a:pt x="523" y="225"/>
                  <a:pt x="527" y="224"/>
                </a:cubicBezTo>
                <a:cubicBezTo>
                  <a:pt x="549" y="217"/>
                  <a:pt x="562" y="194"/>
                  <a:pt x="555" y="172"/>
                </a:cubicBezTo>
                <a:cubicBezTo>
                  <a:pt x="550" y="154"/>
                  <a:pt x="534" y="141"/>
                  <a:pt x="515" y="141"/>
                </a:cubicBezTo>
                <a:close/>
                <a:moveTo>
                  <a:pt x="523" y="210"/>
                </a:moveTo>
                <a:cubicBezTo>
                  <a:pt x="520" y="211"/>
                  <a:pt x="518" y="212"/>
                  <a:pt x="515" y="212"/>
                </a:cubicBezTo>
                <a:cubicBezTo>
                  <a:pt x="503" y="212"/>
                  <a:pt x="492" y="203"/>
                  <a:pt x="488" y="191"/>
                </a:cubicBezTo>
                <a:cubicBezTo>
                  <a:pt x="486" y="184"/>
                  <a:pt x="487" y="177"/>
                  <a:pt x="490" y="170"/>
                </a:cubicBezTo>
                <a:cubicBezTo>
                  <a:pt x="494" y="163"/>
                  <a:pt x="500" y="159"/>
                  <a:pt x="507" y="157"/>
                </a:cubicBezTo>
                <a:cubicBezTo>
                  <a:pt x="510" y="156"/>
                  <a:pt x="512" y="155"/>
                  <a:pt x="515" y="155"/>
                </a:cubicBezTo>
                <a:cubicBezTo>
                  <a:pt x="527" y="155"/>
                  <a:pt x="538" y="164"/>
                  <a:pt x="542" y="176"/>
                </a:cubicBezTo>
                <a:cubicBezTo>
                  <a:pt x="546" y="190"/>
                  <a:pt x="538" y="206"/>
                  <a:pt x="523" y="210"/>
                </a:cubicBez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9222" name="Oval 44"/>
          <p:cNvSpPr>
            <a:spLocks noChangeArrowheads="1"/>
          </p:cNvSpPr>
          <p:nvPr/>
        </p:nvSpPr>
        <p:spPr bwMode="auto">
          <a:xfrm>
            <a:off x="3073678" y="4711628"/>
            <a:ext cx="1119124" cy="1119124"/>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8213" name="Freeform 104"/>
          <p:cNvSpPr>
            <a:spLocks noEditPoints="1"/>
          </p:cNvSpPr>
          <p:nvPr/>
        </p:nvSpPr>
        <p:spPr bwMode="auto">
          <a:xfrm>
            <a:off x="3330626" y="4964924"/>
            <a:ext cx="604011" cy="612535"/>
          </a:xfrm>
          <a:custGeom>
            <a:avLst/>
            <a:gdLst>
              <a:gd name="T0" fmla="*/ 404 w 574"/>
              <a:gd name="T1" fmla="*/ 0 h 581"/>
              <a:gd name="T2" fmla="*/ 234 w 574"/>
              <a:gd name="T3" fmla="*/ 63 h 581"/>
              <a:gd name="T4" fmla="*/ 170 w 574"/>
              <a:gd name="T5" fmla="*/ 206 h 581"/>
              <a:gd name="T6" fmla="*/ 0 w 574"/>
              <a:gd name="T7" fmla="*/ 268 h 581"/>
              <a:gd name="T8" fmla="*/ 52 w 574"/>
              <a:gd name="T9" fmla="*/ 565 h 581"/>
              <a:gd name="T10" fmla="*/ 288 w 574"/>
              <a:gd name="T11" fmla="*/ 565 h 581"/>
              <a:gd name="T12" fmla="*/ 340 w 574"/>
              <a:gd name="T13" fmla="*/ 467 h 581"/>
              <a:gd name="T14" fmla="*/ 522 w 574"/>
              <a:gd name="T15" fmla="*/ 455 h 581"/>
              <a:gd name="T16" fmla="*/ 574 w 574"/>
              <a:gd name="T17" fmla="*/ 63 h 581"/>
              <a:gd name="T18" fmla="*/ 560 w 574"/>
              <a:gd name="T19" fmla="*/ 329 h 581"/>
              <a:gd name="T20" fmla="*/ 340 w 574"/>
              <a:gd name="T21" fmla="*/ 372 h 581"/>
              <a:gd name="T22" fmla="*/ 404 w 574"/>
              <a:gd name="T23" fmla="*/ 305 h 581"/>
              <a:gd name="T24" fmla="*/ 560 w 574"/>
              <a:gd name="T25" fmla="*/ 269 h 581"/>
              <a:gd name="T26" fmla="*/ 326 w 574"/>
              <a:gd name="T27" fmla="*/ 294 h 581"/>
              <a:gd name="T28" fmla="*/ 170 w 574"/>
              <a:gd name="T29" fmla="*/ 406 h 581"/>
              <a:gd name="T30" fmla="*/ 14 w 574"/>
              <a:gd name="T31" fmla="*/ 294 h 581"/>
              <a:gd name="T32" fmla="*/ 170 w 574"/>
              <a:gd name="T33" fmla="*/ 331 h 581"/>
              <a:gd name="T34" fmla="*/ 326 w 574"/>
              <a:gd name="T35" fmla="*/ 294 h 581"/>
              <a:gd name="T36" fmla="*/ 52 w 574"/>
              <a:gd name="T37" fmla="*/ 403 h 581"/>
              <a:gd name="T38" fmla="*/ 288 w 574"/>
              <a:gd name="T39" fmla="*/ 403 h 581"/>
              <a:gd name="T40" fmla="*/ 326 w 574"/>
              <a:gd name="T41" fmla="*/ 438 h 581"/>
              <a:gd name="T42" fmla="*/ 14 w 574"/>
              <a:gd name="T43" fmla="*/ 438 h 581"/>
              <a:gd name="T44" fmla="*/ 560 w 574"/>
              <a:gd name="T45" fmla="*/ 158 h 581"/>
              <a:gd name="T46" fmla="*/ 248 w 574"/>
              <a:gd name="T47" fmla="*/ 158 h 581"/>
              <a:gd name="T48" fmla="*/ 287 w 574"/>
              <a:gd name="T49" fmla="*/ 108 h 581"/>
              <a:gd name="T50" fmla="*/ 522 w 574"/>
              <a:gd name="T51" fmla="*/ 108 h 581"/>
              <a:gd name="T52" fmla="*/ 560 w 574"/>
              <a:gd name="T53" fmla="*/ 158 h 581"/>
              <a:gd name="T54" fmla="*/ 560 w 574"/>
              <a:gd name="T55" fmla="*/ 63 h 581"/>
              <a:gd name="T56" fmla="*/ 248 w 574"/>
              <a:gd name="T57" fmla="*/ 63 h 581"/>
              <a:gd name="T58" fmla="*/ 248 w 574"/>
              <a:gd name="T59" fmla="*/ 183 h 581"/>
              <a:gd name="T60" fmla="*/ 404 w 574"/>
              <a:gd name="T61" fmla="*/ 220 h 581"/>
              <a:gd name="T62" fmla="*/ 560 w 574"/>
              <a:gd name="T63" fmla="*/ 183 h 581"/>
              <a:gd name="T64" fmla="*/ 404 w 574"/>
              <a:gd name="T65" fmla="*/ 291 h 581"/>
              <a:gd name="T66" fmla="*/ 340 w 574"/>
              <a:gd name="T67" fmla="*/ 268 h 581"/>
              <a:gd name="T68" fmla="*/ 248 w 574"/>
              <a:gd name="T69" fmla="*/ 213 h 581"/>
              <a:gd name="T70" fmla="*/ 170 w 574"/>
              <a:gd name="T71" fmla="*/ 220 h 581"/>
              <a:gd name="T72" fmla="*/ 240 w 574"/>
              <a:gd name="T73" fmla="*/ 226 h 581"/>
              <a:gd name="T74" fmla="*/ 170 w 574"/>
              <a:gd name="T75" fmla="*/ 317 h 581"/>
              <a:gd name="T76" fmla="*/ 170 w 574"/>
              <a:gd name="T77" fmla="*/ 220 h 581"/>
              <a:gd name="T78" fmla="*/ 14 w 574"/>
              <a:gd name="T79" fmla="*/ 519 h 581"/>
              <a:gd name="T80" fmla="*/ 52 w 574"/>
              <a:gd name="T81" fmla="*/ 484 h 581"/>
              <a:gd name="T82" fmla="*/ 288 w 574"/>
              <a:gd name="T83" fmla="*/ 484 h 581"/>
              <a:gd name="T84" fmla="*/ 326 w 574"/>
              <a:gd name="T85" fmla="*/ 519 h 581"/>
              <a:gd name="T86" fmla="*/ 404 w 574"/>
              <a:gd name="T87" fmla="*/ 458 h 581"/>
              <a:gd name="T88" fmla="*/ 340 w 574"/>
              <a:gd name="T89" fmla="*/ 387 h 581"/>
              <a:gd name="T90" fmla="*/ 522 w 574"/>
              <a:gd name="T91" fmla="*/ 374 h 581"/>
              <a:gd name="T92" fmla="*/ 560 w 574"/>
              <a:gd name="T93" fmla="*/ 410 h 5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74" h="581">
                <a:moveTo>
                  <a:pt x="522" y="17"/>
                </a:moveTo>
                <a:cubicBezTo>
                  <a:pt x="490" y="6"/>
                  <a:pt x="449" y="0"/>
                  <a:pt x="404" y="0"/>
                </a:cubicBezTo>
                <a:cubicBezTo>
                  <a:pt x="360" y="0"/>
                  <a:pt x="318" y="6"/>
                  <a:pt x="287" y="17"/>
                </a:cubicBezTo>
                <a:cubicBezTo>
                  <a:pt x="252" y="29"/>
                  <a:pt x="234" y="44"/>
                  <a:pt x="234" y="63"/>
                </a:cubicBezTo>
                <a:cubicBezTo>
                  <a:pt x="234" y="210"/>
                  <a:pt x="234" y="210"/>
                  <a:pt x="234" y="210"/>
                </a:cubicBezTo>
                <a:cubicBezTo>
                  <a:pt x="214" y="208"/>
                  <a:pt x="192" y="206"/>
                  <a:pt x="170" y="206"/>
                </a:cubicBezTo>
                <a:cubicBezTo>
                  <a:pt x="126" y="206"/>
                  <a:pt x="84" y="212"/>
                  <a:pt x="52" y="223"/>
                </a:cubicBezTo>
                <a:cubicBezTo>
                  <a:pt x="18" y="234"/>
                  <a:pt x="0" y="250"/>
                  <a:pt x="0" y="268"/>
                </a:cubicBezTo>
                <a:cubicBezTo>
                  <a:pt x="0" y="519"/>
                  <a:pt x="0" y="519"/>
                  <a:pt x="0" y="519"/>
                </a:cubicBezTo>
                <a:cubicBezTo>
                  <a:pt x="0" y="537"/>
                  <a:pt x="18" y="553"/>
                  <a:pt x="52" y="565"/>
                </a:cubicBezTo>
                <a:cubicBezTo>
                  <a:pt x="84" y="575"/>
                  <a:pt x="126" y="581"/>
                  <a:pt x="170" y="581"/>
                </a:cubicBezTo>
                <a:cubicBezTo>
                  <a:pt x="214" y="581"/>
                  <a:pt x="256" y="575"/>
                  <a:pt x="288" y="565"/>
                </a:cubicBezTo>
                <a:cubicBezTo>
                  <a:pt x="322" y="553"/>
                  <a:pt x="340" y="537"/>
                  <a:pt x="340" y="519"/>
                </a:cubicBezTo>
                <a:cubicBezTo>
                  <a:pt x="340" y="467"/>
                  <a:pt x="340" y="467"/>
                  <a:pt x="340" y="467"/>
                </a:cubicBezTo>
                <a:cubicBezTo>
                  <a:pt x="360" y="470"/>
                  <a:pt x="382" y="472"/>
                  <a:pt x="404" y="472"/>
                </a:cubicBezTo>
                <a:cubicBezTo>
                  <a:pt x="449" y="472"/>
                  <a:pt x="490" y="466"/>
                  <a:pt x="522" y="455"/>
                </a:cubicBezTo>
                <a:cubicBezTo>
                  <a:pt x="556" y="444"/>
                  <a:pt x="574" y="428"/>
                  <a:pt x="574" y="410"/>
                </a:cubicBezTo>
                <a:cubicBezTo>
                  <a:pt x="574" y="63"/>
                  <a:pt x="574" y="63"/>
                  <a:pt x="574" y="63"/>
                </a:cubicBezTo>
                <a:cubicBezTo>
                  <a:pt x="574" y="44"/>
                  <a:pt x="556" y="29"/>
                  <a:pt x="522" y="17"/>
                </a:cubicBezTo>
                <a:close/>
                <a:moveTo>
                  <a:pt x="560" y="329"/>
                </a:moveTo>
                <a:cubicBezTo>
                  <a:pt x="560" y="352"/>
                  <a:pt x="496" y="377"/>
                  <a:pt x="404" y="377"/>
                </a:cubicBezTo>
                <a:cubicBezTo>
                  <a:pt x="382" y="377"/>
                  <a:pt x="360" y="375"/>
                  <a:pt x="340" y="372"/>
                </a:cubicBezTo>
                <a:cubicBezTo>
                  <a:pt x="340" y="301"/>
                  <a:pt x="340" y="301"/>
                  <a:pt x="340" y="301"/>
                </a:cubicBezTo>
                <a:cubicBezTo>
                  <a:pt x="360" y="304"/>
                  <a:pt x="382" y="305"/>
                  <a:pt x="404" y="305"/>
                </a:cubicBezTo>
                <a:cubicBezTo>
                  <a:pt x="449" y="305"/>
                  <a:pt x="490" y="300"/>
                  <a:pt x="522" y="289"/>
                </a:cubicBezTo>
                <a:cubicBezTo>
                  <a:pt x="539" y="283"/>
                  <a:pt x="552" y="276"/>
                  <a:pt x="560" y="269"/>
                </a:cubicBezTo>
                <a:lnTo>
                  <a:pt x="560" y="329"/>
                </a:lnTo>
                <a:close/>
                <a:moveTo>
                  <a:pt x="326" y="294"/>
                </a:moveTo>
                <a:cubicBezTo>
                  <a:pt x="326" y="358"/>
                  <a:pt x="326" y="358"/>
                  <a:pt x="326" y="358"/>
                </a:cubicBezTo>
                <a:cubicBezTo>
                  <a:pt x="326" y="380"/>
                  <a:pt x="262" y="406"/>
                  <a:pt x="170" y="406"/>
                </a:cubicBezTo>
                <a:cubicBezTo>
                  <a:pt x="78" y="406"/>
                  <a:pt x="14" y="380"/>
                  <a:pt x="14" y="358"/>
                </a:cubicBezTo>
                <a:cubicBezTo>
                  <a:pt x="14" y="294"/>
                  <a:pt x="14" y="294"/>
                  <a:pt x="14" y="294"/>
                </a:cubicBezTo>
                <a:cubicBezTo>
                  <a:pt x="23" y="302"/>
                  <a:pt x="36" y="308"/>
                  <a:pt x="52" y="314"/>
                </a:cubicBezTo>
                <a:cubicBezTo>
                  <a:pt x="84" y="325"/>
                  <a:pt x="126" y="331"/>
                  <a:pt x="170" y="331"/>
                </a:cubicBezTo>
                <a:cubicBezTo>
                  <a:pt x="214" y="331"/>
                  <a:pt x="256" y="325"/>
                  <a:pt x="288" y="314"/>
                </a:cubicBezTo>
                <a:cubicBezTo>
                  <a:pt x="304" y="308"/>
                  <a:pt x="317" y="302"/>
                  <a:pt x="326" y="294"/>
                </a:cubicBezTo>
                <a:close/>
                <a:moveTo>
                  <a:pt x="14" y="383"/>
                </a:moveTo>
                <a:cubicBezTo>
                  <a:pt x="23" y="391"/>
                  <a:pt x="36" y="398"/>
                  <a:pt x="52" y="403"/>
                </a:cubicBezTo>
                <a:cubicBezTo>
                  <a:pt x="84" y="414"/>
                  <a:pt x="126" y="420"/>
                  <a:pt x="170" y="420"/>
                </a:cubicBezTo>
                <a:cubicBezTo>
                  <a:pt x="214" y="420"/>
                  <a:pt x="256" y="414"/>
                  <a:pt x="288" y="403"/>
                </a:cubicBezTo>
                <a:cubicBezTo>
                  <a:pt x="304" y="398"/>
                  <a:pt x="317" y="391"/>
                  <a:pt x="326" y="383"/>
                </a:cubicBezTo>
                <a:cubicBezTo>
                  <a:pt x="326" y="438"/>
                  <a:pt x="326" y="438"/>
                  <a:pt x="326" y="438"/>
                </a:cubicBezTo>
                <a:cubicBezTo>
                  <a:pt x="326" y="461"/>
                  <a:pt x="262" y="486"/>
                  <a:pt x="170" y="486"/>
                </a:cubicBezTo>
                <a:cubicBezTo>
                  <a:pt x="78" y="486"/>
                  <a:pt x="14" y="461"/>
                  <a:pt x="14" y="438"/>
                </a:cubicBezTo>
                <a:lnTo>
                  <a:pt x="14" y="383"/>
                </a:lnTo>
                <a:close/>
                <a:moveTo>
                  <a:pt x="560" y="158"/>
                </a:moveTo>
                <a:cubicBezTo>
                  <a:pt x="560" y="180"/>
                  <a:pt x="496" y="206"/>
                  <a:pt x="404" y="206"/>
                </a:cubicBezTo>
                <a:cubicBezTo>
                  <a:pt x="312" y="206"/>
                  <a:pt x="248" y="180"/>
                  <a:pt x="248" y="158"/>
                </a:cubicBezTo>
                <a:cubicBezTo>
                  <a:pt x="248" y="89"/>
                  <a:pt x="248" y="89"/>
                  <a:pt x="248" y="89"/>
                </a:cubicBezTo>
                <a:cubicBezTo>
                  <a:pt x="257" y="96"/>
                  <a:pt x="270" y="103"/>
                  <a:pt x="287" y="108"/>
                </a:cubicBezTo>
                <a:cubicBezTo>
                  <a:pt x="318" y="119"/>
                  <a:pt x="360" y="125"/>
                  <a:pt x="404" y="125"/>
                </a:cubicBezTo>
                <a:cubicBezTo>
                  <a:pt x="449" y="125"/>
                  <a:pt x="490" y="119"/>
                  <a:pt x="522" y="108"/>
                </a:cubicBezTo>
                <a:cubicBezTo>
                  <a:pt x="539" y="103"/>
                  <a:pt x="552" y="96"/>
                  <a:pt x="560" y="89"/>
                </a:cubicBezTo>
                <a:lnTo>
                  <a:pt x="560" y="158"/>
                </a:lnTo>
                <a:close/>
                <a:moveTo>
                  <a:pt x="404" y="14"/>
                </a:moveTo>
                <a:cubicBezTo>
                  <a:pt x="496" y="14"/>
                  <a:pt x="560" y="40"/>
                  <a:pt x="560" y="63"/>
                </a:cubicBezTo>
                <a:cubicBezTo>
                  <a:pt x="560" y="85"/>
                  <a:pt x="496" y="111"/>
                  <a:pt x="404" y="111"/>
                </a:cubicBezTo>
                <a:cubicBezTo>
                  <a:pt x="312" y="111"/>
                  <a:pt x="248" y="85"/>
                  <a:pt x="248" y="63"/>
                </a:cubicBezTo>
                <a:cubicBezTo>
                  <a:pt x="248" y="40"/>
                  <a:pt x="312" y="14"/>
                  <a:pt x="404" y="14"/>
                </a:cubicBezTo>
                <a:close/>
                <a:moveTo>
                  <a:pt x="248" y="183"/>
                </a:moveTo>
                <a:cubicBezTo>
                  <a:pt x="257" y="191"/>
                  <a:pt x="270" y="198"/>
                  <a:pt x="287" y="203"/>
                </a:cubicBezTo>
                <a:cubicBezTo>
                  <a:pt x="318" y="214"/>
                  <a:pt x="360" y="220"/>
                  <a:pt x="404" y="220"/>
                </a:cubicBezTo>
                <a:cubicBezTo>
                  <a:pt x="449" y="220"/>
                  <a:pt x="490" y="214"/>
                  <a:pt x="522" y="203"/>
                </a:cubicBezTo>
                <a:cubicBezTo>
                  <a:pt x="539" y="198"/>
                  <a:pt x="552" y="191"/>
                  <a:pt x="560" y="183"/>
                </a:cubicBezTo>
                <a:cubicBezTo>
                  <a:pt x="560" y="243"/>
                  <a:pt x="560" y="243"/>
                  <a:pt x="560" y="243"/>
                </a:cubicBezTo>
                <a:cubicBezTo>
                  <a:pt x="560" y="266"/>
                  <a:pt x="496" y="291"/>
                  <a:pt x="404" y="291"/>
                </a:cubicBezTo>
                <a:cubicBezTo>
                  <a:pt x="382" y="291"/>
                  <a:pt x="360" y="290"/>
                  <a:pt x="340" y="287"/>
                </a:cubicBezTo>
                <a:cubicBezTo>
                  <a:pt x="340" y="268"/>
                  <a:pt x="340" y="268"/>
                  <a:pt x="340" y="268"/>
                </a:cubicBezTo>
                <a:cubicBezTo>
                  <a:pt x="340" y="250"/>
                  <a:pt x="322" y="234"/>
                  <a:pt x="288" y="223"/>
                </a:cubicBezTo>
                <a:cubicBezTo>
                  <a:pt x="276" y="219"/>
                  <a:pt x="262" y="215"/>
                  <a:pt x="248" y="213"/>
                </a:cubicBezTo>
                <a:lnTo>
                  <a:pt x="248" y="183"/>
                </a:lnTo>
                <a:close/>
                <a:moveTo>
                  <a:pt x="170" y="220"/>
                </a:moveTo>
                <a:cubicBezTo>
                  <a:pt x="196" y="220"/>
                  <a:pt x="219" y="222"/>
                  <a:pt x="239" y="225"/>
                </a:cubicBezTo>
                <a:cubicBezTo>
                  <a:pt x="240" y="225"/>
                  <a:pt x="240" y="226"/>
                  <a:pt x="240" y="226"/>
                </a:cubicBezTo>
                <a:cubicBezTo>
                  <a:pt x="293" y="234"/>
                  <a:pt x="326" y="252"/>
                  <a:pt x="326" y="268"/>
                </a:cubicBezTo>
                <a:cubicBezTo>
                  <a:pt x="326" y="291"/>
                  <a:pt x="262" y="317"/>
                  <a:pt x="170" y="317"/>
                </a:cubicBezTo>
                <a:cubicBezTo>
                  <a:pt x="78" y="317"/>
                  <a:pt x="14" y="291"/>
                  <a:pt x="14" y="268"/>
                </a:cubicBezTo>
                <a:cubicBezTo>
                  <a:pt x="14" y="246"/>
                  <a:pt x="78" y="220"/>
                  <a:pt x="170" y="220"/>
                </a:cubicBezTo>
                <a:close/>
                <a:moveTo>
                  <a:pt x="170" y="567"/>
                </a:moveTo>
                <a:cubicBezTo>
                  <a:pt x="78" y="567"/>
                  <a:pt x="14" y="542"/>
                  <a:pt x="14" y="519"/>
                </a:cubicBezTo>
                <a:cubicBezTo>
                  <a:pt x="14" y="464"/>
                  <a:pt x="14" y="464"/>
                  <a:pt x="14" y="464"/>
                </a:cubicBezTo>
                <a:cubicBezTo>
                  <a:pt x="23" y="472"/>
                  <a:pt x="36" y="478"/>
                  <a:pt x="52" y="484"/>
                </a:cubicBezTo>
                <a:cubicBezTo>
                  <a:pt x="84" y="495"/>
                  <a:pt x="126" y="500"/>
                  <a:pt x="170" y="500"/>
                </a:cubicBezTo>
                <a:cubicBezTo>
                  <a:pt x="214" y="500"/>
                  <a:pt x="256" y="495"/>
                  <a:pt x="288" y="484"/>
                </a:cubicBezTo>
                <a:cubicBezTo>
                  <a:pt x="304" y="478"/>
                  <a:pt x="317" y="472"/>
                  <a:pt x="326" y="464"/>
                </a:cubicBezTo>
                <a:cubicBezTo>
                  <a:pt x="326" y="519"/>
                  <a:pt x="326" y="519"/>
                  <a:pt x="326" y="519"/>
                </a:cubicBezTo>
                <a:cubicBezTo>
                  <a:pt x="326" y="542"/>
                  <a:pt x="262" y="567"/>
                  <a:pt x="170" y="567"/>
                </a:cubicBezTo>
                <a:close/>
                <a:moveTo>
                  <a:pt x="404" y="458"/>
                </a:moveTo>
                <a:cubicBezTo>
                  <a:pt x="382" y="458"/>
                  <a:pt x="360" y="456"/>
                  <a:pt x="340" y="453"/>
                </a:cubicBezTo>
                <a:cubicBezTo>
                  <a:pt x="340" y="387"/>
                  <a:pt x="340" y="387"/>
                  <a:pt x="340" y="387"/>
                </a:cubicBezTo>
                <a:cubicBezTo>
                  <a:pt x="361" y="389"/>
                  <a:pt x="382" y="391"/>
                  <a:pt x="404" y="391"/>
                </a:cubicBezTo>
                <a:cubicBezTo>
                  <a:pt x="449" y="391"/>
                  <a:pt x="490" y="385"/>
                  <a:pt x="522" y="374"/>
                </a:cubicBezTo>
                <a:cubicBezTo>
                  <a:pt x="539" y="369"/>
                  <a:pt x="552" y="362"/>
                  <a:pt x="560" y="355"/>
                </a:cubicBezTo>
                <a:cubicBezTo>
                  <a:pt x="560" y="410"/>
                  <a:pt x="560" y="410"/>
                  <a:pt x="560" y="410"/>
                </a:cubicBezTo>
                <a:cubicBezTo>
                  <a:pt x="560" y="432"/>
                  <a:pt x="496" y="458"/>
                  <a:pt x="404" y="458"/>
                </a:cubicBez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7181" name="Oval 20"/>
          <p:cNvSpPr>
            <a:spLocks noChangeArrowheads="1"/>
          </p:cNvSpPr>
          <p:nvPr/>
        </p:nvSpPr>
        <p:spPr bwMode="auto">
          <a:xfrm>
            <a:off x="3073678" y="1528549"/>
            <a:ext cx="1119124" cy="1119124"/>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8215" name="Freeform 106"/>
          <p:cNvSpPr>
            <a:spLocks noEditPoints="1"/>
          </p:cNvSpPr>
          <p:nvPr/>
        </p:nvSpPr>
        <p:spPr bwMode="auto">
          <a:xfrm>
            <a:off x="3254928" y="1701137"/>
            <a:ext cx="756625" cy="709184"/>
          </a:xfrm>
          <a:custGeom>
            <a:avLst/>
            <a:gdLst>
              <a:gd name="T0" fmla="*/ 439 w 719"/>
              <a:gd name="T1" fmla="*/ 63 h 674"/>
              <a:gd name="T2" fmla="*/ 312 w 719"/>
              <a:gd name="T3" fmla="*/ 63 h 674"/>
              <a:gd name="T4" fmla="*/ 375 w 719"/>
              <a:gd name="T5" fmla="*/ 14 h 674"/>
              <a:gd name="T6" fmla="*/ 375 w 719"/>
              <a:gd name="T7" fmla="*/ 113 h 674"/>
              <a:gd name="T8" fmla="*/ 375 w 719"/>
              <a:gd name="T9" fmla="*/ 14 h 674"/>
              <a:gd name="T10" fmla="*/ 614 w 719"/>
              <a:gd name="T11" fmla="*/ 293 h 674"/>
              <a:gd name="T12" fmla="*/ 519 w 719"/>
              <a:gd name="T13" fmla="*/ 143 h 674"/>
              <a:gd name="T14" fmla="*/ 375 w 719"/>
              <a:gd name="T15" fmla="*/ 166 h 674"/>
              <a:gd name="T16" fmla="*/ 111 w 719"/>
              <a:gd name="T17" fmla="*/ 385 h 674"/>
              <a:gd name="T18" fmla="*/ 14 w 719"/>
              <a:gd name="T19" fmla="*/ 303 h 674"/>
              <a:gd name="T20" fmla="*/ 103 w 719"/>
              <a:gd name="T21" fmla="*/ 214 h 674"/>
              <a:gd name="T22" fmla="*/ 0 w 719"/>
              <a:gd name="T23" fmla="*/ 303 h 674"/>
              <a:gd name="T24" fmla="*/ 110 w 719"/>
              <a:gd name="T25" fmla="*/ 399 h 674"/>
              <a:gd name="T26" fmla="*/ 176 w 719"/>
              <a:gd name="T27" fmla="*/ 549 h 674"/>
              <a:gd name="T28" fmla="*/ 225 w 719"/>
              <a:gd name="T29" fmla="*/ 669 h 674"/>
              <a:gd name="T30" fmla="*/ 330 w 719"/>
              <a:gd name="T31" fmla="*/ 623 h 674"/>
              <a:gd name="T32" fmla="*/ 499 w 719"/>
              <a:gd name="T33" fmla="*/ 674 h 674"/>
              <a:gd name="T34" fmla="*/ 527 w 719"/>
              <a:gd name="T35" fmla="*/ 669 h 674"/>
              <a:gd name="T36" fmla="*/ 575 w 719"/>
              <a:gd name="T37" fmla="*/ 548 h 674"/>
              <a:gd name="T38" fmla="*/ 648 w 719"/>
              <a:gd name="T39" fmla="*/ 499 h 674"/>
              <a:gd name="T40" fmla="*/ 648 w 719"/>
              <a:gd name="T41" fmla="*/ 293 h 674"/>
              <a:gd name="T42" fmla="*/ 610 w 719"/>
              <a:gd name="T43" fmla="*/ 485 h 674"/>
              <a:gd name="T44" fmla="*/ 562 w 719"/>
              <a:gd name="T45" fmla="*/ 541 h 674"/>
              <a:gd name="T46" fmla="*/ 566 w 719"/>
              <a:gd name="T47" fmla="*/ 566 h 674"/>
              <a:gd name="T48" fmla="*/ 499 w 719"/>
              <a:gd name="T49" fmla="*/ 660 h 674"/>
              <a:gd name="T50" fmla="*/ 499 w 719"/>
              <a:gd name="T51" fmla="*/ 660 h 674"/>
              <a:gd name="T52" fmla="*/ 426 w 719"/>
              <a:gd name="T53" fmla="*/ 608 h 674"/>
              <a:gd name="T54" fmla="*/ 327 w 719"/>
              <a:gd name="T55" fmla="*/ 608 h 674"/>
              <a:gd name="T56" fmla="*/ 252 w 719"/>
              <a:gd name="T57" fmla="*/ 660 h 674"/>
              <a:gd name="T58" fmla="*/ 185 w 719"/>
              <a:gd name="T59" fmla="*/ 566 h 674"/>
              <a:gd name="T60" fmla="*/ 189 w 719"/>
              <a:gd name="T61" fmla="*/ 542 h 674"/>
              <a:gd name="T62" fmla="*/ 177 w 719"/>
              <a:gd name="T63" fmla="*/ 256 h 674"/>
              <a:gd name="T64" fmla="*/ 459 w 719"/>
              <a:gd name="T65" fmla="*/ 192 h 674"/>
              <a:gd name="T66" fmla="*/ 514 w 719"/>
              <a:gd name="T67" fmla="*/ 157 h 674"/>
              <a:gd name="T68" fmla="*/ 547 w 719"/>
              <a:gd name="T69" fmla="*/ 233 h 674"/>
              <a:gd name="T70" fmla="*/ 604 w 719"/>
              <a:gd name="T71" fmla="*/ 304 h 674"/>
              <a:gd name="T72" fmla="*/ 648 w 719"/>
              <a:gd name="T73" fmla="*/ 307 h 674"/>
              <a:gd name="T74" fmla="*/ 648 w 719"/>
              <a:gd name="T75" fmla="*/ 485 h 674"/>
              <a:gd name="T76" fmla="*/ 477 w 719"/>
              <a:gd name="T77" fmla="*/ 269 h 674"/>
              <a:gd name="T78" fmla="*/ 375 w 719"/>
              <a:gd name="T79" fmla="*/ 240 h 674"/>
              <a:gd name="T80" fmla="*/ 267 w 719"/>
              <a:gd name="T81" fmla="*/ 265 h 674"/>
              <a:gd name="T82" fmla="*/ 375 w 719"/>
              <a:gd name="T83" fmla="*/ 226 h 674"/>
              <a:gd name="T84" fmla="*/ 483 w 719"/>
              <a:gd name="T85" fmla="*/ 265 h 6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719" h="674">
                <a:moveTo>
                  <a:pt x="375" y="127"/>
                </a:moveTo>
                <a:cubicBezTo>
                  <a:pt x="410" y="127"/>
                  <a:pt x="439" y="98"/>
                  <a:pt x="439" y="63"/>
                </a:cubicBezTo>
                <a:cubicBezTo>
                  <a:pt x="439" y="28"/>
                  <a:pt x="410" y="0"/>
                  <a:pt x="375" y="0"/>
                </a:cubicBezTo>
                <a:cubicBezTo>
                  <a:pt x="340" y="0"/>
                  <a:pt x="312" y="28"/>
                  <a:pt x="312" y="63"/>
                </a:cubicBezTo>
                <a:cubicBezTo>
                  <a:pt x="312" y="98"/>
                  <a:pt x="340" y="127"/>
                  <a:pt x="375" y="127"/>
                </a:cubicBezTo>
                <a:close/>
                <a:moveTo>
                  <a:pt x="375" y="14"/>
                </a:moveTo>
                <a:cubicBezTo>
                  <a:pt x="403" y="14"/>
                  <a:pt x="425" y="36"/>
                  <a:pt x="425" y="63"/>
                </a:cubicBezTo>
                <a:cubicBezTo>
                  <a:pt x="425" y="90"/>
                  <a:pt x="403" y="113"/>
                  <a:pt x="375" y="113"/>
                </a:cubicBezTo>
                <a:cubicBezTo>
                  <a:pt x="348" y="113"/>
                  <a:pt x="326" y="90"/>
                  <a:pt x="326" y="63"/>
                </a:cubicBezTo>
                <a:cubicBezTo>
                  <a:pt x="326" y="36"/>
                  <a:pt x="348" y="14"/>
                  <a:pt x="375" y="14"/>
                </a:cubicBezTo>
                <a:close/>
                <a:moveTo>
                  <a:pt x="648" y="293"/>
                </a:moveTo>
                <a:cubicBezTo>
                  <a:pt x="614" y="293"/>
                  <a:pt x="614" y="293"/>
                  <a:pt x="614" y="293"/>
                </a:cubicBezTo>
                <a:cubicBezTo>
                  <a:pt x="601" y="270"/>
                  <a:pt x="583" y="249"/>
                  <a:pt x="561" y="230"/>
                </a:cubicBezTo>
                <a:cubicBezTo>
                  <a:pt x="562" y="194"/>
                  <a:pt x="558" y="148"/>
                  <a:pt x="519" y="143"/>
                </a:cubicBezTo>
                <a:cubicBezTo>
                  <a:pt x="499" y="141"/>
                  <a:pt x="478" y="152"/>
                  <a:pt x="458" y="177"/>
                </a:cubicBezTo>
                <a:cubicBezTo>
                  <a:pt x="431" y="169"/>
                  <a:pt x="404" y="166"/>
                  <a:pt x="375" y="166"/>
                </a:cubicBezTo>
                <a:cubicBezTo>
                  <a:pt x="290" y="166"/>
                  <a:pt x="214" y="195"/>
                  <a:pt x="167" y="246"/>
                </a:cubicBezTo>
                <a:cubicBezTo>
                  <a:pt x="133" y="283"/>
                  <a:pt x="114" y="330"/>
                  <a:pt x="111" y="385"/>
                </a:cubicBezTo>
                <a:cubicBezTo>
                  <a:pt x="96" y="385"/>
                  <a:pt x="96" y="385"/>
                  <a:pt x="96" y="385"/>
                </a:cubicBezTo>
                <a:cubicBezTo>
                  <a:pt x="51" y="385"/>
                  <a:pt x="14" y="348"/>
                  <a:pt x="14" y="303"/>
                </a:cubicBezTo>
                <a:cubicBezTo>
                  <a:pt x="14" y="258"/>
                  <a:pt x="51" y="221"/>
                  <a:pt x="96" y="221"/>
                </a:cubicBezTo>
                <a:cubicBezTo>
                  <a:pt x="100" y="221"/>
                  <a:pt x="103" y="218"/>
                  <a:pt x="103" y="214"/>
                </a:cubicBezTo>
                <a:cubicBezTo>
                  <a:pt x="103" y="210"/>
                  <a:pt x="100" y="207"/>
                  <a:pt x="96" y="207"/>
                </a:cubicBezTo>
                <a:cubicBezTo>
                  <a:pt x="43" y="207"/>
                  <a:pt x="0" y="250"/>
                  <a:pt x="0" y="303"/>
                </a:cubicBezTo>
                <a:cubicBezTo>
                  <a:pt x="0" y="356"/>
                  <a:pt x="43" y="399"/>
                  <a:pt x="96" y="399"/>
                </a:cubicBezTo>
                <a:cubicBezTo>
                  <a:pt x="110" y="399"/>
                  <a:pt x="110" y="399"/>
                  <a:pt x="110" y="399"/>
                </a:cubicBezTo>
                <a:cubicBezTo>
                  <a:pt x="110" y="409"/>
                  <a:pt x="111" y="419"/>
                  <a:pt x="111" y="429"/>
                </a:cubicBezTo>
                <a:cubicBezTo>
                  <a:pt x="115" y="470"/>
                  <a:pt x="137" y="511"/>
                  <a:pt x="176" y="549"/>
                </a:cubicBezTo>
                <a:cubicBezTo>
                  <a:pt x="172" y="561"/>
                  <a:pt x="172" y="561"/>
                  <a:pt x="172" y="561"/>
                </a:cubicBezTo>
                <a:cubicBezTo>
                  <a:pt x="157" y="605"/>
                  <a:pt x="181" y="654"/>
                  <a:pt x="225" y="669"/>
                </a:cubicBezTo>
                <a:cubicBezTo>
                  <a:pt x="234" y="672"/>
                  <a:pt x="243" y="674"/>
                  <a:pt x="252" y="674"/>
                </a:cubicBezTo>
                <a:cubicBezTo>
                  <a:pt x="286" y="674"/>
                  <a:pt x="317" y="653"/>
                  <a:pt x="330" y="623"/>
                </a:cubicBezTo>
                <a:cubicBezTo>
                  <a:pt x="361" y="627"/>
                  <a:pt x="391" y="627"/>
                  <a:pt x="421" y="622"/>
                </a:cubicBezTo>
                <a:cubicBezTo>
                  <a:pt x="435" y="653"/>
                  <a:pt x="465" y="674"/>
                  <a:pt x="499" y="674"/>
                </a:cubicBezTo>
                <a:cubicBezTo>
                  <a:pt x="499" y="674"/>
                  <a:pt x="499" y="674"/>
                  <a:pt x="499" y="674"/>
                </a:cubicBezTo>
                <a:cubicBezTo>
                  <a:pt x="509" y="674"/>
                  <a:pt x="518" y="672"/>
                  <a:pt x="527" y="669"/>
                </a:cubicBezTo>
                <a:cubicBezTo>
                  <a:pt x="571" y="654"/>
                  <a:pt x="595" y="605"/>
                  <a:pt x="580" y="561"/>
                </a:cubicBezTo>
                <a:cubicBezTo>
                  <a:pt x="575" y="548"/>
                  <a:pt x="575" y="548"/>
                  <a:pt x="575" y="548"/>
                </a:cubicBezTo>
                <a:cubicBezTo>
                  <a:pt x="590" y="533"/>
                  <a:pt x="603" y="517"/>
                  <a:pt x="614" y="499"/>
                </a:cubicBezTo>
                <a:cubicBezTo>
                  <a:pt x="648" y="499"/>
                  <a:pt x="648" y="499"/>
                  <a:pt x="648" y="499"/>
                </a:cubicBezTo>
                <a:cubicBezTo>
                  <a:pt x="688" y="499"/>
                  <a:pt x="719" y="455"/>
                  <a:pt x="719" y="396"/>
                </a:cubicBezTo>
                <a:cubicBezTo>
                  <a:pt x="719" y="338"/>
                  <a:pt x="688" y="293"/>
                  <a:pt x="648" y="293"/>
                </a:cubicBezTo>
                <a:close/>
                <a:moveTo>
                  <a:pt x="648" y="485"/>
                </a:moveTo>
                <a:cubicBezTo>
                  <a:pt x="610" y="485"/>
                  <a:pt x="610" y="485"/>
                  <a:pt x="610" y="485"/>
                </a:cubicBezTo>
                <a:cubicBezTo>
                  <a:pt x="607" y="485"/>
                  <a:pt x="605" y="486"/>
                  <a:pt x="603" y="489"/>
                </a:cubicBezTo>
                <a:cubicBezTo>
                  <a:pt x="593" y="508"/>
                  <a:pt x="579" y="525"/>
                  <a:pt x="562" y="541"/>
                </a:cubicBezTo>
                <a:cubicBezTo>
                  <a:pt x="560" y="543"/>
                  <a:pt x="559" y="546"/>
                  <a:pt x="560" y="548"/>
                </a:cubicBezTo>
                <a:cubicBezTo>
                  <a:pt x="566" y="566"/>
                  <a:pt x="566" y="566"/>
                  <a:pt x="566" y="566"/>
                </a:cubicBezTo>
                <a:cubicBezTo>
                  <a:pt x="579" y="603"/>
                  <a:pt x="559" y="643"/>
                  <a:pt x="522" y="656"/>
                </a:cubicBezTo>
                <a:cubicBezTo>
                  <a:pt x="515" y="658"/>
                  <a:pt x="507" y="660"/>
                  <a:pt x="499" y="660"/>
                </a:cubicBezTo>
                <a:cubicBezTo>
                  <a:pt x="499" y="667"/>
                  <a:pt x="499" y="667"/>
                  <a:pt x="499" y="667"/>
                </a:cubicBezTo>
                <a:cubicBezTo>
                  <a:pt x="499" y="660"/>
                  <a:pt x="499" y="660"/>
                  <a:pt x="499" y="660"/>
                </a:cubicBezTo>
                <a:cubicBezTo>
                  <a:pt x="469" y="660"/>
                  <a:pt x="442" y="641"/>
                  <a:pt x="432" y="612"/>
                </a:cubicBezTo>
                <a:cubicBezTo>
                  <a:pt x="431" y="609"/>
                  <a:pt x="429" y="608"/>
                  <a:pt x="426" y="608"/>
                </a:cubicBezTo>
                <a:cubicBezTo>
                  <a:pt x="425" y="608"/>
                  <a:pt x="425" y="608"/>
                  <a:pt x="425" y="608"/>
                </a:cubicBezTo>
                <a:cubicBezTo>
                  <a:pt x="393" y="613"/>
                  <a:pt x="360" y="613"/>
                  <a:pt x="327" y="608"/>
                </a:cubicBezTo>
                <a:cubicBezTo>
                  <a:pt x="324" y="607"/>
                  <a:pt x="320" y="609"/>
                  <a:pt x="319" y="612"/>
                </a:cubicBezTo>
                <a:cubicBezTo>
                  <a:pt x="309" y="641"/>
                  <a:pt x="282" y="660"/>
                  <a:pt x="252" y="660"/>
                </a:cubicBezTo>
                <a:cubicBezTo>
                  <a:pt x="245" y="660"/>
                  <a:pt x="237" y="658"/>
                  <a:pt x="230" y="656"/>
                </a:cubicBezTo>
                <a:cubicBezTo>
                  <a:pt x="193" y="643"/>
                  <a:pt x="173" y="603"/>
                  <a:pt x="185" y="566"/>
                </a:cubicBezTo>
                <a:cubicBezTo>
                  <a:pt x="191" y="549"/>
                  <a:pt x="191" y="549"/>
                  <a:pt x="191" y="549"/>
                </a:cubicBezTo>
                <a:cubicBezTo>
                  <a:pt x="192" y="547"/>
                  <a:pt x="191" y="544"/>
                  <a:pt x="189" y="542"/>
                </a:cubicBezTo>
                <a:cubicBezTo>
                  <a:pt x="162" y="517"/>
                  <a:pt x="130" y="477"/>
                  <a:pt x="125" y="428"/>
                </a:cubicBezTo>
                <a:cubicBezTo>
                  <a:pt x="119" y="357"/>
                  <a:pt x="137" y="300"/>
                  <a:pt x="177" y="256"/>
                </a:cubicBezTo>
                <a:cubicBezTo>
                  <a:pt x="221" y="207"/>
                  <a:pt x="294" y="180"/>
                  <a:pt x="375" y="180"/>
                </a:cubicBezTo>
                <a:cubicBezTo>
                  <a:pt x="404" y="180"/>
                  <a:pt x="432" y="184"/>
                  <a:pt x="459" y="192"/>
                </a:cubicBezTo>
                <a:cubicBezTo>
                  <a:pt x="462" y="193"/>
                  <a:pt x="465" y="192"/>
                  <a:pt x="467" y="189"/>
                </a:cubicBezTo>
                <a:cubicBezTo>
                  <a:pt x="477" y="174"/>
                  <a:pt x="494" y="157"/>
                  <a:pt x="514" y="157"/>
                </a:cubicBezTo>
                <a:cubicBezTo>
                  <a:pt x="515" y="157"/>
                  <a:pt x="516" y="157"/>
                  <a:pt x="518" y="157"/>
                </a:cubicBezTo>
                <a:cubicBezTo>
                  <a:pt x="539" y="160"/>
                  <a:pt x="548" y="184"/>
                  <a:pt x="547" y="233"/>
                </a:cubicBezTo>
                <a:cubicBezTo>
                  <a:pt x="547" y="236"/>
                  <a:pt x="548" y="238"/>
                  <a:pt x="549" y="239"/>
                </a:cubicBezTo>
                <a:cubicBezTo>
                  <a:pt x="572" y="258"/>
                  <a:pt x="591" y="280"/>
                  <a:pt x="604" y="304"/>
                </a:cubicBezTo>
                <a:cubicBezTo>
                  <a:pt x="605" y="306"/>
                  <a:pt x="608" y="307"/>
                  <a:pt x="610" y="307"/>
                </a:cubicBezTo>
                <a:cubicBezTo>
                  <a:pt x="648" y="307"/>
                  <a:pt x="648" y="307"/>
                  <a:pt x="648" y="307"/>
                </a:cubicBezTo>
                <a:cubicBezTo>
                  <a:pt x="680" y="307"/>
                  <a:pt x="705" y="346"/>
                  <a:pt x="705" y="396"/>
                </a:cubicBezTo>
                <a:cubicBezTo>
                  <a:pt x="705" y="447"/>
                  <a:pt x="680" y="485"/>
                  <a:pt x="648" y="485"/>
                </a:cubicBezTo>
                <a:close/>
                <a:moveTo>
                  <a:pt x="483" y="265"/>
                </a:moveTo>
                <a:cubicBezTo>
                  <a:pt x="482" y="268"/>
                  <a:pt x="480" y="269"/>
                  <a:pt x="477" y="269"/>
                </a:cubicBezTo>
                <a:cubicBezTo>
                  <a:pt x="476" y="269"/>
                  <a:pt x="475" y="268"/>
                  <a:pt x="474" y="268"/>
                </a:cubicBezTo>
                <a:cubicBezTo>
                  <a:pt x="445" y="250"/>
                  <a:pt x="411" y="240"/>
                  <a:pt x="375" y="240"/>
                </a:cubicBezTo>
                <a:cubicBezTo>
                  <a:pt x="340" y="240"/>
                  <a:pt x="306" y="250"/>
                  <a:pt x="277" y="268"/>
                </a:cubicBezTo>
                <a:cubicBezTo>
                  <a:pt x="274" y="270"/>
                  <a:pt x="269" y="269"/>
                  <a:pt x="267" y="265"/>
                </a:cubicBezTo>
                <a:cubicBezTo>
                  <a:pt x="265" y="262"/>
                  <a:pt x="266" y="258"/>
                  <a:pt x="270" y="256"/>
                </a:cubicBezTo>
                <a:cubicBezTo>
                  <a:pt x="301" y="236"/>
                  <a:pt x="337" y="226"/>
                  <a:pt x="375" y="226"/>
                </a:cubicBezTo>
                <a:cubicBezTo>
                  <a:pt x="414" y="226"/>
                  <a:pt x="450" y="236"/>
                  <a:pt x="481" y="256"/>
                </a:cubicBezTo>
                <a:cubicBezTo>
                  <a:pt x="484" y="258"/>
                  <a:pt x="485" y="262"/>
                  <a:pt x="483" y="265"/>
                </a:cubicBez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7193" name="Oval 32"/>
          <p:cNvSpPr>
            <a:spLocks noChangeArrowheads="1"/>
          </p:cNvSpPr>
          <p:nvPr/>
        </p:nvSpPr>
        <p:spPr bwMode="auto">
          <a:xfrm>
            <a:off x="6589621" y="3120088"/>
            <a:ext cx="1119124" cy="1119124"/>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8218" name="Freeform 109"/>
          <p:cNvSpPr>
            <a:spLocks noEditPoints="1"/>
          </p:cNvSpPr>
          <p:nvPr/>
        </p:nvSpPr>
        <p:spPr bwMode="auto">
          <a:xfrm>
            <a:off x="6845073" y="3339656"/>
            <a:ext cx="608220" cy="679990"/>
          </a:xfrm>
          <a:custGeom>
            <a:avLst/>
            <a:gdLst>
              <a:gd name="T0" fmla="*/ 240 w 577"/>
              <a:gd name="T1" fmla="*/ 524 h 646"/>
              <a:gd name="T2" fmla="*/ 300 w 577"/>
              <a:gd name="T3" fmla="*/ 317 h 646"/>
              <a:gd name="T4" fmla="*/ 364 w 577"/>
              <a:gd name="T5" fmla="*/ 352 h 646"/>
              <a:gd name="T6" fmla="*/ 354 w 577"/>
              <a:gd name="T7" fmla="*/ 362 h 646"/>
              <a:gd name="T8" fmla="*/ 300 w 577"/>
              <a:gd name="T9" fmla="*/ 331 h 646"/>
              <a:gd name="T10" fmla="*/ 254 w 577"/>
              <a:gd name="T11" fmla="*/ 524 h 646"/>
              <a:gd name="T12" fmla="*/ 372 w 577"/>
              <a:gd name="T13" fmla="*/ 524 h 646"/>
              <a:gd name="T14" fmla="*/ 211 w 577"/>
              <a:gd name="T15" fmla="*/ 517 h 646"/>
              <a:gd name="T16" fmla="*/ 211 w 577"/>
              <a:gd name="T17" fmla="*/ 531 h 646"/>
              <a:gd name="T18" fmla="*/ 372 w 577"/>
              <a:gd name="T19" fmla="*/ 524 h 646"/>
              <a:gd name="T20" fmla="*/ 336 w 577"/>
              <a:gd name="T21" fmla="*/ 422 h 646"/>
              <a:gd name="T22" fmla="*/ 204 w 577"/>
              <a:gd name="T23" fmla="*/ 429 h 646"/>
              <a:gd name="T24" fmla="*/ 336 w 577"/>
              <a:gd name="T25" fmla="*/ 436 h 646"/>
              <a:gd name="T26" fmla="*/ 364 w 577"/>
              <a:gd name="T27" fmla="*/ 219 h 646"/>
              <a:gd name="T28" fmla="*/ 350 w 577"/>
              <a:gd name="T29" fmla="*/ 216 h 646"/>
              <a:gd name="T30" fmla="*/ 226 w 577"/>
              <a:gd name="T31" fmla="*/ 216 h 646"/>
              <a:gd name="T32" fmla="*/ 213 w 577"/>
              <a:gd name="T33" fmla="*/ 219 h 646"/>
              <a:gd name="T34" fmla="*/ 364 w 577"/>
              <a:gd name="T35" fmla="*/ 219 h 646"/>
              <a:gd name="T36" fmla="*/ 364 w 577"/>
              <a:gd name="T37" fmla="*/ 213 h 646"/>
              <a:gd name="T38" fmla="*/ 447 w 577"/>
              <a:gd name="T39" fmla="*/ 80 h 646"/>
              <a:gd name="T40" fmla="*/ 430 w 577"/>
              <a:gd name="T41" fmla="*/ 37 h 646"/>
              <a:gd name="T42" fmla="*/ 377 w 577"/>
              <a:gd name="T43" fmla="*/ 51 h 646"/>
              <a:gd name="T44" fmla="*/ 341 w 577"/>
              <a:gd name="T45" fmla="*/ 28 h 646"/>
              <a:gd name="T46" fmla="*/ 236 w 577"/>
              <a:gd name="T47" fmla="*/ 28 h 646"/>
              <a:gd name="T48" fmla="*/ 200 w 577"/>
              <a:gd name="T49" fmla="*/ 51 h 646"/>
              <a:gd name="T50" fmla="*/ 184 w 577"/>
              <a:gd name="T51" fmla="*/ 47 h 646"/>
              <a:gd name="T52" fmla="*/ 119 w 577"/>
              <a:gd name="T53" fmla="*/ 51 h 646"/>
              <a:gd name="T54" fmla="*/ 133 w 577"/>
              <a:gd name="T55" fmla="*/ 83 h 646"/>
              <a:gd name="T56" fmla="*/ 0 w 577"/>
              <a:gd name="T57" fmla="*/ 462 h 646"/>
              <a:gd name="T58" fmla="*/ 577 w 577"/>
              <a:gd name="T59" fmla="*/ 462 h 646"/>
              <a:gd name="T60" fmla="*/ 200 w 577"/>
              <a:gd name="T61" fmla="*/ 65 h 646"/>
              <a:gd name="T62" fmla="*/ 243 w 577"/>
              <a:gd name="T63" fmla="*/ 41 h 646"/>
              <a:gd name="T64" fmla="*/ 288 w 577"/>
              <a:gd name="T65" fmla="*/ 14 h 646"/>
              <a:gd name="T66" fmla="*/ 334 w 577"/>
              <a:gd name="T67" fmla="*/ 41 h 646"/>
              <a:gd name="T68" fmla="*/ 398 w 577"/>
              <a:gd name="T69" fmla="*/ 59 h 646"/>
              <a:gd name="T70" fmla="*/ 445 w 577"/>
              <a:gd name="T71" fmla="*/ 56 h 646"/>
              <a:gd name="T72" fmla="*/ 434 w 577"/>
              <a:gd name="T73" fmla="*/ 72 h 646"/>
              <a:gd name="T74" fmla="*/ 355 w 577"/>
              <a:gd name="T75" fmla="*/ 224 h 646"/>
              <a:gd name="T76" fmla="*/ 288 w 577"/>
              <a:gd name="T77" fmla="*/ 632 h 646"/>
              <a:gd name="T78" fmla="*/ 222 w 577"/>
              <a:gd name="T79" fmla="*/ 224 h 646"/>
              <a:gd name="T80" fmla="*/ 142 w 577"/>
              <a:gd name="T81" fmla="*/ 72 h 646"/>
              <a:gd name="T82" fmla="*/ 132 w 577"/>
              <a:gd name="T83" fmla="*/ 56 h 646"/>
              <a:gd name="T84" fmla="*/ 178 w 577"/>
              <a:gd name="T85" fmla="*/ 59 h 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77" h="646">
                <a:moveTo>
                  <a:pt x="247" y="531"/>
                </a:moveTo>
                <a:cubicBezTo>
                  <a:pt x="243" y="531"/>
                  <a:pt x="240" y="528"/>
                  <a:pt x="240" y="524"/>
                </a:cubicBezTo>
                <a:cubicBezTo>
                  <a:pt x="240" y="382"/>
                  <a:pt x="240" y="382"/>
                  <a:pt x="240" y="382"/>
                </a:cubicBezTo>
                <a:cubicBezTo>
                  <a:pt x="240" y="343"/>
                  <a:pt x="264" y="317"/>
                  <a:pt x="300" y="317"/>
                </a:cubicBezTo>
                <a:cubicBezTo>
                  <a:pt x="333" y="317"/>
                  <a:pt x="345" y="331"/>
                  <a:pt x="360" y="347"/>
                </a:cubicBezTo>
                <a:cubicBezTo>
                  <a:pt x="361" y="349"/>
                  <a:pt x="363" y="350"/>
                  <a:pt x="364" y="352"/>
                </a:cubicBezTo>
                <a:cubicBezTo>
                  <a:pt x="367" y="355"/>
                  <a:pt x="367" y="359"/>
                  <a:pt x="364" y="362"/>
                </a:cubicBezTo>
                <a:cubicBezTo>
                  <a:pt x="361" y="365"/>
                  <a:pt x="357" y="364"/>
                  <a:pt x="354" y="362"/>
                </a:cubicBezTo>
                <a:cubicBezTo>
                  <a:pt x="352" y="360"/>
                  <a:pt x="351" y="358"/>
                  <a:pt x="349" y="356"/>
                </a:cubicBezTo>
                <a:cubicBezTo>
                  <a:pt x="335" y="340"/>
                  <a:pt x="327" y="331"/>
                  <a:pt x="300" y="331"/>
                </a:cubicBezTo>
                <a:cubicBezTo>
                  <a:pt x="271" y="331"/>
                  <a:pt x="254" y="350"/>
                  <a:pt x="254" y="382"/>
                </a:cubicBezTo>
                <a:cubicBezTo>
                  <a:pt x="254" y="524"/>
                  <a:pt x="254" y="524"/>
                  <a:pt x="254" y="524"/>
                </a:cubicBezTo>
                <a:cubicBezTo>
                  <a:pt x="254" y="528"/>
                  <a:pt x="251" y="531"/>
                  <a:pt x="247" y="531"/>
                </a:cubicBezTo>
                <a:close/>
                <a:moveTo>
                  <a:pt x="372" y="524"/>
                </a:moveTo>
                <a:cubicBezTo>
                  <a:pt x="372" y="520"/>
                  <a:pt x="369" y="517"/>
                  <a:pt x="365" y="517"/>
                </a:cubicBezTo>
                <a:cubicBezTo>
                  <a:pt x="211" y="517"/>
                  <a:pt x="211" y="517"/>
                  <a:pt x="211" y="517"/>
                </a:cubicBezTo>
                <a:cubicBezTo>
                  <a:pt x="208" y="517"/>
                  <a:pt x="204" y="520"/>
                  <a:pt x="204" y="524"/>
                </a:cubicBezTo>
                <a:cubicBezTo>
                  <a:pt x="204" y="528"/>
                  <a:pt x="208" y="531"/>
                  <a:pt x="211" y="531"/>
                </a:cubicBezTo>
                <a:cubicBezTo>
                  <a:pt x="365" y="531"/>
                  <a:pt x="365" y="531"/>
                  <a:pt x="365" y="531"/>
                </a:cubicBezTo>
                <a:cubicBezTo>
                  <a:pt x="369" y="531"/>
                  <a:pt x="372" y="528"/>
                  <a:pt x="372" y="524"/>
                </a:cubicBezTo>
                <a:close/>
                <a:moveTo>
                  <a:pt x="343" y="429"/>
                </a:moveTo>
                <a:cubicBezTo>
                  <a:pt x="343" y="426"/>
                  <a:pt x="340" y="422"/>
                  <a:pt x="336" y="422"/>
                </a:cubicBezTo>
                <a:cubicBezTo>
                  <a:pt x="211" y="422"/>
                  <a:pt x="211" y="422"/>
                  <a:pt x="211" y="422"/>
                </a:cubicBezTo>
                <a:cubicBezTo>
                  <a:pt x="208" y="422"/>
                  <a:pt x="204" y="426"/>
                  <a:pt x="204" y="429"/>
                </a:cubicBezTo>
                <a:cubicBezTo>
                  <a:pt x="204" y="433"/>
                  <a:pt x="208" y="436"/>
                  <a:pt x="211" y="436"/>
                </a:cubicBezTo>
                <a:cubicBezTo>
                  <a:pt x="336" y="436"/>
                  <a:pt x="336" y="436"/>
                  <a:pt x="336" y="436"/>
                </a:cubicBezTo>
                <a:cubicBezTo>
                  <a:pt x="340" y="436"/>
                  <a:pt x="343" y="433"/>
                  <a:pt x="343" y="429"/>
                </a:cubicBezTo>
                <a:close/>
                <a:moveTo>
                  <a:pt x="364" y="219"/>
                </a:moveTo>
                <a:cubicBezTo>
                  <a:pt x="365" y="215"/>
                  <a:pt x="362" y="212"/>
                  <a:pt x="358" y="211"/>
                </a:cubicBezTo>
                <a:cubicBezTo>
                  <a:pt x="355" y="210"/>
                  <a:pt x="351" y="213"/>
                  <a:pt x="350" y="216"/>
                </a:cubicBezTo>
                <a:cubicBezTo>
                  <a:pt x="350" y="216"/>
                  <a:pt x="342" y="231"/>
                  <a:pt x="288" y="231"/>
                </a:cubicBezTo>
                <a:cubicBezTo>
                  <a:pt x="233" y="231"/>
                  <a:pt x="226" y="216"/>
                  <a:pt x="226" y="216"/>
                </a:cubicBezTo>
                <a:cubicBezTo>
                  <a:pt x="226" y="216"/>
                  <a:pt x="226" y="216"/>
                  <a:pt x="226" y="216"/>
                </a:cubicBezTo>
                <a:cubicBezTo>
                  <a:pt x="213" y="219"/>
                  <a:pt x="213" y="219"/>
                  <a:pt x="213" y="219"/>
                </a:cubicBezTo>
                <a:cubicBezTo>
                  <a:pt x="214" y="224"/>
                  <a:pt x="222" y="245"/>
                  <a:pt x="288" y="245"/>
                </a:cubicBezTo>
                <a:cubicBezTo>
                  <a:pt x="355" y="245"/>
                  <a:pt x="363" y="224"/>
                  <a:pt x="364" y="219"/>
                </a:cubicBezTo>
                <a:close/>
                <a:moveTo>
                  <a:pt x="577" y="462"/>
                </a:moveTo>
                <a:cubicBezTo>
                  <a:pt x="577" y="344"/>
                  <a:pt x="452" y="245"/>
                  <a:pt x="364" y="213"/>
                </a:cubicBezTo>
                <a:cubicBezTo>
                  <a:pt x="365" y="181"/>
                  <a:pt x="381" y="134"/>
                  <a:pt x="443" y="83"/>
                </a:cubicBezTo>
                <a:cubicBezTo>
                  <a:pt x="445" y="81"/>
                  <a:pt x="446" y="80"/>
                  <a:pt x="447" y="80"/>
                </a:cubicBezTo>
                <a:cubicBezTo>
                  <a:pt x="460" y="67"/>
                  <a:pt x="460" y="57"/>
                  <a:pt x="458" y="51"/>
                </a:cubicBezTo>
                <a:cubicBezTo>
                  <a:pt x="454" y="42"/>
                  <a:pt x="444" y="37"/>
                  <a:pt x="430" y="37"/>
                </a:cubicBezTo>
                <a:cubicBezTo>
                  <a:pt x="418" y="37"/>
                  <a:pt x="405" y="41"/>
                  <a:pt x="392" y="47"/>
                </a:cubicBezTo>
                <a:cubicBezTo>
                  <a:pt x="387" y="49"/>
                  <a:pt x="381" y="51"/>
                  <a:pt x="377" y="51"/>
                </a:cubicBezTo>
                <a:cubicBezTo>
                  <a:pt x="365" y="51"/>
                  <a:pt x="355" y="43"/>
                  <a:pt x="344" y="31"/>
                </a:cubicBezTo>
                <a:cubicBezTo>
                  <a:pt x="341" y="28"/>
                  <a:pt x="341" y="28"/>
                  <a:pt x="341" y="28"/>
                </a:cubicBezTo>
                <a:cubicBezTo>
                  <a:pt x="328" y="15"/>
                  <a:pt x="314" y="0"/>
                  <a:pt x="288" y="0"/>
                </a:cubicBezTo>
                <a:cubicBezTo>
                  <a:pt x="263" y="0"/>
                  <a:pt x="248" y="15"/>
                  <a:pt x="236" y="28"/>
                </a:cubicBezTo>
                <a:cubicBezTo>
                  <a:pt x="233" y="31"/>
                  <a:pt x="233" y="31"/>
                  <a:pt x="233" y="31"/>
                </a:cubicBezTo>
                <a:cubicBezTo>
                  <a:pt x="221" y="43"/>
                  <a:pt x="212" y="51"/>
                  <a:pt x="200" y="51"/>
                </a:cubicBezTo>
                <a:cubicBezTo>
                  <a:pt x="200" y="51"/>
                  <a:pt x="200" y="51"/>
                  <a:pt x="200" y="51"/>
                </a:cubicBezTo>
                <a:cubicBezTo>
                  <a:pt x="195" y="51"/>
                  <a:pt x="190" y="49"/>
                  <a:pt x="184" y="47"/>
                </a:cubicBezTo>
                <a:cubicBezTo>
                  <a:pt x="172" y="41"/>
                  <a:pt x="159" y="37"/>
                  <a:pt x="147" y="37"/>
                </a:cubicBezTo>
                <a:cubicBezTo>
                  <a:pt x="132" y="37"/>
                  <a:pt x="122" y="42"/>
                  <a:pt x="119" y="51"/>
                </a:cubicBezTo>
                <a:cubicBezTo>
                  <a:pt x="116" y="57"/>
                  <a:pt x="116" y="67"/>
                  <a:pt x="130" y="80"/>
                </a:cubicBezTo>
                <a:cubicBezTo>
                  <a:pt x="130" y="80"/>
                  <a:pt x="131" y="81"/>
                  <a:pt x="133" y="83"/>
                </a:cubicBezTo>
                <a:cubicBezTo>
                  <a:pt x="196" y="134"/>
                  <a:pt x="211" y="181"/>
                  <a:pt x="212" y="213"/>
                </a:cubicBezTo>
                <a:cubicBezTo>
                  <a:pt x="125" y="245"/>
                  <a:pt x="0" y="344"/>
                  <a:pt x="0" y="462"/>
                </a:cubicBezTo>
                <a:cubicBezTo>
                  <a:pt x="0" y="579"/>
                  <a:pt x="47" y="646"/>
                  <a:pt x="288" y="646"/>
                </a:cubicBezTo>
                <a:cubicBezTo>
                  <a:pt x="530" y="646"/>
                  <a:pt x="577" y="579"/>
                  <a:pt x="577" y="462"/>
                </a:cubicBezTo>
                <a:close/>
                <a:moveTo>
                  <a:pt x="178" y="59"/>
                </a:moveTo>
                <a:cubicBezTo>
                  <a:pt x="186" y="63"/>
                  <a:pt x="193" y="65"/>
                  <a:pt x="200" y="65"/>
                </a:cubicBezTo>
                <a:cubicBezTo>
                  <a:pt x="200" y="65"/>
                  <a:pt x="200" y="65"/>
                  <a:pt x="200" y="65"/>
                </a:cubicBezTo>
                <a:cubicBezTo>
                  <a:pt x="218" y="65"/>
                  <a:pt x="231" y="53"/>
                  <a:pt x="243" y="41"/>
                </a:cubicBezTo>
                <a:cubicBezTo>
                  <a:pt x="246" y="37"/>
                  <a:pt x="246" y="37"/>
                  <a:pt x="246" y="37"/>
                </a:cubicBezTo>
                <a:cubicBezTo>
                  <a:pt x="258" y="25"/>
                  <a:pt x="269" y="14"/>
                  <a:pt x="288" y="14"/>
                </a:cubicBezTo>
                <a:cubicBezTo>
                  <a:pt x="308" y="14"/>
                  <a:pt x="318" y="25"/>
                  <a:pt x="331" y="37"/>
                </a:cubicBezTo>
                <a:cubicBezTo>
                  <a:pt x="334" y="41"/>
                  <a:pt x="334" y="41"/>
                  <a:pt x="334" y="41"/>
                </a:cubicBezTo>
                <a:cubicBezTo>
                  <a:pt x="346" y="53"/>
                  <a:pt x="359" y="65"/>
                  <a:pt x="377" y="65"/>
                </a:cubicBezTo>
                <a:cubicBezTo>
                  <a:pt x="384" y="65"/>
                  <a:pt x="391" y="63"/>
                  <a:pt x="398" y="59"/>
                </a:cubicBezTo>
                <a:cubicBezTo>
                  <a:pt x="409" y="54"/>
                  <a:pt x="420" y="51"/>
                  <a:pt x="430" y="51"/>
                </a:cubicBezTo>
                <a:cubicBezTo>
                  <a:pt x="439" y="51"/>
                  <a:pt x="444" y="54"/>
                  <a:pt x="445" y="56"/>
                </a:cubicBezTo>
                <a:cubicBezTo>
                  <a:pt x="446" y="58"/>
                  <a:pt x="444" y="63"/>
                  <a:pt x="437" y="70"/>
                </a:cubicBezTo>
                <a:cubicBezTo>
                  <a:pt x="437" y="70"/>
                  <a:pt x="436" y="71"/>
                  <a:pt x="434" y="72"/>
                </a:cubicBezTo>
                <a:cubicBezTo>
                  <a:pt x="365" y="129"/>
                  <a:pt x="350" y="183"/>
                  <a:pt x="350" y="218"/>
                </a:cubicBezTo>
                <a:cubicBezTo>
                  <a:pt x="350" y="221"/>
                  <a:pt x="352" y="223"/>
                  <a:pt x="355" y="224"/>
                </a:cubicBezTo>
                <a:cubicBezTo>
                  <a:pt x="439" y="253"/>
                  <a:pt x="563" y="349"/>
                  <a:pt x="563" y="462"/>
                </a:cubicBezTo>
                <a:cubicBezTo>
                  <a:pt x="563" y="573"/>
                  <a:pt x="519" y="632"/>
                  <a:pt x="288" y="632"/>
                </a:cubicBezTo>
                <a:cubicBezTo>
                  <a:pt x="57" y="632"/>
                  <a:pt x="14" y="573"/>
                  <a:pt x="14" y="462"/>
                </a:cubicBezTo>
                <a:cubicBezTo>
                  <a:pt x="14" y="349"/>
                  <a:pt x="138" y="253"/>
                  <a:pt x="222" y="224"/>
                </a:cubicBezTo>
                <a:cubicBezTo>
                  <a:pt x="225" y="223"/>
                  <a:pt x="227" y="221"/>
                  <a:pt x="227" y="218"/>
                </a:cubicBezTo>
                <a:cubicBezTo>
                  <a:pt x="227" y="183"/>
                  <a:pt x="212" y="129"/>
                  <a:pt x="142" y="72"/>
                </a:cubicBezTo>
                <a:cubicBezTo>
                  <a:pt x="141" y="71"/>
                  <a:pt x="140" y="70"/>
                  <a:pt x="139" y="70"/>
                </a:cubicBezTo>
                <a:cubicBezTo>
                  <a:pt x="132" y="63"/>
                  <a:pt x="131" y="58"/>
                  <a:pt x="132" y="56"/>
                </a:cubicBezTo>
                <a:cubicBezTo>
                  <a:pt x="133" y="54"/>
                  <a:pt x="138" y="51"/>
                  <a:pt x="147" y="51"/>
                </a:cubicBezTo>
                <a:cubicBezTo>
                  <a:pt x="157" y="51"/>
                  <a:pt x="168" y="54"/>
                  <a:pt x="178" y="59"/>
                </a:cubicBez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7194" name="Oval 33"/>
          <p:cNvSpPr>
            <a:spLocks noChangeArrowheads="1"/>
          </p:cNvSpPr>
          <p:nvPr/>
        </p:nvSpPr>
        <p:spPr bwMode="auto">
          <a:xfrm>
            <a:off x="4831649" y="3120088"/>
            <a:ext cx="1119124" cy="1119124"/>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8219" name="Freeform 110"/>
          <p:cNvSpPr>
            <a:spLocks noEditPoints="1"/>
          </p:cNvSpPr>
          <p:nvPr/>
        </p:nvSpPr>
        <p:spPr bwMode="auto">
          <a:xfrm>
            <a:off x="5088317" y="3339656"/>
            <a:ext cx="607004" cy="679990"/>
          </a:xfrm>
          <a:custGeom>
            <a:avLst/>
            <a:gdLst>
              <a:gd name="T0" fmla="*/ 196 w 577"/>
              <a:gd name="T1" fmla="*/ 432 h 646"/>
              <a:gd name="T2" fmla="*/ 292 w 577"/>
              <a:gd name="T3" fmla="*/ 304 h 646"/>
              <a:gd name="T4" fmla="*/ 361 w 577"/>
              <a:gd name="T5" fmla="*/ 355 h 646"/>
              <a:gd name="T6" fmla="*/ 292 w 577"/>
              <a:gd name="T7" fmla="*/ 318 h 646"/>
              <a:gd name="T8" fmla="*/ 210 w 577"/>
              <a:gd name="T9" fmla="*/ 432 h 646"/>
              <a:gd name="T10" fmla="*/ 351 w 577"/>
              <a:gd name="T11" fmla="*/ 511 h 646"/>
              <a:gd name="T12" fmla="*/ 363 w 577"/>
              <a:gd name="T13" fmla="*/ 519 h 646"/>
              <a:gd name="T14" fmla="*/ 299 w 577"/>
              <a:gd name="T15" fmla="*/ 406 h 646"/>
              <a:gd name="T16" fmla="*/ 169 w 577"/>
              <a:gd name="T17" fmla="*/ 399 h 646"/>
              <a:gd name="T18" fmla="*/ 169 w 577"/>
              <a:gd name="T19" fmla="*/ 413 h 646"/>
              <a:gd name="T20" fmla="*/ 299 w 577"/>
              <a:gd name="T21" fmla="*/ 406 h 646"/>
              <a:gd name="T22" fmla="*/ 299 w 577"/>
              <a:gd name="T23" fmla="*/ 460 h 646"/>
              <a:gd name="T24" fmla="*/ 169 w 577"/>
              <a:gd name="T25" fmla="*/ 453 h 646"/>
              <a:gd name="T26" fmla="*/ 169 w 577"/>
              <a:gd name="T27" fmla="*/ 467 h 646"/>
              <a:gd name="T28" fmla="*/ 364 w 577"/>
              <a:gd name="T29" fmla="*/ 219 h 646"/>
              <a:gd name="T30" fmla="*/ 350 w 577"/>
              <a:gd name="T31" fmla="*/ 216 h 646"/>
              <a:gd name="T32" fmla="*/ 226 w 577"/>
              <a:gd name="T33" fmla="*/ 216 h 646"/>
              <a:gd name="T34" fmla="*/ 213 w 577"/>
              <a:gd name="T35" fmla="*/ 219 h 646"/>
              <a:gd name="T36" fmla="*/ 364 w 577"/>
              <a:gd name="T37" fmla="*/ 219 h 646"/>
              <a:gd name="T38" fmla="*/ 364 w 577"/>
              <a:gd name="T39" fmla="*/ 213 h 646"/>
              <a:gd name="T40" fmla="*/ 447 w 577"/>
              <a:gd name="T41" fmla="*/ 80 h 646"/>
              <a:gd name="T42" fmla="*/ 430 w 577"/>
              <a:gd name="T43" fmla="*/ 37 h 646"/>
              <a:gd name="T44" fmla="*/ 377 w 577"/>
              <a:gd name="T45" fmla="*/ 51 h 646"/>
              <a:gd name="T46" fmla="*/ 341 w 577"/>
              <a:gd name="T47" fmla="*/ 28 h 646"/>
              <a:gd name="T48" fmla="*/ 236 w 577"/>
              <a:gd name="T49" fmla="*/ 28 h 646"/>
              <a:gd name="T50" fmla="*/ 200 w 577"/>
              <a:gd name="T51" fmla="*/ 51 h 646"/>
              <a:gd name="T52" fmla="*/ 185 w 577"/>
              <a:gd name="T53" fmla="*/ 47 h 646"/>
              <a:gd name="T54" fmla="*/ 119 w 577"/>
              <a:gd name="T55" fmla="*/ 51 h 646"/>
              <a:gd name="T56" fmla="*/ 134 w 577"/>
              <a:gd name="T57" fmla="*/ 83 h 646"/>
              <a:gd name="T58" fmla="*/ 0 w 577"/>
              <a:gd name="T59" fmla="*/ 462 h 646"/>
              <a:gd name="T60" fmla="*/ 577 w 577"/>
              <a:gd name="T61" fmla="*/ 462 h 646"/>
              <a:gd name="T62" fmla="*/ 200 w 577"/>
              <a:gd name="T63" fmla="*/ 65 h 646"/>
              <a:gd name="T64" fmla="*/ 243 w 577"/>
              <a:gd name="T65" fmla="*/ 41 h 646"/>
              <a:gd name="T66" fmla="*/ 288 w 577"/>
              <a:gd name="T67" fmla="*/ 14 h 646"/>
              <a:gd name="T68" fmla="*/ 334 w 577"/>
              <a:gd name="T69" fmla="*/ 41 h 646"/>
              <a:gd name="T70" fmla="*/ 398 w 577"/>
              <a:gd name="T71" fmla="*/ 59 h 646"/>
              <a:gd name="T72" fmla="*/ 445 w 577"/>
              <a:gd name="T73" fmla="*/ 56 h 646"/>
              <a:gd name="T74" fmla="*/ 435 w 577"/>
              <a:gd name="T75" fmla="*/ 72 h 646"/>
              <a:gd name="T76" fmla="*/ 355 w 577"/>
              <a:gd name="T77" fmla="*/ 224 h 646"/>
              <a:gd name="T78" fmla="*/ 288 w 577"/>
              <a:gd name="T79" fmla="*/ 632 h 646"/>
              <a:gd name="T80" fmla="*/ 222 w 577"/>
              <a:gd name="T81" fmla="*/ 224 h 646"/>
              <a:gd name="T82" fmla="*/ 142 w 577"/>
              <a:gd name="T83" fmla="*/ 72 h 646"/>
              <a:gd name="T84" fmla="*/ 132 w 577"/>
              <a:gd name="T85" fmla="*/ 56 h 646"/>
              <a:gd name="T86" fmla="*/ 179 w 577"/>
              <a:gd name="T87" fmla="*/ 59 h 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77" h="646">
                <a:moveTo>
                  <a:pt x="292" y="561"/>
                </a:moveTo>
                <a:cubicBezTo>
                  <a:pt x="233" y="561"/>
                  <a:pt x="196" y="510"/>
                  <a:pt x="196" y="432"/>
                </a:cubicBezTo>
                <a:cubicBezTo>
                  <a:pt x="196" y="395"/>
                  <a:pt x="204" y="363"/>
                  <a:pt x="221" y="340"/>
                </a:cubicBezTo>
                <a:cubicBezTo>
                  <a:pt x="238" y="316"/>
                  <a:pt x="263" y="304"/>
                  <a:pt x="292" y="304"/>
                </a:cubicBezTo>
                <a:cubicBezTo>
                  <a:pt x="320" y="304"/>
                  <a:pt x="344" y="317"/>
                  <a:pt x="363" y="345"/>
                </a:cubicBezTo>
                <a:cubicBezTo>
                  <a:pt x="365" y="348"/>
                  <a:pt x="364" y="353"/>
                  <a:pt x="361" y="355"/>
                </a:cubicBezTo>
                <a:cubicBezTo>
                  <a:pt x="358" y="357"/>
                  <a:pt x="354" y="356"/>
                  <a:pt x="351" y="353"/>
                </a:cubicBezTo>
                <a:cubicBezTo>
                  <a:pt x="335" y="329"/>
                  <a:pt x="316" y="318"/>
                  <a:pt x="292" y="318"/>
                </a:cubicBezTo>
                <a:cubicBezTo>
                  <a:pt x="267" y="318"/>
                  <a:pt x="247" y="328"/>
                  <a:pt x="232" y="348"/>
                </a:cubicBezTo>
                <a:cubicBezTo>
                  <a:pt x="218" y="369"/>
                  <a:pt x="210" y="398"/>
                  <a:pt x="210" y="432"/>
                </a:cubicBezTo>
                <a:cubicBezTo>
                  <a:pt x="210" y="502"/>
                  <a:pt x="242" y="547"/>
                  <a:pt x="292" y="547"/>
                </a:cubicBezTo>
                <a:cubicBezTo>
                  <a:pt x="316" y="547"/>
                  <a:pt x="335" y="535"/>
                  <a:pt x="351" y="511"/>
                </a:cubicBezTo>
                <a:cubicBezTo>
                  <a:pt x="354" y="508"/>
                  <a:pt x="358" y="507"/>
                  <a:pt x="361" y="509"/>
                </a:cubicBezTo>
                <a:cubicBezTo>
                  <a:pt x="364" y="512"/>
                  <a:pt x="365" y="516"/>
                  <a:pt x="363" y="519"/>
                </a:cubicBezTo>
                <a:cubicBezTo>
                  <a:pt x="344" y="547"/>
                  <a:pt x="320" y="561"/>
                  <a:pt x="292" y="561"/>
                </a:cubicBezTo>
                <a:close/>
                <a:moveTo>
                  <a:pt x="299" y="406"/>
                </a:moveTo>
                <a:cubicBezTo>
                  <a:pt x="299" y="402"/>
                  <a:pt x="296" y="399"/>
                  <a:pt x="292" y="399"/>
                </a:cubicBezTo>
                <a:cubicBezTo>
                  <a:pt x="169" y="399"/>
                  <a:pt x="169" y="399"/>
                  <a:pt x="169" y="399"/>
                </a:cubicBezTo>
                <a:cubicBezTo>
                  <a:pt x="165" y="399"/>
                  <a:pt x="162" y="402"/>
                  <a:pt x="162" y="406"/>
                </a:cubicBezTo>
                <a:cubicBezTo>
                  <a:pt x="162" y="410"/>
                  <a:pt x="165" y="413"/>
                  <a:pt x="169" y="413"/>
                </a:cubicBezTo>
                <a:cubicBezTo>
                  <a:pt x="292" y="413"/>
                  <a:pt x="292" y="413"/>
                  <a:pt x="292" y="413"/>
                </a:cubicBezTo>
                <a:cubicBezTo>
                  <a:pt x="296" y="413"/>
                  <a:pt x="299" y="410"/>
                  <a:pt x="299" y="406"/>
                </a:cubicBezTo>
                <a:close/>
                <a:moveTo>
                  <a:pt x="292" y="467"/>
                </a:moveTo>
                <a:cubicBezTo>
                  <a:pt x="296" y="467"/>
                  <a:pt x="299" y="464"/>
                  <a:pt x="299" y="460"/>
                </a:cubicBezTo>
                <a:cubicBezTo>
                  <a:pt x="299" y="456"/>
                  <a:pt x="296" y="453"/>
                  <a:pt x="292" y="453"/>
                </a:cubicBezTo>
                <a:cubicBezTo>
                  <a:pt x="169" y="453"/>
                  <a:pt x="169" y="453"/>
                  <a:pt x="169" y="453"/>
                </a:cubicBezTo>
                <a:cubicBezTo>
                  <a:pt x="165" y="453"/>
                  <a:pt x="162" y="456"/>
                  <a:pt x="162" y="460"/>
                </a:cubicBezTo>
                <a:cubicBezTo>
                  <a:pt x="162" y="464"/>
                  <a:pt x="165" y="467"/>
                  <a:pt x="169" y="467"/>
                </a:cubicBezTo>
                <a:lnTo>
                  <a:pt x="292" y="467"/>
                </a:lnTo>
                <a:close/>
                <a:moveTo>
                  <a:pt x="364" y="219"/>
                </a:moveTo>
                <a:cubicBezTo>
                  <a:pt x="350" y="216"/>
                  <a:pt x="350" y="216"/>
                  <a:pt x="350" y="216"/>
                </a:cubicBezTo>
                <a:cubicBezTo>
                  <a:pt x="350" y="216"/>
                  <a:pt x="350" y="216"/>
                  <a:pt x="350" y="216"/>
                </a:cubicBezTo>
                <a:cubicBezTo>
                  <a:pt x="350" y="216"/>
                  <a:pt x="344" y="231"/>
                  <a:pt x="288" y="231"/>
                </a:cubicBezTo>
                <a:cubicBezTo>
                  <a:pt x="233" y="231"/>
                  <a:pt x="227" y="216"/>
                  <a:pt x="226" y="216"/>
                </a:cubicBezTo>
                <a:cubicBezTo>
                  <a:pt x="227" y="216"/>
                  <a:pt x="227" y="216"/>
                  <a:pt x="227" y="216"/>
                </a:cubicBezTo>
                <a:cubicBezTo>
                  <a:pt x="213" y="219"/>
                  <a:pt x="213" y="219"/>
                  <a:pt x="213" y="219"/>
                </a:cubicBezTo>
                <a:cubicBezTo>
                  <a:pt x="214" y="224"/>
                  <a:pt x="222" y="245"/>
                  <a:pt x="288" y="245"/>
                </a:cubicBezTo>
                <a:cubicBezTo>
                  <a:pt x="355" y="245"/>
                  <a:pt x="363" y="224"/>
                  <a:pt x="364" y="219"/>
                </a:cubicBezTo>
                <a:close/>
                <a:moveTo>
                  <a:pt x="577" y="462"/>
                </a:moveTo>
                <a:cubicBezTo>
                  <a:pt x="577" y="344"/>
                  <a:pt x="452" y="245"/>
                  <a:pt x="364" y="213"/>
                </a:cubicBezTo>
                <a:cubicBezTo>
                  <a:pt x="366" y="181"/>
                  <a:pt x="381" y="134"/>
                  <a:pt x="443" y="83"/>
                </a:cubicBezTo>
                <a:cubicBezTo>
                  <a:pt x="445" y="81"/>
                  <a:pt x="447" y="80"/>
                  <a:pt x="447" y="80"/>
                </a:cubicBezTo>
                <a:cubicBezTo>
                  <a:pt x="461" y="67"/>
                  <a:pt x="461" y="57"/>
                  <a:pt x="458" y="51"/>
                </a:cubicBezTo>
                <a:cubicBezTo>
                  <a:pt x="455" y="42"/>
                  <a:pt x="444" y="37"/>
                  <a:pt x="430" y="37"/>
                </a:cubicBezTo>
                <a:cubicBezTo>
                  <a:pt x="418" y="37"/>
                  <a:pt x="405" y="41"/>
                  <a:pt x="392" y="47"/>
                </a:cubicBezTo>
                <a:cubicBezTo>
                  <a:pt x="387" y="49"/>
                  <a:pt x="382" y="51"/>
                  <a:pt x="377" y="51"/>
                </a:cubicBezTo>
                <a:cubicBezTo>
                  <a:pt x="365" y="51"/>
                  <a:pt x="355" y="43"/>
                  <a:pt x="344" y="31"/>
                </a:cubicBezTo>
                <a:cubicBezTo>
                  <a:pt x="341" y="28"/>
                  <a:pt x="341" y="28"/>
                  <a:pt x="341" y="28"/>
                </a:cubicBezTo>
                <a:cubicBezTo>
                  <a:pt x="328" y="15"/>
                  <a:pt x="314" y="0"/>
                  <a:pt x="288" y="0"/>
                </a:cubicBezTo>
                <a:cubicBezTo>
                  <a:pt x="263" y="0"/>
                  <a:pt x="249" y="15"/>
                  <a:pt x="236" y="28"/>
                </a:cubicBezTo>
                <a:cubicBezTo>
                  <a:pt x="233" y="31"/>
                  <a:pt x="233" y="31"/>
                  <a:pt x="233" y="31"/>
                </a:cubicBezTo>
                <a:cubicBezTo>
                  <a:pt x="222" y="43"/>
                  <a:pt x="212" y="51"/>
                  <a:pt x="200" y="51"/>
                </a:cubicBezTo>
                <a:cubicBezTo>
                  <a:pt x="200" y="51"/>
                  <a:pt x="200" y="51"/>
                  <a:pt x="200" y="51"/>
                </a:cubicBezTo>
                <a:cubicBezTo>
                  <a:pt x="195" y="51"/>
                  <a:pt x="190" y="49"/>
                  <a:pt x="185" y="47"/>
                </a:cubicBezTo>
                <a:cubicBezTo>
                  <a:pt x="172" y="41"/>
                  <a:pt x="159" y="37"/>
                  <a:pt x="147" y="37"/>
                </a:cubicBezTo>
                <a:cubicBezTo>
                  <a:pt x="133" y="37"/>
                  <a:pt x="122" y="42"/>
                  <a:pt x="119" y="51"/>
                </a:cubicBezTo>
                <a:cubicBezTo>
                  <a:pt x="116" y="57"/>
                  <a:pt x="116" y="67"/>
                  <a:pt x="130" y="80"/>
                </a:cubicBezTo>
                <a:cubicBezTo>
                  <a:pt x="130" y="80"/>
                  <a:pt x="132" y="81"/>
                  <a:pt x="134" y="83"/>
                </a:cubicBezTo>
                <a:cubicBezTo>
                  <a:pt x="196" y="134"/>
                  <a:pt x="211" y="181"/>
                  <a:pt x="213" y="213"/>
                </a:cubicBezTo>
                <a:cubicBezTo>
                  <a:pt x="125" y="245"/>
                  <a:pt x="0" y="344"/>
                  <a:pt x="0" y="462"/>
                </a:cubicBezTo>
                <a:cubicBezTo>
                  <a:pt x="0" y="579"/>
                  <a:pt x="47" y="646"/>
                  <a:pt x="288" y="646"/>
                </a:cubicBezTo>
                <a:cubicBezTo>
                  <a:pt x="530" y="646"/>
                  <a:pt x="577" y="579"/>
                  <a:pt x="577" y="462"/>
                </a:cubicBezTo>
                <a:close/>
                <a:moveTo>
                  <a:pt x="179" y="59"/>
                </a:moveTo>
                <a:cubicBezTo>
                  <a:pt x="186" y="63"/>
                  <a:pt x="193" y="65"/>
                  <a:pt x="200" y="65"/>
                </a:cubicBezTo>
                <a:cubicBezTo>
                  <a:pt x="200" y="65"/>
                  <a:pt x="200" y="65"/>
                  <a:pt x="200" y="65"/>
                </a:cubicBezTo>
                <a:cubicBezTo>
                  <a:pt x="218" y="65"/>
                  <a:pt x="231" y="53"/>
                  <a:pt x="243" y="41"/>
                </a:cubicBezTo>
                <a:cubicBezTo>
                  <a:pt x="246" y="37"/>
                  <a:pt x="246" y="37"/>
                  <a:pt x="246" y="37"/>
                </a:cubicBezTo>
                <a:cubicBezTo>
                  <a:pt x="258" y="25"/>
                  <a:pt x="269" y="14"/>
                  <a:pt x="288" y="14"/>
                </a:cubicBezTo>
                <a:cubicBezTo>
                  <a:pt x="308" y="14"/>
                  <a:pt x="319" y="25"/>
                  <a:pt x="331" y="37"/>
                </a:cubicBezTo>
                <a:cubicBezTo>
                  <a:pt x="334" y="41"/>
                  <a:pt x="334" y="41"/>
                  <a:pt x="334" y="41"/>
                </a:cubicBezTo>
                <a:cubicBezTo>
                  <a:pt x="346" y="53"/>
                  <a:pt x="359" y="65"/>
                  <a:pt x="377" y="65"/>
                </a:cubicBezTo>
                <a:cubicBezTo>
                  <a:pt x="384" y="65"/>
                  <a:pt x="391" y="63"/>
                  <a:pt x="398" y="59"/>
                </a:cubicBezTo>
                <a:cubicBezTo>
                  <a:pt x="409" y="54"/>
                  <a:pt x="420" y="51"/>
                  <a:pt x="430" y="51"/>
                </a:cubicBezTo>
                <a:cubicBezTo>
                  <a:pt x="439" y="51"/>
                  <a:pt x="444" y="54"/>
                  <a:pt x="445" y="56"/>
                </a:cubicBezTo>
                <a:cubicBezTo>
                  <a:pt x="446" y="58"/>
                  <a:pt x="444" y="63"/>
                  <a:pt x="438" y="70"/>
                </a:cubicBezTo>
                <a:cubicBezTo>
                  <a:pt x="437" y="70"/>
                  <a:pt x="436" y="71"/>
                  <a:pt x="435" y="72"/>
                </a:cubicBezTo>
                <a:cubicBezTo>
                  <a:pt x="365" y="129"/>
                  <a:pt x="350" y="183"/>
                  <a:pt x="350" y="218"/>
                </a:cubicBezTo>
                <a:cubicBezTo>
                  <a:pt x="350" y="221"/>
                  <a:pt x="352" y="223"/>
                  <a:pt x="355" y="224"/>
                </a:cubicBezTo>
                <a:cubicBezTo>
                  <a:pt x="439" y="253"/>
                  <a:pt x="563" y="349"/>
                  <a:pt x="563" y="462"/>
                </a:cubicBezTo>
                <a:cubicBezTo>
                  <a:pt x="563" y="573"/>
                  <a:pt x="519" y="632"/>
                  <a:pt x="288" y="632"/>
                </a:cubicBezTo>
                <a:cubicBezTo>
                  <a:pt x="58" y="632"/>
                  <a:pt x="14" y="573"/>
                  <a:pt x="14" y="462"/>
                </a:cubicBezTo>
                <a:cubicBezTo>
                  <a:pt x="14" y="349"/>
                  <a:pt x="138" y="253"/>
                  <a:pt x="222" y="224"/>
                </a:cubicBezTo>
                <a:cubicBezTo>
                  <a:pt x="225" y="223"/>
                  <a:pt x="227" y="221"/>
                  <a:pt x="227" y="218"/>
                </a:cubicBezTo>
                <a:cubicBezTo>
                  <a:pt x="227" y="183"/>
                  <a:pt x="212" y="129"/>
                  <a:pt x="142" y="72"/>
                </a:cubicBezTo>
                <a:cubicBezTo>
                  <a:pt x="141" y="71"/>
                  <a:pt x="140" y="70"/>
                  <a:pt x="139" y="70"/>
                </a:cubicBezTo>
                <a:cubicBezTo>
                  <a:pt x="133" y="63"/>
                  <a:pt x="131" y="58"/>
                  <a:pt x="132" y="56"/>
                </a:cubicBezTo>
                <a:cubicBezTo>
                  <a:pt x="133" y="54"/>
                  <a:pt x="138" y="51"/>
                  <a:pt x="147" y="51"/>
                </a:cubicBezTo>
                <a:cubicBezTo>
                  <a:pt x="157" y="51"/>
                  <a:pt x="168" y="54"/>
                  <a:pt x="179" y="59"/>
                </a:cubicBez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7192" name="Oval 31"/>
          <p:cNvSpPr>
            <a:spLocks noChangeArrowheads="1"/>
          </p:cNvSpPr>
          <p:nvPr/>
        </p:nvSpPr>
        <p:spPr bwMode="auto">
          <a:xfrm>
            <a:off x="8347593" y="3120088"/>
            <a:ext cx="1119124" cy="1119124"/>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8220" name="Freeform 111"/>
          <p:cNvSpPr>
            <a:spLocks noEditPoints="1"/>
          </p:cNvSpPr>
          <p:nvPr/>
        </p:nvSpPr>
        <p:spPr bwMode="auto">
          <a:xfrm>
            <a:off x="8603045" y="3339656"/>
            <a:ext cx="608220" cy="679990"/>
          </a:xfrm>
          <a:custGeom>
            <a:avLst/>
            <a:gdLst>
              <a:gd name="T0" fmla="*/ 278 w 577"/>
              <a:gd name="T1" fmla="*/ 562 h 646"/>
              <a:gd name="T2" fmla="*/ 285 w 577"/>
              <a:gd name="T3" fmla="*/ 442 h 646"/>
              <a:gd name="T4" fmla="*/ 292 w 577"/>
              <a:gd name="T5" fmla="*/ 562 h 646"/>
              <a:gd name="T6" fmla="*/ 288 w 577"/>
              <a:gd name="T7" fmla="*/ 455 h 646"/>
              <a:gd name="T8" fmla="*/ 216 w 577"/>
              <a:gd name="T9" fmla="*/ 328 h 646"/>
              <a:gd name="T10" fmla="*/ 204 w 577"/>
              <a:gd name="T11" fmla="*/ 336 h 646"/>
              <a:gd name="T12" fmla="*/ 285 w 577"/>
              <a:gd name="T13" fmla="*/ 456 h 646"/>
              <a:gd name="T14" fmla="*/ 290 w 577"/>
              <a:gd name="T15" fmla="*/ 453 h 646"/>
              <a:gd name="T16" fmla="*/ 363 w 577"/>
              <a:gd name="T17" fmla="*/ 326 h 646"/>
              <a:gd name="T18" fmla="*/ 279 w 577"/>
              <a:gd name="T19" fmla="*/ 446 h 646"/>
              <a:gd name="T20" fmla="*/ 285 w 577"/>
              <a:gd name="T21" fmla="*/ 456 h 646"/>
              <a:gd name="T22" fmla="*/ 354 w 577"/>
              <a:gd name="T23" fmla="*/ 455 h 646"/>
              <a:gd name="T24" fmla="*/ 222 w 577"/>
              <a:gd name="T25" fmla="*/ 448 h 646"/>
              <a:gd name="T26" fmla="*/ 222 w 577"/>
              <a:gd name="T27" fmla="*/ 462 h 646"/>
              <a:gd name="T28" fmla="*/ 354 w 577"/>
              <a:gd name="T29" fmla="*/ 455 h 646"/>
              <a:gd name="T30" fmla="*/ 347 w 577"/>
              <a:gd name="T31" fmla="*/ 488 h 646"/>
              <a:gd name="T32" fmla="*/ 215 w 577"/>
              <a:gd name="T33" fmla="*/ 495 h 646"/>
              <a:gd name="T34" fmla="*/ 347 w 577"/>
              <a:gd name="T35" fmla="*/ 502 h 646"/>
              <a:gd name="T36" fmla="*/ 364 w 577"/>
              <a:gd name="T37" fmla="*/ 219 h 646"/>
              <a:gd name="T38" fmla="*/ 350 w 577"/>
              <a:gd name="T39" fmla="*/ 216 h 646"/>
              <a:gd name="T40" fmla="*/ 227 w 577"/>
              <a:gd name="T41" fmla="*/ 216 h 646"/>
              <a:gd name="T42" fmla="*/ 213 w 577"/>
              <a:gd name="T43" fmla="*/ 219 h 646"/>
              <a:gd name="T44" fmla="*/ 364 w 577"/>
              <a:gd name="T45" fmla="*/ 219 h 646"/>
              <a:gd name="T46" fmla="*/ 364 w 577"/>
              <a:gd name="T47" fmla="*/ 213 h 646"/>
              <a:gd name="T48" fmla="*/ 447 w 577"/>
              <a:gd name="T49" fmla="*/ 80 h 646"/>
              <a:gd name="T50" fmla="*/ 430 w 577"/>
              <a:gd name="T51" fmla="*/ 37 h 646"/>
              <a:gd name="T52" fmla="*/ 377 w 577"/>
              <a:gd name="T53" fmla="*/ 51 h 646"/>
              <a:gd name="T54" fmla="*/ 341 w 577"/>
              <a:gd name="T55" fmla="*/ 28 h 646"/>
              <a:gd name="T56" fmla="*/ 236 w 577"/>
              <a:gd name="T57" fmla="*/ 28 h 646"/>
              <a:gd name="T58" fmla="*/ 200 w 577"/>
              <a:gd name="T59" fmla="*/ 51 h 646"/>
              <a:gd name="T60" fmla="*/ 185 w 577"/>
              <a:gd name="T61" fmla="*/ 47 h 646"/>
              <a:gd name="T62" fmla="*/ 119 w 577"/>
              <a:gd name="T63" fmla="*/ 51 h 646"/>
              <a:gd name="T64" fmla="*/ 134 w 577"/>
              <a:gd name="T65" fmla="*/ 83 h 646"/>
              <a:gd name="T66" fmla="*/ 0 w 577"/>
              <a:gd name="T67" fmla="*/ 462 h 646"/>
              <a:gd name="T68" fmla="*/ 577 w 577"/>
              <a:gd name="T69" fmla="*/ 462 h 646"/>
              <a:gd name="T70" fmla="*/ 200 w 577"/>
              <a:gd name="T71" fmla="*/ 65 h 646"/>
              <a:gd name="T72" fmla="*/ 243 w 577"/>
              <a:gd name="T73" fmla="*/ 41 h 646"/>
              <a:gd name="T74" fmla="*/ 289 w 577"/>
              <a:gd name="T75" fmla="*/ 14 h 646"/>
              <a:gd name="T76" fmla="*/ 334 w 577"/>
              <a:gd name="T77" fmla="*/ 41 h 646"/>
              <a:gd name="T78" fmla="*/ 399 w 577"/>
              <a:gd name="T79" fmla="*/ 59 h 646"/>
              <a:gd name="T80" fmla="*/ 445 w 577"/>
              <a:gd name="T81" fmla="*/ 56 h 646"/>
              <a:gd name="T82" fmla="*/ 435 w 577"/>
              <a:gd name="T83" fmla="*/ 72 h 646"/>
              <a:gd name="T84" fmla="*/ 355 w 577"/>
              <a:gd name="T85" fmla="*/ 224 h 646"/>
              <a:gd name="T86" fmla="*/ 289 w 577"/>
              <a:gd name="T87" fmla="*/ 632 h 646"/>
              <a:gd name="T88" fmla="*/ 222 w 577"/>
              <a:gd name="T89" fmla="*/ 224 h 646"/>
              <a:gd name="T90" fmla="*/ 142 w 577"/>
              <a:gd name="T91" fmla="*/ 72 h 646"/>
              <a:gd name="T92" fmla="*/ 132 w 577"/>
              <a:gd name="T93" fmla="*/ 56 h 646"/>
              <a:gd name="T94" fmla="*/ 179 w 577"/>
              <a:gd name="T95" fmla="*/ 59 h 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7" h="646">
                <a:moveTo>
                  <a:pt x="285" y="569"/>
                </a:moveTo>
                <a:cubicBezTo>
                  <a:pt x="281" y="569"/>
                  <a:pt x="278" y="566"/>
                  <a:pt x="278" y="562"/>
                </a:cubicBezTo>
                <a:cubicBezTo>
                  <a:pt x="278" y="449"/>
                  <a:pt x="278" y="449"/>
                  <a:pt x="278" y="449"/>
                </a:cubicBezTo>
                <a:cubicBezTo>
                  <a:pt x="278" y="446"/>
                  <a:pt x="281" y="442"/>
                  <a:pt x="285" y="442"/>
                </a:cubicBezTo>
                <a:cubicBezTo>
                  <a:pt x="288" y="442"/>
                  <a:pt x="292" y="446"/>
                  <a:pt x="292" y="449"/>
                </a:cubicBezTo>
                <a:cubicBezTo>
                  <a:pt x="292" y="562"/>
                  <a:pt x="292" y="562"/>
                  <a:pt x="292" y="562"/>
                </a:cubicBezTo>
                <a:cubicBezTo>
                  <a:pt x="292" y="566"/>
                  <a:pt x="288" y="569"/>
                  <a:pt x="285" y="569"/>
                </a:cubicBezTo>
                <a:close/>
                <a:moveTo>
                  <a:pt x="288" y="455"/>
                </a:moveTo>
                <a:cubicBezTo>
                  <a:pt x="292" y="453"/>
                  <a:pt x="293" y="449"/>
                  <a:pt x="290" y="446"/>
                </a:cubicBezTo>
                <a:cubicBezTo>
                  <a:pt x="216" y="328"/>
                  <a:pt x="216" y="328"/>
                  <a:pt x="216" y="328"/>
                </a:cubicBezTo>
                <a:cubicBezTo>
                  <a:pt x="214" y="325"/>
                  <a:pt x="209" y="324"/>
                  <a:pt x="206" y="326"/>
                </a:cubicBezTo>
                <a:cubicBezTo>
                  <a:pt x="203" y="328"/>
                  <a:pt x="202" y="333"/>
                  <a:pt x="204" y="336"/>
                </a:cubicBezTo>
                <a:cubicBezTo>
                  <a:pt x="279" y="453"/>
                  <a:pt x="279" y="453"/>
                  <a:pt x="279" y="453"/>
                </a:cubicBezTo>
                <a:cubicBezTo>
                  <a:pt x="280" y="455"/>
                  <a:pt x="282" y="456"/>
                  <a:pt x="285" y="456"/>
                </a:cubicBezTo>
                <a:cubicBezTo>
                  <a:pt x="286" y="456"/>
                  <a:pt x="287" y="456"/>
                  <a:pt x="288" y="455"/>
                </a:cubicBezTo>
                <a:close/>
                <a:moveTo>
                  <a:pt x="290" y="453"/>
                </a:moveTo>
                <a:cubicBezTo>
                  <a:pt x="365" y="336"/>
                  <a:pt x="365" y="336"/>
                  <a:pt x="365" y="336"/>
                </a:cubicBezTo>
                <a:cubicBezTo>
                  <a:pt x="367" y="333"/>
                  <a:pt x="366" y="328"/>
                  <a:pt x="363" y="326"/>
                </a:cubicBezTo>
                <a:cubicBezTo>
                  <a:pt x="360" y="324"/>
                  <a:pt x="356" y="325"/>
                  <a:pt x="353" y="328"/>
                </a:cubicBezTo>
                <a:cubicBezTo>
                  <a:pt x="279" y="446"/>
                  <a:pt x="279" y="446"/>
                  <a:pt x="279" y="446"/>
                </a:cubicBezTo>
                <a:cubicBezTo>
                  <a:pt x="277" y="449"/>
                  <a:pt x="278" y="453"/>
                  <a:pt x="281" y="455"/>
                </a:cubicBezTo>
                <a:cubicBezTo>
                  <a:pt x="282" y="456"/>
                  <a:pt x="283" y="456"/>
                  <a:pt x="285" y="456"/>
                </a:cubicBezTo>
                <a:cubicBezTo>
                  <a:pt x="287" y="456"/>
                  <a:pt x="289" y="455"/>
                  <a:pt x="290" y="453"/>
                </a:cubicBezTo>
                <a:close/>
                <a:moveTo>
                  <a:pt x="354" y="455"/>
                </a:moveTo>
                <a:cubicBezTo>
                  <a:pt x="354" y="451"/>
                  <a:pt x="351" y="448"/>
                  <a:pt x="347" y="448"/>
                </a:cubicBezTo>
                <a:cubicBezTo>
                  <a:pt x="222" y="448"/>
                  <a:pt x="222" y="448"/>
                  <a:pt x="222" y="448"/>
                </a:cubicBezTo>
                <a:cubicBezTo>
                  <a:pt x="218" y="448"/>
                  <a:pt x="215" y="451"/>
                  <a:pt x="215" y="455"/>
                </a:cubicBezTo>
                <a:cubicBezTo>
                  <a:pt x="215" y="459"/>
                  <a:pt x="218" y="462"/>
                  <a:pt x="222" y="462"/>
                </a:cubicBezTo>
                <a:cubicBezTo>
                  <a:pt x="347" y="462"/>
                  <a:pt x="347" y="462"/>
                  <a:pt x="347" y="462"/>
                </a:cubicBezTo>
                <a:cubicBezTo>
                  <a:pt x="351" y="462"/>
                  <a:pt x="354" y="459"/>
                  <a:pt x="354" y="455"/>
                </a:cubicBezTo>
                <a:close/>
                <a:moveTo>
                  <a:pt x="354" y="495"/>
                </a:moveTo>
                <a:cubicBezTo>
                  <a:pt x="354" y="492"/>
                  <a:pt x="351" y="488"/>
                  <a:pt x="347" y="488"/>
                </a:cubicBezTo>
                <a:cubicBezTo>
                  <a:pt x="222" y="488"/>
                  <a:pt x="222" y="488"/>
                  <a:pt x="222" y="488"/>
                </a:cubicBezTo>
                <a:cubicBezTo>
                  <a:pt x="218" y="488"/>
                  <a:pt x="215" y="492"/>
                  <a:pt x="215" y="495"/>
                </a:cubicBezTo>
                <a:cubicBezTo>
                  <a:pt x="215" y="499"/>
                  <a:pt x="218" y="502"/>
                  <a:pt x="222" y="502"/>
                </a:cubicBezTo>
                <a:cubicBezTo>
                  <a:pt x="347" y="502"/>
                  <a:pt x="347" y="502"/>
                  <a:pt x="347" y="502"/>
                </a:cubicBezTo>
                <a:cubicBezTo>
                  <a:pt x="351" y="502"/>
                  <a:pt x="354" y="499"/>
                  <a:pt x="354" y="495"/>
                </a:cubicBezTo>
                <a:close/>
                <a:moveTo>
                  <a:pt x="364" y="219"/>
                </a:moveTo>
                <a:cubicBezTo>
                  <a:pt x="365" y="215"/>
                  <a:pt x="363" y="212"/>
                  <a:pt x="359" y="211"/>
                </a:cubicBezTo>
                <a:cubicBezTo>
                  <a:pt x="355" y="210"/>
                  <a:pt x="351" y="213"/>
                  <a:pt x="350" y="216"/>
                </a:cubicBezTo>
                <a:cubicBezTo>
                  <a:pt x="350" y="216"/>
                  <a:pt x="342" y="231"/>
                  <a:pt x="289" y="231"/>
                </a:cubicBezTo>
                <a:cubicBezTo>
                  <a:pt x="233" y="231"/>
                  <a:pt x="227" y="216"/>
                  <a:pt x="227" y="216"/>
                </a:cubicBezTo>
                <a:cubicBezTo>
                  <a:pt x="227" y="216"/>
                  <a:pt x="227" y="216"/>
                  <a:pt x="227" y="216"/>
                </a:cubicBezTo>
                <a:cubicBezTo>
                  <a:pt x="213" y="219"/>
                  <a:pt x="213" y="219"/>
                  <a:pt x="213" y="219"/>
                </a:cubicBezTo>
                <a:cubicBezTo>
                  <a:pt x="214" y="224"/>
                  <a:pt x="222" y="245"/>
                  <a:pt x="289" y="245"/>
                </a:cubicBezTo>
                <a:cubicBezTo>
                  <a:pt x="355" y="245"/>
                  <a:pt x="363" y="224"/>
                  <a:pt x="364" y="219"/>
                </a:cubicBezTo>
                <a:close/>
                <a:moveTo>
                  <a:pt x="577" y="462"/>
                </a:moveTo>
                <a:cubicBezTo>
                  <a:pt x="577" y="344"/>
                  <a:pt x="452" y="245"/>
                  <a:pt x="364" y="213"/>
                </a:cubicBezTo>
                <a:cubicBezTo>
                  <a:pt x="366" y="181"/>
                  <a:pt x="381" y="134"/>
                  <a:pt x="443" y="83"/>
                </a:cubicBezTo>
                <a:cubicBezTo>
                  <a:pt x="445" y="81"/>
                  <a:pt x="447" y="80"/>
                  <a:pt x="447" y="80"/>
                </a:cubicBezTo>
                <a:cubicBezTo>
                  <a:pt x="461" y="67"/>
                  <a:pt x="461" y="57"/>
                  <a:pt x="458" y="51"/>
                </a:cubicBezTo>
                <a:cubicBezTo>
                  <a:pt x="455" y="42"/>
                  <a:pt x="444" y="37"/>
                  <a:pt x="430" y="37"/>
                </a:cubicBezTo>
                <a:cubicBezTo>
                  <a:pt x="418" y="37"/>
                  <a:pt x="405" y="41"/>
                  <a:pt x="392" y="47"/>
                </a:cubicBezTo>
                <a:cubicBezTo>
                  <a:pt x="387" y="49"/>
                  <a:pt x="382" y="51"/>
                  <a:pt x="377" y="51"/>
                </a:cubicBezTo>
                <a:cubicBezTo>
                  <a:pt x="365" y="51"/>
                  <a:pt x="355" y="43"/>
                  <a:pt x="344" y="31"/>
                </a:cubicBezTo>
                <a:cubicBezTo>
                  <a:pt x="341" y="28"/>
                  <a:pt x="341" y="28"/>
                  <a:pt x="341" y="28"/>
                </a:cubicBezTo>
                <a:cubicBezTo>
                  <a:pt x="328" y="15"/>
                  <a:pt x="314" y="0"/>
                  <a:pt x="289" y="0"/>
                </a:cubicBezTo>
                <a:cubicBezTo>
                  <a:pt x="263" y="0"/>
                  <a:pt x="249" y="15"/>
                  <a:pt x="236" y="28"/>
                </a:cubicBezTo>
                <a:cubicBezTo>
                  <a:pt x="233" y="31"/>
                  <a:pt x="233" y="31"/>
                  <a:pt x="233" y="31"/>
                </a:cubicBezTo>
                <a:cubicBezTo>
                  <a:pt x="222" y="43"/>
                  <a:pt x="212" y="51"/>
                  <a:pt x="200" y="51"/>
                </a:cubicBezTo>
                <a:cubicBezTo>
                  <a:pt x="200" y="51"/>
                  <a:pt x="200" y="51"/>
                  <a:pt x="200" y="51"/>
                </a:cubicBezTo>
                <a:cubicBezTo>
                  <a:pt x="195" y="51"/>
                  <a:pt x="190" y="49"/>
                  <a:pt x="185" y="47"/>
                </a:cubicBezTo>
                <a:cubicBezTo>
                  <a:pt x="172" y="41"/>
                  <a:pt x="159" y="37"/>
                  <a:pt x="147" y="37"/>
                </a:cubicBezTo>
                <a:cubicBezTo>
                  <a:pt x="133" y="37"/>
                  <a:pt x="122" y="42"/>
                  <a:pt x="119" y="51"/>
                </a:cubicBezTo>
                <a:cubicBezTo>
                  <a:pt x="117" y="57"/>
                  <a:pt x="116" y="67"/>
                  <a:pt x="130" y="80"/>
                </a:cubicBezTo>
                <a:cubicBezTo>
                  <a:pt x="130" y="80"/>
                  <a:pt x="132" y="81"/>
                  <a:pt x="134" y="83"/>
                </a:cubicBezTo>
                <a:cubicBezTo>
                  <a:pt x="196" y="134"/>
                  <a:pt x="211" y="181"/>
                  <a:pt x="213" y="213"/>
                </a:cubicBezTo>
                <a:cubicBezTo>
                  <a:pt x="125" y="245"/>
                  <a:pt x="0" y="344"/>
                  <a:pt x="0" y="462"/>
                </a:cubicBezTo>
                <a:cubicBezTo>
                  <a:pt x="0" y="579"/>
                  <a:pt x="47" y="646"/>
                  <a:pt x="289" y="646"/>
                </a:cubicBezTo>
                <a:cubicBezTo>
                  <a:pt x="530" y="646"/>
                  <a:pt x="577" y="579"/>
                  <a:pt x="577" y="462"/>
                </a:cubicBezTo>
                <a:close/>
                <a:moveTo>
                  <a:pt x="179" y="59"/>
                </a:moveTo>
                <a:cubicBezTo>
                  <a:pt x="186" y="63"/>
                  <a:pt x="193" y="65"/>
                  <a:pt x="200" y="65"/>
                </a:cubicBezTo>
                <a:cubicBezTo>
                  <a:pt x="200" y="65"/>
                  <a:pt x="200" y="65"/>
                  <a:pt x="200" y="65"/>
                </a:cubicBezTo>
                <a:cubicBezTo>
                  <a:pt x="218" y="65"/>
                  <a:pt x="231" y="53"/>
                  <a:pt x="243" y="41"/>
                </a:cubicBezTo>
                <a:cubicBezTo>
                  <a:pt x="246" y="37"/>
                  <a:pt x="246" y="37"/>
                  <a:pt x="246" y="37"/>
                </a:cubicBezTo>
                <a:cubicBezTo>
                  <a:pt x="258" y="25"/>
                  <a:pt x="269" y="14"/>
                  <a:pt x="289" y="14"/>
                </a:cubicBezTo>
                <a:cubicBezTo>
                  <a:pt x="308" y="14"/>
                  <a:pt x="319" y="25"/>
                  <a:pt x="331" y="37"/>
                </a:cubicBezTo>
                <a:cubicBezTo>
                  <a:pt x="334" y="41"/>
                  <a:pt x="334" y="41"/>
                  <a:pt x="334" y="41"/>
                </a:cubicBezTo>
                <a:cubicBezTo>
                  <a:pt x="346" y="53"/>
                  <a:pt x="359" y="65"/>
                  <a:pt x="377" y="65"/>
                </a:cubicBezTo>
                <a:cubicBezTo>
                  <a:pt x="384" y="65"/>
                  <a:pt x="391" y="63"/>
                  <a:pt x="399" y="59"/>
                </a:cubicBezTo>
                <a:cubicBezTo>
                  <a:pt x="409" y="54"/>
                  <a:pt x="420" y="51"/>
                  <a:pt x="430" y="51"/>
                </a:cubicBezTo>
                <a:cubicBezTo>
                  <a:pt x="439" y="51"/>
                  <a:pt x="444" y="54"/>
                  <a:pt x="445" y="56"/>
                </a:cubicBezTo>
                <a:cubicBezTo>
                  <a:pt x="446" y="58"/>
                  <a:pt x="444" y="63"/>
                  <a:pt x="438" y="70"/>
                </a:cubicBezTo>
                <a:cubicBezTo>
                  <a:pt x="437" y="70"/>
                  <a:pt x="436" y="71"/>
                  <a:pt x="435" y="72"/>
                </a:cubicBezTo>
                <a:cubicBezTo>
                  <a:pt x="365" y="129"/>
                  <a:pt x="350" y="183"/>
                  <a:pt x="350" y="218"/>
                </a:cubicBezTo>
                <a:cubicBezTo>
                  <a:pt x="350" y="221"/>
                  <a:pt x="352" y="223"/>
                  <a:pt x="355" y="224"/>
                </a:cubicBezTo>
                <a:cubicBezTo>
                  <a:pt x="439" y="253"/>
                  <a:pt x="563" y="349"/>
                  <a:pt x="563" y="462"/>
                </a:cubicBezTo>
                <a:cubicBezTo>
                  <a:pt x="563" y="573"/>
                  <a:pt x="519" y="632"/>
                  <a:pt x="289" y="632"/>
                </a:cubicBezTo>
                <a:cubicBezTo>
                  <a:pt x="58" y="632"/>
                  <a:pt x="14" y="573"/>
                  <a:pt x="14" y="462"/>
                </a:cubicBezTo>
                <a:cubicBezTo>
                  <a:pt x="14" y="349"/>
                  <a:pt x="138" y="253"/>
                  <a:pt x="222" y="224"/>
                </a:cubicBezTo>
                <a:cubicBezTo>
                  <a:pt x="225" y="223"/>
                  <a:pt x="227" y="221"/>
                  <a:pt x="227" y="218"/>
                </a:cubicBezTo>
                <a:cubicBezTo>
                  <a:pt x="227" y="183"/>
                  <a:pt x="212" y="129"/>
                  <a:pt x="142" y="72"/>
                </a:cubicBezTo>
                <a:cubicBezTo>
                  <a:pt x="141" y="71"/>
                  <a:pt x="140" y="70"/>
                  <a:pt x="140" y="70"/>
                </a:cubicBezTo>
                <a:cubicBezTo>
                  <a:pt x="133" y="63"/>
                  <a:pt x="131" y="58"/>
                  <a:pt x="132" y="56"/>
                </a:cubicBezTo>
                <a:cubicBezTo>
                  <a:pt x="133" y="54"/>
                  <a:pt x="138" y="51"/>
                  <a:pt x="147" y="51"/>
                </a:cubicBezTo>
                <a:cubicBezTo>
                  <a:pt x="157" y="51"/>
                  <a:pt x="168" y="54"/>
                  <a:pt x="179" y="59"/>
                </a:cubicBez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7191" name="Oval 30"/>
          <p:cNvSpPr>
            <a:spLocks noChangeArrowheads="1"/>
          </p:cNvSpPr>
          <p:nvPr/>
        </p:nvSpPr>
        <p:spPr bwMode="auto">
          <a:xfrm>
            <a:off x="10105564" y="3120088"/>
            <a:ext cx="1119124" cy="1119124"/>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8221" name="Freeform 112"/>
          <p:cNvSpPr>
            <a:spLocks noEditPoints="1"/>
          </p:cNvSpPr>
          <p:nvPr/>
        </p:nvSpPr>
        <p:spPr bwMode="auto">
          <a:xfrm>
            <a:off x="10361016" y="3339656"/>
            <a:ext cx="608220" cy="679990"/>
          </a:xfrm>
          <a:custGeom>
            <a:avLst/>
            <a:gdLst>
              <a:gd name="T0" fmla="*/ 210 w 577"/>
              <a:gd name="T1" fmla="*/ 508 h 646"/>
              <a:gd name="T2" fmla="*/ 219 w 577"/>
              <a:gd name="T3" fmla="*/ 497 h 646"/>
              <a:gd name="T4" fmla="*/ 353 w 577"/>
              <a:gd name="T5" fmla="*/ 489 h 646"/>
              <a:gd name="T6" fmla="*/ 296 w 577"/>
              <a:gd name="T7" fmla="*/ 441 h 646"/>
              <a:gd name="T8" fmla="*/ 222 w 577"/>
              <a:gd name="T9" fmla="*/ 384 h 646"/>
              <a:gd name="T10" fmla="*/ 367 w 577"/>
              <a:gd name="T11" fmla="*/ 354 h 646"/>
              <a:gd name="T12" fmla="*/ 360 w 577"/>
              <a:gd name="T13" fmla="*/ 366 h 646"/>
              <a:gd name="T14" fmla="*/ 236 w 577"/>
              <a:gd name="T15" fmla="*/ 384 h 646"/>
              <a:gd name="T16" fmla="*/ 299 w 577"/>
              <a:gd name="T17" fmla="*/ 427 h 646"/>
              <a:gd name="T18" fmla="*/ 367 w 577"/>
              <a:gd name="T19" fmla="*/ 489 h 646"/>
              <a:gd name="T20" fmla="*/ 302 w 577"/>
              <a:gd name="T21" fmla="*/ 582 h 646"/>
              <a:gd name="T22" fmla="*/ 295 w 577"/>
              <a:gd name="T23" fmla="*/ 293 h 646"/>
              <a:gd name="T24" fmla="*/ 288 w 577"/>
              <a:gd name="T25" fmla="*/ 582 h 646"/>
              <a:gd name="T26" fmla="*/ 302 w 577"/>
              <a:gd name="T27" fmla="*/ 582 h 646"/>
              <a:gd name="T28" fmla="*/ 359 w 577"/>
              <a:gd name="T29" fmla="*/ 211 h 646"/>
              <a:gd name="T30" fmla="*/ 289 w 577"/>
              <a:gd name="T31" fmla="*/ 231 h 646"/>
              <a:gd name="T32" fmla="*/ 227 w 577"/>
              <a:gd name="T33" fmla="*/ 216 h 646"/>
              <a:gd name="T34" fmla="*/ 289 w 577"/>
              <a:gd name="T35" fmla="*/ 245 h 646"/>
              <a:gd name="T36" fmla="*/ 577 w 577"/>
              <a:gd name="T37" fmla="*/ 462 h 646"/>
              <a:gd name="T38" fmla="*/ 444 w 577"/>
              <a:gd name="T39" fmla="*/ 83 h 646"/>
              <a:gd name="T40" fmla="*/ 458 w 577"/>
              <a:gd name="T41" fmla="*/ 51 h 646"/>
              <a:gd name="T42" fmla="*/ 393 w 577"/>
              <a:gd name="T43" fmla="*/ 47 h 646"/>
              <a:gd name="T44" fmla="*/ 344 w 577"/>
              <a:gd name="T45" fmla="*/ 31 h 646"/>
              <a:gd name="T46" fmla="*/ 289 w 577"/>
              <a:gd name="T47" fmla="*/ 0 h 646"/>
              <a:gd name="T48" fmla="*/ 233 w 577"/>
              <a:gd name="T49" fmla="*/ 31 h 646"/>
              <a:gd name="T50" fmla="*/ 200 w 577"/>
              <a:gd name="T51" fmla="*/ 51 h 646"/>
              <a:gd name="T52" fmla="*/ 147 w 577"/>
              <a:gd name="T53" fmla="*/ 37 h 646"/>
              <a:gd name="T54" fmla="*/ 130 w 577"/>
              <a:gd name="T55" fmla="*/ 80 h 646"/>
              <a:gd name="T56" fmla="*/ 213 w 577"/>
              <a:gd name="T57" fmla="*/ 213 h 646"/>
              <a:gd name="T58" fmla="*/ 289 w 577"/>
              <a:gd name="T59" fmla="*/ 646 h 646"/>
              <a:gd name="T60" fmla="*/ 179 w 577"/>
              <a:gd name="T61" fmla="*/ 59 h 646"/>
              <a:gd name="T62" fmla="*/ 200 w 577"/>
              <a:gd name="T63" fmla="*/ 65 h 646"/>
              <a:gd name="T64" fmla="*/ 246 w 577"/>
              <a:gd name="T65" fmla="*/ 37 h 646"/>
              <a:gd name="T66" fmla="*/ 331 w 577"/>
              <a:gd name="T67" fmla="*/ 37 h 646"/>
              <a:gd name="T68" fmla="*/ 377 w 577"/>
              <a:gd name="T69" fmla="*/ 65 h 646"/>
              <a:gd name="T70" fmla="*/ 430 w 577"/>
              <a:gd name="T71" fmla="*/ 51 h 646"/>
              <a:gd name="T72" fmla="*/ 438 w 577"/>
              <a:gd name="T73" fmla="*/ 70 h 646"/>
              <a:gd name="T74" fmla="*/ 350 w 577"/>
              <a:gd name="T75" fmla="*/ 218 h 646"/>
              <a:gd name="T76" fmla="*/ 563 w 577"/>
              <a:gd name="T77" fmla="*/ 462 h 646"/>
              <a:gd name="T78" fmla="*/ 14 w 577"/>
              <a:gd name="T79" fmla="*/ 462 h 646"/>
              <a:gd name="T80" fmla="*/ 227 w 577"/>
              <a:gd name="T81" fmla="*/ 218 h 646"/>
              <a:gd name="T82" fmla="*/ 140 w 577"/>
              <a:gd name="T83" fmla="*/ 70 h 646"/>
              <a:gd name="T84" fmla="*/ 147 w 577"/>
              <a:gd name="T85" fmla="*/ 51 h 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77" h="646">
                <a:moveTo>
                  <a:pt x="297" y="542"/>
                </a:moveTo>
                <a:cubicBezTo>
                  <a:pt x="272" y="542"/>
                  <a:pt x="233" y="526"/>
                  <a:pt x="210" y="508"/>
                </a:cubicBezTo>
                <a:cubicBezTo>
                  <a:pt x="207" y="505"/>
                  <a:pt x="206" y="501"/>
                  <a:pt x="209" y="498"/>
                </a:cubicBezTo>
                <a:cubicBezTo>
                  <a:pt x="211" y="495"/>
                  <a:pt x="216" y="494"/>
                  <a:pt x="219" y="497"/>
                </a:cubicBezTo>
                <a:cubicBezTo>
                  <a:pt x="239" y="513"/>
                  <a:pt x="275" y="528"/>
                  <a:pt x="297" y="528"/>
                </a:cubicBezTo>
                <a:cubicBezTo>
                  <a:pt x="349" y="528"/>
                  <a:pt x="353" y="498"/>
                  <a:pt x="353" y="489"/>
                </a:cubicBezTo>
                <a:cubicBezTo>
                  <a:pt x="353" y="457"/>
                  <a:pt x="330" y="449"/>
                  <a:pt x="303" y="443"/>
                </a:cubicBezTo>
                <a:cubicBezTo>
                  <a:pt x="301" y="442"/>
                  <a:pt x="298" y="442"/>
                  <a:pt x="296" y="441"/>
                </a:cubicBezTo>
                <a:cubicBezTo>
                  <a:pt x="293" y="440"/>
                  <a:pt x="291" y="440"/>
                  <a:pt x="288" y="439"/>
                </a:cubicBezTo>
                <a:cubicBezTo>
                  <a:pt x="265" y="434"/>
                  <a:pt x="222" y="424"/>
                  <a:pt x="222" y="384"/>
                </a:cubicBezTo>
                <a:cubicBezTo>
                  <a:pt x="222" y="344"/>
                  <a:pt x="262" y="329"/>
                  <a:pt x="295" y="329"/>
                </a:cubicBezTo>
                <a:cubicBezTo>
                  <a:pt x="317" y="329"/>
                  <a:pt x="344" y="339"/>
                  <a:pt x="367" y="354"/>
                </a:cubicBezTo>
                <a:cubicBezTo>
                  <a:pt x="370" y="356"/>
                  <a:pt x="371" y="361"/>
                  <a:pt x="369" y="364"/>
                </a:cubicBezTo>
                <a:cubicBezTo>
                  <a:pt x="367" y="367"/>
                  <a:pt x="363" y="368"/>
                  <a:pt x="360" y="366"/>
                </a:cubicBezTo>
                <a:cubicBezTo>
                  <a:pt x="338" y="352"/>
                  <a:pt x="314" y="343"/>
                  <a:pt x="295" y="343"/>
                </a:cubicBezTo>
                <a:cubicBezTo>
                  <a:pt x="239" y="343"/>
                  <a:pt x="236" y="377"/>
                  <a:pt x="236" y="384"/>
                </a:cubicBezTo>
                <a:cubicBezTo>
                  <a:pt x="236" y="410"/>
                  <a:pt x="263" y="419"/>
                  <a:pt x="291" y="425"/>
                </a:cubicBezTo>
                <a:cubicBezTo>
                  <a:pt x="294" y="426"/>
                  <a:pt x="297" y="427"/>
                  <a:pt x="299" y="427"/>
                </a:cubicBezTo>
                <a:cubicBezTo>
                  <a:pt x="301" y="428"/>
                  <a:pt x="304" y="429"/>
                  <a:pt x="307" y="429"/>
                </a:cubicBezTo>
                <a:cubicBezTo>
                  <a:pt x="328" y="434"/>
                  <a:pt x="367" y="443"/>
                  <a:pt x="367" y="489"/>
                </a:cubicBezTo>
                <a:cubicBezTo>
                  <a:pt x="367" y="528"/>
                  <a:pt x="331" y="542"/>
                  <a:pt x="297" y="542"/>
                </a:cubicBezTo>
                <a:close/>
                <a:moveTo>
                  <a:pt x="302" y="582"/>
                </a:moveTo>
                <a:cubicBezTo>
                  <a:pt x="302" y="300"/>
                  <a:pt x="302" y="300"/>
                  <a:pt x="302" y="300"/>
                </a:cubicBezTo>
                <a:cubicBezTo>
                  <a:pt x="302" y="297"/>
                  <a:pt x="299" y="293"/>
                  <a:pt x="295" y="293"/>
                </a:cubicBezTo>
                <a:cubicBezTo>
                  <a:pt x="292" y="293"/>
                  <a:pt x="288" y="297"/>
                  <a:pt x="288" y="300"/>
                </a:cubicBezTo>
                <a:cubicBezTo>
                  <a:pt x="288" y="582"/>
                  <a:pt x="288" y="582"/>
                  <a:pt x="288" y="582"/>
                </a:cubicBezTo>
                <a:cubicBezTo>
                  <a:pt x="288" y="586"/>
                  <a:pt x="292" y="589"/>
                  <a:pt x="295" y="589"/>
                </a:cubicBezTo>
                <a:cubicBezTo>
                  <a:pt x="299" y="589"/>
                  <a:pt x="302" y="586"/>
                  <a:pt x="302" y="582"/>
                </a:cubicBezTo>
                <a:close/>
                <a:moveTo>
                  <a:pt x="364" y="219"/>
                </a:moveTo>
                <a:cubicBezTo>
                  <a:pt x="365" y="215"/>
                  <a:pt x="363" y="212"/>
                  <a:pt x="359" y="211"/>
                </a:cubicBezTo>
                <a:cubicBezTo>
                  <a:pt x="355" y="210"/>
                  <a:pt x="351" y="213"/>
                  <a:pt x="351" y="216"/>
                </a:cubicBezTo>
                <a:cubicBezTo>
                  <a:pt x="351" y="216"/>
                  <a:pt x="342" y="231"/>
                  <a:pt x="289" y="231"/>
                </a:cubicBezTo>
                <a:cubicBezTo>
                  <a:pt x="233" y="231"/>
                  <a:pt x="227" y="216"/>
                  <a:pt x="227" y="216"/>
                </a:cubicBezTo>
                <a:cubicBezTo>
                  <a:pt x="227" y="216"/>
                  <a:pt x="227" y="216"/>
                  <a:pt x="227" y="216"/>
                </a:cubicBezTo>
                <a:cubicBezTo>
                  <a:pt x="213" y="219"/>
                  <a:pt x="213" y="219"/>
                  <a:pt x="213" y="219"/>
                </a:cubicBezTo>
                <a:cubicBezTo>
                  <a:pt x="214" y="224"/>
                  <a:pt x="222" y="245"/>
                  <a:pt x="289" y="245"/>
                </a:cubicBezTo>
                <a:cubicBezTo>
                  <a:pt x="355" y="245"/>
                  <a:pt x="363" y="224"/>
                  <a:pt x="364" y="219"/>
                </a:cubicBezTo>
                <a:close/>
                <a:moveTo>
                  <a:pt x="577" y="462"/>
                </a:moveTo>
                <a:cubicBezTo>
                  <a:pt x="577" y="344"/>
                  <a:pt x="452" y="245"/>
                  <a:pt x="365" y="213"/>
                </a:cubicBezTo>
                <a:cubicBezTo>
                  <a:pt x="366" y="181"/>
                  <a:pt x="381" y="134"/>
                  <a:pt x="444" y="83"/>
                </a:cubicBezTo>
                <a:cubicBezTo>
                  <a:pt x="446" y="81"/>
                  <a:pt x="447" y="80"/>
                  <a:pt x="447" y="80"/>
                </a:cubicBezTo>
                <a:cubicBezTo>
                  <a:pt x="461" y="67"/>
                  <a:pt x="461" y="57"/>
                  <a:pt x="458" y="51"/>
                </a:cubicBezTo>
                <a:cubicBezTo>
                  <a:pt x="455" y="42"/>
                  <a:pt x="445" y="37"/>
                  <a:pt x="430" y="37"/>
                </a:cubicBezTo>
                <a:cubicBezTo>
                  <a:pt x="418" y="37"/>
                  <a:pt x="405" y="41"/>
                  <a:pt x="393" y="47"/>
                </a:cubicBezTo>
                <a:cubicBezTo>
                  <a:pt x="387" y="49"/>
                  <a:pt x="382" y="51"/>
                  <a:pt x="377" y="51"/>
                </a:cubicBezTo>
                <a:cubicBezTo>
                  <a:pt x="365" y="51"/>
                  <a:pt x="356" y="43"/>
                  <a:pt x="344" y="31"/>
                </a:cubicBezTo>
                <a:cubicBezTo>
                  <a:pt x="341" y="28"/>
                  <a:pt x="341" y="28"/>
                  <a:pt x="341" y="28"/>
                </a:cubicBezTo>
                <a:cubicBezTo>
                  <a:pt x="329" y="15"/>
                  <a:pt x="314" y="0"/>
                  <a:pt x="289" y="0"/>
                </a:cubicBezTo>
                <a:cubicBezTo>
                  <a:pt x="263" y="0"/>
                  <a:pt x="249" y="15"/>
                  <a:pt x="236" y="28"/>
                </a:cubicBezTo>
                <a:cubicBezTo>
                  <a:pt x="233" y="31"/>
                  <a:pt x="233" y="31"/>
                  <a:pt x="233" y="31"/>
                </a:cubicBezTo>
                <a:cubicBezTo>
                  <a:pt x="222" y="43"/>
                  <a:pt x="212" y="51"/>
                  <a:pt x="200" y="51"/>
                </a:cubicBezTo>
                <a:cubicBezTo>
                  <a:pt x="200" y="51"/>
                  <a:pt x="200" y="51"/>
                  <a:pt x="200" y="51"/>
                </a:cubicBezTo>
                <a:cubicBezTo>
                  <a:pt x="196" y="51"/>
                  <a:pt x="190" y="49"/>
                  <a:pt x="185" y="47"/>
                </a:cubicBezTo>
                <a:cubicBezTo>
                  <a:pt x="172" y="41"/>
                  <a:pt x="159" y="37"/>
                  <a:pt x="147" y="37"/>
                </a:cubicBezTo>
                <a:cubicBezTo>
                  <a:pt x="133" y="37"/>
                  <a:pt x="123" y="42"/>
                  <a:pt x="119" y="51"/>
                </a:cubicBezTo>
                <a:cubicBezTo>
                  <a:pt x="117" y="57"/>
                  <a:pt x="117" y="67"/>
                  <a:pt x="130" y="80"/>
                </a:cubicBezTo>
                <a:cubicBezTo>
                  <a:pt x="131" y="80"/>
                  <a:pt x="132" y="81"/>
                  <a:pt x="134" y="83"/>
                </a:cubicBezTo>
                <a:cubicBezTo>
                  <a:pt x="196" y="134"/>
                  <a:pt x="212" y="181"/>
                  <a:pt x="213" y="213"/>
                </a:cubicBezTo>
                <a:cubicBezTo>
                  <a:pt x="125" y="245"/>
                  <a:pt x="0" y="344"/>
                  <a:pt x="0" y="462"/>
                </a:cubicBezTo>
                <a:cubicBezTo>
                  <a:pt x="0" y="579"/>
                  <a:pt x="47" y="646"/>
                  <a:pt x="289" y="646"/>
                </a:cubicBezTo>
                <a:cubicBezTo>
                  <a:pt x="530" y="646"/>
                  <a:pt x="577" y="579"/>
                  <a:pt x="577" y="462"/>
                </a:cubicBezTo>
                <a:close/>
                <a:moveTo>
                  <a:pt x="179" y="59"/>
                </a:moveTo>
                <a:cubicBezTo>
                  <a:pt x="186" y="63"/>
                  <a:pt x="193" y="65"/>
                  <a:pt x="200" y="65"/>
                </a:cubicBezTo>
                <a:cubicBezTo>
                  <a:pt x="200" y="65"/>
                  <a:pt x="200" y="65"/>
                  <a:pt x="200" y="65"/>
                </a:cubicBezTo>
                <a:cubicBezTo>
                  <a:pt x="218" y="65"/>
                  <a:pt x="231" y="53"/>
                  <a:pt x="243" y="41"/>
                </a:cubicBezTo>
                <a:cubicBezTo>
                  <a:pt x="246" y="37"/>
                  <a:pt x="246" y="37"/>
                  <a:pt x="246" y="37"/>
                </a:cubicBezTo>
                <a:cubicBezTo>
                  <a:pt x="259" y="25"/>
                  <a:pt x="269" y="14"/>
                  <a:pt x="289" y="14"/>
                </a:cubicBezTo>
                <a:cubicBezTo>
                  <a:pt x="308" y="14"/>
                  <a:pt x="319" y="25"/>
                  <a:pt x="331" y="37"/>
                </a:cubicBezTo>
                <a:cubicBezTo>
                  <a:pt x="334" y="41"/>
                  <a:pt x="334" y="41"/>
                  <a:pt x="334" y="41"/>
                </a:cubicBezTo>
                <a:cubicBezTo>
                  <a:pt x="346" y="53"/>
                  <a:pt x="359" y="65"/>
                  <a:pt x="377" y="65"/>
                </a:cubicBezTo>
                <a:cubicBezTo>
                  <a:pt x="384" y="65"/>
                  <a:pt x="391" y="63"/>
                  <a:pt x="399" y="59"/>
                </a:cubicBezTo>
                <a:cubicBezTo>
                  <a:pt x="409" y="54"/>
                  <a:pt x="420" y="51"/>
                  <a:pt x="430" y="51"/>
                </a:cubicBezTo>
                <a:cubicBezTo>
                  <a:pt x="439" y="51"/>
                  <a:pt x="444" y="54"/>
                  <a:pt x="445" y="56"/>
                </a:cubicBezTo>
                <a:cubicBezTo>
                  <a:pt x="446" y="58"/>
                  <a:pt x="445" y="63"/>
                  <a:pt x="438" y="70"/>
                </a:cubicBezTo>
                <a:cubicBezTo>
                  <a:pt x="437" y="70"/>
                  <a:pt x="436" y="71"/>
                  <a:pt x="435" y="72"/>
                </a:cubicBezTo>
                <a:cubicBezTo>
                  <a:pt x="365" y="129"/>
                  <a:pt x="350" y="183"/>
                  <a:pt x="350" y="218"/>
                </a:cubicBezTo>
                <a:cubicBezTo>
                  <a:pt x="350" y="221"/>
                  <a:pt x="352" y="223"/>
                  <a:pt x="355" y="224"/>
                </a:cubicBezTo>
                <a:cubicBezTo>
                  <a:pt x="439" y="253"/>
                  <a:pt x="563" y="349"/>
                  <a:pt x="563" y="462"/>
                </a:cubicBezTo>
                <a:cubicBezTo>
                  <a:pt x="563" y="573"/>
                  <a:pt x="520" y="632"/>
                  <a:pt x="289" y="632"/>
                </a:cubicBezTo>
                <a:cubicBezTo>
                  <a:pt x="58" y="632"/>
                  <a:pt x="14" y="573"/>
                  <a:pt x="14" y="462"/>
                </a:cubicBezTo>
                <a:cubicBezTo>
                  <a:pt x="14" y="349"/>
                  <a:pt x="138" y="253"/>
                  <a:pt x="222" y="224"/>
                </a:cubicBezTo>
                <a:cubicBezTo>
                  <a:pt x="225" y="223"/>
                  <a:pt x="227" y="221"/>
                  <a:pt x="227" y="218"/>
                </a:cubicBezTo>
                <a:cubicBezTo>
                  <a:pt x="227" y="183"/>
                  <a:pt x="212" y="129"/>
                  <a:pt x="143" y="72"/>
                </a:cubicBezTo>
                <a:cubicBezTo>
                  <a:pt x="141" y="71"/>
                  <a:pt x="140" y="70"/>
                  <a:pt x="140" y="70"/>
                </a:cubicBezTo>
                <a:cubicBezTo>
                  <a:pt x="133" y="63"/>
                  <a:pt x="131" y="58"/>
                  <a:pt x="132" y="56"/>
                </a:cubicBezTo>
                <a:cubicBezTo>
                  <a:pt x="133" y="54"/>
                  <a:pt x="138" y="51"/>
                  <a:pt x="147" y="51"/>
                </a:cubicBezTo>
                <a:cubicBezTo>
                  <a:pt x="157" y="51"/>
                  <a:pt x="168" y="54"/>
                  <a:pt x="179" y="59"/>
                </a:cubicBez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7190" name="Oval 29"/>
          <p:cNvSpPr>
            <a:spLocks noChangeArrowheads="1"/>
          </p:cNvSpPr>
          <p:nvPr/>
        </p:nvSpPr>
        <p:spPr bwMode="auto">
          <a:xfrm>
            <a:off x="8347593" y="1528549"/>
            <a:ext cx="1119124" cy="1119124"/>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8223" name="Freeform 114"/>
          <p:cNvSpPr>
            <a:spLocks noEditPoints="1"/>
          </p:cNvSpPr>
          <p:nvPr/>
        </p:nvSpPr>
        <p:spPr bwMode="auto">
          <a:xfrm>
            <a:off x="8617936" y="1777311"/>
            <a:ext cx="577220" cy="621601"/>
          </a:xfrm>
          <a:custGeom>
            <a:avLst/>
            <a:gdLst>
              <a:gd name="T0" fmla="*/ 442 w 548"/>
              <a:gd name="T1" fmla="*/ 53 h 591"/>
              <a:gd name="T2" fmla="*/ 413 w 548"/>
              <a:gd name="T3" fmla="*/ 0 h 591"/>
              <a:gd name="T4" fmla="*/ 384 w 548"/>
              <a:gd name="T5" fmla="*/ 53 h 591"/>
              <a:gd name="T6" fmla="*/ 163 w 548"/>
              <a:gd name="T7" fmla="*/ 29 h 591"/>
              <a:gd name="T8" fmla="*/ 105 w 548"/>
              <a:gd name="T9" fmla="*/ 29 h 591"/>
              <a:gd name="T10" fmla="*/ 7 w 548"/>
              <a:gd name="T11" fmla="*/ 53 h 591"/>
              <a:gd name="T12" fmla="*/ 0 w 548"/>
              <a:gd name="T13" fmla="*/ 584 h 591"/>
              <a:gd name="T14" fmla="*/ 541 w 548"/>
              <a:gd name="T15" fmla="*/ 591 h 591"/>
              <a:gd name="T16" fmla="*/ 548 w 548"/>
              <a:gd name="T17" fmla="*/ 60 h 591"/>
              <a:gd name="T18" fmla="*/ 398 w 548"/>
              <a:gd name="T19" fmla="*/ 29 h 591"/>
              <a:gd name="T20" fmla="*/ 428 w 548"/>
              <a:gd name="T21" fmla="*/ 29 h 591"/>
              <a:gd name="T22" fmla="*/ 413 w 548"/>
              <a:gd name="T23" fmla="*/ 106 h 591"/>
              <a:gd name="T24" fmla="*/ 398 w 548"/>
              <a:gd name="T25" fmla="*/ 29 h 591"/>
              <a:gd name="T26" fmla="*/ 134 w 548"/>
              <a:gd name="T27" fmla="*/ 14 h 591"/>
              <a:gd name="T28" fmla="*/ 149 w 548"/>
              <a:gd name="T29" fmla="*/ 92 h 591"/>
              <a:gd name="T30" fmla="*/ 119 w 548"/>
              <a:gd name="T31" fmla="*/ 92 h 591"/>
              <a:gd name="T32" fmla="*/ 105 w 548"/>
              <a:gd name="T33" fmla="*/ 67 h 591"/>
              <a:gd name="T34" fmla="*/ 134 w 548"/>
              <a:gd name="T35" fmla="*/ 120 h 591"/>
              <a:gd name="T36" fmla="*/ 163 w 548"/>
              <a:gd name="T37" fmla="*/ 67 h 591"/>
              <a:gd name="T38" fmla="*/ 384 w 548"/>
              <a:gd name="T39" fmla="*/ 92 h 591"/>
              <a:gd name="T40" fmla="*/ 442 w 548"/>
              <a:gd name="T41" fmla="*/ 92 h 591"/>
              <a:gd name="T42" fmla="*/ 534 w 548"/>
              <a:gd name="T43" fmla="*/ 67 h 591"/>
              <a:gd name="T44" fmla="*/ 14 w 548"/>
              <a:gd name="T45" fmla="*/ 177 h 591"/>
              <a:gd name="T46" fmla="*/ 105 w 548"/>
              <a:gd name="T47" fmla="*/ 67 h 591"/>
              <a:gd name="T48" fmla="*/ 14 w 548"/>
              <a:gd name="T49" fmla="*/ 191 h 591"/>
              <a:gd name="T50" fmla="*/ 534 w 548"/>
              <a:gd name="T51" fmla="*/ 577 h 591"/>
              <a:gd name="T52" fmla="*/ 436 w 548"/>
              <a:gd name="T53" fmla="*/ 260 h 591"/>
              <a:gd name="T54" fmla="*/ 223 w 548"/>
              <a:gd name="T55" fmla="*/ 521 h 591"/>
              <a:gd name="T56" fmla="*/ 218 w 548"/>
              <a:gd name="T57" fmla="*/ 520 h 591"/>
              <a:gd name="T58" fmla="*/ 113 w 548"/>
              <a:gd name="T59" fmla="*/ 417 h 591"/>
              <a:gd name="T60" fmla="*/ 221 w 548"/>
              <a:gd name="T61" fmla="*/ 504 h 591"/>
              <a:gd name="T62" fmla="*/ 435 w 548"/>
              <a:gd name="T63" fmla="*/ 250 h 5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48" h="591">
                <a:moveTo>
                  <a:pt x="541" y="53"/>
                </a:moveTo>
                <a:cubicBezTo>
                  <a:pt x="442" y="53"/>
                  <a:pt x="442" y="53"/>
                  <a:pt x="442" y="53"/>
                </a:cubicBezTo>
                <a:cubicBezTo>
                  <a:pt x="442" y="29"/>
                  <a:pt x="442" y="29"/>
                  <a:pt x="442" y="29"/>
                </a:cubicBezTo>
                <a:cubicBezTo>
                  <a:pt x="442" y="13"/>
                  <a:pt x="429" y="0"/>
                  <a:pt x="413" y="0"/>
                </a:cubicBezTo>
                <a:cubicBezTo>
                  <a:pt x="397" y="0"/>
                  <a:pt x="384" y="13"/>
                  <a:pt x="384" y="29"/>
                </a:cubicBezTo>
                <a:cubicBezTo>
                  <a:pt x="384" y="53"/>
                  <a:pt x="384" y="53"/>
                  <a:pt x="384" y="53"/>
                </a:cubicBezTo>
                <a:cubicBezTo>
                  <a:pt x="163" y="53"/>
                  <a:pt x="163" y="53"/>
                  <a:pt x="163" y="53"/>
                </a:cubicBezTo>
                <a:cubicBezTo>
                  <a:pt x="163" y="29"/>
                  <a:pt x="163" y="29"/>
                  <a:pt x="163" y="29"/>
                </a:cubicBezTo>
                <a:cubicBezTo>
                  <a:pt x="163" y="13"/>
                  <a:pt x="150" y="0"/>
                  <a:pt x="134" y="0"/>
                </a:cubicBezTo>
                <a:cubicBezTo>
                  <a:pt x="118" y="0"/>
                  <a:pt x="105" y="13"/>
                  <a:pt x="105" y="29"/>
                </a:cubicBezTo>
                <a:cubicBezTo>
                  <a:pt x="105" y="53"/>
                  <a:pt x="105" y="53"/>
                  <a:pt x="105" y="53"/>
                </a:cubicBezTo>
                <a:cubicBezTo>
                  <a:pt x="7" y="53"/>
                  <a:pt x="7" y="53"/>
                  <a:pt x="7" y="53"/>
                </a:cubicBezTo>
                <a:cubicBezTo>
                  <a:pt x="3" y="53"/>
                  <a:pt x="0" y="56"/>
                  <a:pt x="0" y="60"/>
                </a:cubicBezTo>
                <a:cubicBezTo>
                  <a:pt x="0" y="584"/>
                  <a:pt x="0" y="584"/>
                  <a:pt x="0" y="584"/>
                </a:cubicBezTo>
                <a:cubicBezTo>
                  <a:pt x="0" y="587"/>
                  <a:pt x="3" y="591"/>
                  <a:pt x="7" y="591"/>
                </a:cubicBezTo>
                <a:cubicBezTo>
                  <a:pt x="541" y="591"/>
                  <a:pt x="541" y="591"/>
                  <a:pt x="541" y="591"/>
                </a:cubicBezTo>
                <a:cubicBezTo>
                  <a:pt x="544" y="591"/>
                  <a:pt x="548" y="587"/>
                  <a:pt x="548" y="584"/>
                </a:cubicBezTo>
                <a:cubicBezTo>
                  <a:pt x="548" y="60"/>
                  <a:pt x="548" y="60"/>
                  <a:pt x="548" y="60"/>
                </a:cubicBezTo>
                <a:cubicBezTo>
                  <a:pt x="548" y="56"/>
                  <a:pt x="544" y="53"/>
                  <a:pt x="541" y="53"/>
                </a:cubicBezTo>
                <a:close/>
                <a:moveTo>
                  <a:pt x="398" y="29"/>
                </a:moveTo>
                <a:cubicBezTo>
                  <a:pt x="398" y="20"/>
                  <a:pt x="405" y="14"/>
                  <a:pt x="413" y="14"/>
                </a:cubicBezTo>
                <a:cubicBezTo>
                  <a:pt x="422" y="14"/>
                  <a:pt x="428" y="20"/>
                  <a:pt x="428" y="29"/>
                </a:cubicBezTo>
                <a:cubicBezTo>
                  <a:pt x="428" y="92"/>
                  <a:pt x="428" y="92"/>
                  <a:pt x="428" y="92"/>
                </a:cubicBezTo>
                <a:cubicBezTo>
                  <a:pt x="428" y="100"/>
                  <a:pt x="422" y="106"/>
                  <a:pt x="413" y="106"/>
                </a:cubicBezTo>
                <a:cubicBezTo>
                  <a:pt x="405" y="106"/>
                  <a:pt x="398" y="100"/>
                  <a:pt x="398" y="92"/>
                </a:cubicBezTo>
                <a:lnTo>
                  <a:pt x="398" y="29"/>
                </a:lnTo>
                <a:close/>
                <a:moveTo>
                  <a:pt x="119" y="29"/>
                </a:moveTo>
                <a:cubicBezTo>
                  <a:pt x="119" y="20"/>
                  <a:pt x="126" y="14"/>
                  <a:pt x="134" y="14"/>
                </a:cubicBezTo>
                <a:cubicBezTo>
                  <a:pt x="142" y="14"/>
                  <a:pt x="149" y="20"/>
                  <a:pt x="149" y="29"/>
                </a:cubicBezTo>
                <a:cubicBezTo>
                  <a:pt x="149" y="92"/>
                  <a:pt x="149" y="92"/>
                  <a:pt x="149" y="92"/>
                </a:cubicBezTo>
                <a:cubicBezTo>
                  <a:pt x="149" y="100"/>
                  <a:pt x="142" y="106"/>
                  <a:pt x="134" y="106"/>
                </a:cubicBezTo>
                <a:cubicBezTo>
                  <a:pt x="126" y="106"/>
                  <a:pt x="119" y="100"/>
                  <a:pt x="119" y="92"/>
                </a:cubicBezTo>
                <a:lnTo>
                  <a:pt x="119" y="29"/>
                </a:lnTo>
                <a:close/>
                <a:moveTo>
                  <a:pt x="105" y="67"/>
                </a:moveTo>
                <a:cubicBezTo>
                  <a:pt x="105" y="92"/>
                  <a:pt x="105" y="92"/>
                  <a:pt x="105" y="92"/>
                </a:cubicBezTo>
                <a:cubicBezTo>
                  <a:pt x="105" y="107"/>
                  <a:pt x="118" y="120"/>
                  <a:pt x="134" y="120"/>
                </a:cubicBezTo>
                <a:cubicBezTo>
                  <a:pt x="150" y="120"/>
                  <a:pt x="163" y="107"/>
                  <a:pt x="163" y="92"/>
                </a:cubicBezTo>
                <a:cubicBezTo>
                  <a:pt x="163" y="67"/>
                  <a:pt x="163" y="67"/>
                  <a:pt x="163" y="67"/>
                </a:cubicBezTo>
                <a:cubicBezTo>
                  <a:pt x="384" y="67"/>
                  <a:pt x="384" y="67"/>
                  <a:pt x="384" y="67"/>
                </a:cubicBezTo>
                <a:cubicBezTo>
                  <a:pt x="384" y="92"/>
                  <a:pt x="384" y="92"/>
                  <a:pt x="384" y="92"/>
                </a:cubicBezTo>
                <a:cubicBezTo>
                  <a:pt x="384" y="107"/>
                  <a:pt x="397" y="120"/>
                  <a:pt x="413" y="120"/>
                </a:cubicBezTo>
                <a:cubicBezTo>
                  <a:pt x="429" y="120"/>
                  <a:pt x="442" y="107"/>
                  <a:pt x="442" y="92"/>
                </a:cubicBezTo>
                <a:cubicBezTo>
                  <a:pt x="442" y="67"/>
                  <a:pt x="442" y="67"/>
                  <a:pt x="442" y="67"/>
                </a:cubicBezTo>
                <a:cubicBezTo>
                  <a:pt x="534" y="67"/>
                  <a:pt x="534" y="67"/>
                  <a:pt x="534" y="67"/>
                </a:cubicBezTo>
                <a:cubicBezTo>
                  <a:pt x="534" y="177"/>
                  <a:pt x="534" y="177"/>
                  <a:pt x="534" y="177"/>
                </a:cubicBezTo>
                <a:cubicBezTo>
                  <a:pt x="14" y="177"/>
                  <a:pt x="14" y="177"/>
                  <a:pt x="14" y="177"/>
                </a:cubicBezTo>
                <a:cubicBezTo>
                  <a:pt x="14" y="67"/>
                  <a:pt x="14" y="67"/>
                  <a:pt x="14" y="67"/>
                </a:cubicBezTo>
                <a:lnTo>
                  <a:pt x="105" y="67"/>
                </a:lnTo>
                <a:close/>
                <a:moveTo>
                  <a:pt x="14" y="577"/>
                </a:moveTo>
                <a:cubicBezTo>
                  <a:pt x="14" y="191"/>
                  <a:pt x="14" y="191"/>
                  <a:pt x="14" y="191"/>
                </a:cubicBezTo>
                <a:cubicBezTo>
                  <a:pt x="534" y="191"/>
                  <a:pt x="534" y="191"/>
                  <a:pt x="534" y="191"/>
                </a:cubicBezTo>
                <a:cubicBezTo>
                  <a:pt x="534" y="577"/>
                  <a:pt x="534" y="577"/>
                  <a:pt x="534" y="577"/>
                </a:cubicBezTo>
                <a:lnTo>
                  <a:pt x="14" y="577"/>
                </a:lnTo>
                <a:close/>
                <a:moveTo>
                  <a:pt x="436" y="260"/>
                </a:moveTo>
                <a:cubicBezTo>
                  <a:pt x="228" y="519"/>
                  <a:pt x="228" y="519"/>
                  <a:pt x="228" y="519"/>
                </a:cubicBezTo>
                <a:cubicBezTo>
                  <a:pt x="226" y="520"/>
                  <a:pt x="225" y="521"/>
                  <a:pt x="223" y="521"/>
                </a:cubicBezTo>
                <a:cubicBezTo>
                  <a:pt x="223" y="521"/>
                  <a:pt x="222" y="521"/>
                  <a:pt x="222" y="521"/>
                </a:cubicBezTo>
                <a:cubicBezTo>
                  <a:pt x="221" y="521"/>
                  <a:pt x="219" y="521"/>
                  <a:pt x="218" y="520"/>
                </a:cubicBezTo>
                <a:cubicBezTo>
                  <a:pt x="114" y="427"/>
                  <a:pt x="114" y="427"/>
                  <a:pt x="114" y="427"/>
                </a:cubicBezTo>
                <a:cubicBezTo>
                  <a:pt x="111" y="424"/>
                  <a:pt x="111" y="420"/>
                  <a:pt x="113" y="417"/>
                </a:cubicBezTo>
                <a:cubicBezTo>
                  <a:pt x="116" y="414"/>
                  <a:pt x="120" y="414"/>
                  <a:pt x="123" y="416"/>
                </a:cubicBezTo>
                <a:cubicBezTo>
                  <a:pt x="221" y="504"/>
                  <a:pt x="221" y="504"/>
                  <a:pt x="221" y="504"/>
                </a:cubicBezTo>
                <a:cubicBezTo>
                  <a:pt x="425" y="251"/>
                  <a:pt x="425" y="251"/>
                  <a:pt x="425" y="251"/>
                </a:cubicBezTo>
                <a:cubicBezTo>
                  <a:pt x="427" y="248"/>
                  <a:pt x="432" y="248"/>
                  <a:pt x="435" y="250"/>
                </a:cubicBezTo>
                <a:cubicBezTo>
                  <a:pt x="438" y="252"/>
                  <a:pt x="438" y="257"/>
                  <a:pt x="436" y="260"/>
                </a:cubicBez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7195" name="Oval 34"/>
          <p:cNvSpPr>
            <a:spLocks noChangeArrowheads="1"/>
          </p:cNvSpPr>
          <p:nvPr/>
        </p:nvSpPr>
        <p:spPr bwMode="auto">
          <a:xfrm>
            <a:off x="6589621" y="1528549"/>
            <a:ext cx="1119124" cy="1119124"/>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9249" name="Freeform 116"/>
          <p:cNvSpPr>
            <a:spLocks noEditPoints="1"/>
          </p:cNvSpPr>
          <p:nvPr/>
        </p:nvSpPr>
        <p:spPr bwMode="auto">
          <a:xfrm>
            <a:off x="6872142" y="1777311"/>
            <a:ext cx="554082" cy="621601"/>
          </a:xfrm>
          <a:custGeom>
            <a:avLst/>
            <a:gdLst>
              <a:gd name="T0" fmla="*/ 430 w 525"/>
              <a:gd name="T1" fmla="*/ 53 h 591"/>
              <a:gd name="T2" fmla="*/ 402 w 525"/>
              <a:gd name="T3" fmla="*/ 0 h 591"/>
              <a:gd name="T4" fmla="*/ 373 w 525"/>
              <a:gd name="T5" fmla="*/ 53 h 591"/>
              <a:gd name="T6" fmla="*/ 151 w 525"/>
              <a:gd name="T7" fmla="*/ 29 h 591"/>
              <a:gd name="T8" fmla="*/ 93 w 525"/>
              <a:gd name="T9" fmla="*/ 29 h 591"/>
              <a:gd name="T10" fmla="*/ 7 w 525"/>
              <a:gd name="T11" fmla="*/ 53 h 591"/>
              <a:gd name="T12" fmla="*/ 0 w 525"/>
              <a:gd name="T13" fmla="*/ 584 h 591"/>
              <a:gd name="T14" fmla="*/ 518 w 525"/>
              <a:gd name="T15" fmla="*/ 591 h 591"/>
              <a:gd name="T16" fmla="*/ 525 w 525"/>
              <a:gd name="T17" fmla="*/ 60 h 591"/>
              <a:gd name="T18" fmla="*/ 387 w 525"/>
              <a:gd name="T19" fmla="*/ 29 h 591"/>
              <a:gd name="T20" fmla="*/ 416 w 525"/>
              <a:gd name="T21" fmla="*/ 29 h 591"/>
              <a:gd name="T22" fmla="*/ 402 w 525"/>
              <a:gd name="T23" fmla="*/ 107 h 591"/>
              <a:gd name="T24" fmla="*/ 387 w 525"/>
              <a:gd name="T25" fmla="*/ 29 h 591"/>
              <a:gd name="T26" fmla="*/ 122 w 525"/>
              <a:gd name="T27" fmla="*/ 14 h 591"/>
              <a:gd name="T28" fmla="*/ 137 w 525"/>
              <a:gd name="T29" fmla="*/ 92 h 591"/>
              <a:gd name="T30" fmla="*/ 107 w 525"/>
              <a:gd name="T31" fmla="*/ 92 h 591"/>
              <a:gd name="T32" fmla="*/ 511 w 525"/>
              <a:gd name="T33" fmla="*/ 577 h 591"/>
              <a:gd name="T34" fmla="*/ 14 w 525"/>
              <a:gd name="T35" fmla="*/ 177 h 591"/>
              <a:gd name="T36" fmla="*/ 511 w 525"/>
              <a:gd name="T37" fmla="*/ 577 h 591"/>
              <a:gd name="T38" fmla="*/ 14 w 525"/>
              <a:gd name="T39" fmla="*/ 163 h 591"/>
              <a:gd name="T40" fmla="*/ 93 w 525"/>
              <a:gd name="T41" fmla="*/ 67 h 591"/>
              <a:gd name="T42" fmla="*/ 122 w 525"/>
              <a:gd name="T43" fmla="*/ 121 h 591"/>
              <a:gd name="T44" fmla="*/ 151 w 525"/>
              <a:gd name="T45" fmla="*/ 67 h 591"/>
              <a:gd name="T46" fmla="*/ 373 w 525"/>
              <a:gd name="T47" fmla="*/ 92 h 591"/>
              <a:gd name="T48" fmla="*/ 430 w 525"/>
              <a:gd name="T49" fmla="*/ 92 h 591"/>
              <a:gd name="T50" fmla="*/ 511 w 525"/>
              <a:gd name="T51" fmla="*/ 67 h 591"/>
              <a:gd name="T52" fmla="*/ 62 w 525"/>
              <a:gd name="T53" fmla="*/ 521 h 591"/>
              <a:gd name="T54" fmla="*/ 469 w 525"/>
              <a:gd name="T55" fmla="*/ 514 h 591"/>
              <a:gd name="T56" fmla="*/ 462 w 525"/>
              <a:gd name="T57" fmla="*/ 234 h 591"/>
              <a:gd name="T58" fmla="*/ 55 w 525"/>
              <a:gd name="T59" fmla="*/ 241 h 591"/>
              <a:gd name="T60" fmla="*/ 62 w 525"/>
              <a:gd name="T61" fmla="*/ 521 h 591"/>
              <a:gd name="T62" fmla="*/ 455 w 525"/>
              <a:gd name="T63" fmla="*/ 248 h 591"/>
              <a:gd name="T64" fmla="*/ 366 w 525"/>
              <a:gd name="T65" fmla="*/ 325 h 591"/>
              <a:gd name="T66" fmla="*/ 366 w 525"/>
              <a:gd name="T67" fmla="*/ 339 h 591"/>
              <a:gd name="T68" fmla="*/ 455 w 525"/>
              <a:gd name="T69" fmla="*/ 414 h 591"/>
              <a:gd name="T70" fmla="*/ 366 w 525"/>
              <a:gd name="T71" fmla="*/ 339 h 591"/>
              <a:gd name="T72" fmla="*/ 455 w 525"/>
              <a:gd name="T73" fmla="*/ 428 h 591"/>
              <a:gd name="T74" fmla="*/ 366 w 525"/>
              <a:gd name="T75" fmla="*/ 507 h 591"/>
              <a:gd name="T76" fmla="*/ 266 w 525"/>
              <a:gd name="T77" fmla="*/ 248 h 591"/>
              <a:gd name="T78" fmla="*/ 352 w 525"/>
              <a:gd name="T79" fmla="*/ 325 h 591"/>
              <a:gd name="T80" fmla="*/ 266 w 525"/>
              <a:gd name="T81" fmla="*/ 248 h 591"/>
              <a:gd name="T82" fmla="*/ 352 w 525"/>
              <a:gd name="T83" fmla="*/ 339 h 591"/>
              <a:gd name="T84" fmla="*/ 266 w 525"/>
              <a:gd name="T85" fmla="*/ 414 h 591"/>
              <a:gd name="T86" fmla="*/ 266 w 525"/>
              <a:gd name="T87" fmla="*/ 428 h 591"/>
              <a:gd name="T88" fmla="*/ 352 w 525"/>
              <a:gd name="T89" fmla="*/ 507 h 591"/>
              <a:gd name="T90" fmla="*/ 266 w 525"/>
              <a:gd name="T91" fmla="*/ 428 h 591"/>
              <a:gd name="T92" fmla="*/ 252 w 525"/>
              <a:gd name="T93" fmla="*/ 248 h 591"/>
              <a:gd name="T94" fmla="*/ 165 w 525"/>
              <a:gd name="T95" fmla="*/ 325 h 591"/>
              <a:gd name="T96" fmla="*/ 165 w 525"/>
              <a:gd name="T97" fmla="*/ 339 h 591"/>
              <a:gd name="T98" fmla="*/ 252 w 525"/>
              <a:gd name="T99" fmla="*/ 414 h 591"/>
              <a:gd name="T100" fmla="*/ 165 w 525"/>
              <a:gd name="T101" fmla="*/ 339 h 591"/>
              <a:gd name="T102" fmla="*/ 252 w 525"/>
              <a:gd name="T103" fmla="*/ 428 h 591"/>
              <a:gd name="T104" fmla="*/ 165 w 525"/>
              <a:gd name="T105" fmla="*/ 507 h 591"/>
              <a:gd name="T106" fmla="*/ 69 w 525"/>
              <a:gd name="T107" fmla="*/ 248 h 591"/>
              <a:gd name="T108" fmla="*/ 151 w 525"/>
              <a:gd name="T109" fmla="*/ 325 h 591"/>
              <a:gd name="T110" fmla="*/ 69 w 525"/>
              <a:gd name="T111" fmla="*/ 248 h 591"/>
              <a:gd name="T112" fmla="*/ 151 w 525"/>
              <a:gd name="T113" fmla="*/ 339 h 591"/>
              <a:gd name="T114" fmla="*/ 69 w 525"/>
              <a:gd name="T115" fmla="*/ 414 h 591"/>
              <a:gd name="T116" fmla="*/ 69 w 525"/>
              <a:gd name="T117" fmla="*/ 428 h 591"/>
              <a:gd name="T118" fmla="*/ 151 w 525"/>
              <a:gd name="T119" fmla="*/ 507 h 591"/>
              <a:gd name="T120" fmla="*/ 69 w 525"/>
              <a:gd name="T121" fmla="*/ 428 h 5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25" h="591">
                <a:moveTo>
                  <a:pt x="518" y="53"/>
                </a:moveTo>
                <a:cubicBezTo>
                  <a:pt x="430" y="53"/>
                  <a:pt x="430" y="53"/>
                  <a:pt x="430" y="53"/>
                </a:cubicBezTo>
                <a:cubicBezTo>
                  <a:pt x="430" y="29"/>
                  <a:pt x="430" y="29"/>
                  <a:pt x="430" y="29"/>
                </a:cubicBezTo>
                <a:cubicBezTo>
                  <a:pt x="430" y="13"/>
                  <a:pt x="417" y="0"/>
                  <a:pt x="402" y="0"/>
                </a:cubicBezTo>
                <a:cubicBezTo>
                  <a:pt x="386" y="0"/>
                  <a:pt x="373" y="13"/>
                  <a:pt x="373" y="29"/>
                </a:cubicBezTo>
                <a:cubicBezTo>
                  <a:pt x="373" y="53"/>
                  <a:pt x="373" y="53"/>
                  <a:pt x="373" y="53"/>
                </a:cubicBezTo>
                <a:cubicBezTo>
                  <a:pt x="151" y="53"/>
                  <a:pt x="151" y="53"/>
                  <a:pt x="151" y="53"/>
                </a:cubicBezTo>
                <a:cubicBezTo>
                  <a:pt x="151" y="29"/>
                  <a:pt x="151" y="29"/>
                  <a:pt x="151" y="29"/>
                </a:cubicBezTo>
                <a:cubicBezTo>
                  <a:pt x="151" y="13"/>
                  <a:pt x="138" y="0"/>
                  <a:pt x="122" y="0"/>
                </a:cubicBezTo>
                <a:cubicBezTo>
                  <a:pt x="106" y="0"/>
                  <a:pt x="93" y="13"/>
                  <a:pt x="93" y="29"/>
                </a:cubicBezTo>
                <a:cubicBezTo>
                  <a:pt x="93" y="53"/>
                  <a:pt x="93" y="53"/>
                  <a:pt x="93" y="53"/>
                </a:cubicBezTo>
                <a:cubicBezTo>
                  <a:pt x="7" y="53"/>
                  <a:pt x="7" y="53"/>
                  <a:pt x="7" y="53"/>
                </a:cubicBezTo>
                <a:cubicBezTo>
                  <a:pt x="3" y="53"/>
                  <a:pt x="0" y="56"/>
                  <a:pt x="0" y="60"/>
                </a:cubicBezTo>
                <a:cubicBezTo>
                  <a:pt x="0" y="584"/>
                  <a:pt x="0" y="584"/>
                  <a:pt x="0" y="584"/>
                </a:cubicBezTo>
                <a:cubicBezTo>
                  <a:pt x="0" y="588"/>
                  <a:pt x="3" y="591"/>
                  <a:pt x="7" y="591"/>
                </a:cubicBezTo>
                <a:cubicBezTo>
                  <a:pt x="518" y="591"/>
                  <a:pt x="518" y="591"/>
                  <a:pt x="518" y="591"/>
                </a:cubicBezTo>
                <a:cubicBezTo>
                  <a:pt x="521" y="591"/>
                  <a:pt x="525" y="588"/>
                  <a:pt x="525" y="584"/>
                </a:cubicBezTo>
                <a:cubicBezTo>
                  <a:pt x="525" y="60"/>
                  <a:pt x="525" y="60"/>
                  <a:pt x="525" y="60"/>
                </a:cubicBezTo>
                <a:cubicBezTo>
                  <a:pt x="525" y="56"/>
                  <a:pt x="521" y="53"/>
                  <a:pt x="518" y="53"/>
                </a:cubicBezTo>
                <a:close/>
                <a:moveTo>
                  <a:pt x="387" y="29"/>
                </a:moveTo>
                <a:cubicBezTo>
                  <a:pt x="387" y="21"/>
                  <a:pt x="393" y="14"/>
                  <a:pt x="402" y="14"/>
                </a:cubicBezTo>
                <a:cubicBezTo>
                  <a:pt x="410" y="14"/>
                  <a:pt x="416" y="21"/>
                  <a:pt x="416" y="29"/>
                </a:cubicBezTo>
                <a:cubicBezTo>
                  <a:pt x="416" y="92"/>
                  <a:pt x="416" y="92"/>
                  <a:pt x="416" y="92"/>
                </a:cubicBezTo>
                <a:cubicBezTo>
                  <a:pt x="416" y="100"/>
                  <a:pt x="410" y="107"/>
                  <a:pt x="402" y="107"/>
                </a:cubicBezTo>
                <a:cubicBezTo>
                  <a:pt x="393" y="107"/>
                  <a:pt x="387" y="100"/>
                  <a:pt x="387" y="92"/>
                </a:cubicBezTo>
                <a:lnTo>
                  <a:pt x="387" y="29"/>
                </a:lnTo>
                <a:close/>
                <a:moveTo>
                  <a:pt x="107" y="29"/>
                </a:moveTo>
                <a:cubicBezTo>
                  <a:pt x="107" y="21"/>
                  <a:pt x="114" y="14"/>
                  <a:pt x="122" y="14"/>
                </a:cubicBezTo>
                <a:cubicBezTo>
                  <a:pt x="130" y="14"/>
                  <a:pt x="137" y="21"/>
                  <a:pt x="137" y="29"/>
                </a:cubicBezTo>
                <a:cubicBezTo>
                  <a:pt x="137" y="92"/>
                  <a:pt x="137" y="92"/>
                  <a:pt x="137" y="92"/>
                </a:cubicBezTo>
                <a:cubicBezTo>
                  <a:pt x="137" y="100"/>
                  <a:pt x="130" y="107"/>
                  <a:pt x="122" y="107"/>
                </a:cubicBezTo>
                <a:cubicBezTo>
                  <a:pt x="114" y="107"/>
                  <a:pt x="107" y="100"/>
                  <a:pt x="107" y="92"/>
                </a:cubicBezTo>
                <a:lnTo>
                  <a:pt x="107" y="29"/>
                </a:lnTo>
                <a:close/>
                <a:moveTo>
                  <a:pt x="511" y="577"/>
                </a:moveTo>
                <a:cubicBezTo>
                  <a:pt x="14" y="577"/>
                  <a:pt x="14" y="577"/>
                  <a:pt x="14" y="577"/>
                </a:cubicBezTo>
                <a:cubicBezTo>
                  <a:pt x="14" y="177"/>
                  <a:pt x="14" y="177"/>
                  <a:pt x="14" y="177"/>
                </a:cubicBezTo>
                <a:cubicBezTo>
                  <a:pt x="511" y="177"/>
                  <a:pt x="511" y="177"/>
                  <a:pt x="511" y="177"/>
                </a:cubicBezTo>
                <a:lnTo>
                  <a:pt x="511" y="577"/>
                </a:lnTo>
                <a:close/>
                <a:moveTo>
                  <a:pt x="511" y="163"/>
                </a:moveTo>
                <a:cubicBezTo>
                  <a:pt x="14" y="163"/>
                  <a:pt x="14" y="163"/>
                  <a:pt x="14" y="163"/>
                </a:cubicBezTo>
                <a:cubicBezTo>
                  <a:pt x="14" y="67"/>
                  <a:pt x="14" y="67"/>
                  <a:pt x="14" y="67"/>
                </a:cubicBezTo>
                <a:cubicBezTo>
                  <a:pt x="93" y="67"/>
                  <a:pt x="93" y="67"/>
                  <a:pt x="93" y="67"/>
                </a:cubicBezTo>
                <a:cubicBezTo>
                  <a:pt x="93" y="92"/>
                  <a:pt x="93" y="92"/>
                  <a:pt x="93" y="92"/>
                </a:cubicBezTo>
                <a:cubicBezTo>
                  <a:pt x="93" y="108"/>
                  <a:pt x="106" y="121"/>
                  <a:pt x="122" y="121"/>
                </a:cubicBezTo>
                <a:cubicBezTo>
                  <a:pt x="138" y="121"/>
                  <a:pt x="151" y="108"/>
                  <a:pt x="151" y="92"/>
                </a:cubicBezTo>
                <a:cubicBezTo>
                  <a:pt x="151" y="67"/>
                  <a:pt x="151" y="67"/>
                  <a:pt x="151" y="67"/>
                </a:cubicBezTo>
                <a:cubicBezTo>
                  <a:pt x="373" y="67"/>
                  <a:pt x="373" y="67"/>
                  <a:pt x="373" y="67"/>
                </a:cubicBezTo>
                <a:cubicBezTo>
                  <a:pt x="373" y="92"/>
                  <a:pt x="373" y="92"/>
                  <a:pt x="373" y="92"/>
                </a:cubicBezTo>
                <a:cubicBezTo>
                  <a:pt x="373" y="108"/>
                  <a:pt x="386" y="121"/>
                  <a:pt x="402" y="121"/>
                </a:cubicBezTo>
                <a:cubicBezTo>
                  <a:pt x="417" y="121"/>
                  <a:pt x="430" y="108"/>
                  <a:pt x="430" y="92"/>
                </a:cubicBezTo>
                <a:cubicBezTo>
                  <a:pt x="430" y="67"/>
                  <a:pt x="430" y="67"/>
                  <a:pt x="430" y="67"/>
                </a:cubicBezTo>
                <a:cubicBezTo>
                  <a:pt x="511" y="67"/>
                  <a:pt x="511" y="67"/>
                  <a:pt x="511" y="67"/>
                </a:cubicBezTo>
                <a:lnTo>
                  <a:pt x="511" y="163"/>
                </a:lnTo>
                <a:close/>
                <a:moveTo>
                  <a:pt x="62" y="521"/>
                </a:moveTo>
                <a:cubicBezTo>
                  <a:pt x="462" y="521"/>
                  <a:pt x="462" y="521"/>
                  <a:pt x="462" y="521"/>
                </a:cubicBezTo>
                <a:cubicBezTo>
                  <a:pt x="466" y="521"/>
                  <a:pt x="469" y="518"/>
                  <a:pt x="469" y="514"/>
                </a:cubicBezTo>
                <a:cubicBezTo>
                  <a:pt x="469" y="241"/>
                  <a:pt x="469" y="241"/>
                  <a:pt x="469" y="241"/>
                </a:cubicBezTo>
                <a:cubicBezTo>
                  <a:pt x="469" y="237"/>
                  <a:pt x="466" y="234"/>
                  <a:pt x="462" y="234"/>
                </a:cubicBezTo>
                <a:cubicBezTo>
                  <a:pt x="62" y="234"/>
                  <a:pt x="62" y="234"/>
                  <a:pt x="62" y="234"/>
                </a:cubicBezTo>
                <a:cubicBezTo>
                  <a:pt x="58" y="234"/>
                  <a:pt x="55" y="237"/>
                  <a:pt x="55" y="241"/>
                </a:cubicBezTo>
                <a:cubicBezTo>
                  <a:pt x="55" y="514"/>
                  <a:pt x="55" y="514"/>
                  <a:pt x="55" y="514"/>
                </a:cubicBezTo>
                <a:cubicBezTo>
                  <a:pt x="55" y="518"/>
                  <a:pt x="58" y="521"/>
                  <a:pt x="62" y="521"/>
                </a:cubicBezTo>
                <a:close/>
                <a:moveTo>
                  <a:pt x="366" y="248"/>
                </a:moveTo>
                <a:cubicBezTo>
                  <a:pt x="455" y="248"/>
                  <a:pt x="455" y="248"/>
                  <a:pt x="455" y="248"/>
                </a:cubicBezTo>
                <a:cubicBezTo>
                  <a:pt x="455" y="325"/>
                  <a:pt x="455" y="325"/>
                  <a:pt x="455" y="325"/>
                </a:cubicBezTo>
                <a:cubicBezTo>
                  <a:pt x="366" y="325"/>
                  <a:pt x="366" y="325"/>
                  <a:pt x="366" y="325"/>
                </a:cubicBezTo>
                <a:lnTo>
                  <a:pt x="366" y="248"/>
                </a:lnTo>
                <a:close/>
                <a:moveTo>
                  <a:pt x="366" y="339"/>
                </a:moveTo>
                <a:cubicBezTo>
                  <a:pt x="455" y="339"/>
                  <a:pt x="455" y="339"/>
                  <a:pt x="455" y="339"/>
                </a:cubicBezTo>
                <a:cubicBezTo>
                  <a:pt x="455" y="414"/>
                  <a:pt x="455" y="414"/>
                  <a:pt x="455" y="414"/>
                </a:cubicBezTo>
                <a:cubicBezTo>
                  <a:pt x="366" y="414"/>
                  <a:pt x="366" y="414"/>
                  <a:pt x="366" y="414"/>
                </a:cubicBezTo>
                <a:lnTo>
                  <a:pt x="366" y="339"/>
                </a:lnTo>
                <a:close/>
                <a:moveTo>
                  <a:pt x="366" y="428"/>
                </a:moveTo>
                <a:cubicBezTo>
                  <a:pt x="455" y="428"/>
                  <a:pt x="455" y="428"/>
                  <a:pt x="455" y="428"/>
                </a:cubicBezTo>
                <a:cubicBezTo>
                  <a:pt x="455" y="507"/>
                  <a:pt x="455" y="507"/>
                  <a:pt x="455" y="507"/>
                </a:cubicBezTo>
                <a:cubicBezTo>
                  <a:pt x="366" y="507"/>
                  <a:pt x="366" y="507"/>
                  <a:pt x="366" y="507"/>
                </a:cubicBezTo>
                <a:lnTo>
                  <a:pt x="366" y="428"/>
                </a:lnTo>
                <a:close/>
                <a:moveTo>
                  <a:pt x="266" y="248"/>
                </a:moveTo>
                <a:cubicBezTo>
                  <a:pt x="352" y="248"/>
                  <a:pt x="352" y="248"/>
                  <a:pt x="352" y="248"/>
                </a:cubicBezTo>
                <a:cubicBezTo>
                  <a:pt x="352" y="325"/>
                  <a:pt x="352" y="325"/>
                  <a:pt x="352" y="325"/>
                </a:cubicBezTo>
                <a:cubicBezTo>
                  <a:pt x="266" y="325"/>
                  <a:pt x="266" y="325"/>
                  <a:pt x="266" y="325"/>
                </a:cubicBezTo>
                <a:lnTo>
                  <a:pt x="266" y="248"/>
                </a:lnTo>
                <a:close/>
                <a:moveTo>
                  <a:pt x="266" y="339"/>
                </a:moveTo>
                <a:cubicBezTo>
                  <a:pt x="352" y="339"/>
                  <a:pt x="352" y="339"/>
                  <a:pt x="352" y="339"/>
                </a:cubicBezTo>
                <a:cubicBezTo>
                  <a:pt x="352" y="414"/>
                  <a:pt x="352" y="414"/>
                  <a:pt x="352" y="414"/>
                </a:cubicBezTo>
                <a:cubicBezTo>
                  <a:pt x="266" y="414"/>
                  <a:pt x="266" y="414"/>
                  <a:pt x="266" y="414"/>
                </a:cubicBezTo>
                <a:lnTo>
                  <a:pt x="266" y="339"/>
                </a:lnTo>
                <a:close/>
                <a:moveTo>
                  <a:pt x="266" y="428"/>
                </a:moveTo>
                <a:cubicBezTo>
                  <a:pt x="352" y="428"/>
                  <a:pt x="352" y="428"/>
                  <a:pt x="352" y="428"/>
                </a:cubicBezTo>
                <a:cubicBezTo>
                  <a:pt x="352" y="507"/>
                  <a:pt x="352" y="507"/>
                  <a:pt x="352" y="507"/>
                </a:cubicBezTo>
                <a:cubicBezTo>
                  <a:pt x="266" y="507"/>
                  <a:pt x="266" y="507"/>
                  <a:pt x="266" y="507"/>
                </a:cubicBezTo>
                <a:lnTo>
                  <a:pt x="266" y="428"/>
                </a:lnTo>
                <a:close/>
                <a:moveTo>
                  <a:pt x="165" y="248"/>
                </a:moveTo>
                <a:cubicBezTo>
                  <a:pt x="252" y="248"/>
                  <a:pt x="252" y="248"/>
                  <a:pt x="252" y="248"/>
                </a:cubicBezTo>
                <a:cubicBezTo>
                  <a:pt x="252" y="325"/>
                  <a:pt x="252" y="325"/>
                  <a:pt x="252" y="325"/>
                </a:cubicBezTo>
                <a:cubicBezTo>
                  <a:pt x="165" y="325"/>
                  <a:pt x="165" y="325"/>
                  <a:pt x="165" y="325"/>
                </a:cubicBezTo>
                <a:lnTo>
                  <a:pt x="165" y="248"/>
                </a:lnTo>
                <a:close/>
                <a:moveTo>
                  <a:pt x="165" y="339"/>
                </a:moveTo>
                <a:cubicBezTo>
                  <a:pt x="252" y="339"/>
                  <a:pt x="252" y="339"/>
                  <a:pt x="252" y="339"/>
                </a:cubicBezTo>
                <a:cubicBezTo>
                  <a:pt x="252" y="414"/>
                  <a:pt x="252" y="414"/>
                  <a:pt x="252" y="414"/>
                </a:cubicBezTo>
                <a:cubicBezTo>
                  <a:pt x="165" y="414"/>
                  <a:pt x="165" y="414"/>
                  <a:pt x="165" y="414"/>
                </a:cubicBezTo>
                <a:lnTo>
                  <a:pt x="165" y="339"/>
                </a:lnTo>
                <a:close/>
                <a:moveTo>
                  <a:pt x="165" y="428"/>
                </a:moveTo>
                <a:cubicBezTo>
                  <a:pt x="252" y="428"/>
                  <a:pt x="252" y="428"/>
                  <a:pt x="252" y="428"/>
                </a:cubicBezTo>
                <a:cubicBezTo>
                  <a:pt x="252" y="507"/>
                  <a:pt x="252" y="507"/>
                  <a:pt x="252" y="507"/>
                </a:cubicBezTo>
                <a:cubicBezTo>
                  <a:pt x="165" y="507"/>
                  <a:pt x="165" y="507"/>
                  <a:pt x="165" y="507"/>
                </a:cubicBezTo>
                <a:lnTo>
                  <a:pt x="165" y="428"/>
                </a:lnTo>
                <a:close/>
                <a:moveTo>
                  <a:pt x="69" y="248"/>
                </a:moveTo>
                <a:cubicBezTo>
                  <a:pt x="151" y="248"/>
                  <a:pt x="151" y="248"/>
                  <a:pt x="151" y="248"/>
                </a:cubicBezTo>
                <a:cubicBezTo>
                  <a:pt x="151" y="325"/>
                  <a:pt x="151" y="325"/>
                  <a:pt x="151" y="325"/>
                </a:cubicBezTo>
                <a:cubicBezTo>
                  <a:pt x="69" y="325"/>
                  <a:pt x="69" y="325"/>
                  <a:pt x="69" y="325"/>
                </a:cubicBezTo>
                <a:lnTo>
                  <a:pt x="69" y="248"/>
                </a:lnTo>
                <a:close/>
                <a:moveTo>
                  <a:pt x="69" y="339"/>
                </a:moveTo>
                <a:cubicBezTo>
                  <a:pt x="151" y="339"/>
                  <a:pt x="151" y="339"/>
                  <a:pt x="151" y="339"/>
                </a:cubicBezTo>
                <a:cubicBezTo>
                  <a:pt x="151" y="414"/>
                  <a:pt x="151" y="414"/>
                  <a:pt x="151" y="414"/>
                </a:cubicBezTo>
                <a:cubicBezTo>
                  <a:pt x="69" y="414"/>
                  <a:pt x="69" y="414"/>
                  <a:pt x="69" y="414"/>
                </a:cubicBezTo>
                <a:lnTo>
                  <a:pt x="69" y="339"/>
                </a:lnTo>
                <a:close/>
                <a:moveTo>
                  <a:pt x="69" y="428"/>
                </a:moveTo>
                <a:cubicBezTo>
                  <a:pt x="151" y="428"/>
                  <a:pt x="151" y="428"/>
                  <a:pt x="151" y="428"/>
                </a:cubicBezTo>
                <a:cubicBezTo>
                  <a:pt x="151" y="507"/>
                  <a:pt x="151" y="507"/>
                  <a:pt x="151" y="507"/>
                </a:cubicBezTo>
                <a:cubicBezTo>
                  <a:pt x="69" y="507"/>
                  <a:pt x="69" y="507"/>
                  <a:pt x="69" y="507"/>
                </a:cubicBezTo>
                <a:lnTo>
                  <a:pt x="69" y="428"/>
                </a:ln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7196" name="Oval 35"/>
          <p:cNvSpPr>
            <a:spLocks noChangeArrowheads="1"/>
          </p:cNvSpPr>
          <p:nvPr/>
        </p:nvSpPr>
        <p:spPr bwMode="auto">
          <a:xfrm>
            <a:off x="4831649" y="1528549"/>
            <a:ext cx="1119124" cy="1119124"/>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9250" name="Freeform 117"/>
          <p:cNvSpPr>
            <a:spLocks noEditPoints="1"/>
          </p:cNvSpPr>
          <p:nvPr/>
        </p:nvSpPr>
        <p:spPr bwMode="auto">
          <a:xfrm>
            <a:off x="5115389" y="1777311"/>
            <a:ext cx="551646" cy="621601"/>
          </a:xfrm>
          <a:custGeom>
            <a:avLst/>
            <a:gdLst>
              <a:gd name="T0" fmla="*/ 430 w 524"/>
              <a:gd name="T1" fmla="*/ 53 h 591"/>
              <a:gd name="T2" fmla="*/ 402 w 524"/>
              <a:gd name="T3" fmla="*/ 0 h 591"/>
              <a:gd name="T4" fmla="*/ 373 w 524"/>
              <a:gd name="T5" fmla="*/ 53 h 591"/>
              <a:gd name="T6" fmla="*/ 151 w 524"/>
              <a:gd name="T7" fmla="*/ 29 h 591"/>
              <a:gd name="T8" fmla="*/ 93 w 524"/>
              <a:gd name="T9" fmla="*/ 29 h 591"/>
              <a:gd name="T10" fmla="*/ 7 w 524"/>
              <a:gd name="T11" fmla="*/ 53 h 591"/>
              <a:gd name="T12" fmla="*/ 0 w 524"/>
              <a:gd name="T13" fmla="*/ 584 h 591"/>
              <a:gd name="T14" fmla="*/ 517 w 524"/>
              <a:gd name="T15" fmla="*/ 591 h 591"/>
              <a:gd name="T16" fmla="*/ 524 w 524"/>
              <a:gd name="T17" fmla="*/ 60 h 591"/>
              <a:gd name="T18" fmla="*/ 387 w 524"/>
              <a:gd name="T19" fmla="*/ 29 h 591"/>
              <a:gd name="T20" fmla="*/ 416 w 524"/>
              <a:gd name="T21" fmla="*/ 29 h 591"/>
              <a:gd name="T22" fmla="*/ 402 w 524"/>
              <a:gd name="T23" fmla="*/ 107 h 591"/>
              <a:gd name="T24" fmla="*/ 387 w 524"/>
              <a:gd name="T25" fmla="*/ 29 h 591"/>
              <a:gd name="T26" fmla="*/ 122 w 524"/>
              <a:gd name="T27" fmla="*/ 14 h 591"/>
              <a:gd name="T28" fmla="*/ 137 w 524"/>
              <a:gd name="T29" fmla="*/ 92 h 591"/>
              <a:gd name="T30" fmla="*/ 107 w 524"/>
              <a:gd name="T31" fmla="*/ 92 h 591"/>
              <a:gd name="T32" fmla="*/ 93 w 524"/>
              <a:gd name="T33" fmla="*/ 67 h 591"/>
              <a:gd name="T34" fmla="*/ 122 w 524"/>
              <a:gd name="T35" fmla="*/ 121 h 591"/>
              <a:gd name="T36" fmla="*/ 151 w 524"/>
              <a:gd name="T37" fmla="*/ 67 h 591"/>
              <a:gd name="T38" fmla="*/ 373 w 524"/>
              <a:gd name="T39" fmla="*/ 92 h 591"/>
              <a:gd name="T40" fmla="*/ 430 w 524"/>
              <a:gd name="T41" fmla="*/ 92 h 591"/>
              <a:gd name="T42" fmla="*/ 510 w 524"/>
              <a:gd name="T43" fmla="*/ 67 h 591"/>
              <a:gd name="T44" fmla="*/ 14 w 524"/>
              <a:gd name="T45" fmla="*/ 163 h 591"/>
              <a:gd name="T46" fmla="*/ 93 w 524"/>
              <a:gd name="T47" fmla="*/ 67 h 591"/>
              <a:gd name="T48" fmla="*/ 14 w 524"/>
              <a:gd name="T49" fmla="*/ 177 h 591"/>
              <a:gd name="T50" fmla="*/ 510 w 524"/>
              <a:gd name="T51" fmla="*/ 577 h 591"/>
              <a:gd name="T52" fmla="*/ 175 w 524"/>
              <a:gd name="T53" fmla="*/ 256 h 591"/>
              <a:gd name="T54" fmla="*/ 168 w 524"/>
              <a:gd name="T55" fmla="*/ 522 h 591"/>
              <a:gd name="T56" fmla="*/ 161 w 524"/>
              <a:gd name="T57" fmla="*/ 279 h 591"/>
              <a:gd name="T58" fmla="*/ 81 w 524"/>
              <a:gd name="T59" fmla="*/ 306 h 591"/>
              <a:gd name="T60" fmla="*/ 162 w 524"/>
              <a:gd name="T61" fmla="*/ 254 h 591"/>
              <a:gd name="T62" fmla="*/ 175 w 524"/>
              <a:gd name="T63" fmla="*/ 256 h 591"/>
              <a:gd name="T64" fmla="*/ 420 w 524"/>
              <a:gd name="T65" fmla="*/ 514 h 591"/>
              <a:gd name="T66" fmla="*/ 247 w 524"/>
              <a:gd name="T67" fmla="*/ 512 h 591"/>
              <a:gd name="T68" fmla="*/ 265 w 524"/>
              <a:gd name="T69" fmla="*/ 458 h 591"/>
              <a:gd name="T70" fmla="*/ 363 w 524"/>
              <a:gd name="T71" fmla="*/ 385 h 591"/>
              <a:gd name="T72" fmla="*/ 335 w 524"/>
              <a:gd name="T73" fmla="*/ 260 h 591"/>
              <a:gd name="T74" fmla="*/ 257 w 524"/>
              <a:gd name="T75" fmla="*/ 348 h 591"/>
              <a:gd name="T76" fmla="*/ 270 w 524"/>
              <a:gd name="T77" fmla="*/ 276 h 591"/>
              <a:gd name="T78" fmla="*/ 415 w 524"/>
              <a:gd name="T79" fmla="*/ 318 h 591"/>
              <a:gd name="T80" fmla="*/ 343 w 524"/>
              <a:gd name="T81" fmla="*/ 415 h 591"/>
              <a:gd name="T82" fmla="*/ 261 w 524"/>
              <a:gd name="T83" fmla="*/ 500 h 591"/>
              <a:gd name="T84" fmla="*/ 427 w 524"/>
              <a:gd name="T85" fmla="*/ 507 h 5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24" h="591">
                <a:moveTo>
                  <a:pt x="517" y="53"/>
                </a:moveTo>
                <a:cubicBezTo>
                  <a:pt x="430" y="53"/>
                  <a:pt x="430" y="53"/>
                  <a:pt x="430" y="53"/>
                </a:cubicBezTo>
                <a:cubicBezTo>
                  <a:pt x="430" y="29"/>
                  <a:pt x="430" y="29"/>
                  <a:pt x="430" y="29"/>
                </a:cubicBezTo>
                <a:cubicBezTo>
                  <a:pt x="430" y="13"/>
                  <a:pt x="417" y="0"/>
                  <a:pt x="402" y="0"/>
                </a:cubicBezTo>
                <a:cubicBezTo>
                  <a:pt x="386" y="0"/>
                  <a:pt x="373" y="13"/>
                  <a:pt x="373" y="29"/>
                </a:cubicBezTo>
                <a:cubicBezTo>
                  <a:pt x="373" y="53"/>
                  <a:pt x="373" y="53"/>
                  <a:pt x="373" y="53"/>
                </a:cubicBezTo>
                <a:cubicBezTo>
                  <a:pt x="151" y="53"/>
                  <a:pt x="151" y="53"/>
                  <a:pt x="151" y="53"/>
                </a:cubicBezTo>
                <a:cubicBezTo>
                  <a:pt x="151" y="29"/>
                  <a:pt x="151" y="29"/>
                  <a:pt x="151" y="29"/>
                </a:cubicBezTo>
                <a:cubicBezTo>
                  <a:pt x="151" y="13"/>
                  <a:pt x="138" y="0"/>
                  <a:pt x="122" y="0"/>
                </a:cubicBezTo>
                <a:cubicBezTo>
                  <a:pt x="106" y="0"/>
                  <a:pt x="93" y="13"/>
                  <a:pt x="93" y="29"/>
                </a:cubicBezTo>
                <a:cubicBezTo>
                  <a:pt x="93" y="53"/>
                  <a:pt x="93" y="53"/>
                  <a:pt x="93" y="53"/>
                </a:cubicBezTo>
                <a:cubicBezTo>
                  <a:pt x="7" y="53"/>
                  <a:pt x="7" y="53"/>
                  <a:pt x="7" y="53"/>
                </a:cubicBezTo>
                <a:cubicBezTo>
                  <a:pt x="3" y="53"/>
                  <a:pt x="0" y="56"/>
                  <a:pt x="0" y="60"/>
                </a:cubicBezTo>
                <a:cubicBezTo>
                  <a:pt x="0" y="584"/>
                  <a:pt x="0" y="584"/>
                  <a:pt x="0" y="584"/>
                </a:cubicBezTo>
                <a:cubicBezTo>
                  <a:pt x="0" y="588"/>
                  <a:pt x="3" y="591"/>
                  <a:pt x="7" y="591"/>
                </a:cubicBezTo>
                <a:cubicBezTo>
                  <a:pt x="517" y="591"/>
                  <a:pt x="517" y="591"/>
                  <a:pt x="517" y="591"/>
                </a:cubicBezTo>
                <a:cubicBezTo>
                  <a:pt x="521" y="591"/>
                  <a:pt x="524" y="588"/>
                  <a:pt x="524" y="584"/>
                </a:cubicBezTo>
                <a:cubicBezTo>
                  <a:pt x="524" y="60"/>
                  <a:pt x="524" y="60"/>
                  <a:pt x="524" y="60"/>
                </a:cubicBezTo>
                <a:cubicBezTo>
                  <a:pt x="524" y="56"/>
                  <a:pt x="521" y="53"/>
                  <a:pt x="517" y="53"/>
                </a:cubicBezTo>
                <a:close/>
                <a:moveTo>
                  <a:pt x="387" y="29"/>
                </a:moveTo>
                <a:cubicBezTo>
                  <a:pt x="387" y="21"/>
                  <a:pt x="393" y="14"/>
                  <a:pt x="402" y="14"/>
                </a:cubicBezTo>
                <a:cubicBezTo>
                  <a:pt x="410" y="14"/>
                  <a:pt x="416" y="21"/>
                  <a:pt x="416" y="29"/>
                </a:cubicBezTo>
                <a:cubicBezTo>
                  <a:pt x="416" y="92"/>
                  <a:pt x="416" y="92"/>
                  <a:pt x="416" y="92"/>
                </a:cubicBezTo>
                <a:cubicBezTo>
                  <a:pt x="416" y="100"/>
                  <a:pt x="410" y="107"/>
                  <a:pt x="402" y="107"/>
                </a:cubicBezTo>
                <a:cubicBezTo>
                  <a:pt x="393" y="107"/>
                  <a:pt x="387" y="100"/>
                  <a:pt x="387" y="92"/>
                </a:cubicBezTo>
                <a:lnTo>
                  <a:pt x="387" y="29"/>
                </a:lnTo>
                <a:close/>
                <a:moveTo>
                  <a:pt x="107" y="29"/>
                </a:moveTo>
                <a:cubicBezTo>
                  <a:pt x="107" y="21"/>
                  <a:pt x="114" y="14"/>
                  <a:pt x="122" y="14"/>
                </a:cubicBezTo>
                <a:cubicBezTo>
                  <a:pt x="130" y="14"/>
                  <a:pt x="137" y="21"/>
                  <a:pt x="137" y="29"/>
                </a:cubicBezTo>
                <a:cubicBezTo>
                  <a:pt x="137" y="92"/>
                  <a:pt x="137" y="92"/>
                  <a:pt x="137" y="92"/>
                </a:cubicBezTo>
                <a:cubicBezTo>
                  <a:pt x="137" y="100"/>
                  <a:pt x="130" y="107"/>
                  <a:pt x="122" y="107"/>
                </a:cubicBezTo>
                <a:cubicBezTo>
                  <a:pt x="114" y="107"/>
                  <a:pt x="107" y="100"/>
                  <a:pt x="107" y="92"/>
                </a:cubicBezTo>
                <a:lnTo>
                  <a:pt x="107" y="29"/>
                </a:lnTo>
                <a:close/>
                <a:moveTo>
                  <a:pt x="93" y="67"/>
                </a:moveTo>
                <a:cubicBezTo>
                  <a:pt x="93" y="92"/>
                  <a:pt x="93" y="92"/>
                  <a:pt x="93" y="92"/>
                </a:cubicBezTo>
                <a:cubicBezTo>
                  <a:pt x="93" y="108"/>
                  <a:pt x="106" y="121"/>
                  <a:pt x="122" y="121"/>
                </a:cubicBezTo>
                <a:cubicBezTo>
                  <a:pt x="138" y="121"/>
                  <a:pt x="151" y="108"/>
                  <a:pt x="151" y="92"/>
                </a:cubicBezTo>
                <a:cubicBezTo>
                  <a:pt x="151" y="67"/>
                  <a:pt x="151" y="67"/>
                  <a:pt x="151" y="67"/>
                </a:cubicBezTo>
                <a:cubicBezTo>
                  <a:pt x="373" y="67"/>
                  <a:pt x="373" y="67"/>
                  <a:pt x="373" y="67"/>
                </a:cubicBezTo>
                <a:cubicBezTo>
                  <a:pt x="373" y="92"/>
                  <a:pt x="373" y="92"/>
                  <a:pt x="373" y="92"/>
                </a:cubicBezTo>
                <a:cubicBezTo>
                  <a:pt x="373" y="108"/>
                  <a:pt x="386" y="121"/>
                  <a:pt x="402" y="121"/>
                </a:cubicBezTo>
                <a:cubicBezTo>
                  <a:pt x="417" y="121"/>
                  <a:pt x="430" y="108"/>
                  <a:pt x="430" y="92"/>
                </a:cubicBezTo>
                <a:cubicBezTo>
                  <a:pt x="430" y="67"/>
                  <a:pt x="430" y="67"/>
                  <a:pt x="430" y="67"/>
                </a:cubicBezTo>
                <a:cubicBezTo>
                  <a:pt x="510" y="67"/>
                  <a:pt x="510" y="67"/>
                  <a:pt x="510" y="67"/>
                </a:cubicBezTo>
                <a:cubicBezTo>
                  <a:pt x="510" y="163"/>
                  <a:pt x="510" y="163"/>
                  <a:pt x="510" y="163"/>
                </a:cubicBezTo>
                <a:cubicBezTo>
                  <a:pt x="14" y="163"/>
                  <a:pt x="14" y="163"/>
                  <a:pt x="14" y="163"/>
                </a:cubicBezTo>
                <a:cubicBezTo>
                  <a:pt x="14" y="67"/>
                  <a:pt x="14" y="67"/>
                  <a:pt x="14" y="67"/>
                </a:cubicBezTo>
                <a:lnTo>
                  <a:pt x="93" y="67"/>
                </a:lnTo>
                <a:close/>
                <a:moveTo>
                  <a:pt x="14" y="577"/>
                </a:moveTo>
                <a:cubicBezTo>
                  <a:pt x="14" y="177"/>
                  <a:pt x="14" y="177"/>
                  <a:pt x="14" y="177"/>
                </a:cubicBezTo>
                <a:cubicBezTo>
                  <a:pt x="510" y="177"/>
                  <a:pt x="510" y="177"/>
                  <a:pt x="510" y="177"/>
                </a:cubicBezTo>
                <a:cubicBezTo>
                  <a:pt x="510" y="577"/>
                  <a:pt x="510" y="577"/>
                  <a:pt x="510" y="577"/>
                </a:cubicBezTo>
                <a:lnTo>
                  <a:pt x="14" y="577"/>
                </a:lnTo>
                <a:close/>
                <a:moveTo>
                  <a:pt x="175" y="256"/>
                </a:moveTo>
                <a:cubicBezTo>
                  <a:pt x="175" y="515"/>
                  <a:pt x="175" y="515"/>
                  <a:pt x="175" y="515"/>
                </a:cubicBezTo>
                <a:cubicBezTo>
                  <a:pt x="175" y="519"/>
                  <a:pt x="172" y="522"/>
                  <a:pt x="168" y="522"/>
                </a:cubicBezTo>
                <a:cubicBezTo>
                  <a:pt x="165" y="522"/>
                  <a:pt x="161" y="519"/>
                  <a:pt x="161" y="515"/>
                </a:cubicBezTo>
                <a:cubicBezTo>
                  <a:pt x="161" y="279"/>
                  <a:pt x="161" y="279"/>
                  <a:pt x="161" y="279"/>
                </a:cubicBezTo>
                <a:cubicBezTo>
                  <a:pt x="142" y="299"/>
                  <a:pt x="108" y="313"/>
                  <a:pt x="88" y="313"/>
                </a:cubicBezTo>
                <a:cubicBezTo>
                  <a:pt x="85" y="313"/>
                  <a:pt x="81" y="310"/>
                  <a:pt x="81" y="306"/>
                </a:cubicBezTo>
                <a:cubicBezTo>
                  <a:pt x="81" y="303"/>
                  <a:pt x="85" y="299"/>
                  <a:pt x="88" y="299"/>
                </a:cubicBezTo>
                <a:cubicBezTo>
                  <a:pt x="109" y="299"/>
                  <a:pt x="155" y="276"/>
                  <a:pt x="162" y="254"/>
                </a:cubicBezTo>
                <a:cubicBezTo>
                  <a:pt x="163" y="251"/>
                  <a:pt x="166" y="249"/>
                  <a:pt x="169" y="250"/>
                </a:cubicBezTo>
                <a:cubicBezTo>
                  <a:pt x="173" y="250"/>
                  <a:pt x="175" y="253"/>
                  <a:pt x="175" y="256"/>
                </a:cubicBezTo>
                <a:close/>
                <a:moveTo>
                  <a:pt x="427" y="507"/>
                </a:moveTo>
                <a:cubicBezTo>
                  <a:pt x="427" y="511"/>
                  <a:pt x="424" y="514"/>
                  <a:pt x="420" y="514"/>
                </a:cubicBezTo>
                <a:cubicBezTo>
                  <a:pt x="253" y="514"/>
                  <a:pt x="253" y="514"/>
                  <a:pt x="253" y="514"/>
                </a:cubicBezTo>
                <a:cubicBezTo>
                  <a:pt x="251" y="514"/>
                  <a:pt x="249" y="513"/>
                  <a:pt x="247" y="512"/>
                </a:cubicBezTo>
                <a:cubicBezTo>
                  <a:pt x="246" y="510"/>
                  <a:pt x="245" y="508"/>
                  <a:pt x="246" y="506"/>
                </a:cubicBezTo>
                <a:cubicBezTo>
                  <a:pt x="246" y="505"/>
                  <a:pt x="250" y="475"/>
                  <a:pt x="265" y="458"/>
                </a:cubicBezTo>
                <a:cubicBezTo>
                  <a:pt x="287" y="433"/>
                  <a:pt x="313" y="417"/>
                  <a:pt x="336" y="403"/>
                </a:cubicBezTo>
                <a:cubicBezTo>
                  <a:pt x="346" y="397"/>
                  <a:pt x="356" y="391"/>
                  <a:pt x="363" y="385"/>
                </a:cubicBezTo>
                <a:cubicBezTo>
                  <a:pt x="388" y="368"/>
                  <a:pt x="401" y="343"/>
                  <a:pt x="401" y="318"/>
                </a:cubicBezTo>
                <a:cubicBezTo>
                  <a:pt x="401" y="312"/>
                  <a:pt x="399" y="260"/>
                  <a:pt x="335" y="260"/>
                </a:cubicBezTo>
                <a:cubicBezTo>
                  <a:pt x="318" y="260"/>
                  <a:pt x="264" y="266"/>
                  <a:pt x="264" y="341"/>
                </a:cubicBezTo>
                <a:cubicBezTo>
                  <a:pt x="264" y="345"/>
                  <a:pt x="261" y="348"/>
                  <a:pt x="257" y="348"/>
                </a:cubicBezTo>
                <a:cubicBezTo>
                  <a:pt x="253" y="348"/>
                  <a:pt x="250" y="345"/>
                  <a:pt x="250" y="341"/>
                </a:cubicBezTo>
                <a:cubicBezTo>
                  <a:pt x="250" y="315"/>
                  <a:pt x="257" y="293"/>
                  <a:pt x="270" y="276"/>
                </a:cubicBezTo>
                <a:cubicBezTo>
                  <a:pt x="285" y="256"/>
                  <a:pt x="307" y="246"/>
                  <a:pt x="335" y="246"/>
                </a:cubicBezTo>
                <a:cubicBezTo>
                  <a:pt x="398" y="246"/>
                  <a:pt x="415" y="291"/>
                  <a:pt x="415" y="318"/>
                </a:cubicBezTo>
                <a:cubicBezTo>
                  <a:pt x="415" y="348"/>
                  <a:pt x="399" y="376"/>
                  <a:pt x="372" y="397"/>
                </a:cubicBezTo>
                <a:cubicBezTo>
                  <a:pt x="363" y="403"/>
                  <a:pt x="354" y="409"/>
                  <a:pt x="343" y="415"/>
                </a:cubicBezTo>
                <a:cubicBezTo>
                  <a:pt x="321" y="429"/>
                  <a:pt x="296" y="444"/>
                  <a:pt x="276" y="467"/>
                </a:cubicBezTo>
                <a:cubicBezTo>
                  <a:pt x="267" y="476"/>
                  <a:pt x="263" y="491"/>
                  <a:pt x="261" y="500"/>
                </a:cubicBezTo>
                <a:cubicBezTo>
                  <a:pt x="420" y="500"/>
                  <a:pt x="420" y="500"/>
                  <a:pt x="420" y="500"/>
                </a:cubicBezTo>
                <a:cubicBezTo>
                  <a:pt x="424" y="500"/>
                  <a:pt x="427" y="503"/>
                  <a:pt x="427" y="507"/>
                </a:cubicBez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7188" name="Oval 27"/>
          <p:cNvSpPr>
            <a:spLocks noChangeArrowheads="1"/>
          </p:cNvSpPr>
          <p:nvPr/>
        </p:nvSpPr>
        <p:spPr bwMode="auto">
          <a:xfrm>
            <a:off x="1315706" y="3120088"/>
            <a:ext cx="1119124" cy="1119124"/>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9268" name="Freeform 135"/>
          <p:cNvSpPr>
            <a:spLocks noEditPoints="1"/>
          </p:cNvSpPr>
          <p:nvPr/>
        </p:nvSpPr>
        <p:spPr bwMode="auto">
          <a:xfrm>
            <a:off x="1567510" y="3399869"/>
            <a:ext cx="616735" cy="559562"/>
          </a:xfrm>
          <a:custGeom>
            <a:avLst/>
            <a:gdLst>
              <a:gd name="T0" fmla="*/ 474 w 586"/>
              <a:gd name="T1" fmla="*/ 532 h 532"/>
              <a:gd name="T2" fmla="*/ 411 w 586"/>
              <a:gd name="T3" fmla="*/ 468 h 532"/>
              <a:gd name="T4" fmla="*/ 474 w 586"/>
              <a:gd name="T5" fmla="*/ 404 h 532"/>
              <a:gd name="T6" fmla="*/ 538 w 586"/>
              <a:gd name="T7" fmla="*/ 468 h 532"/>
              <a:gd name="T8" fmla="*/ 474 w 586"/>
              <a:gd name="T9" fmla="*/ 532 h 532"/>
              <a:gd name="T10" fmla="*/ 474 w 586"/>
              <a:gd name="T11" fmla="*/ 418 h 532"/>
              <a:gd name="T12" fmla="*/ 425 w 586"/>
              <a:gd name="T13" fmla="*/ 468 h 532"/>
              <a:gd name="T14" fmla="*/ 474 w 586"/>
              <a:gd name="T15" fmla="*/ 518 h 532"/>
              <a:gd name="T16" fmla="*/ 524 w 586"/>
              <a:gd name="T17" fmla="*/ 468 h 532"/>
              <a:gd name="T18" fmla="*/ 474 w 586"/>
              <a:gd name="T19" fmla="*/ 418 h 532"/>
              <a:gd name="T20" fmla="*/ 180 w 586"/>
              <a:gd name="T21" fmla="*/ 532 h 532"/>
              <a:gd name="T22" fmla="*/ 116 w 586"/>
              <a:gd name="T23" fmla="*/ 468 h 532"/>
              <a:gd name="T24" fmla="*/ 180 w 586"/>
              <a:gd name="T25" fmla="*/ 404 h 532"/>
              <a:gd name="T26" fmla="*/ 244 w 586"/>
              <a:gd name="T27" fmla="*/ 468 h 532"/>
              <a:gd name="T28" fmla="*/ 180 w 586"/>
              <a:gd name="T29" fmla="*/ 532 h 532"/>
              <a:gd name="T30" fmla="*/ 180 w 586"/>
              <a:gd name="T31" fmla="*/ 418 h 532"/>
              <a:gd name="T32" fmla="*/ 130 w 586"/>
              <a:gd name="T33" fmla="*/ 468 h 532"/>
              <a:gd name="T34" fmla="*/ 180 w 586"/>
              <a:gd name="T35" fmla="*/ 518 h 532"/>
              <a:gd name="T36" fmla="*/ 230 w 586"/>
              <a:gd name="T37" fmla="*/ 468 h 532"/>
              <a:gd name="T38" fmla="*/ 180 w 586"/>
              <a:gd name="T39" fmla="*/ 418 h 532"/>
              <a:gd name="T40" fmla="*/ 140 w 586"/>
              <a:gd name="T41" fmla="*/ 389 h 532"/>
              <a:gd name="T42" fmla="*/ 106 w 586"/>
              <a:gd name="T43" fmla="*/ 360 h 532"/>
              <a:gd name="T44" fmla="*/ 69 w 586"/>
              <a:gd name="T45" fmla="*/ 67 h 532"/>
              <a:gd name="T46" fmla="*/ 34 w 586"/>
              <a:gd name="T47" fmla="*/ 67 h 532"/>
              <a:gd name="T48" fmla="*/ 0 w 586"/>
              <a:gd name="T49" fmla="*/ 33 h 532"/>
              <a:gd name="T50" fmla="*/ 34 w 586"/>
              <a:gd name="T51" fmla="*/ 0 h 532"/>
              <a:gd name="T52" fmla="*/ 99 w 586"/>
              <a:gd name="T53" fmla="*/ 0 h 532"/>
              <a:gd name="T54" fmla="*/ 132 w 586"/>
              <a:gd name="T55" fmla="*/ 29 h 532"/>
              <a:gd name="T56" fmla="*/ 137 w 586"/>
              <a:gd name="T57" fmla="*/ 66 h 532"/>
              <a:gd name="T58" fmla="*/ 551 w 586"/>
              <a:gd name="T59" fmla="*/ 66 h 532"/>
              <a:gd name="T60" fmla="*/ 576 w 586"/>
              <a:gd name="T61" fmla="*/ 77 h 532"/>
              <a:gd name="T62" fmla="*/ 585 w 586"/>
              <a:gd name="T63" fmla="*/ 103 h 532"/>
              <a:gd name="T64" fmla="*/ 560 w 586"/>
              <a:gd name="T65" fmla="*/ 318 h 532"/>
              <a:gd name="T66" fmla="*/ 531 w 586"/>
              <a:gd name="T67" fmla="*/ 348 h 532"/>
              <a:gd name="T68" fmla="*/ 143 w 586"/>
              <a:gd name="T69" fmla="*/ 389 h 532"/>
              <a:gd name="T70" fmla="*/ 142 w 586"/>
              <a:gd name="T71" fmla="*/ 389 h 532"/>
              <a:gd name="T72" fmla="*/ 140 w 586"/>
              <a:gd name="T73" fmla="*/ 389 h 532"/>
              <a:gd name="T74" fmla="*/ 34 w 586"/>
              <a:gd name="T75" fmla="*/ 14 h 532"/>
              <a:gd name="T76" fmla="*/ 14 w 586"/>
              <a:gd name="T77" fmla="*/ 33 h 532"/>
              <a:gd name="T78" fmla="*/ 34 w 586"/>
              <a:gd name="T79" fmla="*/ 53 h 532"/>
              <a:gd name="T80" fmla="*/ 75 w 586"/>
              <a:gd name="T81" fmla="*/ 53 h 532"/>
              <a:gd name="T82" fmla="*/ 82 w 586"/>
              <a:gd name="T83" fmla="*/ 59 h 532"/>
              <a:gd name="T84" fmla="*/ 120 w 586"/>
              <a:gd name="T85" fmla="*/ 358 h 532"/>
              <a:gd name="T86" fmla="*/ 142 w 586"/>
              <a:gd name="T87" fmla="*/ 375 h 532"/>
              <a:gd name="T88" fmla="*/ 142 w 586"/>
              <a:gd name="T89" fmla="*/ 375 h 532"/>
              <a:gd name="T90" fmla="*/ 529 w 586"/>
              <a:gd name="T91" fmla="*/ 334 h 532"/>
              <a:gd name="T92" fmla="*/ 546 w 586"/>
              <a:gd name="T93" fmla="*/ 317 h 532"/>
              <a:gd name="T94" fmla="*/ 571 w 586"/>
              <a:gd name="T95" fmla="*/ 102 h 532"/>
              <a:gd name="T96" fmla="*/ 566 w 586"/>
              <a:gd name="T97" fmla="*/ 86 h 532"/>
              <a:gd name="T98" fmla="*/ 551 w 586"/>
              <a:gd name="T99" fmla="*/ 80 h 532"/>
              <a:gd name="T100" fmla="*/ 131 w 586"/>
              <a:gd name="T101" fmla="*/ 80 h 532"/>
              <a:gd name="T102" fmla="*/ 124 w 586"/>
              <a:gd name="T103" fmla="*/ 74 h 532"/>
              <a:gd name="T104" fmla="*/ 118 w 586"/>
              <a:gd name="T105" fmla="*/ 31 h 532"/>
              <a:gd name="T106" fmla="*/ 99 w 586"/>
              <a:gd name="T107" fmla="*/ 14 h 532"/>
              <a:gd name="T108" fmla="*/ 34 w 586"/>
              <a:gd name="T109" fmla="*/ 14 h 5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86" h="532">
                <a:moveTo>
                  <a:pt x="474" y="532"/>
                </a:moveTo>
                <a:cubicBezTo>
                  <a:pt x="439" y="532"/>
                  <a:pt x="411" y="503"/>
                  <a:pt x="411" y="468"/>
                </a:cubicBezTo>
                <a:cubicBezTo>
                  <a:pt x="411" y="433"/>
                  <a:pt x="439" y="404"/>
                  <a:pt x="474" y="404"/>
                </a:cubicBezTo>
                <a:cubicBezTo>
                  <a:pt x="510" y="404"/>
                  <a:pt x="538" y="433"/>
                  <a:pt x="538" y="468"/>
                </a:cubicBezTo>
                <a:cubicBezTo>
                  <a:pt x="538" y="503"/>
                  <a:pt x="510" y="532"/>
                  <a:pt x="474" y="532"/>
                </a:cubicBezTo>
                <a:close/>
                <a:moveTo>
                  <a:pt x="474" y="418"/>
                </a:moveTo>
                <a:cubicBezTo>
                  <a:pt x="447" y="418"/>
                  <a:pt x="425" y="441"/>
                  <a:pt x="425" y="468"/>
                </a:cubicBezTo>
                <a:cubicBezTo>
                  <a:pt x="425" y="496"/>
                  <a:pt x="447" y="518"/>
                  <a:pt x="474" y="518"/>
                </a:cubicBezTo>
                <a:cubicBezTo>
                  <a:pt x="502" y="518"/>
                  <a:pt x="524" y="496"/>
                  <a:pt x="524" y="468"/>
                </a:cubicBezTo>
                <a:cubicBezTo>
                  <a:pt x="524" y="441"/>
                  <a:pt x="502" y="418"/>
                  <a:pt x="474" y="418"/>
                </a:cubicBezTo>
                <a:close/>
                <a:moveTo>
                  <a:pt x="180" y="532"/>
                </a:moveTo>
                <a:cubicBezTo>
                  <a:pt x="145" y="532"/>
                  <a:pt x="116" y="503"/>
                  <a:pt x="116" y="468"/>
                </a:cubicBezTo>
                <a:cubicBezTo>
                  <a:pt x="116" y="433"/>
                  <a:pt x="145" y="404"/>
                  <a:pt x="180" y="404"/>
                </a:cubicBezTo>
                <a:cubicBezTo>
                  <a:pt x="215" y="404"/>
                  <a:pt x="244" y="433"/>
                  <a:pt x="244" y="468"/>
                </a:cubicBezTo>
                <a:cubicBezTo>
                  <a:pt x="244" y="503"/>
                  <a:pt x="215" y="532"/>
                  <a:pt x="180" y="532"/>
                </a:cubicBezTo>
                <a:close/>
                <a:moveTo>
                  <a:pt x="180" y="418"/>
                </a:moveTo>
                <a:cubicBezTo>
                  <a:pt x="153" y="418"/>
                  <a:pt x="130" y="441"/>
                  <a:pt x="130" y="468"/>
                </a:cubicBezTo>
                <a:cubicBezTo>
                  <a:pt x="130" y="496"/>
                  <a:pt x="153" y="518"/>
                  <a:pt x="180" y="518"/>
                </a:cubicBezTo>
                <a:cubicBezTo>
                  <a:pt x="208" y="518"/>
                  <a:pt x="230" y="496"/>
                  <a:pt x="230" y="468"/>
                </a:cubicBezTo>
                <a:cubicBezTo>
                  <a:pt x="230" y="441"/>
                  <a:pt x="208" y="418"/>
                  <a:pt x="180" y="418"/>
                </a:cubicBezTo>
                <a:close/>
                <a:moveTo>
                  <a:pt x="140" y="389"/>
                </a:moveTo>
                <a:cubicBezTo>
                  <a:pt x="123" y="389"/>
                  <a:pt x="108" y="376"/>
                  <a:pt x="106" y="360"/>
                </a:cubicBezTo>
                <a:cubicBezTo>
                  <a:pt x="69" y="67"/>
                  <a:pt x="69" y="67"/>
                  <a:pt x="69" y="67"/>
                </a:cubicBezTo>
                <a:cubicBezTo>
                  <a:pt x="34" y="67"/>
                  <a:pt x="34" y="67"/>
                  <a:pt x="34" y="67"/>
                </a:cubicBezTo>
                <a:cubicBezTo>
                  <a:pt x="16" y="67"/>
                  <a:pt x="0" y="52"/>
                  <a:pt x="0" y="33"/>
                </a:cubicBezTo>
                <a:cubicBezTo>
                  <a:pt x="0" y="15"/>
                  <a:pt x="16" y="0"/>
                  <a:pt x="34" y="0"/>
                </a:cubicBezTo>
                <a:cubicBezTo>
                  <a:pt x="99" y="0"/>
                  <a:pt x="99" y="0"/>
                  <a:pt x="99" y="0"/>
                </a:cubicBezTo>
                <a:cubicBezTo>
                  <a:pt x="116" y="0"/>
                  <a:pt x="130" y="12"/>
                  <a:pt x="132" y="29"/>
                </a:cubicBezTo>
                <a:cubicBezTo>
                  <a:pt x="137" y="66"/>
                  <a:pt x="137" y="66"/>
                  <a:pt x="137" y="66"/>
                </a:cubicBezTo>
                <a:cubicBezTo>
                  <a:pt x="551" y="66"/>
                  <a:pt x="551" y="66"/>
                  <a:pt x="551" y="66"/>
                </a:cubicBezTo>
                <a:cubicBezTo>
                  <a:pt x="561" y="66"/>
                  <a:pt x="570" y="70"/>
                  <a:pt x="576" y="77"/>
                </a:cubicBezTo>
                <a:cubicBezTo>
                  <a:pt x="583" y="84"/>
                  <a:pt x="586" y="94"/>
                  <a:pt x="585" y="103"/>
                </a:cubicBezTo>
                <a:cubicBezTo>
                  <a:pt x="560" y="318"/>
                  <a:pt x="560" y="318"/>
                  <a:pt x="560" y="318"/>
                </a:cubicBezTo>
                <a:cubicBezTo>
                  <a:pt x="559" y="334"/>
                  <a:pt x="546" y="346"/>
                  <a:pt x="531" y="348"/>
                </a:cubicBezTo>
                <a:cubicBezTo>
                  <a:pt x="143" y="389"/>
                  <a:pt x="143" y="389"/>
                  <a:pt x="143" y="389"/>
                </a:cubicBezTo>
                <a:cubicBezTo>
                  <a:pt x="143" y="389"/>
                  <a:pt x="143" y="389"/>
                  <a:pt x="142" y="389"/>
                </a:cubicBezTo>
                <a:cubicBezTo>
                  <a:pt x="142" y="389"/>
                  <a:pt x="141" y="389"/>
                  <a:pt x="140" y="389"/>
                </a:cubicBezTo>
                <a:close/>
                <a:moveTo>
                  <a:pt x="34" y="14"/>
                </a:moveTo>
                <a:cubicBezTo>
                  <a:pt x="23" y="14"/>
                  <a:pt x="14" y="22"/>
                  <a:pt x="14" y="33"/>
                </a:cubicBezTo>
                <a:cubicBezTo>
                  <a:pt x="14" y="44"/>
                  <a:pt x="23" y="53"/>
                  <a:pt x="34" y="53"/>
                </a:cubicBezTo>
                <a:cubicBezTo>
                  <a:pt x="75" y="53"/>
                  <a:pt x="75" y="53"/>
                  <a:pt x="75" y="53"/>
                </a:cubicBezTo>
                <a:cubicBezTo>
                  <a:pt x="79" y="53"/>
                  <a:pt x="82" y="55"/>
                  <a:pt x="82" y="59"/>
                </a:cubicBezTo>
                <a:cubicBezTo>
                  <a:pt x="120" y="358"/>
                  <a:pt x="120" y="358"/>
                  <a:pt x="120" y="358"/>
                </a:cubicBezTo>
                <a:cubicBezTo>
                  <a:pt x="122" y="368"/>
                  <a:pt x="131" y="376"/>
                  <a:pt x="142" y="375"/>
                </a:cubicBezTo>
                <a:cubicBezTo>
                  <a:pt x="142" y="375"/>
                  <a:pt x="142" y="375"/>
                  <a:pt x="142" y="375"/>
                </a:cubicBezTo>
                <a:cubicBezTo>
                  <a:pt x="529" y="334"/>
                  <a:pt x="529" y="334"/>
                  <a:pt x="529" y="334"/>
                </a:cubicBezTo>
                <a:cubicBezTo>
                  <a:pt x="538" y="333"/>
                  <a:pt x="545" y="326"/>
                  <a:pt x="546" y="317"/>
                </a:cubicBezTo>
                <a:cubicBezTo>
                  <a:pt x="571" y="102"/>
                  <a:pt x="571" y="102"/>
                  <a:pt x="571" y="102"/>
                </a:cubicBezTo>
                <a:cubicBezTo>
                  <a:pt x="571" y="96"/>
                  <a:pt x="570" y="91"/>
                  <a:pt x="566" y="86"/>
                </a:cubicBezTo>
                <a:cubicBezTo>
                  <a:pt x="562" y="82"/>
                  <a:pt x="557" y="80"/>
                  <a:pt x="551" y="80"/>
                </a:cubicBezTo>
                <a:cubicBezTo>
                  <a:pt x="131" y="80"/>
                  <a:pt x="131" y="80"/>
                  <a:pt x="131" y="80"/>
                </a:cubicBezTo>
                <a:cubicBezTo>
                  <a:pt x="127" y="80"/>
                  <a:pt x="124" y="77"/>
                  <a:pt x="124" y="74"/>
                </a:cubicBezTo>
                <a:cubicBezTo>
                  <a:pt x="118" y="31"/>
                  <a:pt x="118" y="31"/>
                  <a:pt x="118" y="31"/>
                </a:cubicBezTo>
                <a:cubicBezTo>
                  <a:pt x="117" y="21"/>
                  <a:pt x="109" y="14"/>
                  <a:pt x="99" y="14"/>
                </a:cubicBezTo>
                <a:lnTo>
                  <a:pt x="34" y="14"/>
                </a:ln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7187" name="Oval 26"/>
          <p:cNvSpPr>
            <a:spLocks noChangeArrowheads="1"/>
          </p:cNvSpPr>
          <p:nvPr/>
        </p:nvSpPr>
        <p:spPr bwMode="auto">
          <a:xfrm>
            <a:off x="3073678" y="3120088"/>
            <a:ext cx="1119124" cy="1119124"/>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9281" name="Freeform 148"/>
          <p:cNvSpPr>
            <a:spLocks noEditPoints="1"/>
          </p:cNvSpPr>
          <p:nvPr/>
        </p:nvSpPr>
        <p:spPr bwMode="auto">
          <a:xfrm>
            <a:off x="3360758" y="3406560"/>
            <a:ext cx="546182" cy="546182"/>
          </a:xfrm>
          <a:custGeom>
            <a:avLst/>
            <a:gdLst>
              <a:gd name="T0" fmla="*/ 90 w 519"/>
              <a:gd name="T1" fmla="*/ 519 h 519"/>
              <a:gd name="T2" fmla="*/ 0 w 519"/>
              <a:gd name="T3" fmla="*/ 89 h 519"/>
              <a:gd name="T4" fmla="*/ 429 w 519"/>
              <a:gd name="T5" fmla="*/ 0 h 519"/>
              <a:gd name="T6" fmla="*/ 519 w 519"/>
              <a:gd name="T7" fmla="*/ 429 h 519"/>
              <a:gd name="T8" fmla="*/ 90 w 519"/>
              <a:gd name="T9" fmla="*/ 14 h 519"/>
              <a:gd name="T10" fmla="*/ 14 w 519"/>
              <a:gd name="T11" fmla="*/ 429 h 519"/>
              <a:gd name="T12" fmla="*/ 429 w 519"/>
              <a:gd name="T13" fmla="*/ 505 h 519"/>
              <a:gd name="T14" fmla="*/ 505 w 519"/>
              <a:gd name="T15" fmla="*/ 89 h 519"/>
              <a:gd name="T16" fmla="*/ 90 w 519"/>
              <a:gd name="T17" fmla="*/ 14 h 519"/>
              <a:gd name="T18" fmla="*/ 512 w 519"/>
              <a:gd name="T19" fmla="*/ 252 h 519"/>
              <a:gd name="T20" fmla="*/ 0 w 519"/>
              <a:gd name="T21" fmla="*/ 259 h 519"/>
              <a:gd name="T22" fmla="*/ 512 w 519"/>
              <a:gd name="T23" fmla="*/ 266 h 519"/>
              <a:gd name="T24" fmla="*/ 266 w 519"/>
              <a:gd name="T25" fmla="*/ 512 h 519"/>
              <a:gd name="T26" fmla="*/ 259 w 519"/>
              <a:gd name="T27" fmla="*/ 0 h 519"/>
              <a:gd name="T28" fmla="*/ 252 w 519"/>
              <a:gd name="T29" fmla="*/ 512 h 519"/>
              <a:gd name="T30" fmla="*/ 266 w 519"/>
              <a:gd name="T31" fmla="*/ 512 h 519"/>
              <a:gd name="T32" fmla="*/ 444 w 519"/>
              <a:gd name="T33" fmla="*/ 129 h 519"/>
              <a:gd name="T34" fmla="*/ 320 w 519"/>
              <a:gd name="T35" fmla="*/ 136 h 519"/>
              <a:gd name="T36" fmla="*/ 444 w 519"/>
              <a:gd name="T37" fmla="*/ 143 h 519"/>
              <a:gd name="T38" fmla="*/ 199 w 519"/>
              <a:gd name="T39" fmla="*/ 133 h 519"/>
              <a:gd name="T40" fmla="*/ 75 w 519"/>
              <a:gd name="T41" fmla="*/ 126 h 519"/>
              <a:gd name="T42" fmla="*/ 75 w 519"/>
              <a:gd name="T43" fmla="*/ 140 h 519"/>
              <a:gd name="T44" fmla="*/ 199 w 519"/>
              <a:gd name="T45" fmla="*/ 133 h 519"/>
              <a:gd name="T46" fmla="*/ 140 w 519"/>
              <a:gd name="T47" fmla="*/ 74 h 519"/>
              <a:gd name="T48" fmla="*/ 126 w 519"/>
              <a:gd name="T49" fmla="*/ 74 h 519"/>
              <a:gd name="T50" fmla="*/ 133 w 519"/>
              <a:gd name="T51" fmla="*/ 198 h 519"/>
              <a:gd name="T52" fmla="*/ 179 w 519"/>
              <a:gd name="T53" fmla="*/ 432 h 519"/>
              <a:gd name="T54" fmla="*/ 97 w 519"/>
              <a:gd name="T55" fmla="*/ 339 h 519"/>
              <a:gd name="T56" fmla="*/ 87 w 519"/>
              <a:gd name="T57" fmla="*/ 349 h 519"/>
              <a:gd name="T58" fmla="*/ 175 w 519"/>
              <a:gd name="T59" fmla="*/ 434 h 519"/>
              <a:gd name="T60" fmla="*/ 97 w 519"/>
              <a:gd name="T61" fmla="*/ 432 h 519"/>
              <a:gd name="T62" fmla="*/ 179 w 519"/>
              <a:gd name="T63" fmla="*/ 339 h 519"/>
              <a:gd name="T64" fmla="*/ 87 w 519"/>
              <a:gd name="T65" fmla="*/ 422 h 519"/>
              <a:gd name="T66" fmla="*/ 92 w 519"/>
              <a:gd name="T67" fmla="*/ 434 h 519"/>
              <a:gd name="T68" fmla="*/ 353 w 519"/>
              <a:gd name="T69" fmla="*/ 432 h 519"/>
              <a:gd name="T70" fmla="*/ 435 w 519"/>
              <a:gd name="T71" fmla="*/ 339 h 519"/>
              <a:gd name="T72" fmla="*/ 343 w 519"/>
              <a:gd name="T73" fmla="*/ 422 h 519"/>
              <a:gd name="T74" fmla="*/ 348 w 519"/>
              <a:gd name="T75" fmla="*/ 434 h 5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19" h="519">
                <a:moveTo>
                  <a:pt x="429" y="519"/>
                </a:moveTo>
                <a:cubicBezTo>
                  <a:pt x="90" y="519"/>
                  <a:pt x="90" y="519"/>
                  <a:pt x="90" y="519"/>
                </a:cubicBezTo>
                <a:cubicBezTo>
                  <a:pt x="40" y="519"/>
                  <a:pt x="0" y="478"/>
                  <a:pt x="0" y="429"/>
                </a:cubicBezTo>
                <a:cubicBezTo>
                  <a:pt x="0" y="89"/>
                  <a:pt x="0" y="89"/>
                  <a:pt x="0" y="89"/>
                </a:cubicBezTo>
                <a:cubicBezTo>
                  <a:pt x="0" y="40"/>
                  <a:pt x="40" y="0"/>
                  <a:pt x="90" y="0"/>
                </a:cubicBezTo>
                <a:cubicBezTo>
                  <a:pt x="429" y="0"/>
                  <a:pt x="429" y="0"/>
                  <a:pt x="429" y="0"/>
                </a:cubicBezTo>
                <a:cubicBezTo>
                  <a:pt x="479" y="0"/>
                  <a:pt x="519" y="40"/>
                  <a:pt x="519" y="89"/>
                </a:cubicBezTo>
                <a:cubicBezTo>
                  <a:pt x="519" y="429"/>
                  <a:pt x="519" y="429"/>
                  <a:pt x="519" y="429"/>
                </a:cubicBezTo>
                <a:cubicBezTo>
                  <a:pt x="519" y="478"/>
                  <a:pt x="479" y="519"/>
                  <a:pt x="429" y="519"/>
                </a:cubicBezTo>
                <a:close/>
                <a:moveTo>
                  <a:pt x="90" y="14"/>
                </a:moveTo>
                <a:cubicBezTo>
                  <a:pt x="48" y="14"/>
                  <a:pt x="14" y="47"/>
                  <a:pt x="14" y="89"/>
                </a:cubicBezTo>
                <a:cubicBezTo>
                  <a:pt x="14" y="429"/>
                  <a:pt x="14" y="429"/>
                  <a:pt x="14" y="429"/>
                </a:cubicBezTo>
                <a:cubicBezTo>
                  <a:pt x="14" y="471"/>
                  <a:pt x="48" y="505"/>
                  <a:pt x="90" y="505"/>
                </a:cubicBezTo>
                <a:cubicBezTo>
                  <a:pt x="429" y="505"/>
                  <a:pt x="429" y="505"/>
                  <a:pt x="429" y="505"/>
                </a:cubicBezTo>
                <a:cubicBezTo>
                  <a:pt x="471" y="505"/>
                  <a:pt x="505" y="471"/>
                  <a:pt x="505" y="429"/>
                </a:cubicBezTo>
                <a:cubicBezTo>
                  <a:pt x="505" y="89"/>
                  <a:pt x="505" y="89"/>
                  <a:pt x="505" y="89"/>
                </a:cubicBezTo>
                <a:cubicBezTo>
                  <a:pt x="505" y="47"/>
                  <a:pt x="471" y="14"/>
                  <a:pt x="429" y="14"/>
                </a:cubicBezTo>
                <a:lnTo>
                  <a:pt x="90" y="14"/>
                </a:lnTo>
                <a:close/>
                <a:moveTo>
                  <a:pt x="519" y="259"/>
                </a:moveTo>
                <a:cubicBezTo>
                  <a:pt x="519" y="255"/>
                  <a:pt x="516" y="252"/>
                  <a:pt x="512" y="252"/>
                </a:cubicBezTo>
                <a:cubicBezTo>
                  <a:pt x="7" y="252"/>
                  <a:pt x="7" y="252"/>
                  <a:pt x="7" y="252"/>
                </a:cubicBezTo>
                <a:cubicBezTo>
                  <a:pt x="3" y="252"/>
                  <a:pt x="0" y="255"/>
                  <a:pt x="0" y="259"/>
                </a:cubicBezTo>
                <a:cubicBezTo>
                  <a:pt x="0" y="263"/>
                  <a:pt x="3" y="266"/>
                  <a:pt x="7" y="266"/>
                </a:cubicBezTo>
                <a:cubicBezTo>
                  <a:pt x="512" y="266"/>
                  <a:pt x="512" y="266"/>
                  <a:pt x="512" y="266"/>
                </a:cubicBezTo>
                <a:cubicBezTo>
                  <a:pt x="516" y="266"/>
                  <a:pt x="519" y="263"/>
                  <a:pt x="519" y="259"/>
                </a:cubicBezTo>
                <a:close/>
                <a:moveTo>
                  <a:pt x="266" y="512"/>
                </a:moveTo>
                <a:cubicBezTo>
                  <a:pt x="266" y="7"/>
                  <a:pt x="266" y="7"/>
                  <a:pt x="266" y="7"/>
                </a:cubicBezTo>
                <a:cubicBezTo>
                  <a:pt x="266" y="3"/>
                  <a:pt x="263" y="0"/>
                  <a:pt x="259" y="0"/>
                </a:cubicBezTo>
                <a:cubicBezTo>
                  <a:pt x="256" y="0"/>
                  <a:pt x="252" y="3"/>
                  <a:pt x="252" y="7"/>
                </a:cubicBezTo>
                <a:cubicBezTo>
                  <a:pt x="252" y="512"/>
                  <a:pt x="252" y="512"/>
                  <a:pt x="252" y="512"/>
                </a:cubicBezTo>
                <a:cubicBezTo>
                  <a:pt x="252" y="516"/>
                  <a:pt x="256" y="519"/>
                  <a:pt x="259" y="519"/>
                </a:cubicBezTo>
                <a:cubicBezTo>
                  <a:pt x="263" y="519"/>
                  <a:pt x="266" y="516"/>
                  <a:pt x="266" y="512"/>
                </a:cubicBezTo>
                <a:close/>
                <a:moveTo>
                  <a:pt x="451" y="136"/>
                </a:moveTo>
                <a:cubicBezTo>
                  <a:pt x="451" y="132"/>
                  <a:pt x="448" y="129"/>
                  <a:pt x="444" y="129"/>
                </a:cubicBezTo>
                <a:cubicBezTo>
                  <a:pt x="327" y="129"/>
                  <a:pt x="327" y="129"/>
                  <a:pt x="327" y="129"/>
                </a:cubicBezTo>
                <a:cubicBezTo>
                  <a:pt x="323" y="129"/>
                  <a:pt x="320" y="132"/>
                  <a:pt x="320" y="136"/>
                </a:cubicBezTo>
                <a:cubicBezTo>
                  <a:pt x="320" y="140"/>
                  <a:pt x="323" y="143"/>
                  <a:pt x="327" y="143"/>
                </a:cubicBezTo>
                <a:cubicBezTo>
                  <a:pt x="444" y="143"/>
                  <a:pt x="444" y="143"/>
                  <a:pt x="444" y="143"/>
                </a:cubicBezTo>
                <a:cubicBezTo>
                  <a:pt x="448" y="143"/>
                  <a:pt x="451" y="140"/>
                  <a:pt x="451" y="136"/>
                </a:cubicBezTo>
                <a:close/>
                <a:moveTo>
                  <a:pt x="199" y="133"/>
                </a:moveTo>
                <a:cubicBezTo>
                  <a:pt x="199" y="129"/>
                  <a:pt x="196" y="126"/>
                  <a:pt x="192" y="126"/>
                </a:cubicBezTo>
                <a:cubicBezTo>
                  <a:pt x="75" y="126"/>
                  <a:pt x="75" y="126"/>
                  <a:pt x="75" y="126"/>
                </a:cubicBezTo>
                <a:cubicBezTo>
                  <a:pt x="71" y="126"/>
                  <a:pt x="68" y="129"/>
                  <a:pt x="68" y="133"/>
                </a:cubicBezTo>
                <a:cubicBezTo>
                  <a:pt x="68" y="137"/>
                  <a:pt x="71" y="140"/>
                  <a:pt x="75" y="140"/>
                </a:cubicBezTo>
                <a:cubicBezTo>
                  <a:pt x="192" y="140"/>
                  <a:pt x="192" y="140"/>
                  <a:pt x="192" y="140"/>
                </a:cubicBezTo>
                <a:cubicBezTo>
                  <a:pt x="196" y="140"/>
                  <a:pt x="199" y="137"/>
                  <a:pt x="199" y="133"/>
                </a:cubicBezTo>
                <a:close/>
                <a:moveTo>
                  <a:pt x="140" y="191"/>
                </a:moveTo>
                <a:cubicBezTo>
                  <a:pt x="140" y="74"/>
                  <a:pt x="140" y="74"/>
                  <a:pt x="140" y="74"/>
                </a:cubicBezTo>
                <a:cubicBezTo>
                  <a:pt x="140" y="70"/>
                  <a:pt x="137" y="67"/>
                  <a:pt x="133" y="67"/>
                </a:cubicBezTo>
                <a:cubicBezTo>
                  <a:pt x="129" y="67"/>
                  <a:pt x="126" y="70"/>
                  <a:pt x="126" y="74"/>
                </a:cubicBezTo>
                <a:cubicBezTo>
                  <a:pt x="126" y="191"/>
                  <a:pt x="126" y="191"/>
                  <a:pt x="126" y="191"/>
                </a:cubicBezTo>
                <a:cubicBezTo>
                  <a:pt x="126" y="195"/>
                  <a:pt x="129" y="198"/>
                  <a:pt x="133" y="198"/>
                </a:cubicBezTo>
                <a:cubicBezTo>
                  <a:pt x="137" y="198"/>
                  <a:pt x="140" y="195"/>
                  <a:pt x="140" y="191"/>
                </a:cubicBezTo>
                <a:close/>
                <a:moveTo>
                  <a:pt x="179" y="432"/>
                </a:moveTo>
                <a:cubicBezTo>
                  <a:pt x="182" y="429"/>
                  <a:pt x="182" y="425"/>
                  <a:pt x="179" y="422"/>
                </a:cubicBezTo>
                <a:cubicBezTo>
                  <a:pt x="97" y="339"/>
                  <a:pt x="97" y="339"/>
                  <a:pt x="97" y="339"/>
                </a:cubicBezTo>
                <a:cubicBezTo>
                  <a:pt x="94" y="336"/>
                  <a:pt x="90" y="336"/>
                  <a:pt x="87" y="339"/>
                </a:cubicBezTo>
                <a:cubicBezTo>
                  <a:pt x="84" y="342"/>
                  <a:pt x="84" y="346"/>
                  <a:pt x="87" y="349"/>
                </a:cubicBezTo>
                <a:cubicBezTo>
                  <a:pt x="170" y="432"/>
                  <a:pt x="170" y="432"/>
                  <a:pt x="170" y="432"/>
                </a:cubicBezTo>
                <a:cubicBezTo>
                  <a:pt x="171" y="433"/>
                  <a:pt x="173" y="434"/>
                  <a:pt x="175" y="434"/>
                </a:cubicBezTo>
                <a:cubicBezTo>
                  <a:pt x="176" y="434"/>
                  <a:pt x="178" y="433"/>
                  <a:pt x="179" y="432"/>
                </a:cubicBezTo>
                <a:close/>
                <a:moveTo>
                  <a:pt x="97" y="432"/>
                </a:moveTo>
                <a:cubicBezTo>
                  <a:pt x="179" y="349"/>
                  <a:pt x="179" y="349"/>
                  <a:pt x="179" y="349"/>
                </a:cubicBezTo>
                <a:cubicBezTo>
                  <a:pt x="182" y="346"/>
                  <a:pt x="182" y="342"/>
                  <a:pt x="179" y="339"/>
                </a:cubicBezTo>
                <a:cubicBezTo>
                  <a:pt x="177" y="336"/>
                  <a:pt x="172" y="336"/>
                  <a:pt x="170" y="339"/>
                </a:cubicBezTo>
                <a:cubicBezTo>
                  <a:pt x="87" y="422"/>
                  <a:pt x="87" y="422"/>
                  <a:pt x="87" y="422"/>
                </a:cubicBezTo>
                <a:cubicBezTo>
                  <a:pt x="84" y="425"/>
                  <a:pt x="84" y="429"/>
                  <a:pt x="87" y="432"/>
                </a:cubicBezTo>
                <a:cubicBezTo>
                  <a:pt x="88" y="433"/>
                  <a:pt x="90" y="434"/>
                  <a:pt x="92" y="434"/>
                </a:cubicBezTo>
                <a:cubicBezTo>
                  <a:pt x="94" y="434"/>
                  <a:pt x="95" y="433"/>
                  <a:pt x="97" y="432"/>
                </a:cubicBezTo>
                <a:close/>
                <a:moveTo>
                  <a:pt x="353" y="432"/>
                </a:moveTo>
                <a:cubicBezTo>
                  <a:pt x="435" y="349"/>
                  <a:pt x="435" y="349"/>
                  <a:pt x="435" y="349"/>
                </a:cubicBezTo>
                <a:cubicBezTo>
                  <a:pt x="438" y="346"/>
                  <a:pt x="438" y="342"/>
                  <a:pt x="435" y="339"/>
                </a:cubicBezTo>
                <a:cubicBezTo>
                  <a:pt x="433" y="336"/>
                  <a:pt x="428" y="336"/>
                  <a:pt x="425" y="339"/>
                </a:cubicBezTo>
                <a:cubicBezTo>
                  <a:pt x="343" y="422"/>
                  <a:pt x="343" y="422"/>
                  <a:pt x="343" y="422"/>
                </a:cubicBezTo>
                <a:cubicBezTo>
                  <a:pt x="340" y="425"/>
                  <a:pt x="340" y="429"/>
                  <a:pt x="343" y="432"/>
                </a:cubicBezTo>
                <a:cubicBezTo>
                  <a:pt x="344" y="433"/>
                  <a:pt x="346" y="434"/>
                  <a:pt x="348" y="434"/>
                </a:cubicBezTo>
                <a:cubicBezTo>
                  <a:pt x="349" y="434"/>
                  <a:pt x="351" y="433"/>
                  <a:pt x="353" y="432"/>
                </a:cubicBez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endParaRPr lang="en-US" sz="1836"/>
          </a:p>
        </p:txBody>
      </p:sp>
    </p:spTree>
    <p:extLst>
      <p:ext uri="{BB962C8B-B14F-4D97-AF65-F5344CB8AC3E}">
        <p14:creationId xmlns:p14="http://schemas.microsoft.com/office/powerpoint/2010/main" val="1159102941"/>
      </p:ext>
    </p:extLst>
  </p:cSld>
  <p:clrMapOvr>
    <a:masterClrMapping/>
  </p:clrMapOvr>
  <p:transition>
    <p:fade/>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usiness</a:t>
            </a:r>
          </a:p>
        </p:txBody>
      </p:sp>
      <p:sp>
        <p:nvSpPr>
          <p:cNvPr id="9228" name="Oval 50"/>
          <p:cNvSpPr>
            <a:spLocks noChangeArrowheads="1"/>
          </p:cNvSpPr>
          <p:nvPr/>
        </p:nvSpPr>
        <p:spPr bwMode="auto">
          <a:xfrm>
            <a:off x="3073678" y="4711628"/>
            <a:ext cx="1119124" cy="1119124"/>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6166" name="Freeform 83"/>
          <p:cNvSpPr>
            <a:spLocks noEditPoints="1"/>
          </p:cNvSpPr>
          <p:nvPr/>
        </p:nvSpPr>
        <p:spPr bwMode="auto">
          <a:xfrm>
            <a:off x="3406983" y="4937886"/>
            <a:ext cx="490226" cy="666608"/>
          </a:xfrm>
          <a:custGeom>
            <a:avLst/>
            <a:gdLst>
              <a:gd name="T0" fmla="*/ 32 w 465"/>
              <a:gd name="T1" fmla="*/ 633 h 633"/>
              <a:gd name="T2" fmla="*/ 0 w 465"/>
              <a:gd name="T3" fmla="*/ 31 h 633"/>
              <a:gd name="T4" fmla="*/ 433 w 465"/>
              <a:gd name="T5" fmla="*/ 0 h 633"/>
              <a:gd name="T6" fmla="*/ 465 w 465"/>
              <a:gd name="T7" fmla="*/ 602 h 633"/>
              <a:gd name="T8" fmla="*/ 32 w 465"/>
              <a:gd name="T9" fmla="*/ 14 h 633"/>
              <a:gd name="T10" fmla="*/ 14 w 465"/>
              <a:gd name="T11" fmla="*/ 602 h 633"/>
              <a:gd name="T12" fmla="*/ 433 w 465"/>
              <a:gd name="T13" fmla="*/ 619 h 633"/>
              <a:gd name="T14" fmla="*/ 451 w 465"/>
              <a:gd name="T15" fmla="*/ 31 h 633"/>
              <a:gd name="T16" fmla="*/ 32 w 465"/>
              <a:gd name="T17" fmla="*/ 14 h 633"/>
              <a:gd name="T18" fmla="*/ 309 w 465"/>
              <a:gd name="T19" fmla="*/ 516 h 633"/>
              <a:gd name="T20" fmla="*/ 411 w 465"/>
              <a:gd name="T21" fmla="*/ 516 h 633"/>
              <a:gd name="T22" fmla="*/ 360 w 465"/>
              <a:gd name="T23" fmla="*/ 479 h 633"/>
              <a:gd name="T24" fmla="*/ 360 w 465"/>
              <a:gd name="T25" fmla="*/ 552 h 633"/>
              <a:gd name="T26" fmla="*/ 360 w 465"/>
              <a:gd name="T27" fmla="*/ 479 h 633"/>
              <a:gd name="T28" fmla="*/ 182 w 465"/>
              <a:gd name="T29" fmla="*/ 516 h 633"/>
              <a:gd name="T30" fmla="*/ 283 w 465"/>
              <a:gd name="T31" fmla="*/ 516 h 633"/>
              <a:gd name="T32" fmla="*/ 232 w 465"/>
              <a:gd name="T33" fmla="*/ 479 h 633"/>
              <a:gd name="T34" fmla="*/ 232 w 465"/>
              <a:gd name="T35" fmla="*/ 552 h 633"/>
              <a:gd name="T36" fmla="*/ 232 w 465"/>
              <a:gd name="T37" fmla="*/ 479 h 633"/>
              <a:gd name="T38" fmla="*/ 54 w 465"/>
              <a:gd name="T39" fmla="*/ 516 h 633"/>
              <a:gd name="T40" fmla="*/ 156 w 465"/>
              <a:gd name="T41" fmla="*/ 516 h 633"/>
              <a:gd name="T42" fmla="*/ 105 w 465"/>
              <a:gd name="T43" fmla="*/ 479 h 633"/>
              <a:gd name="T44" fmla="*/ 105 w 465"/>
              <a:gd name="T45" fmla="*/ 552 h 633"/>
              <a:gd name="T46" fmla="*/ 105 w 465"/>
              <a:gd name="T47" fmla="*/ 479 h 633"/>
              <a:gd name="T48" fmla="*/ 309 w 465"/>
              <a:gd name="T49" fmla="*/ 389 h 633"/>
              <a:gd name="T50" fmla="*/ 411 w 465"/>
              <a:gd name="T51" fmla="*/ 389 h 633"/>
              <a:gd name="T52" fmla="*/ 360 w 465"/>
              <a:gd name="T53" fmla="*/ 352 h 633"/>
              <a:gd name="T54" fmla="*/ 360 w 465"/>
              <a:gd name="T55" fmla="*/ 426 h 633"/>
              <a:gd name="T56" fmla="*/ 360 w 465"/>
              <a:gd name="T57" fmla="*/ 352 h 633"/>
              <a:gd name="T58" fmla="*/ 182 w 465"/>
              <a:gd name="T59" fmla="*/ 389 h 633"/>
              <a:gd name="T60" fmla="*/ 283 w 465"/>
              <a:gd name="T61" fmla="*/ 389 h 633"/>
              <a:gd name="T62" fmla="*/ 232 w 465"/>
              <a:gd name="T63" fmla="*/ 352 h 633"/>
              <a:gd name="T64" fmla="*/ 232 w 465"/>
              <a:gd name="T65" fmla="*/ 426 h 633"/>
              <a:gd name="T66" fmla="*/ 232 w 465"/>
              <a:gd name="T67" fmla="*/ 352 h 633"/>
              <a:gd name="T68" fmla="*/ 54 w 465"/>
              <a:gd name="T69" fmla="*/ 389 h 633"/>
              <a:gd name="T70" fmla="*/ 156 w 465"/>
              <a:gd name="T71" fmla="*/ 389 h 633"/>
              <a:gd name="T72" fmla="*/ 105 w 465"/>
              <a:gd name="T73" fmla="*/ 352 h 633"/>
              <a:gd name="T74" fmla="*/ 105 w 465"/>
              <a:gd name="T75" fmla="*/ 426 h 633"/>
              <a:gd name="T76" fmla="*/ 105 w 465"/>
              <a:gd name="T77" fmla="*/ 352 h 633"/>
              <a:gd name="T78" fmla="*/ 309 w 465"/>
              <a:gd name="T79" fmla="*/ 262 h 633"/>
              <a:gd name="T80" fmla="*/ 411 w 465"/>
              <a:gd name="T81" fmla="*/ 262 h 633"/>
              <a:gd name="T82" fmla="*/ 360 w 465"/>
              <a:gd name="T83" fmla="*/ 226 h 633"/>
              <a:gd name="T84" fmla="*/ 360 w 465"/>
              <a:gd name="T85" fmla="*/ 299 h 633"/>
              <a:gd name="T86" fmla="*/ 360 w 465"/>
              <a:gd name="T87" fmla="*/ 226 h 633"/>
              <a:gd name="T88" fmla="*/ 182 w 465"/>
              <a:gd name="T89" fmla="*/ 262 h 633"/>
              <a:gd name="T90" fmla="*/ 283 w 465"/>
              <a:gd name="T91" fmla="*/ 262 h 633"/>
              <a:gd name="T92" fmla="*/ 232 w 465"/>
              <a:gd name="T93" fmla="*/ 226 h 633"/>
              <a:gd name="T94" fmla="*/ 232 w 465"/>
              <a:gd name="T95" fmla="*/ 299 h 633"/>
              <a:gd name="T96" fmla="*/ 232 w 465"/>
              <a:gd name="T97" fmla="*/ 226 h 633"/>
              <a:gd name="T98" fmla="*/ 54 w 465"/>
              <a:gd name="T99" fmla="*/ 262 h 633"/>
              <a:gd name="T100" fmla="*/ 156 w 465"/>
              <a:gd name="T101" fmla="*/ 262 h 633"/>
              <a:gd name="T102" fmla="*/ 105 w 465"/>
              <a:gd name="T103" fmla="*/ 226 h 633"/>
              <a:gd name="T104" fmla="*/ 105 w 465"/>
              <a:gd name="T105" fmla="*/ 299 h 633"/>
              <a:gd name="T106" fmla="*/ 105 w 465"/>
              <a:gd name="T107" fmla="*/ 226 h 633"/>
              <a:gd name="T108" fmla="*/ 105 w 465"/>
              <a:gd name="T109" fmla="*/ 168 h 633"/>
              <a:gd name="T110" fmla="*/ 105 w 465"/>
              <a:gd name="T111" fmla="*/ 66 h 633"/>
              <a:gd name="T112" fmla="*/ 411 w 465"/>
              <a:gd name="T113" fmla="*/ 117 h 633"/>
              <a:gd name="T114" fmla="*/ 105 w 465"/>
              <a:gd name="T115" fmla="*/ 80 h 633"/>
              <a:gd name="T116" fmla="*/ 105 w 465"/>
              <a:gd name="T117" fmla="*/ 154 h 633"/>
              <a:gd name="T118" fmla="*/ 397 w 465"/>
              <a:gd name="T119" fmla="*/ 117 h 633"/>
              <a:gd name="T120" fmla="*/ 105 w 465"/>
              <a:gd name="T121" fmla="*/ 80 h 6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65" h="633">
                <a:moveTo>
                  <a:pt x="433" y="633"/>
                </a:moveTo>
                <a:cubicBezTo>
                  <a:pt x="32" y="633"/>
                  <a:pt x="32" y="633"/>
                  <a:pt x="32" y="633"/>
                </a:cubicBezTo>
                <a:cubicBezTo>
                  <a:pt x="14" y="633"/>
                  <a:pt x="0" y="619"/>
                  <a:pt x="0" y="602"/>
                </a:cubicBezTo>
                <a:cubicBezTo>
                  <a:pt x="0" y="31"/>
                  <a:pt x="0" y="31"/>
                  <a:pt x="0" y="31"/>
                </a:cubicBezTo>
                <a:cubicBezTo>
                  <a:pt x="0" y="14"/>
                  <a:pt x="14" y="0"/>
                  <a:pt x="32" y="0"/>
                </a:cubicBezTo>
                <a:cubicBezTo>
                  <a:pt x="433" y="0"/>
                  <a:pt x="433" y="0"/>
                  <a:pt x="433" y="0"/>
                </a:cubicBezTo>
                <a:cubicBezTo>
                  <a:pt x="451" y="0"/>
                  <a:pt x="465" y="14"/>
                  <a:pt x="465" y="31"/>
                </a:cubicBezTo>
                <a:cubicBezTo>
                  <a:pt x="465" y="602"/>
                  <a:pt x="465" y="602"/>
                  <a:pt x="465" y="602"/>
                </a:cubicBezTo>
                <a:cubicBezTo>
                  <a:pt x="465" y="619"/>
                  <a:pt x="451" y="633"/>
                  <a:pt x="433" y="633"/>
                </a:cubicBezTo>
                <a:close/>
                <a:moveTo>
                  <a:pt x="32" y="14"/>
                </a:moveTo>
                <a:cubicBezTo>
                  <a:pt x="22" y="14"/>
                  <a:pt x="14" y="22"/>
                  <a:pt x="14" y="31"/>
                </a:cubicBezTo>
                <a:cubicBezTo>
                  <a:pt x="14" y="602"/>
                  <a:pt x="14" y="602"/>
                  <a:pt x="14" y="602"/>
                </a:cubicBezTo>
                <a:cubicBezTo>
                  <a:pt x="14" y="611"/>
                  <a:pt x="22" y="619"/>
                  <a:pt x="32" y="619"/>
                </a:cubicBezTo>
                <a:cubicBezTo>
                  <a:pt x="433" y="619"/>
                  <a:pt x="433" y="619"/>
                  <a:pt x="433" y="619"/>
                </a:cubicBezTo>
                <a:cubicBezTo>
                  <a:pt x="443" y="619"/>
                  <a:pt x="451" y="611"/>
                  <a:pt x="451" y="602"/>
                </a:cubicBezTo>
                <a:cubicBezTo>
                  <a:pt x="451" y="31"/>
                  <a:pt x="451" y="31"/>
                  <a:pt x="451" y="31"/>
                </a:cubicBezTo>
                <a:cubicBezTo>
                  <a:pt x="451" y="22"/>
                  <a:pt x="443" y="14"/>
                  <a:pt x="433" y="14"/>
                </a:cubicBezTo>
                <a:lnTo>
                  <a:pt x="32" y="14"/>
                </a:lnTo>
                <a:close/>
                <a:moveTo>
                  <a:pt x="360" y="566"/>
                </a:moveTo>
                <a:cubicBezTo>
                  <a:pt x="332" y="566"/>
                  <a:pt x="309" y="544"/>
                  <a:pt x="309" y="516"/>
                </a:cubicBezTo>
                <a:cubicBezTo>
                  <a:pt x="309" y="488"/>
                  <a:pt x="332" y="465"/>
                  <a:pt x="360" y="465"/>
                </a:cubicBezTo>
                <a:cubicBezTo>
                  <a:pt x="388" y="465"/>
                  <a:pt x="411" y="488"/>
                  <a:pt x="411" y="516"/>
                </a:cubicBezTo>
                <a:cubicBezTo>
                  <a:pt x="411" y="544"/>
                  <a:pt x="388" y="566"/>
                  <a:pt x="360" y="566"/>
                </a:cubicBezTo>
                <a:close/>
                <a:moveTo>
                  <a:pt x="360" y="479"/>
                </a:moveTo>
                <a:cubicBezTo>
                  <a:pt x="340" y="479"/>
                  <a:pt x="323" y="495"/>
                  <a:pt x="323" y="516"/>
                </a:cubicBezTo>
                <a:cubicBezTo>
                  <a:pt x="323" y="536"/>
                  <a:pt x="340" y="552"/>
                  <a:pt x="360" y="552"/>
                </a:cubicBezTo>
                <a:cubicBezTo>
                  <a:pt x="380" y="552"/>
                  <a:pt x="397" y="536"/>
                  <a:pt x="397" y="516"/>
                </a:cubicBezTo>
                <a:cubicBezTo>
                  <a:pt x="397" y="495"/>
                  <a:pt x="380" y="479"/>
                  <a:pt x="360" y="479"/>
                </a:cubicBezTo>
                <a:close/>
                <a:moveTo>
                  <a:pt x="232" y="566"/>
                </a:moveTo>
                <a:cubicBezTo>
                  <a:pt x="204" y="566"/>
                  <a:pt x="182" y="544"/>
                  <a:pt x="182" y="516"/>
                </a:cubicBezTo>
                <a:cubicBezTo>
                  <a:pt x="182" y="488"/>
                  <a:pt x="204" y="465"/>
                  <a:pt x="232" y="465"/>
                </a:cubicBezTo>
                <a:cubicBezTo>
                  <a:pt x="260" y="465"/>
                  <a:pt x="283" y="488"/>
                  <a:pt x="283" y="516"/>
                </a:cubicBezTo>
                <a:cubicBezTo>
                  <a:pt x="283" y="544"/>
                  <a:pt x="260" y="566"/>
                  <a:pt x="232" y="566"/>
                </a:cubicBezTo>
                <a:close/>
                <a:moveTo>
                  <a:pt x="232" y="479"/>
                </a:moveTo>
                <a:cubicBezTo>
                  <a:pt x="212" y="479"/>
                  <a:pt x="196" y="495"/>
                  <a:pt x="196" y="516"/>
                </a:cubicBezTo>
                <a:cubicBezTo>
                  <a:pt x="196" y="536"/>
                  <a:pt x="212" y="552"/>
                  <a:pt x="232" y="552"/>
                </a:cubicBezTo>
                <a:cubicBezTo>
                  <a:pt x="253" y="552"/>
                  <a:pt x="269" y="536"/>
                  <a:pt x="269" y="516"/>
                </a:cubicBezTo>
                <a:cubicBezTo>
                  <a:pt x="269" y="495"/>
                  <a:pt x="253" y="479"/>
                  <a:pt x="232" y="479"/>
                </a:cubicBezTo>
                <a:close/>
                <a:moveTo>
                  <a:pt x="105" y="566"/>
                </a:moveTo>
                <a:cubicBezTo>
                  <a:pt x="77" y="566"/>
                  <a:pt x="54" y="544"/>
                  <a:pt x="54" y="516"/>
                </a:cubicBezTo>
                <a:cubicBezTo>
                  <a:pt x="54" y="488"/>
                  <a:pt x="77" y="465"/>
                  <a:pt x="105" y="465"/>
                </a:cubicBezTo>
                <a:cubicBezTo>
                  <a:pt x="133" y="465"/>
                  <a:pt x="156" y="488"/>
                  <a:pt x="156" y="516"/>
                </a:cubicBezTo>
                <a:cubicBezTo>
                  <a:pt x="156" y="544"/>
                  <a:pt x="133" y="566"/>
                  <a:pt x="105" y="566"/>
                </a:cubicBezTo>
                <a:close/>
                <a:moveTo>
                  <a:pt x="105" y="479"/>
                </a:moveTo>
                <a:cubicBezTo>
                  <a:pt x="85" y="479"/>
                  <a:pt x="68" y="495"/>
                  <a:pt x="68" y="516"/>
                </a:cubicBezTo>
                <a:cubicBezTo>
                  <a:pt x="68" y="536"/>
                  <a:pt x="85" y="552"/>
                  <a:pt x="105" y="552"/>
                </a:cubicBezTo>
                <a:cubicBezTo>
                  <a:pt x="125" y="552"/>
                  <a:pt x="142" y="536"/>
                  <a:pt x="142" y="516"/>
                </a:cubicBezTo>
                <a:cubicBezTo>
                  <a:pt x="142" y="495"/>
                  <a:pt x="125" y="479"/>
                  <a:pt x="105" y="479"/>
                </a:cubicBezTo>
                <a:close/>
                <a:moveTo>
                  <a:pt x="360" y="440"/>
                </a:moveTo>
                <a:cubicBezTo>
                  <a:pt x="332" y="440"/>
                  <a:pt x="309" y="417"/>
                  <a:pt x="309" y="389"/>
                </a:cubicBezTo>
                <a:cubicBezTo>
                  <a:pt x="309" y="361"/>
                  <a:pt x="332" y="338"/>
                  <a:pt x="360" y="338"/>
                </a:cubicBezTo>
                <a:cubicBezTo>
                  <a:pt x="388" y="338"/>
                  <a:pt x="411" y="361"/>
                  <a:pt x="411" y="389"/>
                </a:cubicBezTo>
                <a:cubicBezTo>
                  <a:pt x="411" y="417"/>
                  <a:pt x="388" y="440"/>
                  <a:pt x="360" y="440"/>
                </a:cubicBezTo>
                <a:close/>
                <a:moveTo>
                  <a:pt x="360" y="352"/>
                </a:moveTo>
                <a:cubicBezTo>
                  <a:pt x="340" y="352"/>
                  <a:pt x="323" y="369"/>
                  <a:pt x="323" y="389"/>
                </a:cubicBezTo>
                <a:cubicBezTo>
                  <a:pt x="323" y="409"/>
                  <a:pt x="340" y="426"/>
                  <a:pt x="360" y="426"/>
                </a:cubicBezTo>
                <a:cubicBezTo>
                  <a:pt x="380" y="426"/>
                  <a:pt x="397" y="409"/>
                  <a:pt x="397" y="389"/>
                </a:cubicBezTo>
                <a:cubicBezTo>
                  <a:pt x="397" y="369"/>
                  <a:pt x="380" y="352"/>
                  <a:pt x="360" y="352"/>
                </a:cubicBezTo>
                <a:close/>
                <a:moveTo>
                  <a:pt x="232" y="440"/>
                </a:moveTo>
                <a:cubicBezTo>
                  <a:pt x="204" y="440"/>
                  <a:pt x="182" y="417"/>
                  <a:pt x="182" y="389"/>
                </a:cubicBezTo>
                <a:cubicBezTo>
                  <a:pt x="182" y="361"/>
                  <a:pt x="204" y="338"/>
                  <a:pt x="232" y="338"/>
                </a:cubicBezTo>
                <a:cubicBezTo>
                  <a:pt x="260" y="338"/>
                  <a:pt x="283" y="361"/>
                  <a:pt x="283" y="389"/>
                </a:cubicBezTo>
                <a:cubicBezTo>
                  <a:pt x="283" y="417"/>
                  <a:pt x="260" y="440"/>
                  <a:pt x="232" y="440"/>
                </a:cubicBezTo>
                <a:close/>
                <a:moveTo>
                  <a:pt x="232" y="352"/>
                </a:moveTo>
                <a:cubicBezTo>
                  <a:pt x="212" y="352"/>
                  <a:pt x="196" y="369"/>
                  <a:pt x="196" y="389"/>
                </a:cubicBezTo>
                <a:cubicBezTo>
                  <a:pt x="196" y="409"/>
                  <a:pt x="212" y="426"/>
                  <a:pt x="232" y="426"/>
                </a:cubicBezTo>
                <a:cubicBezTo>
                  <a:pt x="253" y="426"/>
                  <a:pt x="269" y="409"/>
                  <a:pt x="269" y="389"/>
                </a:cubicBezTo>
                <a:cubicBezTo>
                  <a:pt x="269" y="369"/>
                  <a:pt x="253" y="352"/>
                  <a:pt x="232" y="352"/>
                </a:cubicBezTo>
                <a:close/>
                <a:moveTo>
                  <a:pt x="105" y="440"/>
                </a:moveTo>
                <a:cubicBezTo>
                  <a:pt x="77" y="440"/>
                  <a:pt x="54" y="417"/>
                  <a:pt x="54" y="389"/>
                </a:cubicBezTo>
                <a:cubicBezTo>
                  <a:pt x="54" y="361"/>
                  <a:pt x="77" y="338"/>
                  <a:pt x="105" y="338"/>
                </a:cubicBezTo>
                <a:cubicBezTo>
                  <a:pt x="133" y="338"/>
                  <a:pt x="156" y="361"/>
                  <a:pt x="156" y="389"/>
                </a:cubicBezTo>
                <a:cubicBezTo>
                  <a:pt x="156" y="417"/>
                  <a:pt x="133" y="440"/>
                  <a:pt x="105" y="440"/>
                </a:cubicBezTo>
                <a:close/>
                <a:moveTo>
                  <a:pt x="105" y="352"/>
                </a:moveTo>
                <a:cubicBezTo>
                  <a:pt x="85" y="352"/>
                  <a:pt x="68" y="369"/>
                  <a:pt x="68" y="389"/>
                </a:cubicBezTo>
                <a:cubicBezTo>
                  <a:pt x="68" y="409"/>
                  <a:pt x="85" y="426"/>
                  <a:pt x="105" y="426"/>
                </a:cubicBezTo>
                <a:cubicBezTo>
                  <a:pt x="125" y="426"/>
                  <a:pt x="142" y="409"/>
                  <a:pt x="142" y="389"/>
                </a:cubicBezTo>
                <a:cubicBezTo>
                  <a:pt x="142" y="369"/>
                  <a:pt x="125" y="352"/>
                  <a:pt x="105" y="352"/>
                </a:cubicBezTo>
                <a:close/>
                <a:moveTo>
                  <a:pt x="360" y="313"/>
                </a:moveTo>
                <a:cubicBezTo>
                  <a:pt x="332" y="313"/>
                  <a:pt x="309" y="290"/>
                  <a:pt x="309" y="262"/>
                </a:cubicBezTo>
                <a:cubicBezTo>
                  <a:pt x="309" y="234"/>
                  <a:pt x="332" y="212"/>
                  <a:pt x="360" y="212"/>
                </a:cubicBezTo>
                <a:cubicBezTo>
                  <a:pt x="388" y="212"/>
                  <a:pt x="411" y="234"/>
                  <a:pt x="411" y="262"/>
                </a:cubicBezTo>
                <a:cubicBezTo>
                  <a:pt x="411" y="290"/>
                  <a:pt x="388" y="313"/>
                  <a:pt x="360" y="313"/>
                </a:cubicBezTo>
                <a:close/>
                <a:moveTo>
                  <a:pt x="360" y="226"/>
                </a:moveTo>
                <a:cubicBezTo>
                  <a:pt x="340" y="226"/>
                  <a:pt x="323" y="242"/>
                  <a:pt x="323" y="262"/>
                </a:cubicBezTo>
                <a:cubicBezTo>
                  <a:pt x="323" y="283"/>
                  <a:pt x="340" y="299"/>
                  <a:pt x="360" y="299"/>
                </a:cubicBezTo>
                <a:cubicBezTo>
                  <a:pt x="380" y="299"/>
                  <a:pt x="397" y="283"/>
                  <a:pt x="397" y="262"/>
                </a:cubicBezTo>
                <a:cubicBezTo>
                  <a:pt x="397" y="242"/>
                  <a:pt x="380" y="226"/>
                  <a:pt x="360" y="226"/>
                </a:cubicBezTo>
                <a:close/>
                <a:moveTo>
                  <a:pt x="232" y="313"/>
                </a:moveTo>
                <a:cubicBezTo>
                  <a:pt x="204" y="313"/>
                  <a:pt x="182" y="290"/>
                  <a:pt x="182" y="262"/>
                </a:cubicBezTo>
                <a:cubicBezTo>
                  <a:pt x="182" y="234"/>
                  <a:pt x="204" y="212"/>
                  <a:pt x="232" y="212"/>
                </a:cubicBezTo>
                <a:cubicBezTo>
                  <a:pt x="260" y="212"/>
                  <a:pt x="283" y="234"/>
                  <a:pt x="283" y="262"/>
                </a:cubicBezTo>
                <a:cubicBezTo>
                  <a:pt x="283" y="290"/>
                  <a:pt x="260" y="313"/>
                  <a:pt x="232" y="313"/>
                </a:cubicBezTo>
                <a:close/>
                <a:moveTo>
                  <a:pt x="232" y="226"/>
                </a:moveTo>
                <a:cubicBezTo>
                  <a:pt x="212" y="226"/>
                  <a:pt x="196" y="242"/>
                  <a:pt x="196" y="262"/>
                </a:cubicBezTo>
                <a:cubicBezTo>
                  <a:pt x="196" y="283"/>
                  <a:pt x="212" y="299"/>
                  <a:pt x="232" y="299"/>
                </a:cubicBezTo>
                <a:cubicBezTo>
                  <a:pt x="253" y="299"/>
                  <a:pt x="269" y="283"/>
                  <a:pt x="269" y="262"/>
                </a:cubicBezTo>
                <a:cubicBezTo>
                  <a:pt x="269" y="242"/>
                  <a:pt x="253" y="226"/>
                  <a:pt x="232" y="226"/>
                </a:cubicBezTo>
                <a:close/>
                <a:moveTo>
                  <a:pt x="105" y="313"/>
                </a:moveTo>
                <a:cubicBezTo>
                  <a:pt x="77" y="313"/>
                  <a:pt x="54" y="290"/>
                  <a:pt x="54" y="262"/>
                </a:cubicBezTo>
                <a:cubicBezTo>
                  <a:pt x="54" y="234"/>
                  <a:pt x="77" y="212"/>
                  <a:pt x="105" y="212"/>
                </a:cubicBezTo>
                <a:cubicBezTo>
                  <a:pt x="133" y="212"/>
                  <a:pt x="156" y="234"/>
                  <a:pt x="156" y="262"/>
                </a:cubicBezTo>
                <a:cubicBezTo>
                  <a:pt x="156" y="290"/>
                  <a:pt x="133" y="313"/>
                  <a:pt x="105" y="313"/>
                </a:cubicBezTo>
                <a:close/>
                <a:moveTo>
                  <a:pt x="105" y="226"/>
                </a:moveTo>
                <a:cubicBezTo>
                  <a:pt x="85" y="226"/>
                  <a:pt x="68" y="242"/>
                  <a:pt x="68" y="262"/>
                </a:cubicBezTo>
                <a:cubicBezTo>
                  <a:pt x="68" y="283"/>
                  <a:pt x="85" y="299"/>
                  <a:pt x="105" y="299"/>
                </a:cubicBezTo>
                <a:cubicBezTo>
                  <a:pt x="125" y="299"/>
                  <a:pt x="142" y="283"/>
                  <a:pt x="142" y="262"/>
                </a:cubicBezTo>
                <a:cubicBezTo>
                  <a:pt x="142" y="242"/>
                  <a:pt x="125" y="226"/>
                  <a:pt x="105" y="226"/>
                </a:cubicBezTo>
                <a:close/>
                <a:moveTo>
                  <a:pt x="360" y="168"/>
                </a:moveTo>
                <a:cubicBezTo>
                  <a:pt x="105" y="168"/>
                  <a:pt x="105" y="168"/>
                  <a:pt x="105" y="168"/>
                </a:cubicBezTo>
                <a:cubicBezTo>
                  <a:pt x="77" y="168"/>
                  <a:pt x="54" y="145"/>
                  <a:pt x="54" y="117"/>
                </a:cubicBezTo>
                <a:cubicBezTo>
                  <a:pt x="54" y="89"/>
                  <a:pt x="77" y="66"/>
                  <a:pt x="105" y="66"/>
                </a:cubicBezTo>
                <a:cubicBezTo>
                  <a:pt x="360" y="66"/>
                  <a:pt x="360" y="66"/>
                  <a:pt x="360" y="66"/>
                </a:cubicBezTo>
                <a:cubicBezTo>
                  <a:pt x="388" y="66"/>
                  <a:pt x="411" y="89"/>
                  <a:pt x="411" y="117"/>
                </a:cubicBezTo>
                <a:cubicBezTo>
                  <a:pt x="411" y="145"/>
                  <a:pt x="388" y="168"/>
                  <a:pt x="360" y="168"/>
                </a:cubicBezTo>
                <a:close/>
                <a:moveTo>
                  <a:pt x="105" y="80"/>
                </a:moveTo>
                <a:cubicBezTo>
                  <a:pt x="85" y="80"/>
                  <a:pt x="68" y="97"/>
                  <a:pt x="68" y="117"/>
                </a:cubicBezTo>
                <a:cubicBezTo>
                  <a:pt x="68" y="137"/>
                  <a:pt x="85" y="154"/>
                  <a:pt x="105" y="154"/>
                </a:cubicBezTo>
                <a:cubicBezTo>
                  <a:pt x="360" y="154"/>
                  <a:pt x="360" y="154"/>
                  <a:pt x="360" y="154"/>
                </a:cubicBezTo>
                <a:cubicBezTo>
                  <a:pt x="380" y="154"/>
                  <a:pt x="397" y="137"/>
                  <a:pt x="397" y="117"/>
                </a:cubicBezTo>
                <a:cubicBezTo>
                  <a:pt x="397" y="97"/>
                  <a:pt x="380" y="80"/>
                  <a:pt x="360" y="80"/>
                </a:cubicBezTo>
                <a:lnTo>
                  <a:pt x="105" y="80"/>
                </a:ln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9227" name="Oval 49"/>
          <p:cNvSpPr>
            <a:spLocks noChangeArrowheads="1"/>
          </p:cNvSpPr>
          <p:nvPr/>
        </p:nvSpPr>
        <p:spPr bwMode="auto">
          <a:xfrm>
            <a:off x="1315706" y="3120088"/>
            <a:ext cx="1119124" cy="1119124"/>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6167" name="Freeform 84"/>
          <p:cNvSpPr>
            <a:spLocks noEditPoints="1"/>
          </p:cNvSpPr>
          <p:nvPr/>
        </p:nvSpPr>
        <p:spPr bwMode="auto">
          <a:xfrm>
            <a:off x="1549517" y="3444877"/>
            <a:ext cx="651504" cy="470763"/>
          </a:xfrm>
          <a:custGeom>
            <a:avLst/>
            <a:gdLst>
              <a:gd name="T0" fmla="*/ 611 w 618"/>
              <a:gd name="T1" fmla="*/ 447 h 447"/>
              <a:gd name="T2" fmla="*/ 450 w 618"/>
              <a:gd name="T3" fmla="*/ 447 h 447"/>
              <a:gd name="T4" fmla="*/ 443 w 618"/>
              <a:gd name="T5" fmla="*/ 440 h 447"/>
              <a:gd name="T6" fmla="*/ 443 w 618"/>
              <a:gd name="T7" fmla="*/ 7 h 447"/>
              <a:gd name="T8" fmla="*/ 450 w 618"/>
              <a:gd name="T9" fmla="*/ 0 h 447"/>
              <a:gd name="T10" fmla="*/ 611 w 618"/>
              <a:gd name="T11" fmla="*/ 0 h 447"/>
              <a:gd name="T12" fmla="*/ 618 w 618"/>
              <a:gd name="T13" fmla="*/ 7 h 447"/>
              <a:gd name="T14" fmla="*/ 618 w 618"/>
              <a:gd name="T15" fmla="*/ 440 h 447"/>
              <a:gd name="T16" fmla="*/ 611 w 618"/>
              <a:gd name="T17" fmla="*/ 447 h 447"/>
              <a:gd name="T18" fmla="*/ 457 w 618"/>
              <a:gd name="T19" fmla="*/ 433 h 447"/>
              <a:gd name="T20" fmla="*/ 604 w 618"/>
              <a:gd name="T21" fmla="*/ 433 h 447"/>
              <a:gd name="T22" fmla="*/ 604 w 618"/>
              <a:gd name="T23" fmla="*/ 14 h 447"/>
              <a:gd name="T24" fmla="*/ 457 w 618"/>
              <a:gd name="T25" fmla="*/ 14 h 447"/>
              <a:gd name="T26" fmla="*/ 457 w 618"/>
              <a:gd name="T27" fmla="*/ 433 h 447"/>
              <a:gd name="T28" fmla="*/ 389 w 618"/>
              <a:gd name="T29" fmla="*/ 447 h 447"/>
              <a:gd name="T30" fmla="*/ 228 w 618"/>
              <a:gd name="T31" fmla="*/ 447 h 447"/>
              <a:gd name="T32" fmla="*/ 221 w 618"/>
              <a:gd name="T33" fmla="*/ 440 h 447"/>
              <a:gd name="T34" fmla="*/ 221 w 618"/>
              <a:gd name="T35" fmla="*/ 110 h 447"/>
              <a:gd name="T36" fmla="*/ 228 w 618"/>
              <a:gd name="T37" fmla="*/ 103 h 447"/>
              <a:gd name="T38" fmla="*/ 389 w 618"/>
              <a:gd name="T39" fmla="*/ 103 h 447"/>
              <a:gd name="T40" fmla="*/ 396 w 618"/>
              <a:gd name="T41" fmla="*/ 110 h 447"/>
              <a:gd name="T42" fmla="*/ 396 w 618"/>
              <a:gd name="T43" fmla="*/ 440 h 447"/>
              <a:gd name="T44" fmla="*/ 389 w 618"/>
              <a:gd name="T45" fmla="*/ 447 h 447"/>
              <a:gd name="T46" fmla="*/ 235 w 618"/>
              <a:gd name="T47" fmla="*/ 433 h 447"/>
              <a:gd name="T48" fmla="*/ 382 w 618"/>
              <a:gd name="T49" fmla="*/ 433 h 447"/>
              <a:gd name="T50" fmla="*/ 382 w 618"/>
              <a:gd name="T51" fmla="*/ 117 h 447"/>
              <a:gd name="T52" fmla="*/ 235 w 618"/>
              <a:gd name="T53" fmla="*/ 117 h 447"/>
              <a:gd name="T54" fmla="*/ 235 w 618"/>
              <a:gd name="T55" fmla="*/ 433 h 447"/>
              <a:gd name="T56" fmla="*/ 168 w 618"/>
              <a:gd name="T57" fmla="*/ 447 h 447"/>
              <a:gd name="T58" fmla="*/ 7 w 618"/>
              <a:gd name="T59" fmla="*/ 447 h 447"/>
              <a:gd name="T60" fmla="*/ 0 w 618"/>
              <a:gd name="T61" fmla="*/ 440 h 447"/>
              <a:gd name="T62" fmla="*/ 0 w 618"/>
              <a:gd name="T63" fmla="*/ 224 h 447"/>
              <a:gd name="T64" fmla="*/ 7 w 618"/>
              <a:gd name="T65" fmla="*/ 217 h 447"/>
              <a:gd name="T66" fmla="*/ 168 w 618"/>
              <a:gd name="T67" fmla="*/ 217 h 447"/>
              <a:gd name="T68" fmla="*/ 175 w 618"/>
              <a:gd name="T69" fmla="*/ 224 h 447"/>
              <a:gd name="T70" fmla="*/ 175 w 618"/>
              <a:gd name="T71" fmla="*/ 440 h 447"/>
              <a:gd name="T72" fmla="*/ 168 w 618"/>
              <a:gd name="T73" fmla="*/ 447 h 447"/>
              <a:gd name="T74" fmla="*/ 14 w 618"/>
              <a:gd name="T75" fmla="*/ 433 h 447"/>
              <a:gd name="T76" fmla="*/ 161 w 618"/>
              <a:gd name="T77" fmla="*/ 433 h 447"/>
              <a:gd name="T78" fmla="*/ 161 w 618"/>
              <a:gd name="T79" fmla="*/ 231 h 447"/>
              <a:gd name="T80" fmla="*/ 14 w 618"/>
              <a:gd name="T81" fmla="*/ 231 h 447"/>
              <a:gd name="T82" fmla="*/ 14 w 618"/>
              <a:gd name="T83" fmla="*/ 433 h 4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18" h="447">
                <a:moveTo>
                  <a:pt x="611" y="447"/>
                </a:moveTo>
                <a:cubicBezTo>
                  <a:pt x="450" y="447"/>
                  <a:pt x="450" y="447"/>
                  <a:pt x="450" y="447"/>
                </a:cubicBezTo>
                <a:cubicBezTo>
                  <a:pt x="446" y="447"/>
                  <a:pt x="443" y="444"/>
                  <a:pt x="443" y="440"/>
                </a:cubicBezTo>
                <a:cubicBezTo>
                  <a:pt x="443" y="7"/>
                  <a:pt x="443" y="7"/>
                  <a:pt x="443" y="7"/>
                </a:cubicBezTo>
                <a:cubicBezTo>
                  <a:pt x="443" y="3"/>
                  <a:pt x="446" y="0"/>
                  <a:pt x="450" y="0"/>
                </a:cubicBezTo>
                <a:cubicBezTo>
                  <a:pt x="611" y="0"/>
                  <a:pt x="611" y="0"/>
                  <a:pt x="611" y="0"/>
                </a:cubicBezTo>
                <a:cubicBezTo>
                  <a:pt x="615" y="0"/>
                  <a:pt x="618" y="3"/>
                  <a:pt x="618" y="7"/>
                </a:cubicBezTo>
                <a:cubicBezTo>
                  <a:pt x="618" y="440"/>
                  <a:pt x="618" y="440"/>
                  <a:pt x="618" y="440"/>
                </a:cubicBezTo>
                <a:cubicBezTo>
                  <a:pt x="618" y="444"/>
                  <a:pt x="615" y="447"/>
                  <a:pt x="611" y="447"/>
                </a:cubicBezTo>
                <a:close/>
                <a:moveTo>
                  <a:pt x="457" y="433"/>
                </a:moveTo>
                <a:cubicBezTo>
                  <a:pt x="604" y="433"/>
                  <a:pt x="604" y="433"/>
                  <a:pt x="604" y="433"/>
                </a:cubicBezTo>
                <a:cubicBezTo>
                  <a:pt x="604" y="14"/>
                  <a:pt x="604" y="14"/>
                  <a:pt x="604" y="14"/>
                </a:cubicBezTo>
                <a:cubicBezTo>
                  <a:pt x="457" y="14"/>
                  <a:pt x="457" y="14"/>
                  <a:pt x="457" y="14"/>
                </a:cubicBezTo>
                <a:lnTo>
                  <a:pt x="457" y="433"/>
                </a:lnTo>
                <a:close/>
                <a:moveTo>
                  <a:pt x="389" y="447"/>
                </a:moveTo>
                <a:cubicBezTo>
                  <a:pt x="228" y="447"/>
                  <a:pt x="228" y="447"/>
                  <a:pt x="228" y="447"/>
                </a:cubicBezTo>
                <a:cubicBezTo>
                  <a:pt x="225" y="447"/>
                  <a:pt x="221" y="444"/>
                  <a:pt x="221" y="440"/>
                </a:cubicBezTo>
                <a:cubicBezTo>
                  <a:pt x="221" y="110"/>
                  <a:pt x="221" y="110"/>
                  <a:pt x="221" y="110"/>
                </a:cubicBezTo>
                <a:cubicBezTo>
                  <a:pt x="221" y="106"/>
                  <a:pt x="225" y="103"/>
                  <a:pt x="228" y="103"/>
                </a:cubicBezTo>
                <a:cubicBezTo>
                  <a:pt x="389" y="103"/>
                  <a:pt x="389" y="103"/>
                  <a:pt x="389" y="103"/>
                </a:cubicBezTo>
                <a:cubicBezTo>
                  <a:pt x="393" y="103"/>
                  <a:pt x="396" y="106"/>
                  <a:pt x="396" y="110"/>
                </a:cubicBezTo>
                <a:cubicBezTo>
                  <a:pt x="396" y="440"/>
                  <a:pt x="396" y="440"/>
                  <a:pt x="396" y="440"/>
                </a:cubicBezTo>
                <a:cubicBezTo>
                  <a:pt x="396" y="444"/>
                  <a:pt x="393" y="447"/>
                  <a:pt x="389" y="447"/>
                </a:cubicBezTo>
                <a:close/>
                <a:moveTo>
                  <a:pt x="235" y="433"/>
                </a:moveTo>
                <a:cubicBezTo>
                  <a:pt x="382" y="433"/>
                  <a:pt x="382" y="433"/>
                  <a:pt x="382" y="433"/>
                </a:cubicBezTo>
                <a:cubicBezTo>
                  <a:pt x="382" y="117"/>
                  <a:pt x="382" y="117"/>
                  <a:pt x="382" y="117"/>
                </a:cubicBezTo>
                <a:cubicBezTo>
                  <a:pt x="235" y="117"/>
                  <a:pt x="235" y="117"/>
                  <a:pt x="235" y="117"/>
                </a:cubicBezTo>
                <a:lnTo>
                  <a:pt x="235" y="433"/>
                </a:lnTo>
                <a:close/>
                <a:moveTo>
                  <a:pt x="168" y="447"/>
                </a:moveTo>
                <a:cubicBezTo>
                  <a:pt x="7" y="447"/>
                  <a:pt x="7" y="447"/>
                  <a:pt x="7" y="447"/>
                </a:cubicBezTo>
                <a:cubicBezTo>
                  <a:pt x="3" y="447"/>
                  <a:pt x="0" y="444"/>
                  <a:pt x="0" y="440"/>
                </a:cubicBezTo>
                <a:cubicBezTo>
                  <a:pt x="0" y="224"/>
                  <a:pt x="0" y="224"/>
                  <a:pt x="0" y="224"/>
                </a:cubicBezTo>
                <a:cubicBezTo>
                  <a:pt x="0" y="220"/>
                  <a:pt x="3" y="217"/>
                  <a:pt x="7" y="217"/>
                </a:cubicBezTo>
                <a:cubicBezTo>
                  <a:pt x="168" y="217"/>
                  <a:pt x="168" y="217"/>
                  <a:pt x="168" y="217"/>
                </a:cubicBezTo>
                <a:cubicBezTo>
                  <a:pt x="172" y="217"/>
                  <a:pt x="175" y="220"/>
                  <a:pt x="175" y="224"/>
                </a:cubicBezTo>
                <a:cubicBezTo>
                  <a:pt x="175" y="440"/>
                  <a:pt x="175" y="440"/>
                  <a:pt x="175" y="440"/>
                </a:cubicBezTo>
                <a:cubicBezTo>
                  <a:pt x="175" y="444"/>
                  <a:pt x="172" y="447"/>
                  <a:pt x="168" y="447"/>
                </a:cubicBezTo>
                <a:close/>
                <a:moveTo>
                  <a:pt x="14" y="433"/>
                </a:moveTo>
                <a:cubicBezTo>
                  <a:pt x="161" y="433"/>
                  <a:pt x="161" y="433"/>
                  <a:pt x="161" y="433"/>
                </a:cubicBezTo>
                <a:cubicBezTo>
                  <a:pt x="161" y="231"/>
                  <a:pt x="161" y="231"/>
                  <a:pt x="161" y="231"/>
                </a:cubicBezTo>
                <a:cubicBezTo>
                  <a:pt x="14" y="231"/>
                  <a:pt x="14" y="231"/>
                  <a:pt x="14" y="231"/>
                </a:cubicBezTo>
                <a:lnTo>
                  <a:pt x="14" y="433"/>
                </a:ln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9226" name="Oval 48"/>
          <p:cNvSpPr>
            <a:spLocks noChangeArrowheads="1"/>
          </p:cNvSpPr>
          <p:nvPr/>
        </p:nvSpPr>
        <p:spPr bwMode="auto">
          <a:xfrm>
            <a:off x="3073678" y="3120088"/>
            <a:ext cx="1119124" cy="1119124"/>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6168" name="Freeform 85"/>
          <p:cNvSpPr>
            <a:spLocks noEditPoints="1"/>
          </p:cNvSpPr>
          <p:nvPr/>
        </p:nvSpPr>
        <p:spPr bwMode="auto">
          <a:xfrm>
            <a:off x="3307235" y="3323235"/>
            <a:ext cx="652012" cy="714050"/>
          </a:xfrm>
          <a:custGeom>
            <a:avLst/>
            <a:gdLst>
              <a:gd name="T0" fmla="*/ 309 w 619"/>
              <a:gd name="T1" fmla="*/ 679 h 679"/>
              <a:gd name="T2" fmla="*/ 0 w 619"/>
              <a:gd name="T3" fmla="*/ 369 h 679"/>
              <a:gd name="T4" fmla="*/ 304 w 619"/>
              <a:gd name="T5" fmla="*/ 60 h 679"/>
              <a:gd name="T6" fmla="*/ 309 w 619"/>
              <a:gd name="T7" fmla="*/ 62 h 679"/>
              <a:gd name="T8" fmla="*/ 312 w 619"/>
              <a:gd name="T9" fmla="*/ 67 h 679"/>
              <a:gd name="T10" fmla="*/ 312 w 619"/>
              <a:gd name="T11" fmla="*/ 365 h 679"/>
              <a:gd name="T12" fmla="*/ 561 w 619"/>
              <a:gd name="T13" fmla="*/ 201 h 679"/>
              <a:gd name="T14" fmla="*/ 566 w 619"/>
              <a:gd name="T15" fmla="*/ 200 h 679"/>
              <a:gd name="T16" fmla="*/ 571 w 619"/>
              <a:gd name="T17" fmla="*/ 203 h 679"/>
              <a:gd name="T18" fmla="*/ 619 w 619"/>
              <a:gd name="T19" fmla="*/ 369 h 679"/>
              <a:gd name="T20" fmla="*/ 309 w 619"/>
              <a:gd name="T21" fmla="*/ 679 h 679"/>
              <a:gd name="T22" fmla="*/ 298 w 619"/>
              <a:gd name="T23" fmla="*/ 74 h 679"/>
              <a:gd name="T24" fmla="*/ 14 w 619"/>
              <a:gd name="T25" fmla="*/ 369 h 679"/>
              <a:gd name="T26" fmla="*/ 309 w 619"/>
              <a:gd name="T27" fmla="*/ 665 h 679"/>
              <a:gd name="T28" fmla="*/ 605 w 619"/>
              <a:gd name="T29" fmla="*/ 369 h 679"/>
              <a:gd name="T30" fmla="*/ 563 w 619"/>
              <a:gd name="T31" fmla="*/ 217 h 679"/>
              <a:gd name="T32" fmla="*/ 308 w 619"/>
              <a:gd name="T33" fmla="*/ 384 h 679"/>
              <a:gd name="T34" fmla="*/ 301 w 619"/>
              <a:gd name="T35" fmla="*/ 384 h 679"/>
              <a:gd name="T36" fmla="*/ 298 w 619"/>
              <a:gd name="T37" fmla="*/ 378 h 679"/>
              <a:gd name="T38" fmla="*/ 298 w 619"/>
              <a:gd name="T39" fmla="*/ 74 h 679"/>
              <a:gd name="T40" fmla="*/ 348 w 619"/>
              <a:gd name="T41" fmla="*/ 308 h 679"/>
              <a:gd name="T42" fmla="*/ 345 w 619"/>
              <a:gd name="T43" fmla="*/ 307 h 679"/>
              <a:gd name="T44" fmla="*/ 341 w 619"/>
              <a:gd name="T45" fmla="*/ 301 h 679"/>
              <a:gd name="T46" fmla="*/ 341 w 619"/>
              <a:gd name="T47" fmla="*/ 7 h 679"/>
              <a:gd name="T48" fmla="*/ 343 w 619"/>
              <a:gd name="T49" fmla="*/ 2 h 679"/>
              <a:gd name="T50" fmla="*/ 348 w 619"/>
              <a:gd name="T51" fmla="*/ 0 h 679"/>
              <a:gd name="T52" fmla="*/ 599 w 619"/>
              <a:gd name="T53" fmla="*/ 135 h 679"/>
              <a:gd name="T54" fmla="*/ 600 w 619"/>
              <a:gd name="T55" fmla="*/ 141 h 679"/>
              <a:gd name="T56" fmla="*/ 597 w 619"/>
              <a:gd name="T57" fmla="*/ 145 h 679"/>
              <a:gd name="T58" fmla="*/ 352 w 619"/>
              <a:gd name="T59" fmla="*/ 307 h 679"/>
              <a:gd name="T60" fmla="*/ 348 w 619"/>
              <a:gd name="T61" fmla="*/ 308 h 679"/>
              <a:gd name="T62" fmla="*/ 355 w 619"/>
              <a:gd name="T63" fmla="*/ 14 h 679"/>
              <a:gd name="T64" fmla="*/ 355 w 619"/>
              <a:gd name="T65" fmla="*/ 288 h 679"/>
              <a:gd name="T66" fmla="*/ 583 w 619"/>
              <a:gd name="T67" fmla="*/ 137 h 679"/>
              <a:gd name="T68" fmla="*/ 355 w 619"/>
              <a:gd name="T69" fmla="*/ 14 h 6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19" h="679">
                <a:moveTo>
                  <a:pt x="309" y="679"/>
                </a:moveTo>
                <a:cubicBezTo>
                  <a:pt x="139" y="679"/>
                  <a:pt x="0" y="540"/>
                  <a:pt x="0" y="369"/>
                </a:cubicBezTo>
                <a:cubicBezTo>
                  <a:pt x="0" y="201"/>
                  <a:pt x="136" y="62"/>
                  <a:pt x="304" y="60"/>
                </a:cubicBezTo>
                <a:cubicBezTo>
                  <a:pt x="306" y="60"/>
                  <a:pt x="308" y="60"/>
                  <a:pt x="309" y="62"/>
                </a:cubicBezTo>
                <a:cubicBezTo>
                  <a:pt x="311" y="63"/>
                  <a:pt x="312" y="65"/>
                  <a:pt x="312" y="67"/>
                </a:cubicBezTo>
                <a:cubicBezTo>
                  <a:pt x="312" y="365"/>
                  <a:pt x="312" y="365"/>
                  <a:pt x="312" y="365"/>
                </a:cubicBezTo>
                <a:cubicBezTo>
                  <a:pt x="561" y="201"/>
                  <a:pt x="561" y="201"/>
                  <a:pt x="561" y="201"/>
                </a:cubicBezTo>
                <a:cubicBezTo>
                  <a:pt x="563" y="200"/>
                  <a:pt x="564" y="200"/>
                  <a:pt x="566" y="200"/>
                </a:cubicBezTo>
                <a:cubicBezTo>
                  <a:pt x="568" y="201"/>
                  <a:pt x="570" y="202"/>
                  <a:pt x="571" y="203"/>
                </a:cubicBezTo>
                <a:cubicBezTo>
                  <a:pt x="602" y="253"/>
                  <a:pt x="619" y="310"/>
                  <a:pt x="619" y="369"/>
                </a:cubicBezTo>
                <a:cubicBezTo>
                  <a:pt x="619" y="540"/>
                  <a:pt x="480" y="679"/>
                  <a:pt x="309" y="679"/>
                </a:cubicBezTo>
                <a:close/>
                <a:moveTo>
                  <a:pt x="298" y="74"/>
                </a:moveTo>
                <a:cubicBezTo>
                  <a:pt x="140" y="80"/>
                  <a:pt x="14" y="211"/>
                  <a:pt x="14" y="369"/>
                </a:cubicBezTo>
                <a:cubicBezTo>
                  <a:pt x="14" y="532"/>
                  <a:pt x="146" y="665"/>
                  <a:pt x="309" y="665"/>
                </a:cubicBezTo>
                <a:cubicBezTo>
                  <a:pt x="472" y="665"/>
                  <a:pt x="605" y="532"/>
                  <a:pt x="605" y="369"/>
                </a:cubicBezTo>
                <a:cubicBezTo>
                  <a:pt x="605" y="315"/>
                  <a:pt x="590" y="263"/>
                  <a:pt x="563" y="217"/>
                </a:cubicBezTo>
                <a:cubicBezTo>
                  <a:pt x="308" y="384"/>
                  <a:pt x="308" y="384"/>
                  <a:pt x="308" y="384"/>
                </a:cubicBezTo>
                <a:cubicBezTo>
                  <a:pt x="306" y="386"/>
                  <a:pt x="304" y="386"/>
                  <a:pt x="301" y="384"/>
                </a:cubicBezTo>
                <a:cubicBezTo>
                  <a:pt x="299" y="383"/>
                  <a:pt x="298" y="381"/>
                  <a:pt x="298" y="378"/>
                </a:cubicBezTo>
                <a:lnTo>
                  <a:pt x="298" y="74"/>
                </a:lnTo>
                <a:close/>
                <a:moveTo>
                  <a:pt x="348" y="308"/>
                </a:moveTo>
                <a:cubicBezTo>
                  <a:pt x="347" y="308"/>
                  <a:pt x="346" y="307"/>
                  <a:pt x="345" y="307"/>
                </a:cubicBezTo>
                <a:cubicBezTo>
                  <a:pt x="342" y="306"/>
                  <a:pt x="341" y="303"/>
                  <a:pt x="341" y="301"/>
                </a:cubicBezTo>
                <a:cubicBezTo>
                  <a:pt x="341" y="7"/>
                  <a:pt x="341" y="7"/>
                  <a:pt x="341" y="7"/>
                </a:cubicBezTo>
                <a:cubicBezTo>
                  <a:pt x="341" y="5"/>
                  <a:pt x="342" y="3"/>
                  <a:pt x="343" y="2"/>
                </a:cubicBezTo>
                <a:cubicBezTo>
                  <a:pt x="344" y="1"/>
                  <a:pt x="346" y="0"/>
                  <a:pt x="348" y="0"/>
                </a:cubicBezTo>
                <a:cubicBezTo>
                  <a:pt x="449" y="2"/>
                  <a:pt x="542" y="52"/>
                  <a:pt x="599" y="135"/>
                </a:cubicBezTo>
                <a:cubicBezTo>
                  <a:pt x="600" y="137"/>
                  <a:pt x="600" y="139"/>
                  <a:pt x="600" y="141"/>
                </a:cubicBezTo>
                <a:cubicBezTo>
                  <a:pt x="600" y="143"/>
                  <a:pt x="599" y="144"/>
                  <a:pt x="597" y="145"/>
                </a:cubicBezTo>
                <a:cubicBezTo>
                  <a:pt x="352" y="307"/>
                  <a:pt x="352" y="307"/>
                  <a:pt x="352" y="307"/>
                </a:cubicBezTo>
                <a:cubicBezTo>
                  <a:pt x="351" y="307"/>
                  <a:pt x="349" y="308"/>
                  <a:pt x="348" y="308"/>
                </a:cubicBezTo>
                <a:close/>
                <a:moveTo>
                  <a:pt x="355" y="14"/>
                </a:moveTo>
                <a:cubicBezTo>
                  <a:pt x="355" y="288"/>
                  <a:pt x="355" y="288"/>
                  <a:pt x="355" y="288"/>
                </a:cubicBezTo>
                <a:cubicBezTo>
                  <a:pt x="583" y="137"/>
                  <a:pt x="583" y="137"/>
                  <a:pt x="583" y="137"/>
                </a:cubicBezTo>
                <a:cubicBezTo>
                  <a:pt x="530" y="63"/>
                  <a:pt x="446" y="18"/>
                  <a:pt x="355" y="14"/>
                </a:cubicBez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9233" name="Oval 55"/>
          <p:cNvSpPr>
            <a:spLocks noChangeArrowheads="1"/>
          </p:cNvSpPr>
          <p:nvPr/>
        </p:nvSpPr>
        <p:spPr bwMode="auto">
          <a:xfrm>
            <a:off x="8347593" y="1528549"/>
            <a:ext cx="1119124" cy="1119124"/>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6169" name="Freeform 86"/>
          <p:cNvSpPr>
            <a:spLocks noEditPoints="1"/>
          </p:cNvSpPr>
          <p:nvPr/>
        </p:nvSpPr>
        <p:spPr bwMode="auto">
          <a:xfrm>
            <a:off x="8603324" y="1752374"/>
            <a:ext cx="606446" cy="672691"/>
          </a:xfrm>
          <a:custGeom>
            <a:avLst/>
            <a:gdLst>
              <a:gd name="T0" fmla="*/ 208 w 575"/>
              <a:gd name="T1" fmla="*/ 639 h 639"/>
              <a:gd name="T2" fmla="*/ 201 w 575"/>
              <a:gd name="T3" fmla="*/ 373 h 639"/>
              <a:gd name="T4" fmla="*/ 369 w 575"/>
              <a:gd name="T5" fmla="*/ 366 h 639"/>
              <a:gd name="T6" fmla="*/ 376 w 575"/>
              <a:gd name="T7" fmla="*/ 632 h 639"/>
              <a:gd name="T8" fmla="*/ 215 w 575"/>
              <a:gd name="T9" fmla="*/ 625 h 639"/>
              <a:gd name="T10" fmla="*/ 362 w 575"/>
              <a:gd name="T11" fmla="*/ 380 h 639"/>
              <a:gd name="T12" fmla="*/ 215 w 575"/>
              <a:gd name="T13" fmla="*/ 625 h 639"/>
              <a:gd name="T14" fmla="*/ 10 w 575"/>
              <a:gd name="T15" fmla="*/ 639 h 639"/>
              <a:gd name="T16" fmla="*/ 3 w 575"/>
              <a:gd name="T17" fmla="*/ 503 h 639"/>
              <a:gd name="T18" fmla="*/ 170 w 575"/>
              <a:gd name="T19" fmla="*/ 496 h 639"/>
              <a:gd name="T20" fmla="*/ 177 w 575"/>
              <a:gd name="T21" fmla="*/ 632 h 639"/>
              <a:gd name="T22" fmla="*/ 17 w 575"/>
              <a:gd name="T23" fmla="*/ 625 h 639"/>
              <a:gd name="T24" fmla="*/ 163 w 575"/>
              <a:gd name="T25" fmla="*/ 510 h 639"/>
              <a:gd name="T26" fmla="*/ 17 w 575"/>
              <a:gd name="T27" fmla="*/ 625 h 639"/>
              <a:gd name="T28" fmla="*/ 5 w 575"/>
              <a:gd name="T29" fmla="*/ 411 h 639"/>
              <a:gd name="T30" fmla="*/ 292 w 575"/>
              <a:gd name="T31" fmla="*/ 47 h 639"/>
              <a:gd name="T32" fmla="*/ 256 w 575"/>
              <a:gd name="T33" fmla="*/ 4 h 639"/>
              <a:gd name="T34" fmla="*/ 417 w 575"/>
              <a:gd name="T35" fmla="*/ 0 h 639"/>
              <a:gd name="T36" fmla="*/ 424 w 575"/>
              <a:gd name="T37" fmla="*/ 163 h 639"/>
              <a:gd name="T38" fmla="*/ 412 w 575"/>
              <a:gd name="T39" fmla="*/ 168 h 639"/>
              <a:gd name="T40" fmla="*/ 31 w 575"/>
              <a:gd name="T41" fmla="*/ 414 h 639"/>
              <a:gd name="T42" fmla="*/ 279 w 575"/>
              <a:gd name="T43" fmla="*/ 14 h 639"/>
              <a:gd name="T44" fmla="*/ 307 w 575"/>
              <a:gd name="T45" fmla="*/ 51 h 639"/>
              <a:gd name="T46" fmla="*/ 16 w 575"/>
              <a:gd name="T47" fmla="*/ 402 h 639"/>
              <a:gd name="T48" fmla="*/ 22 w 575"/>
              <a:gd name="T49" fmla="*/ 403 h 639"/>
              <a:gd name="T50" fmla="*/ 383 w 575"/>
              <a:gd name="T51" fmla="*/ 118 h 639"/>
              <a:gd name="T52" fmla="*/ 410 w 575"/>
              <a:gd name="T53" fmla="*/ 14 h 639"/>
              <a:gd name="T54" fmla="*/ 568 w 575"/>
              <a:gd name="T55" fmla="*/ 639 h 639"/>
              <a:gd name="T56" fmla="*/ 400 w 575"/>
              <a:gd name="T57" fmla="*/ 632 h 639"/>
              <a:gd name="T58" fmla="*/ 407 w 575"/>
              <a:gd name="T59" fmla="*/ 238 h 639"/>
              <a:gd name="T60" fmla="*/ 575 w 575"/>
              <a:gd name="T61" fmla="*/ 245 h 639"/>
              <a:gd name="T62" fmla="*/ 568 w 575"/>
              <a:gd name="T63" fmla="*/ 639 h 639"/>
              <a:gd name="T64" fmla="*/ 561 w 575"/>
              <a:gd name="T65" fmla="*/ 625 h 639"/>
              <a:gd name="T66" fmla="*/ 414 w 575"/>
              <a:gd name="T67" fmla="*/ 252 h 6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75" h="639">
                <a:moveTo>
                  <a:pt x="369" y="639"/>
                </a:moveTo>
                <a:cubicBezTo>
                  <a:pt x="208" y="639"/>
                  <a:pt x="208" y="639"/>
                  <a:pt x="208" y="639"/>
                </a:cubicBezTo>
                <a:cubicBezTo>
                  <a:pt x="205" y="639"/>
                  <a:pt x="201" y="636"/>
                  <a:pt x="201" y="632"/>
                </a:cubicBezTo>
                <a:cubicBezTo>
                  <a:pt x="201" y="373"/>
                  <a:pt x="201" y="373"/>
                  <a:pt x="201" y="373"/>
                </a:cubicBezTo>
                <a:cubicBezTo>
                  <a:pt x="201" y="369"/>
                  <a:pt x="205" y="366"/>
                  <a:pt x="208" y="366"/>
                </a:cubicBezTo>
                <a:cubicBezTo>
                  <a:pt x="369" y="366"/>
                  <a:pt x="369" y="366"/>
                  <a:pt x="369" y="366"/>
                </a:cubicBezTo>
                <a:cubicBezTo>
                  <a:pt x="373" y="366"/>
                  <a:pt x="376" y="369"/>
                  <a:pt x="376" y="373"/>
                </a:cubicBezTo>
                <a:cubicBezTo>
                  <a:pt x="376" y="632"/>
                  <a:pt x="376" y="632"/>
                  <a:pt x="376" y="632"/>
                </a:cubicBezTo>
                <a:cubicBezTo>
                  <a:pt x="376" y="636"/>
                  <a:pt x="373" y="639"/>
                  <a:pt x="369" y="639"/>
                </a:cubicBezTo>
                <a:close/>
                <a:moveTo>
                  <a:pt x="215" y="625"/>
                </a:moveTo>
                <a:cubicBezTo>
                  <a:pt x="362" y="625"/>
                  <a:pt x="362" y="625"/>
                  <a:pt x="362" y="625"/>
                </a:cubicBezTo>
                <a:cubicBezTo>
                  <a:pt x="362" y="380"/>
                  <a:pt x="362" y="380"/>
                  <a:pt x="362" y="380"/>
                </a:cubicBezTo>
                <a:cubicBezTo>
                  <a:pt x="215" y="380"/>
                  <a:pt x="215" y="380"/>
                  <a:pt x="215" y="380"/>
                </a:cubicBezTo>
                <a:lnTo>
                  <a:pt x="215" y="625"/>
                </a:lnTo>
                <a:close/>
                <a:moveTo>
                  <a:pt x="170" y="639"/>
                </a:moveTo>
                <a:cubicBezTo>
                  <a:pt x="10" y="639"/>
                  <a:pt x="10" y="639"/>
                  <a:pt x="10" y="639"/>
                </a:cubicBezTo>
                <a:cubicBezTo>
                  <a:pt x="6" y="639"/>
                  <a:pt x="3" y="636"/>
                  <a:pt x="3" y="632"/>
                </a:cubicBezTo>
                <a:cubicBezTo>
                  <a:pt x="3" y="503"/>
                  <a:pt x="3" y="503"/>
                  <a:pt x="3" y="503"/>
                </a:cubicBezTo>
                <a:cubicBezTo>
                  <a:pt x="3" y="499"/>
                  <a:pt x="6" y="496"/>
                  <a:pt x="10" y="496"/>
                </a:cubicBezTo>
                <a:cubicBezTo>
                  <a:pt x="170" y="496"/>
                  <a:pt x="170" y="496"/>
                  <a:pt x="170" y="496"/>
                </a:cubicBezTo>
                <a:cubicBezTo>
                  <a:pt x="174" y="496"/>
                  <a:pt x="177" y="499"/>
                  <a:pt x="177" y="503"/>
                </a:cubicBezTo>
                <a:cubicBezTo>
                  <a:pt x="177" y="632"/>
                  <a:pt x="177" y="632"/>
                  <a:pt x="177" y="632"/>
                </a:cubicBezTo>
                <a:cubicBezTo>
                  <a:pt x="177" y="636"/>
                  <a:pt x="174" y="639"/>
                  <a:pt x="170" y="639"/>
                </a:cubicBezTo>
                <a:close/>
                <a:moveTo>
                  <a:pt x="17" y="625"/>
                </a:moveTo>
                <a:cubicBezTo>
                  <a:pt x="163" y="625"/>
                  <a:pt x="163" y="625"/>
                  <a:pt x="163" y="625"/>
                </a:cubicBezTo>
                <a:cubicBezTo>
                  <a:pt x="163" y="510"/>
                  <a:pt x="163" y="510"/>
                  <a:pt x="163" y="510"/>
                </a:cubicBezTo>
                <a:cubicBezTo>
                  <a:pt x="17" y="510"/>
                  <a:pt x="17" y="510"/>
                  <a:pt x="17" y="510"/>
                </a:cubicBezTo>
                <a:lnTo>
                  <a:pt x="17" y="625"/>
                </a:lnTo>
                <a:close/>
                <a:moveTo>
                  <a:pt x="19" y="418"/>
                </a:moveTo>
                <a:cubicBezTo>
                  <a:pt x="14" y="418"/>
                  <a:pt x="9" y="416"/>
                  <a:pt x="5" y="411"/>
                </a:cubicBezTo>
                <a:cubicBezTo>
                  <a:pt x="0" y="404"/>
                  <a:pt x="0" y="395"/>
                  <a:pt x="5" y="388"/>
                </a:cubicBezTo>
                <a:cubicBezTo>
                  <a:pt x="292" y="47"/>
                  <a:pt x="292" y="47"/>
                  <a:pt x="292" y="47"/>
                </a:cubicBezTo>
                <a:cubicBezTo>
                  <a:pt x="257" y="12"/>
                  <a:pt x="257" y="12"/>
                  <a:pt x="257" y="12"/>
                </a:cubicBezTo>
                <a:cubicBezTo>
                  <a:pt x="255" y="10"/>
                  <a:pt x="255" y="7"/>
                  <a:pt x="256" y="4"/>
                </a:cubicBezTo>
                <a:cubicBezTo>
                  <a:pt x="257" y="1"/>
                  <a:pt x="260" y="0"/>
                  <a:pt x="262" y="0"/>
                </a:cubicBezTo>
                <a:cubicBezTo>
                  <a:pt x="417" y="0"/>
                  <a:pt x="417" y="0"/>
                  <a:pt x="417" y="0"/>
                </a:cubicBezTo>
                <a:cubicBezTo>
                  <a:pt x="421" y="0"/>
                  <a:pt x="424" y="3"/>
                  <a:pt x="424" y="7"/>
                </a:cubicBezTo>
                <a:cubicBezTo>
                  <a:pt x="424" y="163"/>
                  <a:pt x="424" y="163"/>
                  <a:pt x="424" y="163"/>
                </a:cubicBezTo>
                <a:cubicBezTo>
                  <a:pt x="424" y="166"/>
                  <a:pt x="423" y="168"/>
                  <a:pt x="420" y="169"/>
                </a:cubicBezTo>
                <a:cubicBezTo>
                  <a:pt x="417" y="170"/>
                  <a:pt x="414" y="170"/>
                  <a:pt x="412" y="168"/>
                </a:cubicBezTo>
                <a:cubicBezTo>
                  <a:pt x="377" y="133"/>
                  <a:pt x="377" y="133"/>
                  <a:pt x="377" y="133"/>
                </a:cubicBezTo>
                <a:cubicBezTo>
                  <a:pt x="31" y="414"/>
                  <a:pt x="31" y="414"/>
                  <a:pt x="31" y="414"/>
                </a:cubicBezTo>
                <a:cubicBezTo>
                  <a:pt x="28" y="417"/>
                  <a:pt x="24" y="418"/>
                  <a:pt x="19" y="418"/>
                </a:cubicBezTo>
                <a:close/>
                <a:moveTo>
                  <a:pt x="279" y="14"/>
                </a:moveTo>
                <a:cubicBezTo>
                  <a:pt x="307" y="41"/>
                  <a:pt x="307" y="41"/>
                  <a:pt x="307" y="41"/>
                </a:cubicBezTo>
                <a:cubicBezTo>
                  <a:pt x="309" y="44"/>
                  <a:pt x="309" y="48"/>
                  <a:pt x="307" y="51"/>
                </a:cubicBezTo>
                <a:cubicBezTo>
                  <a:pt x="16" y="397"/>
                  <a:pt x="16" y="397"/>
                  <a:pt x="16" y="397"/>
                </a:cubicBezTo>
                <a:cubicBezTo>
                  <a:pt x="15" y="399"/>
                  <a:pt x="15" y="401"/>
                  <a:pt x="16" y="402"/>
                </a:cubicBezTo>
                <a:cubicBezTo>
                  <a:pt x="17" y="404"/>
                  <a:pt x="18" y="404"/>
                  <a:pt x="19" y="404"/>
                </a:cubicBezTo>
                <a:cubicBezTo>
                  <a:pt x="20" y="404"/>
                  <a:pt x="21" y="404"/>
                  <a:pt x="22" y="403"/>
                </a:cubicBezTo>
                <a:cubicBezTo>
                  <a:pt x="373" y="118"/>
                  <a:pt x="373" y="118"/>
                  <a:pt x="373" y="118"/>
                </a:cubicBezTo>
                <a:cubicBezTo>
                  <a:pt x="376" y="115"/>
                  <a:pt x="380" y="116"/>
                  <a:pt x="383" y="118"/>
                </a:cubicBezTo>
                <a:cubicBezTo>
                  <a:pt x="410" y="146"/>
                  <a:pt x="410" y="146"/>
                  <a:pt x="410" y="146"/>
                </a:cubicBezTo>
                <a:cubicBezTo>
                  <a:pt x="410" y="14"/>
                  <a:pt x="410" y="14"/>
                  <a:pt x="410" y="14"/>
                </a:cubicBezTo>
                <a:lnTo>
                  <a:pt x="279" y="14"/>
                </a:lnTo>
                <a:close/>
                <a:moveTo>
                  <a:pt x="568" y="639"/>
                </a:moveTo>
                <a:cubicBezTo>
                  <a:pt x="407" y="639"/>
                  <a:pt x="407" y="639"/>
                  <a:pt x="407" y="639"/>
                </a:cubicBezTo>
                <a:cubicBezTo>
                  <a:pt x="403" y="639"/>
                  <a:pt x="400" y="636"/>
                  <a:pt x="400" y="632"/>
                </a:cubicBezTo>
                <a:cubicBezTo>
                  <a:pt x="400" y="245"/>
                  <a:pt x="400" y="245"/>
                  <a:pt x="400" y="245"/>
                </a:cubicBezTo>
                <a:cubicBezTo>
                  <a:pt x="400" y="241"/>
                  <a:pt x="403" y="238"/>
                  <a:pt x="407" y="238"/>
                </a:cubicBezTo>
                <a:cubicBezTo>
                  <a:pt x="568" y="238"/>
                  <a:pt x="568" y="238"/>
                  <a:pt x="568" y="238"/>
                </a:cubicBezTo>
                <a:cubicBezTo>
                  <a:pt x="572" y="238"/>
                  <a:pt x="575" y="241"/>
                  <a:pt x="575" y="245"/>
                </a:cubicBezTo>
                <a:cubicBezTo>
                  <a:pt x="575" y="632"/>
                  <a:pt x="575" y="632"/>
                  <a:pt x="575" y="632"/>
                </a:cubicBezTo>
                <a:cubicBezTo>
                  <a:pt x="575" y="636"/>
                  <a:pt x="572" y="639"/>
                  <a:pt x="568" y="639"/>
                </a:cubicBezTo>
                <a:close/>
                <a:moveTo>
                  <a:pt x="414" y="625"/>
                </a:moveTo>
                <a:cubicBezTo>
                  <a:pt x="561" y="625"/>
                  <a:pt x="561" y="625"/>
                  <a:pt x="561" y="625"/>
                </a:cubicBezTo>
                <a:cubicBezTo>
                  <a:pt x="561" y="252"/>
                  <a:pt x="561" y="252"/>
                  <a:pt x="561" y="252"/>
                </a:cubicBezTo>
                <a:cubicBezTo>
                  <a:pt x="414" y="252"/>
                  <a:pt x="414" y="252"/>
                  <a:pt x="414" y="252"/>
                </a:cubicBezTo>
                <a:lnTo>
                  <a:pt x="414" y="625"/>
                </a:ln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9232" name="Oval 54"/>
          <p:cNvSpPr>
            <a:spLocks noChangeArrowheads="1"/>
          </p:cNvSpPr>
          <p:nvPr/>
        </p:nvSpPr>
        <p:spPr bwMode="auto">
          <a:xfrm>
            <a:off x="10105564" y="1528549"/>
            <a:ext cx="1119124" cy="1119124"/>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6170" name="Freeform 87"/>
          <p:cNvSpPr>
            <a:spLocks noEditPoints="1"/>
          </p:cNvSpPr>
          <p:nvPr/>
        </p:nvSpPr>
        <p:spPr bwMode="auto">
          <a:xfrm>
            <a:off x="10345464" y="1745076"/>
            <a:ext cx="638107" cy="686071"/>
          </a:xfrm>
          <a:custGeom>
            <a:avLst/>
            <a:gdLst>
              <a:gd name="T0" fmla="*/ 404 w 606"/>
              <a:gd name="T1" fmla="*/ 652 h 652"/>
              <a:gd name="T2" fmla="*/ 397 w 606"/>
              <a:gd name="T3" fmla="*/ 515 h 652"/>
              <a:gd name="T4" fmla="*/ 565 w 606"/>
              <a:gd name="T5" fmla="*/ 508 h 652"/>
              <a:gd name="T6" fmla="*/ 572 w 606"/>
              <a:gd name="T7" fmla="*/ 645 h 652"/>
              <a:gd name="T8" fmla="*/ 411 w 606"/>
              <a:gd name="T9" fmla="*/ 638 h 652"/>
              <a:gd name="T10" fmla="*/ 558 w 606"/>
              <a:gd name="T11" fmla="*/ 522 h 652"/>
              <a:gd name="T12" fmla="*/ 411 w 606"/>
              <a:gd name="T13" fmla="*/ 638 h 652"/>
              <a:gd name="T14" fmla="*/ 206 w 606"/>
              <a:gd name="T15" fmla="*/ 652 h 652"/>
              <a:gd name="T16" fmla="*/ 199 w 606"/>
              <a:gd name="T17" fmla="*/ 385 h 652"/>
              <a:gd name="T18" fmla="*/ 366 w 606"/>
              <a:gd name="T19" fmla="*/ 378 h 652"/>
              <a:gd name="T20" fmla="*/ 373 w 606"/>
              <a:gd name="T21" fmla="*/ 645 h 652"/>
              <a:gd name="T22" fmla="*/ 213 w 606"/>
              <a:gd name="T23" fmla="*/ 638 h 652"/>
              <a:gd name="T24" fmla="*/ 359 w 606"/>
              <a:gd name="T25" fmla="*/ 392 h 652"/>
              <a:gd name="T26" fmla="*/ 213 w 606"/>
              <a:gd name="T27" fmla="*/ 638 h 652"/>
              <a:gd name="T28" fmla="*/ 7 w 606"/>
              <a:gd name="T29" fmla="*/ 652 h 652"/>
              <a:gd name="T30" fmla="*/ 0 w 606"/>
              <a:gd name="T31" fmla="*/ 258 h 652"/>
              <a:gd name="T32" fmla="*/ 168 w 606"/>
              <a:gd name="T33" fmla="*/ 251 h 652"/>
              <a:gd name="T34" fmla="*/ 175 w 606"/>
              <a:gd name="T35" fmla="*/ 645 h 652"/>
              <a:gd name="T36" fmla="*/ 14 w 606"/>
              <a:gd name="T37" fmla="*/ 638 h 652"/>
              <a:gd name="T38" fmla="*/ 161 w 606"/>
              <a:gd name="T39" fmla="*/ 265 h 652"/>
              <a:gd name="T40" fmla="*/ 14 w 606"/>
              <a:gd name="T41" fmla="*/ 638 h 652"/>
              <a:gd name="T42" fmla="*/ 445 w 606"/>
              <a:gd name="T43" fmla="*/ 422 h 652"/>
              <a:gd name="T44" fmla="*/ 440 w 606"/>
              <a:gd name="T45" fmla="*/ 410 h 652"/>
              <a:gd name="T46" fmla="*/ 191 w 606"/>
              <a:gd name="T47" fmla="*/ 31 h 652"/>
              <a:gd name="T48" fmla="*/ 217 w 606"/>
              <a:gd name="T49" fmla="*/ 6 h 652"/>
              <a:gd name="T50" fmla="*/ 595 w 606"/>
              <a:gd name="T51" fmla="*/ 255 h 652"/>
              <a:gd name="T52" fmla="*/ 606 w 606"/>
              <a:gd name="T53" fmla="*/ 260 h 652"/>
              <a:gd name="T54" fmla="*/ 599 w 606"/>
              <a:gd name="T55" fmla="*/ 422 h 652"/>
              <a:gd name="T56" fmla="*/ 592 w 606"/>
              <a:gd name="T57" fmla="*/ 408 h 652"/>
              <a:gd name="T58" fmla="*/ 565 w 606"/>
              <a:gd name="T59" fmla="*/ 305 h 652"/>
              <a:gd name="T60" fmla="*/ 208 w 606"/>
              <a:gd name="T61" fmla="*/ 16 h 652"/>
              <a:gd name="T62" fmla="*/ 203 w 606"/>
              <a:gd name="T63" fmla="*/ 16 h 652"/>
              <a:gd name="T64" fmla="*/ 489 w 606"/>
              <a:gd name="T65" fmla="*/ 372 h 652"/>
              <a:gd name="T66" fmla="*/ 461 w 606"/>
              <a:gd name="T67" fmla="*/ 408 h 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06" h="652">
                <a:moveTo>
                  <a:pt x="565" y="652"/>
                </a:moveTo>
                <a:cubicBezTo>
                  <a:pt x="404" y="652"/>
                  <a:pt x="404" y="652"/>
                  <a:pt x="404" y="652"/>
                </a:cubicBezTo>
                <a:cubicBezTo>
                  <a:pt x="401" y="652"/>
                  <a:pt x="397" y="649"/>
                  <a:pt x="397" y="645"/>
                </a:cubicBezTo>
                <a:cubicBezTo>
                  <a:pt x="397" y="515"/>
                  <a:pt x="397" y="515"/>
                  <a:pt x="397" y="515"/>
                </a:cubicBezTo>
                <a:cubicBezTo>
                  <a:pt x="397" y="511"/>
                  <a:pt x="401" y="508"/>
                  <a:pt x="404" y="508"/>
                </a:cubicBezTo>
                <a:cubicBezTo>
                  <a:pt x="565" y="508"/>
                  <a:pt x="565" y="508"/>
                  <a:pt x="565" y="508"/>
                </a:cubicBezTo>
                <a:cubicBezTo>
                  <a:pt x="569" y="508"/>
                  <a:pt x="572" y="511"/>
                  <a:pt x="572" y="515"/>
                </a:cubicBezTo>
                <a:cubicBezTo>
                  <a:pt x="572" y="645"/>
                  <a:pt x="572" y="645"/>
                  <a:pt x="572" y="645"/>
                </a:cubicBezTo>
                <a:cubicBezTo>
                  <a:pt x="572" y="649"/>
                  <a:pt x="569" y="652"/>
                  <a:pt x="565" y="652"/>
                </a:cubicBezTo>
                <a:close/>
                <a:moveTo>
                  <a:pt x="411" y="638"/>
                </a:moveTo>
                <a:cubicBezTo>
                  <a:pt x="558" y="638"/>
                  <a:pt x="558" y="638"/>
                  <a:pt x="558" y="638"/>
                </a:cubicBezTo>
                <a:cubicBezTo>
                  <a:pt x="558" y="522"/>
                  <a:pt x="558" y="522"/>
                  <a:pt x="558" y="522"/>
                </a:cubicBezTo>
                <a:cubicBezTo>
                  <a:pt x="411" y="522"/>
                  <a:pt x="411" y="522"/>
                  <a:pt x="411" y="522"/>
                </a:cubicBezTo>
                <a:lnTo>
                  <a:pt x="411" y="638"/>
                </a:lnTo>
                <a:close/>
                <a:moveTo>
                  <a:pt x="366" y="652"/>
                </a:moveTo>
                <a:cubicBezTo>
                  <a:pt x="206" y="652"/>
                  <a:pt x="206" y="652"/>
                  <a:pt x="206" y="652"/>
                </a:cubicBezTo>
                <a:cubicBezTo>
                  <a:pt x="202" y="652"/>
                  <a:pt x="199" y="649"/>
                  <a:pt x="199" y="645"/>
                </a:cubicBezTo>
                <a:cubicBezTo>
                  <a:pt x="199" y="385"/>
                  <a:pt x="199" y="385"/>
                  <a:pt x="199" y="385"/>
                </a:cubicBezTo>
                <a:cubicBezTo>
                  <a:pt x="199" y="382"/>
                  <a:pt x="202" y="378"/>
                  <a:pt x="206" y="378"/>
                </a:cubicBezTo>
                <a:cubicBezTo>
                  <a:pt x="366" y="378"/>
                  <a:pt x="366" y="378"/>
                  <a:pt x="366" y="378"/>
                </a:cubicBezTo>
                <a:cubicBezTo>
                  <a:pt x="370" y="378"/>
                  <a:pt x="373" y="382"/>
                  <a:pt x="373" y="385"/>
                </a:cubicBezTo>
                <a:cubicBezTo>
                  <a:pt x="373" y="645"/>
                  <a:pt x="373" y="645"/>
                  <a:pt x="373" y="645"/>
                </a:cubicBezTo>
                <a:cubicBezTo>
                  <a:pt x="373" y="649"/>
                  <a:pt x="370" y="652"/>
                  <a:pt x="366" y="652"/>
                </a:cubicBezTo>
                <a:close/>
                <a:moveTo>
                  <a:pt x="213" y="638"/>
                </a:moveTo>
                <a:cubicBezTo>
                  <a:pt x="359" y="638"/>
                  <a:pt x="359" y="638"/>
                  <a:pt x="359" y="638"/>
                </a:cubicBezTo>
                <a:cubicBezTo>
                  <a:pt x="359" y="392"/>
                  <a:pt x="359" y="392"/>
                  <a:pt x="359" y="392"/>
                </a:cubicBezTo>
                <a:cubicBezTo>
                  <a:pt x="213" y="392"/>
                  <a:pt x="213" y="392"/>
                  <a:pt x="213" y="392"/>
                </a:cubicBezTo>
                <a:lnTo>
                  <a:pt x="213" y="638"/>
                </a:lnTo>
                <a:close/>
                <a:moveTo>
                  <a:pt x="168" y="652"/>
                </a:moveTo>
                <a:cubicBezTo>
                  <a:pt x="7" y="652"/>
                  <a:pt x="7" y="652"/>
                  <a:pt x="7" y="652"/>
                </a:cubicBezTo>
                <a:cubicBezTo>
                  <a:pt x="3" y="652"/>
                  <a:pt x="0" y="649"/>
                  <a:pt x="0" y="645"/>
                </a:cubicBezTo>
                <a:cubicBezTo>
                  <a:pt x="0" y="258"/>
                  <a:pt x="0" y="258"/>
                  <a:pt x="0" y="258"/>
                </a:cubicBezTo>
                <a:cubicBezTo>
                  <a:pt x="0" y="254"/>
                  <a:pt x="3" y="251"/>
                  <a:pt x="7" y="251"/>
                </a:cubicBezTo>
                <a:cubicBezTo>
                  <a:pt x="168" y="251"/>
                  <a:pt x="168" y="251"/>
                  <a:pt x="168" y="251"/>
                </a:cubicBezTo>
                <a:cubicBezTo>
                  <a:pt x="171" y="251"/>
                  <a:pt x="175" y="254"/>
                  <a:pt x="175" y="258"/>
                </a:cubicBezTo>
                <a:cubicBezTo>
                  <a:pt x="175" y="645"/>
                  <a:pt x="175" y="645"/>
                  <a:pt x="175" y="645"/>
                </a:cubicBezTo>
                <a:cubicBezTo>
                  <a:pt x="175" y="649"/>
                  <a:pt x="171" y="652"/>
                  <a:pt x="168" y="652"/>
                </a:cubicBezTo>
                <a:close/>
                <a:moveTo>
                  <a:pt x="14" y="638"/>
                </a:moveTo>
                <a:cubicBezTo>
                  <a:pt x="161" y="638"/>
                  <a:pt x="161" y="638"/>
                  <a:pt x="161" y="638"/>
                </a:cubicBezTo>
                <a:cubicBezTo>
                  <a:pt x="161" y="265"/>
                  <a:pt x="161" y="265"/>
                  <a:pt x="161" y="265"/>
                </a:cubicBezTo>
                <a:cubicBezTo>
                  <a:pt x="14" y="265"/>
                  <a:pt x="14" y="265"/>
                  <a:pt x="14" y="265"/>
                </a:cubicBezTo>
                <a:lnTo>
                  <a:pt x="14" y="638"/>
                </a:lnTo>
                <a:close/>
                <a:moveTo>
                  <a:pt x="599" y="422"/>
                </a:moveTo>
                <a:cubicBezTo>
                  <a:pt x="445" y="422"/>
                  <a:pt x="445" y="422"/>
                  <a:pt x="445" y="422"/>
                </a:cubicBezTo>
                <a:cubicBezTo>
                  <a:pt x="442" y="422"/>
                  <a:pt x="439" y="421"/>
                  <a:pt x="438" y="418"/>
                </a:cubicBezTo>
                <a:cubicBezTo>
                  <a:pt x="437" y="415"/>
                  <a:pt x="438" y="412"/>
                  <a:pt x="440" y="410"/>
                </a:cubicBezTo>
                <a:cubicBezTo>
                  <a:pt x="474" y="376"/>
                  <a:pt x="474" y="376"/>
                  <a:pt x="474" y="376"/>
                </a:cubicBezTo>
                <a:cubicBezTo>
                  <a:pt x="191" y="31"/>
                  <a:pt x="191" y="31"/>
                  <a:pt x="191" y="31"/>
                </a:cubicBezTo>
                <a:cubicBezTo>
                  <a:pt x="185" y="24"/>
                  <a:pt x="186" y="12"/>
                  <a:pt x="194" y="6"/>
                </a:cubicBezTo>
                <a:cubicBezTo>
                  <a:pt x="200" y="0"/>
                  <a:pt x="211" y="0"/>
                  <a:pt x="217" y="6"/>
                </a:cubicBezTo>
                <a:cubicBezTo>
                  <a:pt x="560" y="290"/>
                  <a:pt x="560" y="290"/>
                  <a:pt x="560" y="290"/>
                </a:cubicBezTo>
                <a:cubicBezTo>
                  <a:pt x="595" y="255"/>
                  <a:pt x="595" y="255"/>
                  <a:pt x="595" y="255"/>
                </a:cubicBezTo>
                <a:cubicBezTo>
                  <a:pt x="597" y="253"/>
                  <a:pt x="600" y="253"/>
                  <a:pt x="602" y="254"/>
                </a:cubicBezTo>
                <a:cubicBezTo>
                  <a:pt x="605" y="255"/>
                  <a:pt x="606" y="257"/>
                  <a:pt x="606" y="260"/>
                </a:cubicBezTo>
                <a:cubicBezTo>
                  <a:pt x="606" y="415"/>
                  <a:pt x="606" y="415"/>
                  <a:pt x="606" y="415"/>
                </a:cubicBezTo>
                <a:cubicBezTo>
                  <a:pt x="606" y="419"/>
                  <a:pt x="603" y="422"/>
                  <a:pt x="599" y="422"/>
                </a:cubicBezTo>
                <a:close/>
                <a:moveTo>
                  <a:pt x="461" y="408"/>
                </a:moveTo>
                <a:cubicBezTo>
                  <a:pt x="592" y="408"/>
                  <a:pt x="592" y="408"/>
                  <a:pt x="592" y="408"/>
                </a:cubicBezTo>
                <a:cubicBezTo>
                  <a:pt x="592" y="277"/>
                  <a:pt x="592" y="277"/>
                  <a:pt x="592" y="277"/>
                </a:cubicBezTo>
                <a:cubicBezTo>
                  <a:pt x="565" y="305"/>
                  <a:pt x="565" y="305"/>
                  <a:pt x="565" y="305"/>
                </a:cubicBezTo>
                <a:cubicBezTo>
                  <a:pt x="563" y="307"/>
                  <a:pt x="558" y="307"/>
                  <a:pt x="556" y="305"/>
                </a:cubicBezTo>
                <a:cubicBezTo>
                  <a:pt x="208" y="16"/>
                  <a:pt x="208" y="16"/>
                  <a:pt x="208" y="16"/>
                </a:cubicBezTo>
                <a:cubicBezTo>
                  <a:pt x="207" y="16"/>
                  <a:pt x="206" y="15"/>
                  <a:pt x="205" y="15"/>
                </a:cubicBezTo>
                <a:cubicBezTo>
                  <a:pt x="205" y="15"/>
                  <a:pt x="204" y="15"/>
                  <a:pt x="203" y="16"/>
                </a:cubicBezTo>
                <a:cubicBezTo>
                  <a:pt x="201" y="18"/>
                  <a:pt x="200" y="21"/>
                  <a:pt x="202" y="22"/>
                </a:cubicBezTo>
                <a:cubicBezTo>
                  <a:pt x="489" y="372"/>
                  <a:pt x="489" y="372"/>
                  <a:pt x="489" y="372"/>
                </a:cubicBezTo>
                <a:cubicBezTo>
                  <a:pt x="491" y="374"/>
                  <a:pt x="491" y="378"/>
                  <a:pt x="489" y="381"/>
                </a:cubicBezTo>
                <a:lnTo>
                  <a:pt x="461" y="408"/>
                </a:ln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9230" name="Oval 52"/>
          <p:cNvSpPr>
            <a:spLocks noChangeArrowheads="1"/>
          </p:cNvSpPr>
          <p:nvPr/>
        </p:nvSpPr>
        <p:spPr bwMode="auto">
          <a:xfrm>
            <a:off x="10105564" y="3120088"/>
            <a:ext cx="1119124" cy="1119124"/>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6171" name="Freeform 88"/>
          <p:cNvSpPr>
            <a:spLocks noEditPoints="1"/>
          </p:cNvSpPr>
          <p:nvPr/>
        </p:nvSpPr>
        <p:spPr bwMode="auto">
          <a:xfrm>
            <a:off x="10326957" y="3404735"/>
            <a:ext cx="676340" cy="551048"/>
          </a:xfrm>
          <a:custGeom>
            <a:avLst/>
            <a:gdLst>
              <a:gd name="T0" fmla="*/ 588 w 643"/>
              <a:gd name="T1" fmla="*/ 88 h 523"/>
              <a:gd name="T2" fmla="*/ 418 w 643"/>
              <a:gd name="T3" fmla="*/ 88 h 523"/>
              <a:gd name="T4" fmla="*/ 418 w 643"/>
              <a:gd name="T5" fmla="*/ 29 h 523"/>
              <a:gd name="T6" fmla="*/ 390 w 643"/>
              <a:gd name="T7" fmla="*/ 0 h 523"/>
              <a:gd name="T8" fmla="*/ 252 w 643"/>
              <a:gd name="T9" fmla="*/ 0 h 523"/>
              <a:gd name="T10" fmla="*/ 224 w 643"/>
              <a:gd name="T11" fmla="*/ 29 h 523"/>
              <a:gd name="T12" fmla="*/ 224 w 643"/>
              <a:gd name="T13" fmla="*/ 88 h 523"/>
              <a:gd name="T14" fmla="*/ 55 w 643"/>
              <a:gd name="T15" fmla="*/ 88 h 523"/>
              <a:gd name="T16" fmla="*/ 0 w 643"/>
              <a:gd name="T17" fmla="*/ 143 h 523"/>
              <a:gd name="T18" fmla="*/ 0 w 643"/>
              <a:gd name="T19" fmla="*/ 467 h 523"/>
              <a:gd name="T20" fmla="*/ 55 w 643"/>
              <a:gd name="T21" fmla="*/ 523 h 523"/>
              <a:gd name="T22" fmla="*/ 588 w 643"/>
              <a:gd name="T23" fmla="*/ 523 h 523"/>
              <a:gd name="T24" fmla="*/ 643 w 643"/>
              <a:gd name="T25" fmla="*/ 467 h 523"/>
              <a:gd name="T26" fmla="*/ 643 w 643"/>
              <a:gd name="T27" fmla="*/ 143 h 523"/>
              <a:gd name="T28" fmla="*/ 588 w 643"/>
              <a:gd name="T29" fmla="*/ 88 h 523"/>
              <a:gd name="T30" fmla="*/ 238 w 643"/>
              <a:gd name="T31" fmla="*/ 29 h 523"/>
              <a:gd name="T32" fmla="*/ 252 w 643"/>
              <a:gd name="T33" fmla="*/ 14 h 523"/>
              <a:gd name="T34" fmla="*/ 390 w 643"/>
              <a:gd name="T35" fmla="*/ 14 h 523"/>
              <a:gd name="T36" fmla="*/ 404 w 643"/>
              <a:gd name="T37" fmla="*/ 29 h 523"/>
              <a:gd name="T38" fmla="*/ 404 w 643"/>
              <a:gd name="T39" fmla="*/ 88 h 523"/>
              <a:gd name="T40" fmla="*/ 238 w 643"/>
              <a:gd name="T41" fmla="*/ 88 h 523"/>
              <a:gd name="T42" fmla="*/ 238 w 643"/>
              <a:gd name="T43" fmla="*/ 29 h 523"/>
              <a:gd name="T44" fmla="*/ 55 w 643"/>
              <a:gd name="T45" fmla="*/ 102 h 523"/>
              <a:gd name="T46" fmla="*/ 588 w 643"/>
              <a:gd name="T47" fmla="*/ 102 h 523"/>
              <a:gd name="T48" fmla="*/ 629 w 643"/>
              <a:gd name="T49" fmla="*/ 143 h 523"/>
              <a:gd name="T50" fmla="*/ 629 w 643"/>
              <a:gd name="T51" fmla="*/ 231 h 523"/>
              <a:gd name="T52" fmla="*/ 361 w 643"/>
              <a:gd name="T53" fmla="*/ 231 h 523"/>
              <a:gd name="T54" fmla="*/ 361 w 643"/>
              <a:gd name="T55" fmla="*/ 204 h 523"/>
              <a:gd name="T56" fmla="*/ 354 w 643"/>
              <a:gd name="T57" fmla="*/ 197 h 523"/>
              <a:gd name="T58" fmla="*/ 288 w 643"/>
              <a:gd name="T59" fmla="*/ 197 h 523"/>
              <a:gd name="T60" fmla="*/ 281 w 643"/>
              <a:gd name="T61" fmla="*/ 204 h 523"/>
              <a:gd name="T62" fmla="*/ 281 w 643"/>
              <a:gd name="T63" fmla="*/ 231 h 523"/>
              <a:gd name="T64" fmla="*/ 14 w 643"/>
              <a:gd name="T65" fmla="*/ 231 h 523"/>
              <a:gd name="T66" fmla="*/ 14 w 643"/>
              <a:gd name="T67" fmla="*/ 143 h 523"/>
              <a:gd name="T68" fmla="*/ 55 w 643"/>
              <a:gd name="T69" fmla="*/ 102 h 523"/>
              <a:gd name="T70" fmla="*/ 295 w 643"/>
              <a:gd name="T71" fmla="*/ 211 h 523"/>
              <a:gd name="T72" fmla="*/ 347 w 643"/>
              <a:gd name="T73" fmla="*/ 211 h 523"/>
              <a:gd name="T74" fmla="*/ 347 w 643"/>
              <a:gd name="T75" fmla="*/ 265 h 523"/>
              <a:gd name="T76" fmla="*/ 295 w 643"/>
              <a:gd name="T77" fmla="*/ 265 h 523"/>
              <a:gd name="T78" fmla="*/ 295 w 643"/>
              <a:gd name="T79" fmla="*/ 211 h 523"/>
              <a:gd name="T80" fmla="*/ 588 w 643"/>
              <a:gd name="T81" fmla="*/ 509 h 523"/>
              <a:gd name="T82" fmla="*/ 55 w 643"/>
              <a:gd name="T83" fmla="*/ 509 h 523"/>
              <a:gd name="T84" fmla="*/ 14 w 643"/>
              <a:gd name="T85" fmla="*/ 467 h 523"/>
              <a:gd name="T86" fmla="*/ 14 w 643"/>
              <a:gd name="T87" fmla="*/ 245 h 523"/>
              <a:gd name="T88" fmla="*/ 281 w 643"/>
              <a:gd name="T89" fmla="*/ 245 h 523"/>
              <a:gd name="T90" fmla="*/ 281 w 643"/>
              <a:gd name="T91" fmla="*/ 272 h 523"/>
              <a:gd name="T92" fmla="*/ 288 w 643"/>
              <a:gd name="T93" fmla="*/ 279 h 523"/>
              <a:gd name="T94" fmla="*/ 354 w 643"/>
              <a:gd name="T95" fmla="*/ 279 h 523"/>
              <a:gd name="T96" fmla="*/ 361 w 643"/>
              <a:gd name="T97" fmla="*/ 272 h 523"/>
              <a:gd name="T98" fmla="*/ 361 w 643"/>
              <a:gd name="T99" fmla="*/ 245 h 523"/>
              <a:gd name="T100" fmla="*/ 629 w 643"/>
              <a:gd name="T101" fmla="*/ 245 h 523"/>
              <a:gd name="T102" fmla="*/ 629 w 643"/>
              <a:gd name="T103" fmla="*/ 467 h 523"/>
              <a:gd name="T104" fmla="*/ 588 w 643"/>
              <a:gd name="T105" fmla="*/ 509 h 5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43" h="523">
                <a:moveTo>
                  <a:pt x="588" y="88"/>
                </a:moveTo>
                <a:cubicBezTo>
                  <a:pt x="418" y="88"/>
                  <a:pt x="418" y="88"/>
                  <a:pt x="418" y="88"/>
                </a:cubicBezTo>
                <a:cubicBezTo>
                  <a:pt x="418" y="29"/>
                  <a:pt x="418" y="29"/>
                  <a:pt x="418" y="29"/>
                </a:cubicBezTo>
                <a:cubicBezTo>
                  <a:pt x="418" y="13"/>
                  <a:pt x="406" y="0"/>
                  <a:pt x="390" y="0"/>
                </a:cubicBezTo>
                <a:cubicBezTo>
                  <a:pt x="252" y="0"/>
                  <a:pt x="252" y="0"/>
                  <a:pt x="252" y="0"/>
                </a:cubicBezTo>
                <a:cubicBezTo>
                  <a:pt x="237" y="0"/>
                  <a:pt x="224" y="13"/>
                  <a:pt x="224" y="29"/>
                </a:cubicBezTo>
                <a:cubicBezTo>
                  <a:pt x="224" y="88"/>
                  <a:pt x="224" y="88"/>
                  <a:pt x="224" y="88"/>
                </a:cubicBezTo>
                <a:cubicBezTo>
                  <a:pt x="55" y="88"/>
                  <a:pt x="55" y="88"/>
                  <a:pt x="55" y="88"/>
                </a:cubicBezTo>
                <a:cubicBezTo>
                  <a:pt x="25" y="88"/>
                  <a:pt x="0" y="112"/>
                  <a:pt x="0" y="143"/>
                </a:cubicBezTo>
                <a:cubicBezTo>
                  <a:pt x="0" y="467"/>
                  <a:pt x="0" y="467"/>
                  <a:pt x="0" y="467"/>
                </a:cubicBezTo>
                <a:cubicBezTo>
                  <a:pt x="0" y="498"/>
                  <a:pt x="25" y="523"/>
                  <a:pt x="55" y="523"/>
                </a:cubicBezTo>
                <a:cubicBezTo>
                  <a:pt x="588" y="523"/>
                  <a:pt x="588" y="523"/>
                  <a:pt x="588" y="523"/>
                </a:cubicBezTo>
                <a:cubicBezTo>
                  <a:pt x="618" y="523"/>
                  <a:pt x="643" y="498"/>
                  <a:pt x="643" y="467"/>
                </a:cubicBezTo>
                <a:cubicBezTo>
                  <a:pt x="643" y="143"/>
                  <a:pt x="643" y="143"/>
                  <a:pt x="643" y="143"/>
                </a:cubicBezTo>
                <a:cubicBezTo>
                  <a:pt x="643" y="112"/>
                  <a:pt x="618" y="88"/>
                  <a:pt x="588" y="88"/>
                </a:cubicBezTo>
                <a:close/>
                <a:moveTo>
                  <a:pt x="238" y="29"/>
                </a:moveTo>
                <a:cubicBezTo>
                  <a:pt x="238" y="21"/>
                  <a:pt x="245" y="14"/>
                  <a:pt x="252" y="14"/>
                </a:cubicBezTo>
                <a:cubicBezTo>
                  <a:pt x="390" y="14"/>
                  <a:pt x="390" y="14"/>
                  <a:pt x="390" y="14"/>
                </a:cubicBezTo>
                <a:cubicBezTo>
                  <a:pt x="398" y="14"/>
                  <a:pt x="404" y="21"/>
                  <a:pt x="404" y="29"/>
                </a:cubicBezTo>
                <a:cubicBezTo>
                  <a:pt x="404" y="88"/>
                  <a:pt x="404" y="88"/>
                  <a:pt x="404" y="88"/>
                </a:cubicBezTo>
                <a:cubicBezTo>
                  <a:pt x="238" y="88"/>
                  <a:pt x="238" y="88"/>
                  <a:pt x="238" y="88"/>
                </a:cubicBezTo>
                <a:lnTo>
                  <a:pt x="238" y="29"/>
                </a:lnTo>
                <a:close/>
                <a:moveTo>
                  <a:pt x="55" y="102"/>
                </a:moveTo>
                <a:cubicBezTo>
                  <a:pt x="588" y="102"/>
                  <a:pt x="588" y="102"/>
                  <a:pt x="588" y="102"/>
                </a:cubicBezTo>
                <a:cubicBezTo>
                  <a:pt x="610" y="102"/>
                  <a:pt x="629" y="120"/>
                  <a:pt x="629" y="143"/>
                </a:cubicBezTo>
                <a:cubicBezTo>
                  <a:pt x="629" y="231"/>
                  <a:pt x="629" y="231"/>
                  <a:pt x="629" y="231"/>
                </a:cubicBezTo>
                <a:cubicBezTo>
                  <a:pt x="361" y="231"/>
                  <a:pt x="361" y="231"/>
                  <a:pt x="361" y="231"/>
                </a:cubicBezTo>
                <a:cubicBezTo>
                  <a:pt x="361" y="204"/>
                  <a:pt x="361" y="204"/>
                  <a:pt x="361" y="204"/>
                </a:cubicBezTo>
                <a:cubicBezTo>
                  <a:pt x="361" y="200"/>
                  <a:pt x="358" y="197"/>
                  <a:pt x="354" y="197"/>
                </a:cubicBezTo>
                <a:cubicBezTo>
                  <a:pt x="288" y="197"/>
                  <a:pt x="288" y="197"/>
                  <a:pt x="288" y="197"/>
                </a:cubicBezTo>
                <a:cubicBezTo>
                  <a:pt x="284" y="197"/>
                  <a:pt x="281" y="200"/>
                  <a:pt x="281" y="204"/>
                </a:cubicBezTo>
                <a:cubicBezTo>
                  <a:pt x="281" y="231"/>
                  <a:pt x="281" y="231"/>
                  <a:pt x="281" y="231"/>
                </a:cubicBezTo>
                <a:cubicBezTo>
                  <a:pt x="14" y="231"/>
                  <a:pt x="14" y="231"/>
                  <a:pt x="14" y="231"/>
                </a:cubicBezTo>
                <a:cubicBezTo>
                  <a:pt x="14" y="143"/>
                  <a:pt x="14" y="143"/>
                  <a:pt x="14" y="143"/>
                </a:cubicBezTo>
                <a:cubicBezTo>
                  <a:pt x="14" y="120"/>
                  <a:pt x="32" y="102"/>
                  <a:pt x="55" y="102"/>
                </a:cubicBezTo>
                <a:close/>
                <a:moveTo>
                  <a:pt x="295" y="211"/>
                </a:moveTo>
                <a:cubicBezTo>
                  <a:pt x="347" y="211"/>
                  <a:pt x="347" y="211"/>
                  <a:pt x="347" y="211"/>
                </a:cubicBezTo>
                <a:cubicBezTo>
                  <a:pt x="347" y="265"/>
                  <a:pt x="347" y="265"/>
                  <a:pt x="347" y="265"/>
                </a:cubicBezTo>
                <a:cubicBezTo>
                  <a:pt x="295" y="265"/>
                  <a:pt x="295" y="265"/>
                  <a:pt x="295" y="265"/>
                </a:cubicBezTo>
                <a:lnTo>
                  <a:pt x="295" y="211"/>
                </a:lnTo>
                <a:close/>
                <a:moveTo>
                  <a:pt x="588" y="509"/>
                </a:moveTo>
                <a:cubicBezTo>
                  <a:pt x="55" y="509"/>
                  <a:pt x="55" y="509"/>
                  <a:pt x="55" y="509"/>
                </a:cubicBezTo>
                <a:cubicBezTo>
                  <a:pt x="32" y="509"/>
                  <a:pt x="14" y="490"/>
                  <a:pt x="14" y="467"/>
                </a:cubicBezTo>
                <a:cubicBezTo>
                  <a:pt x="14" y="245"/>
                  <a:pt x="14" y="245"/>
                  <a:pt x="14" y="245"/>
                </a:cubicBezTo>
                <a:cubicBezTo>
                  <a:pt x="281" y="245"/>
                  <a:pt x="281" y="245"/>
                  <a:pt x="281" y="245"/>
                </a:cubicBezTo>
                <a:cubicBezTo>
                  <a:pt x="281" y="272"/>
                  <a:pt x="281" y="272"/>
                  <a:pt x="281" y="272"/>
                </a:cubicBezTo>
                <a:cubicBezTo>
                  <a:pt x="281" y="276"/>
                  <a:pt x="284" y="279"/>
                  <a:pt x="288" y="279"/>
                </a:cubicBezTo>
                <a:cubicBezTo>
                  <a:pt x="354" y="279"/>
                  <a:pt x="354" y="279"/>
                  <a:pt x="354" y="279"/>
                </a:cubicBezTo>
                <a:cubicBezTo>
                  <a:pt x="358" y="279"/>
                  <a:pt x="361" y="276"/>
                  <a:pt x="361" y="272"/>
                </a:cubicBezTo>
                <a:cubicBezTo>
                  <a:pt x="361" y="245"/>
                  <a:pt x="361" y="245"/>
                  <a:pt x="361" y="245"/>
                </a:cubicBezTo>
                <a:cubicBezTo>
                  <a:pt x="629" y="245"/>
                  <a:pt x="629" y="245"/>
                  <a:pt x="629" y="245"/>
                </a:cubicBezTo>
                <a:cubicBezTo>
                  <a:pt x="629" y="467"/>
                  <a:pt x="629" y="467"/>
                  <a:pt x="629" y="467"/>
                </a:cubicBezTo>
                <a:cubicBezTo>
                  <a:pt x="629" y="490"/>
                  <a:pt x="610" y="509"/>
                  <a:pt x="588" y="509"/>
                </a:cubicBez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9231" name="Oval 53"/>
          <p:cNvSpPr>
            <a:spLocks noChangeArrowheads="1"/>
          </p:cNvSpPr>
          <p:nvPr/>
        </p:nvSpPr>
        <p:spPr bwMode="auto">
          <a:xfrm>
            <a:off x="8347593" y="3120088"/>
            <a:ext cx="1119124" cy="1119124"/>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6172" name="Freeform 89"/>
          <p:cNvSpPr>
            <a:spLocks noEditPoints="1"/>
          </p:cNvSpPr>
          <p:nvPr/>
        </p:nvSpPr>
        <p:spPr bwMode="auto">
          <a:xfrm>
            <a:off x="8568986" y="3401086"/>
            <a:ext cx="676340" cy="557130"/>
          </a:xfrm>
          <a:custGeom>
            <a:avLst/>
            <a:gdLst>
              <a:gd name="T0" fmla="*/ 588 w 643"/>
              <a:gd name="T1" fmla="*/ 94 h 529"/>
              <a:gd name="T2" fmla="*/ 430 w 643"/>
              <a:gd name="T3" fmla="*/ 94 h 529"/>
              <a:gd name="T4" fmla="*/ 430 w 643"/>
              <a:gd name="T5" fmla="*/ 55 h 529"/>
              <a:gd name="T6" fmla="*/ 375 w 643"/>
              <a:gd name="T7" fmla="*/ 0 h 529"/>
              <a:gd name="T8" fmla="*/ 268 w 643"/>
              <a:gd name="T9" fmla="*/ 0 h 529"/>
              <a:gd name="T10" fmla="*/ 213 w 643"/>
              <a:gd name="T11" fmla="*/ 55 h 529"/>
              <a:gd name="T12" fmla="*/ 213 w 643"/>
              <a:gd name="T13" fmla="*/ 94 h 529"/>
              <a:gd name="T14" fmla="*/ 55 w 643"/>
              <a:gd name="T15" fmla="*/ 94 h 529"/>
              <a:gd name="T16" fmla="*/ 0 w 643"/>
              <a:gd name="T17" fmla="*/ 149 h 529"/>
              <a:gd name="T18" fmla="*/ 0 w 643"/>
              <a:gd name="T19" fmla="*/ 474 h 529"/>
              <a:gd name="T20" fmla="*/ 55 w 643"/>
              <a:gd name="T21" fmla="*/ 529 h 529"/>
              <a:gd name="T22" fmla="*/ 588 w 643"/>
              <a:gd name="T23" fmla="*/ 529 h 529"/>
              <a:gd name="T24" fmla="*/ 643 w 643"/>
              <a:gd name="T25" fmla="*/ 474 h 529"/>
              <a:gd name="T26" fmla="*/ 643 w 643"/>
              <a:gd name="T27" fmla="*/ 149 h 529"/>
              <a:gd name="T28" fmla="*/ 588 w 643"/>
              <a:gd name="T29" fmla="*/ 94 h 529"/>
              <a:gd name="T30" fmla="*/ 227 w 643"/>
              <a:gd name="T31" fmla="*/ 55 h 529"/>
              <a:gd name="T32" fmla="*/ 268 w 643"/>
              <a:gd name="T33" fmla="*/ 14 h 529"/>
              <a:gd name="T34" fmla="*/ 375 w 643"/>
              <a:gd name="T35" fmla="*/ 14 h 529"/>
              <a:gd name="T36" fmla="*/ 416 w 643"/>
              <a:gd name="T37" fmla="*/ 55 h 529"/>
              <a:gd name="T38" fmla="*/ 416 w 643"/>
              <a:gd name="T39" fmla="*/ 94 h 529"/>
              <a:gd name="T40" fmla="*/ 227 w 643"/>
              <a:gd name="T41" fmla="*/ 94 h 529"/>
              <a:gd name="T42" fmla="*/ 227 w 643"/>
              <a:gd name="T43" fmla="*/ 55 h 529"/>
              <a:gd name="T44" fmla="*/ 629 w 643"/>
              <a:gd name="T45" fmla="*/ 474 h 529"/>
              <a:gd name="T46" fmla="*/ 588 w 643"/>
              <a:gd name="T47" fmla="*/ 515 h 529"/>
              <a:gd name="T48" fmla="*/ 55 w 643"/>
              <a:gd name="T49" fmla="*/ 515 h 529"/>
              <a:gd name="T50" fmla="*/ 14 w 643"/>
              <a:gd name="T51" fmla="*/ 474 h 529"/>
              <a:gd name="T52" fmla="*/ 14 w 643"/>
              <a:gd name="T53" fmla="*/ 149 h 529"/>
              <a:gd name="T54" fmla="*/ 55 w 643"/>
              <a:gd name="T55" fmla="*/ 108 h 529"/>
              <a:gd name="T56" fmla="*/ 588 w 643"/>
              <a:gd name="T57" fmla="*/ 108 h 529"/>
              <a:gd name="T58" fmla="*/ 629 w 643"/>
              <a:gd name="T59" fmla="*/ 149 h 529"/>
              <a:gd name="T60" fmla="*/ 629 w 643"/>
              <a:gd name="T61" fmla="*/ 474 h 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643" h="529">
                <a:moveTo>
                  <a:pt x="588" y="94"/>
                </a:moveTo>
                <a:cubicBezTo>
                  <a:pt x="430" y="94"/>
                  <a:pt x="430" y="94"/>
                  <a:pt x="430" y="94"/>
                </a:cubicBezTo>
                <a:cubicBezTo>
                  <a:pt x="430" y="55"/>
                  <a:pt x="430" y="55"/>
                  <a:pt x="430" y="55"/>
                </a:cubicBezTo>
                <a:cubicBezTo>
                  <a:pt x="430" y="25"/>
                  <a:pt x="405" y="0"/>
                  <a:pt x="375" y="0"/>
                </a:cubicBezTo>
                <a:cubicBezTo>
                  <a:pt x="268" y="0"/>
                  <a:pt x="268" y="0"/>
                  <a:pt x="268" y="0"/>
                </a:cubicBezTo>
                <a:cubicBezTo>
                  <a:pt x="238" y="0"/>
                  <a:pt x="213" y="25"/>
                  <a:pt x="213" y="55"/>
                </a:cubicBezTo>
                <a:cubicBezTo>
                  <a:pt x="213" y="94"/>
                  <a:pt x="213" y="94"/>
                  <a:pt x="213" y="94"/>
                </a:cubicBezTo>
                <a:cubicBezTo>
                  <a:pt x="55" y="94"/>
                  <a:pt x="55" y="94"/>
                  <a:pt x="55" y="94"/>
                </a:cubicBezTo>
                <a:cubicBezTo>
                  <a:pt x="25" y="94"/>
                  <a:pt x="0" y="118"/>
                  <a:pt x="0" y="149"/>
                </a:cubicBezTo>
                <a:cubicBezTo>
                  <a:pt x="0" y="474"/>
                  <a:pt x="0" y="474"/>
                  <a:pt x="0" y="474"/>
                </a:cubicBezTo>
                <a:cubicBezTo>
                  <a:pt x="0" y="504"/>
                  <a:pt x="25" y="529"/>
                  <a:pt x="55" y="529"/>
                </a:cubicBezTo>
                <a:cubicBezTo>
                  <a:pt x="588" y="529"/>
                  <a:pt x="588" y="529"/>
                  <a:pt x="588" y="529"/>
                </a:cubicBezTo>
                <a:cubicBezTo>
                  <a:pt x="618" y="529"/>
                  <a:pt x="643" y="504"/>
                  <a:pt x="643" y="474"/>
                </a:cubicBezTo>
                <a:cubicBezTo>
                  <a:pt x="643" y="149"/>
                  <a:pt x="643" y="149"/>
                  <a:pt x="643" y="149"/>
                </a:cubicBezTo>
                <a:cubicBezTo>
                  <a:pt x="643" y="118"/>
                  <a:pt x="618" y="94"/>
                  <a:pt x="588" y="94"/>
                </a:cubicBezTo>
                <a:close/>
                <a:moveTo>
                  <a:pt x="227" y="55"/>
                </a:moveTo>
                <a:cubicBezTo>
                  <a:pt x="227" y="33"/>
                  <a:pt x="246" y="14"/>
                  <a:pt x="268" y="14"/>
                </a:cubicBezTo>
                <a:cubicBezTo>
                  <a:pt x="375" y="14"/>
                  <a:pt x="375" y="14"/>
                  <a:pt x="375" y="14"/>
                </a:cubicBezTo>
                <a:cubicBezTo>
                  <a:pt x="397" y="14"/>
                  <a:pt x="416" y="33"/>
                  <a:pt x="416" y="55"/>
                </a:cubicBezTo>
                <a:cubicBezTo>
                  <a:pt x="416" y="94"/>
                  <a:pt x="416" y="94"/>
                  <a:pt x="416" y="94"/>
                </a:cubicBezTo>
                <a:cubicBezTo>
                  <a:pt x="227" y="94"/>
                  <a:pt x="227" y="94"/>
                  <a:pt x="227" y="94"/>
                </a:cubicBezTo>
                <a:lnTo>
                  <a:pt x="227" y="55"/>
                </a:lnTo>
                <a:close/>
                <a:moveTo>
                  <a:pt x="629" y="474"/>
                </a:moveTo>
                <a:cubicBezTo>
                  <a:pt x="629" y="496"/>
                  <a:pt x="611" y="515"/>
                  <a:pt x="588" y="515"/>
                </a:cubicBezTo>
                <a:cubicBezTo>
                  <a:pt x="55" y="515"/>
                  <a:pt x="55" y="515"/>
                  <a:pt x="55" y="515"/>
                </a:cubicBezTo>
                <a:cubicBezTo>
                  <a:pt x="32" y="515"/>
                  <a:pt x="14" y="496"/>
                  <a:pt x="14" y="474"/>
                </a:cubicBezTo>
                <a:cubicBezTo>
                  <a:pt x="14" y="149"/>
                  <a:pt x="14" y="149"/>
                  <a:pt x="14" y="149"/>
                </a:cubicBezTo>
                <a:cubicBezTo>
                  <a:pt x="14" y="126"/>
                  <a:pt x="32" y="108"/>
                  <a:pt x="55" y="108"/>
                </a:cubicBezTo>
                <a:cubicBezTo>
                  <a:pt x="588" y="108"/>
                  <a:pt x="588" y="108"/>
                  <a:pt x="588" y="108"/>
                </a:cubicBezTo>
                <a:cubicBezTo>
                  <a:pt x="611" y="108"/>
                  <a:pt x="629" y="126"/>
                  <a:pt x="629" y="149"/>
                </a:cubicBezTo>
                <a:lnTo>
                  <a:pt x="629" y="474"/>
                </a:ln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9224" name="Oval 46"/>
          <p:cNvSpPr>
            <a:spLocks noChangeArrowheads="1"/>
          </p:cNvSpPr>
          <p:nvPr/>
        </p:nvSpPr>
        <p:spPr bwMode="auto">
          <a:xfrm>
            <a:off x="6589621" y="3120088"/>
            <a:ext cx="1119124" cy="1119124"/>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8194" name="Freeform 90"/>
          <p:cNvSpPr>
            <a:spLocks noEditPoints="1"/>
          </p:cNvSpPr>
          <p:nvPr/>
        </p:nvSpPr>
        <p:spPr bwMode="auto">
          <a:xfrm>
            <a:off x="6763573" y="3427847"/>
            <a:ext cx="771222" cy="504823"/>
          </a:xfrm>
          <a:custGeom>
            <a:avLst/>
            <a:gdLst>
              <a:gd name="T0" fmla="*/ 678 w 733"/>
              <a:gd name="T1" fmla="*/ 0 h 479"/>
              <a:gd name="T2" fmla="*/ 55 w 733"/>
              <a:gd name="T3" fmla="*/ 0 h 479"/>
              <a:gd name="T4" fmla="*/ 0 w 733"/>
              <a:gd name="T5" fmla="*/ 55 h 479"/>
              <a:gd name="T6" fmla="*/ 0 w 733"/>
              <a:gd name="T7" fmla="*/ 424 h 479"/>
              <a:gd name="T8" fmla="*/ 55 w 733"/>
              <a:gd name="T9" fmla="*/ 479 h 479"/>
              <a:gd name="T10" fmla="*/ 678 w 733"/>
              <a:gd name="T11" fmla="*/ 479 h 479"/>
              <a:gd name="T12" fmla="*/ 733 w 733"/>
              <a:gd name="T13" fmla="*/ 424 h 479"/>
              <a:gd name="T14" fmla="*/ 733 w 733"/>
              <a:gd name="T15" fmla="*/ 55 h 479"/>
              <a:gd name="T16" fmla="*/ 678 w 733"/>
              <a:gd name="T17" fmla="*/ 0 h 479"/>
              <a:gd name="T18" fmla="*/ 14 w 733"/>
              <a:gd name="T19" fmla="*/ 330 h 479"/>
              <a:gd name="T20" fmla="*/ 719 w 733"/>
              <a:gd name="T21" fmla="*/ 330 h 479"/>
              <a:gd name="T22" fmla="*/ 719 w 733"/>
              <a:gd name="T23" fmla="*/ 393 h 479"/>
              <a:gd name="T24" fmla="*/ 14 w 733"/>
              <a:gd name="T25" fmla="*/ 393 h 479"/>
              <a:gd name="T26" fmla="*/ 14 w 733"/>
              <a:gd name="T27" fmla="*/ 330 h 479"/>
              <a:gd name="T28" fmla="*/ 55 w 733"/>
              <a:gd name="T29" fmla="*/ 14 h 479"/>
              <a:gd name="T30" fmla="*/ 678 w 733"/>
              <a:gd name="T31" fmla="*/ 14 h 479"/>
              <a:gd name="T32" fmla="*/ 719 w 733"/>
              <a:gd name="T33" fmla="*/ 55 h 479"/>
              <a:gd name="T34" fmla="*/ 719 w 733"/>
              <a:gd name="T35" fmla="*/ 316 h 479"/>
              <a:gd name="T36" fmla="*/ 14 w 733"/>
              <a:gd name="T37" fmla="*/ 316 h 479"/>
              <a:gd name="T38" fmla="*/ 14 w 733"/>
              <a:gd name="T39" fmla="*/ 55 h 479"/>
              <a:gd name="T40" fmla="*/ 55 w 733"/>
              <a:gd name="T41" fmla="*/ 14 h 479"/>
              <a:gd name="T42" fmla="*/ 678 w 733"/>
              <a:gd name="T43" fmla="*/ 465 h 479"/>
              <a:gd name="T44" fmla="*/ 55 w 733"/>
              <a:gd name="T45" fmla="*/ 465 h 479"/>
              <a:gd name="T46" fmla="*/ 14 w 733"/>
              <a:gd name="T47" fmla="*/ 424 h 479"/>
              <a:gd name="T48" fmla="*/ 14 w 733"/>
              <a:gd name="T49" fmla="*/ 407 h 479"/>
              <a:gd name="T50" fmla="*/ 719 w 733"/>
              <a:gd name="T51" fmla="*/ 407 h 479"/>
              <a:gd name="T52" fmla="*/ 719 w 733"/>
              <a:gd name="T53" fmla="*/ 424 h 479"/>
              <a:gd name="T54" fmla="*/ 678 w 733"/>
              <a:gd name="T55" fmla="*/ 465 h 479"/>
              <a:gd name="T56" fmla="*/ 426 w 733"/>
              <a:gd name="T57" fmla="*/ 295 h 479"/>
              <a:gd name="T58" fmla="*/ 493 w 733"/>
              <a:gd name="T59" fmla="*/ 275 h 479"/>
              <a:gd name="T60" fmla="*/ 559 w 733"/>
              <a:gd name="T61" fmla="*/ 295 h 479"/>
              <a:gd name="T62" fmla="*/ 683 w 733"/>
              <a:gd name="T63" fmla="*/ 171 h 479"/>
              <a:gd name="T64" fmla="*/ 559 w 733"/>
              <a:gd name="T65" fmla="*/ 48 h 479"/>
              <a:gd name="T66" fmla="*/ 493 w 733"/>
              <a:gd name="T67" fmla="*/ 67 h 479"/>
              <a:gd name="T68" fmla="*/ 426 w 733"/>
              <a:gd name="T69" fmla="*/ 48 h 479"/>
              <a:gd name="T70" fmla="*/ 302 w 733"/>
              <a:gd name="T71" fmla="*/ 171 h 479"/>
              <a:gd name="T72" fmla="*/ 426 w 733"/>
              <a:gd name="T73" fmla="*/ 295 h 479"/>
              <a:gd name="T74" fmla="*/ 669 w 733"/>
              <a:gd name="T75" fmla="*/ 171 h 479"/>
              <a:gd name="T76" fmla="*/ 559 w 733"/>
              <a:gd name="T77" fmla="*/ 281 h 479"/>
              <a:gd name="T78" fmla="*/ 450 w 733"/>
              <a:gd name="T79" fmla="*/ 171 h 479"/>
              <a:gd name="T80" fmla="*/ 559 w 733"/>
              <a:gd name="T81" fmla="*/ 62 h 479"/>
              <a:gd name="T82" fmla="*/ 669 w 733"/>
              <a:gd name="T83" fmla="*/ 171 h 479"/>
              <a:gd name="T84" fmla="*/ 426 w 733"/>
              <a:gd name="T85" fmla="*/ 62 h 479"/>
              <a:gd name="T86" fmla="*/ 480 w 733"/>
              <a:gd name="T87" fmla="*/ 76 h 479"/>
              <a:gd name="T88" fmla="*/ 436 w 733"/>
              <a:gd name="T89" fmla="*/ 171 h 479"/>
              <a:gd name="T90" fmla="*/ 480 w 733"/>
              <a:gd name="T91" fmla="*/ 266 h 479"/>
              <a:gd name="T92" fmla="*/ 426 w 733"/>
              <a:gd name="T93" fmla="*/ 281 h 479"/>
              <a:gd name="T94" fmla="*/ 316 w 733"/>
              <a:gd name="T95" fmla="*/ 171 h 479"/>
              <a:gd name="T96" fmla="*/ 426 w 733"/>
              <a:gd name="T97" fmla="*/ 62 h 4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33" h="479">
                <a:moveTo>
                  <a:pt x="678" y="0"/>
                </a:moveTo>
                <a:cubicBezTo>
                  <a:pt x="55" y="0"/>
                  <a:pt x="55" y="0"/>
                  <a:pt x="55" y="0"/>
                </a:cubicBezTo>
                <a:cubicBezTo>
                  <a:pt x="25" y="0"/>
                  <a:pt x="0" y="24"/>
                  <a:pt x="0" y="55"/>
                </a:cubicBezTo>
                <a:cubicBezTo>
                  <a:pt x="0" y="424"/>
                  <a:pt x="0" y="424"/>
                  <a:pt x="0" y="424"/>
                </a:cubicBezTo>
                <a:cubicBezTo>
                  <a:pt x="0" y="455"/>
                  <a:pt x="25" y="479"/>
                  <a:pt x="55" y="479"/>
                </a:cubicBezTo>
                <a:cubicBezTo>
                  <a:pt x="678" y="479"/>
                  <a:pt x="678" y="479"/>
                  <a:pt x="678" y="479"/>
                </a:cubicBezTo>
                <a:cubicBezTo>
                  <a:pt x="708" y="479"/>
                  <a:pt x="733" y="455"/>
                  <a:pt x="733" y="424"/>
                </a:cubicBezTo>
                <a:cubicBezTo>
                  <a:pt x="733" y="55"/>
                  <a:pt x="733" y="55"/>
                  <a:pt x="733" y="55"/>
                </a:cubicBezTo>
                <a:cubicBezTo>
                  <a:pt x="733" y="24"/>
                  <a:pt x="708" y="0"/>
                  <a:pt x="678" y="0"/>
                </a:cubicBezTo>
                <a:close/>
                <a:moveTo>
                  <a:pt x="14" y="330"/>
                </a:moveTo>
                <a:cubicBezTo>
                  <a:pt x="719" y="330"/>
                  <a:pt x="719" y="330"/>
                  <a:pt x="719" y="330"/>
                </a:cubicBezTo>
                <a:cubicBezTo>
                  <a:pt x="719" y="393"/>
                  <a:pt x="719" y="393"/>
                  <a:pt x="719" y="393"/>
                </a:cubicBezTo>
                <a:cubicBezTo>
                  <a:pt x="14" y="393"/>
                  <a:pt x="14" y="393"/>
                  <a:pt x="14" y="393"/>
                </a:cubicBezTo>
                <a:lnTo>
                  <a:pt x="14" y="330"/>
                </a:lnTo>
                <a:close/>
                <a:moveTo>
                  <a:pt x="55" y="14"/>
                </a:moveTo>
                <a:cubicBezTo>
                  <a:pt x="678" y="14"/>
                  <a:pt x="678" y="14"/>
                  <a:pt x="678" y="14"/>
                </a:cubicBezTo>
                <a:cubicBezTo>
                  <a:pt x="701" y="14"/>
                  <a:pt x="719" y="32"/>
                  <a:pt x="719" y="55"/>
                </a:cubicBezTo>
                <a:cubicBezTo>
                  <a:pt x="719" y="316"/>
                  <a:pt x="719" y="316"/>
                  <a:pt x="719" y="316"/>
                </a:cubicBezTo>
                <a:cubicBezTo>
                  <a:pt x="14" y="316"/>
                  <a:pt x="14" y="316"/>
                  <a:pt x="14" y="316"/>
                </a:cubicBezTo>
                <a:cubicBezTo>
                  <a:pt x="14" y="55"/>
                  <a:pt x="14" y="55"/>
                  <a:pt x="14" y="55"/>
                </a:cubicBezTo>
                <a:cubicBezTo>
                  <a:pt x="14" y="32"/>
                  <a:pt x="32" y="14"/>
                  <a:pt x="55" y="14"/>
                </a:cubicBezTo>
                <a:close/>
                <a:moveTo>
                  <a:pt x="678" y="465"/>
                </a:moveTo>
                <a:cubicBezTo>
                  <a:pt x="55" y="465"/>
                  <a:pt x="55" y="465"/>
                  <a:pt x="55" y="465"/>
                </a:cubicBezTo>
                <a:cubicBezTo>
                  <a:pt x="32" y="465"/>
                  <a:pt x="14" y="447"/>
                  <a:pt x="14" y="424"/>
                </a:cubicBezTo>
                <a:cubicBezTo>
                  <a:pt x="14" y="407"/>
                  <a:pt x="14" y="407"/>
                  <a:pt x="14" y="407"/>
                </a:cubicBezTo>
                <a:cubicBezTo>
                  <a:pt x="719" y="407"/>
                  <a:pt x="719" y="407"/>
                  <a:pt x="719" y="407"/>
                </a:cubicBezTo>
                <a:cubicBezTo>
                  <a:pt x="719" y="424"/>
                  <a:pt x="719" y="424"/>
                  <a:pt x="719" y="424"/>
                </a:cubicBezTo>
                <a:cubicBezTo>
                  <a:pt x="719" y="447"/>
                  <a:pt x="701" y="465"/>
                  <a:pt x="678" y="465"/>
                </a:cubicBezTo>
                <a:close/>
                <a:moveTo>
                  <a:pt x="426" y="295"/>
                </a:moveTo>
                <a:cubicBezTo>
                  <a:pt x="450" y="295"/>
                  <a:pt x="473" y="288"/>
                  <a:pt x="493" y="275"/>
                </a:cubicBezTo>
                <a:cubicBezTo>
                  <a:pt x="512" y="288"/>
                  <a:pt x="535" y="295"/>
                  <a:pt x="559" y="295"/>
                </a:cubicBezTo>
                <a:cubicBezTo>
                  <a:pt x="628" y="295"/>
                  <a:pt x="683" y="240"/>
                  <a:pt x="683" y="171"/>
                </a:cubicBezTo>
                <a:cubicBezTo>
                  <a:pt x="683" y="103"/>
                  <a:pt x="628" y="48"/>
                  <a:pt x="559" y="48"/>
                </a:cubicBezTo>
                <a:cubicBezTo>
                  <a:pt x="535" y="48"/>
                  <a:pt x="512" y="55"/>
                  <a:pt x="493" y="67"/>
                </a:cubicBezTo>
                <a:cubicBezTo>
                  <a:pt x="473" y="54"/>
                  <a:pt x="450" y="48"/>
                  <a:pt x="426" y="48"/>
                </a:cubicBezTo>
                <a:cubicBezTo>
                  <a:pt x="357" y="48"/>
                  <a:pt x="302" y="103"/>
                  <a:pt x="302" y="171"/>
                </a:cubicBezTo>
                <a:cubicBezTo>
                  <a:pt x="302" y="240"/>
                  <a:pt x="357" y="295"/>
                  <a:pt x="426" y="295"/>
                </a:cubicBezTo>
                <a:close/>
                <a:moveTo>
                  <a:pt x="669" y="171"/>
                </a:moveTo>
                <a:cubicBezTo>
                  <a:pt x="669" y="232"/>
                  <a:pt x="620" y="281"/>
                  <a:pt x="559" y="281"/>
                </a:cubicBezTo>
                <a:cubicBezTo>
                  <a:pt x="499" y="281"/>
                  <a:pt x="450" y="232"/>
                  <a:pt x="450" y="171"/>
                </a:cubicBezTo>
                <a:cubicBezTo>
                  <a:pt x="450" y="111"/>
                  <a:pt x="499" y="62"/>
                  <a:pt x="559" y="62"/>
                </a:cubicBezTo>
                <a:cubicBezTo>
                  <a:pt x="620" y="62"/>
                  <a:pt x="669" y="111"/>
                  <a:pt x="669" y="171"/>
                </a:cubicBezTo>
                <a:close/>
                <a:moveTo>
                  <a:pt x="426" y="62"/>
                </a:moveTo>
                <a:cubicBezTo>
                  <a:pt x="445" y="62"/>
                  <a:pt x="464" y="67"/>
                  <a:pt x="480" y="76"/>
                </a:cubicBezTo>
                <a:cubicBezTo>
                  <a:pt x="453" y="99"/>
                  <a:pt x="436" y="133"/>
                  <a:pt x="436" y="171"/>
                </a:cubicBezTo>
                <a:cubicBezTo>
                  <a:pt x="436" y="209"/>
                  <a:pt x="453" y="244"/>
                  <a:pt x="480" y="266"/>
                </a:cubicBezTo>
                <a:cubicBezTo>
                  <a:pt x="464" y="276"/>
                  <a:pt x="445" y="281"/>
                  <a:pt x="426" y="281"/>
                </a:cubicBezTo>
                <a:cubicBezTo>
                  <a:pt x="365" y="281"/>
                  <a:pt x="316" y="232"/>
                  <a:pt x="316" y="171"/>
                </a:cubicBezTo>
                <a:cubicBezTo>
                  <a:pt x="316" y="111"/>
                  <a:pt x="365" y="62"/>
                  <a:pt x="426" y="62"/>
                </a:cubicBez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9221" name="Oval 43"/>
          <p:cNvSpPr>
            <a:spLocks noChangeArrowheads="1"/>
          </p:cNvSpPr>
          <p:nvPr/>
        </p:nvSpPr>
        <p:spPr bwMode="auto">
          <a:xfrm>
            <a:off x="1315706" y="1528549"/>
            <a:ext cx="1119124" cy="1119124"/>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8201" name="Freeform 92"/>
          <p:cNvSpPr>
            <a:spLocks noEditPoints="1"/>
          </p:cNvSpPr>
          <p:nvPr/>
        </p:nvSpPr>
        <p:spPr bwMode="auto">
          <a:xfrm>
            <a:off x="1528583" y="1741657"/>
            <a:ext cx="693371" cy="694125"/>
          </a:xfrm>
          <a:custGeom>
            <a:avLst/>
            <a:gdLst>
              <a:gd name="T0" fmla="*/ 652 w 659"/>
              <a:gd name="T1" fmla="*/ 0 h 658"/>
              <a:gd name="T2" fmla="*/ 361 w 659"/>
              <a:gd name="T3" fmla="*/ 2 h 658"/>
              <a:gd name="T4" fmla="*/ 0 w 659"/>
              <a:gd name="T5" fmla="*/ 366 h 658"/>
              <a:gd name="T6" fmla="*/ 288 w 659"/>
              <a:gd name="T7" fmla="*/ 656 h 658"/>
              <a:gd name="T8" fmla="*/ 298 w 659"/>
              <a:gd name="T9" fmla="*/ 656 h 658"/>
              <a:gd name="T10" fmla="*/ 659 w 659"/>
              <a:gd name="T11" fmla="*/ 292 h 658"/>
              <a:gd name="T12" fmla="*/ 293 w 659"/>
              <a:gd name="T13" fmla="*/ 641 h 658"/>
              <a:gd name="T14" fmla="*/ 369 w 659"/>
              <a:gd name="T15" fmla="*/ 14 h 658"/>
              <a:gd name="T16" fmla="*/ 645 w 659"/>
              <a:gd name="T17" fmla="*/ 289 h 658"/>
              <a:gd name="T18" fmla="*/ 515 w 659"/>
              <a:gd name="T19" fmla="*/ 81 h 658"/>
              <a:gd name="T20" fmla="*/ 452 w 659"/>
              <a:gd name="T21" fmla="*/ 144 h 658"/>
              <a:gd name="T22" fmla="*/ 515 w 659"/>
              <a:gd name="T23" fmla="*/ 206 h 658"/>
              <a:gd name="T24" fmla="*/ 515 w 659"/>
              <a:gd name="T25" fmla="*/ 206 h 658"/>
              <a:gd name="T26" fmla="*/ 577 w 659"/>
              <a:gd name="T27" fmla="*/ 144 h 658"/>
              <a:gd name="T28" fmla="*/ 549 w 659"/>
              <a:gd name="T29" fmla="*/ 178 h 658"/>
              <a:gd name="T30" fmla="*/ 515 w 659"/>
              <a:gd name="T31" fmla="*/ 199 h 658"/>
              <a:gd name="T32" fmla="*/ 480 w 659"/>
              <a:gd name="T33" fmla="*/ 178 h 658"/>
              <a:gd name="T34" fmla="*/ 480 w 659"/>
              <a:gd name="T35" fmla="*/ 110 h 658"/>
              <a:gd name="T36" fmla="*/ 563 w 659"/>
              <a:gd name="T37" fmla="*/ 144 h 658"/>
              <a:gd name="T38" fmla="*/ 428 w 659"/>
              <a:gd name="T39" fmla="*/ 264 h 658"/>
              <a:gd name="T40" fmla="*/ 441 w 659"/>
              <a:gd name="T41" fmla="*/ 349 h 658"/>
              <a:gd name="T42" fmla="*/ 418 w 659"/>
              <a:gd name="T43" fmla="*/ 274 h 658"/>
              <a:gd name="T44" fmla="*/ 305 w 659"/>
              <a:gd name="T45" fmla="*/ 275 h 658"/>
              <a:gd name="T46" fmla="*/ 361 w 659"/>
              <a:gd name="T47" fmla="*/ 341 h 658"/>
              <a:gd name="T48" fmla="*/ 352 w 659"/>
              <a:gd name="T49" fmla="*/ 341 h 658"/>
              <a:gd name="T50" fmla="*/ 279 w 659"/>
              <a:gd name="T51" fmla="*/ 297 h 658"/>
              <a:gd name="T52" fmla="*/ 323 w 659"/>
              <a:gd name="T53" fmla="*/ 370 h 658"/>
              <a:gd name="T54" fmla="*/ 318 w 659"/>
              <a:gd name="T55" fmla="*/ 382 h 658"/>
              <a:gd name="T56" fmla="*/ 257 w 659"/>
              <a:gd name="T57" fmla="*/ 324 h 658"/>
              <a:gd name="T58" fmla="*/ 324 w 659"/>
              <a:gd name="T59" fmla="*/ 453 h 658"/>
              <a:gd name="T60" fmla="*/ 326 w 659"/>
              <a:gd name="T61" fmla="*/ 466 h 658"/>
              <a:gd name="T62" fmla="*/ 247 w 659"/>
              <a:gd name="T63" fmla="*/ 445 h 658"/>
              <a:gd name="T64" fmla="*/ 226 w 659"/>
              <a:gd name="T65" fmla="*/ 293 h 658"/>
              <a:gd name="T66" fmla="*/ 236 w 659"/>
              <a:gd name="T67" fmla="*/ 283 h 658"/>
              <a:gd name="T68" fmla="*/ 269 w 659"/>
              <a:gd name="T69" fmla="*/ 287 h 658"/>
              <a:gd name="T70" fmla="*/ 264 w 659"/>
              <a:gd name="T71" fmla="*/ 254 h 658"/>
              <a:gd name="T72" fmla="*/ 274 w 659"/>
              <a:gd name="T73" fmla="*/ 244 h 658"/>
              <a:gd name="T74" fmla="*/ 352 w 659"/>
              <a:gd name="T75" fmla="*/ 239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59" h="658">
                <a:moveTo>
                  <a:pt x="659" y="7"/>
                </a:moveTo>
                <a:cubicBezTo>
                  <a:pt x="659" y="3"/>
                  <a:pt x="656" y="0"/>
                  <a:pt x="652" y="0"/>
                </a:cubicBezTo>
                <a:cubicBezTo>
                  <a:pt x="366" y="0"/>
                  <a:pt x="366" y="0"/>
                  <a:pt x="366" y="0"/>
                </a:cubicBezTo>
                <a:cubicBezTo>
                  <a:pt x="364" y="0"/>
                  <a:pt x="362" y="0"/>
                  <a:pt x="361" y="2"/>
                </a:cubicBezTo>
                <a:cubicBezTo>
                  <a:pt x="2" y="361"/>
                  <a:pt x="2" y="361"/>
                  <a:pt x="2" y="361"/>
                </a:cubicBezTo>
                <a:cubicBezTo>
                  <a:pt x="1" y="362"/>
                  <a:pt x="0" y="364"/>
                  <a:pt x="0" y="366"/>
                </a:cubicBezTo>
                <a:cubicBezTo>
                  <a:pt x="0" y="367"/>
                  <a:pt x="1" y="369"/>
                  <a:pt x="2" y="370"/>
                </a:cubicBezTo>
                <a:cubicBezTo>
                  <a:pt x="288" y="656"/>
                  <a:pt x="288" y="656"/>
                  <a:pt x="288" y="656"/>
                </a:cubicBezTo>
                <a:cubicBezTo>
                  <a:pt x="289" y="657"/>
                  <a:pt x="291" y="658"/>
                  <a:pt x="293" y="658"/>
                </a:cubicBezTo>
                <a:cubicBezTo>
                  <a:pt x="295" y="658"/>
                  <a:pt x="297" y="657"/>
                  <a:pt x="298" y="656"/>
                </a:cubicBezTo>
                <a:cubicBezTo>
                  <a:pt x="657" y="297"/>
                  <a:pt x="657" y="297"/>
                  <a:pt x="657" y="297"/>
                </a:cubicBezTo>
                <a:cubicBezTo>
                  <a:pt x="658" y="296"/>
                  <a:pt x="659" y="294"/>
                  <a:pt x="659" y="292"/>
                </a:cubicBezTo>
                <a:lnTo>
                  <a:pt x="659" y="7"/>
                </a:lnTo>
                <a:close/>
                <a:moveTo>
                  <a:pt x="293" y="641"/>
                </a:moveTo>
                <a:cubicBezTo>
                  <a:pt x="17" y="366"/>
                  <a:pt x="17" y="366"/>
                  <a:pt x="17" y="366"/>
                </a:cubicBezTo>
                <a:cubicBezTo>
                  <a:pt x="369" y="14"/>
                  <a:pt x="369" y="14"/>
                  <a:pt x="369" y="14"/>
                </a:cubicBezTo>
                <a:cubicBezTo>
                  <a:pt x="645" y="14"/>
                  <a:pt x="645" y="14"/>
                  <a:pt x="645" y="14"/>
                </a:cubicBezTo>
                <a:cubicBezTo>
                  <a:pt x="645" y="289"/>
                  <a:pt x="645" y="289"/>
                  <a:pt x="645" y="289"/>
                </a:cubicBezTo>
                <a:lnTo>
                  <a:pt x="293" y="641"/>
                </a:lnTo>
                <a:close/>
                <a:moveTo>
                  <a:pt x="515" y="81"/>
                </a:moveTo>
                <a:cubicBezTo>
                  <a:pt x="498" y="81"/>
                  <a:pt x="482" y="88"/>
                  <a:pt x="470" y="100"/>
                </a:cubicBezTo>
                <a:cubicBezTo>
                  <a:pt x="459" y="111"/>
                  <a:pt x="452" y="127"/>
                  <a:pt x="452" y="144"/>
                </a:cubicBezTo>
                <a:cubicBezTo>
                  <a:pt x="452" y="160"/>
                  <a:pt x="459" y="176"/>
                  <a:pt x="470" y="188"/>
                </a:cubicBezTo>
                <a:cubicBezTo>
                  <a:pt x="482" y="200"/>
                  <a:pt x="498" y="206"/>
                  <a:pt x="515" y="206"/>
                </a:cubicBezTo>
                <a:cubicBezTo>
                  <a:pt x="515" y="200"/>
                  <a:pt x="515" y="200"/>
                  <a:pt x="515" y="200"/>
                </a:cubicBezTo>
                <a:cubicBezTo>
                  <a:pt x="515" y="206"/>
                  <a:pt x="515" y="206"/>
                  <a:pt x="515" y="206"/>
                </a:cubicBezTo>
                <a:cubicBezTo>
                  <a:pt x="531" y="206"/>
                  <a:pt x="547" y="200"/>
                  <a:pt x="559" y="188"/>
                </a:cubicBezTo>
                <a:cubicBezTo>
                  <a:pt x="571" y="176"/>
                  <a:pt x="577" y="160"/>
                  <a:pt x="577" y="144"/>
                </a:cubicBezTo>
                <a:cubicBezTo>
                  <a:pt x="577" y="109"/>
                  <a:pt x="549" y="81"/>
                  <a:pt x="515" y="81"/>
                </a:cubicBezTo>
                <a:close/>
                <a:moveTo>
                  <a:pt x="549" y="178"/>
                </a:moveTo>
                <a:cubicBezTo>
                  <a:pt x="540" y="187"/>
                  <a:pt x="528" y="192"/>
                  <a:pt x="515" y="192"/>
                </a:cubicBezTo>
                <a:cubicBezTo>
                  <a:pt x="515" y="199"/>
                  <a:pt x="515" y="199"/>
                  <a:pt x="515" y="199"/>
                </a:cubicBezTo>
                <a:cubicBezTo>
                  <a:pt x="515" y="192"/>
                  <a:pt x="515" y="192"/>
                  <a:pt x="515" y="192"/>
                </a:cubicBezTo>
                <a:cubicBezTo>
                  <a:pt x="502" y="192"/>
                  <a:pt x="489" y="187"/>
                  <a:pt x="480" y="178"/>
                </a:cubicBezTo>
                <a:cubicBezTo>
                  <a:pt x="471" y="169"/>
                  <a:pt x="466" y="157"/>
                  <a:pt x="466" y="144"/>
                </a:cubicBezTo>
                <a:cubicBezTo>
                  <a:pt x="466" y="131"/>
                  <a:pt x="471" y="119"/>
                  <a:pt x="480" y="110"/>
                </a:cubicBezTo>
                <a:cubicBezTo>
                  <a:pt x="489" y="100"/>
                  <a:pt x="502" y="95"/>
                  <a:pt x="515" y="95"/>
                </a:cubicBezTo>
                <a:cubicBezTo>
                  <a:pt x="541" y="95"/>
                  <a:pt x="563" y="117"/>
                  <a:pt x="563" y="144"/>
                </a:cubicBezTo>
                <a:cubicBezTo>
                  <a:pt x="563" y="157"/>
                  <a:pt x="558" y="169"/>
                  <a:pt x="549" y="178"/>
                </a:cubicBezTo>
                <a:close/>
                <a:moveTo>
                  <a:pt x="428" y="264"/>
                </a:moveTo>
                <a:cubicBezTo>
                  <a:pt x="448" y="284"/>
                  <a:pt x="455" y="310"/>
                  <a:pt x="449" y="343"/>
                </a:cubicBezTo>
                <a:cubicBezTo>
                  <a:pt x="448" y="347"/>
                  <a:pt x="445" y="350"/>
                  <a:pt x="441" y="349"/>
                </a:cubicBezTo>
                <a:cubicBezTo>
                  <a:pt x="437" y="348"/>
                  <a:pt x="435" y="345"/>
                  <a:pt x="435" y="341"/>
                </a:cubicBezTo>
                <a:cubicBezTo>
                  <a:pt x="441" y="312"/>
                  <a:pt x="435" y="291"/>
                  <a:pt x="418" y="274"/>
                </a:cubicBezTo>
                <a:cubicBezTo>
                  <a:pt x="401" y="257"/>
                  <a:pt x="379" y="249"/>
                  <a:pt x="355" y="253"/>
                </a:cubicBezTo>
                <a:cubicBezTo>
                  <a:pt x="338" y="256"/>
                  <a:pt x="321" y="263"/>
                  <a:pt x="305" y="275"/>
                </a:cubicBezTo>
                <a:cubicBezTo>
                  <a:pt x="361" y="331"/>
                  <a:pt x="361" y="331"/>
                  <a:pt x="361" y="331"/>
                </a:cubicBezTo>
                <a:cubicBezTo>
                  <a:pt x="364" y="334"/>
                  <a:pt x="364" y="338"/>
                  <a:pt x="361" y="341"/>
                </a:cubicBezTo>
                <a:cubicBezTo>
                  <a:pt x="360" y="343"/>
                  <a:pt x="358" y="343"/>
                  <a:pt x="356" y="343"/>
                </a:cubicBezTo>
                <a:cubicBezTo>
                  <a:pt x="355" y="343"/>
                  <a:pt x="353" y="343"/>
                  <a:pt x="352" y="341"/>
                </a:cubicBezTo>
                <a:cubicBezTo>
                  <a:pt x="294" y="283"/>
                  <a:pt x="294" y="283"/>
                  <a:pt x="294" y="283"/>
                </a:cubicBezTo>
                <a:cubicBezTo>
                  <a:pt x="289" y="287"/>
                  <a:pt x="284" y="292"/>
                  <a:pt x="279" y="297"/>
                </a:cubicBezTo>
                <a:cubicBezTo>
                  <a:pt x="274" y="302"/>
                  <a:pt x="269" y="307"/>
                  <a:pt x="265" y="312"/>
                </a:cubicBezTo>
                <a:cubicBezTo>
                  <a:pt x="323" y="370"/>
                  <a:pt x="323" y="370"/>
                  <a:pt x="323" y="370"/>
                </a:cubicBezTo>
                <a:cubicBezTo>
                  <a:pt x="326" y="373"/>
                  <a:pt x="326" y="377"/>
                  <a:pt x="323" y="380"/>
                </a:cubicBezTo>
                <a:cubicBezTo>
                  <a:pt x="321" y="381"/>
                  <a:pt x="320" y="382"/>
                  <a:pt x="318" y="382"/>
                </a:cubicBezTo>
                <a:cubicBezTo>
                  <a:pt x="316" y="382"/>
                  <a:pt x="314" y="381"/>
                  <a:pt x="313" y="380"/>
                </a:cubicBezTo>
                <a:cubicBezTo>
                  <a:pt x="257" y="324"/>
                  <a:pt x="257" y="324"/>
                  <a:pt x="257" y="324"/>
                </a:cubicBezTo>
                <a:cubicBezTo>
                  <a:pt x="228" y="365"/>
                  <a:pt x="228" y="407"/>
                  <a:pt x="257" y="436"/>
                </a:cubicBezTo>
                <a:cubicBezTo>
                  <a:pt x="274" y="452"/>
                  <a:pt x="295" y="458"/>
                  <a:pt x="324" y="453"/>
                </a:cubicBezTo>
                <a:cubicBezTo>
                  <a:pt x="327" y="452"/>
                  <a:pt x="331" y="454"/>
                  <a:pt x="332" y="458"/>
                </a:cubicBezTo>
                <a:cubicBezTo>
                  <a:pt x="332" y="462"/>
                  <a:pt x="330" y="466"/>
                  <a:pt x="326" y="466"/>
                </a:cubicBezTo>
                <a:cubicBezTo>
                  <a:pt x="318" y="468"/>
                  <a:pt x="311" y="469"/>
                  <a:pt x="304" y="469"/>
                </a:cubicBezTo>
                <a:cubicBezTo>
                  <a:pt x="281" y="469"/>
                  <a:pt x="262" y="461"/>
                  <a:pt x="247" y="445"/>
                </a:cubicBezTo>
                <a:cubicBezTo>
                  <a:pt x="212" y="411"/>
                  <a:pt x="213" y="361"/>
                  <a:pt x="247" y="313"/>
                </a:cubicBezTo>
                <a:cubicBezTo>
                  <a:pt x="226" y="293"/>
                  <a:pt x="226" y="293"/>
                  <a:pt x="226" y="293"/>
                </a:cubicBezTo>
                <a:cubicBezTo>
                  <a:pt x="223" y="290"/>
                  <a:pt x="223" y="286"/>
                  <a:pt x="226" y="283"/>
                </a:cubicBezTo>
                <a:cubicBezTo>
                  <a:pt x="229" y="280"/>
                  <a:pt x="233" y="280"/>
                  <a:pt x="236" y="283"/>
                </a:cubicBezTo>
                <a:cubicBezTo>
                  <a:pt x="255" y="302"/>
                  <a:pt x="255" y="302"/>
                  <a:pt x="255" y="302"/>
                </a:cubicBezTo>
                <a:cubicBezTo>
                  <a:pt x="260" y="297"/>
                  <a:pt x="264" y="292"/>
                  <a:pt x="269" y="287"/>
                </a:cubicBezTo>
                <a:cubicBezTo>
                  <a:pt x="274" y="282"/>
                  <a:pt x="279" y="278"/>
                  <a:pt x="284" y="273"/>
                </a:cubicBezTo>
                <a:cubicBezTo>
                  <a:pt x="264" y="254"/>
                  <a:pt x="264" y="254"/>
                  <a:pt x="264" y="254"/>
                </a:cubicBezTo>
                <a:cubicBezTo>
                  <a:pt x="262" y="251"/>
                  <a:pt x="262" y="247"/>
                  <a:pt x="264" y="244"/>
                </a:cubicBezTo>
                <a:cubicBezTo>
                  <a:pt x="267" y="241"/>
                  <a:pt x="272" y="241"/>
                  <a:pt x="274" y="244"/>
                </a:cubicBezTo>
                <a:cubicBezTo>
                  <a:pt x="295" y="265"/>
                  <a:pt x="295" y="265"/>
                  <a:pt x="295" y="265"/>
                </a:cubicBezTo>
                <a:cubicBezTo>
                  <a:pt x="314" y="251"/>
                  <a:pt x="333" y="242"/>
                  <a:pt x="352" y="239"/>
                </a:cubicBezTo>
                <a:cubicBezTo>
                  <a:pt x="381" y="235"/>
                  <a:pt x="408" y="243"/>
                  <a:pt x="428" y="264"/>
                </a:cubicBez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9220" name="Oval 42"/>
          <p:cNvSpPr>
            <a:spLocks noChangeArrowheads="1"/>
          </p:cNvSpPr>
          <p:nvPr/>
        </p:nvSpPr>
        <p:spPr bwMode="auto">
          <a:xfrm>
            <a:off x="3073678" y="1528549"/>
            <a:ext cx="1119124" cy="1119124"/>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8202" name="Freeform 93"/>
          <p:cNvSpPr>
            <a:spLocks noEditPoints="1"/>
          </p:cNvSpPr>
          <p:nvPr/>
        </p:nvSpPr>
        <p:spPr bwMode="auto">
          <a:xfrm>
            <a:off x="3286554" y="1741657"/>
            <a:ext cx="693371" cy="694125"/>
          </a:xfrm>
          <a:custGeom>
            <a:avLst/>
            <a:gdLst>
              <a:gd name="T0" fmla="*/ 651 w 659"/>
              <a:gd name="T1" fmla="*/ 0 h 658"/>
              <a:gd name="T2" fmla="*/ 361 w 659"/>
              <a:gd name="T3" fmla="*/ 2 h 658"/>
              <a:gd name="T4" fmla="*/ 0 w 659"/>
              <a:gd name="T5" fmla="*/ 366 h 658"/>
              <a:gd name="T6" fmla="*/ 288 w 659"/>
              <a:gd name="T7" fmla="*/ 656 h 658"/>
              <a:gd name="T8" fmla="*/ 298 w 659"/>
              <a:gd name="T9" fmla="*/ 656 h 658"/>
              <a:gd name="T10" fmla="*/ 659 w 659"/>
              <a:gd name="T11" fmla="*/ 292 h 658"/>
              <a:gd name="T12" fmla="*/ 293 w 659"/>
              <a:gd name="T13" fmla="*/ 641 h 658"/>
              <a:gd name="T14" fmla="*/ 369 w 659"/>
              <a:gd name="T15" fmla="*/ 14 h 658"/>
              <a:gd name="T16" fmla="*/ 645 w 659"/>
              <a:gd name="T17" fmla="*/ 289 h 658"/>
              <a:gd name="T18" fmla="*/ 514 w 659"/>
              <a:gd name="T19" fmla="*/ 81 h 658"/>
              <a:gd name="T20" fmla="*/ 452 w 659"/>
              <a:gd name="T21" fmla="*/ 144 h 658"/>
              <a:gd name="T22" fmla="*/ 514 w 659"/>
              <a:gd name="T23" fmla="*/ 200 h 658"/>
              <a:gd name="T24" fmla="*/ 559 w 659"/>
              <a:gd name="T25" fmla="*/ 188 h 658"/>
              <a:gd name="T26" fmla="*/ 514 w 659"/>
              <a:gd name="T27" fmla="*/ 81 h 658"/>
              <a:gd name="T28" fmla="*/ 514 w 659"/>
              <a:gd name="T29" fmla="*/ 192 h 658"/>
              <a:gd name="T30" fmla="*/ 514 w 659"/>
              <a:gd name="T31" fmla="*/ 192 h 658"/>
              <a:gd name="T32" fmla="*/ 480 w 659"/>
              <a:gd name="T33" fmla="*/ 110 h 658"/>
              <a:gd name="T34" fmla="*/ 563 w 659"/>
              <a:gd name="T35" fmla="*/ 144 h 658"/>
              <a:gd name="T36" fmla="*/ 403 w 659"/>
              <a:gd name="T37" fmla="*/ 266 h 658"/>
              <a:gd name="T38" fmla="*/ 423 w 659"/>
              <a:gd name="T39" fmla="*/ 236 h 658"/>
              <a:gd name="T40" fmla="*/ 393 w 659"/>
              <a:gd name="T41" fmla="*/ 256 h 658"/>
              <a:gd name="T42" fmla="*/ 308 w 659"/>
              <a:gd name="T43" fmla="*/ 248 h 658"/>
              <a:gd name="T44" fmla="*/ 315 w 659"/>
              <a:gd name="T45" fmla="*/ 334 h 658"/>
              <a:gd name="T46" fmla="*/ 225 w 659"/>
              <a:gd name="T47" fmla="*/ 325 h 658"/>
              <a:gd name="T48" fmla="*/ 211 w 659"/>
              <a:gd name="T49" fmla="*/ 326 h 658"/>
              <a:gd name="T50" fmla="*/ 215 w 659"/>
              <a:gd name="T51" fmla="*/ 435 h 658"/>
              <a:gd name="T52" fmla="*/ 219 w 659"/>
              <a:gd name="T53" fmla="*/ 447 h 658"/>
              <a:gd name="T54" fmla="*/ 253 w 659"/>
              <a:gd name="T55" fmla="*/ 416 h 658"/>
              <a:gd name="T56" fmla="*/ 336 w 659"/>
              <a:gd name="T57" fmla="*/ 425 h 658"/>
              <a:gd name="T58" fmla="*/ 333 w 659"/>
              <a:gd name="T59" fmla="*/ 336 h 658"/>
              <a:gd name="T60" fmla="*/ 418 w 659"/>
              <a:gd name="T61" fmla="*/ 332 h 658"/>
              <a:gd name="T62" fmla="*/ 431 w 659"/>
              <a:gd name="T63" fmla="*/ 329 h 658"/>
              <a:gd name="T64" fmla="*/ 317 w 659"/>
              <a:gd name="T65" fmla="*/ 258 h 658"/>
              <a:gd name="T66" fmla="*/ 383 w 659"/>
              <a:gd name="T67" fmla="*/ 266 h 658"/>
              <a:gd name="T68" fmla="*/ 317 w 659"/>
              <a:gd name="T69" fmla="*/ 258 h 658"/>
              <a:gd name="T70" fmla="*/ 326 w 659"/>
              <a:gd name="T71" fmla="*/ 415 h 658"/>
              <a:gd name="T72" fmla="*/ 323 w 659"/>
              <a:gd name="T73" fmla="*/ 346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59" h="658">
                <a:moveTo>
                  <a:pt x="658" y="7"/>
                </a:moveTo>
                <a:cubicBezTo>
                  <a:pt x="658" y="3"/>
                  <a:pt x="655" y="0"/>
                  <a:pt x="651" y="0"/>
                </a:cubicBezTo>
                <a:cubicBezTo>
                  <a:pt x="366" y="0"/>
                  <a:pt x="366" y="0"/>
                  <a:pt x="366" y="0"/>
                </a:cubicBezTo>
                <a:cubicBezTo>
                  <a:pt x="364" y="0"/>
                  <a:pt x="362" y="0"/>
                  <a:pt x="361" y="2"/>
                </a:cubicBezTo>
                <a:cubicBezTo>
                  <a:pt x="2" y="361"/>
                  <a:pt x="2" y="361"/>
                  <a:pt x="2" y="361"/>
                </a:cubicBezTo>
                <a:cubicBezTo>
                  <a:pt x="1" y="362"/>
                  <a:pt x="0" y="364"/>
                  <a:pt x="0" y="366"/>
                </a:cubicBezTo>
                <a:cubicBezTo>
                  <a:pt x="0" y="367"/>
                  <a:pt x="1" y="369"/>
                  <a:pt x="2" y="370"/>
                </a:cubicBezTo>
                <a:cubicBezTo>
                  <a:pt x="288" y="656"/>
                  <a:pt x="288" y="656"/>
                  <a:pt x="288" y="656"/>
                </a:cubicBezTo>
                <a:cubicBezTo>
                  <a:pt x="289" y="657"/>
                  <a:pt x="291" y="658"/>
                  <a:pt x="293" y="658"/>
                </a:cubicBezTo>
                <a:cubicBezTo>
                  <a:pt x="294" y="658"/>
                  <a:pt x="296" y="657"/>
                  <a:pt x="298" y="656"/>
                </a:cubicBezTo>
                <a:cubicBezTo>
                  <a:pt x="656" y="297"/>
                  <a:pt x="656" y="297"/>
                  <a:pt x="656" y="297"/>
                </a:cubicBezTo>
                <a:cubicBezTo>
                  <a:pt x="658" y="296"/>
                  <a:pt x="659" y="294"/>
                  <a:pt x="659" y="292"/>
                </a:cubicBezTo>
                <a:lnTo>
                  <a:pt x="658" y="7"/>
                </a:lnTo>
                <a:close/>
                <a:moveTo>
                  <a:pt x="293" y="641"/>
                </a:moveTo>
                <a:cubicBezTo>
                  <a:pt x="17" y="366"/>
                  <a:pt x="17" y="366"/>
                  <a:pt x="17" y="366"/>
                </a:cubicBezTo>
                <a:cubicBezTo>
                  <a:pt x="369" y="14"/>
                  <a:pt x="369" y="14"/>
                  <a:pt x="369" y="14"/>
                </a:cubicBezTo>
                <a:cubicBezTo>
                  <a:pt x="644" y="14"/>
                  <a:pt x="644" y="14"/>
                  <a:pt x="644" y="14"/>
                </a:cubicBezTo>
                <a:cubicBezTo>
                  <a:pt x="645" y="289"/>
                  <a:pt x="645" y="289"/>
                  <a:pt x="645" y="289"/>
                </a:cubicBezTo>
                <a:lnTo>
                  <a:pt x="293" y="641"/>
                </a:lnTo>
                <a:close/>
                <a:moveTo>
                  <a:pt x="514" y="81"/>
                </a:moveTo>
                <a:cubicBezTo>
                  <a:pt x="498" y="81"/>
                  <a:pt x="482" y="88"/>
                  <a:pt x="470" y="100"/>
                </a:cubicBezTo>
                <a:cubicBezTo>
                  <a:pt x="458" y="111"/>
                  <a:pt x="452" y="127"/>
                  <a:pt x="452" y="144"/>
                </a:cubicBezTo>
                <a:cubicBezTo>
                  <a:pt x="452" y="178"/>
                  <a:pt x="480" y="206"/>
                  <a:pt x="514" y="206"/>
                </a:cubicBezTo>
                <a:cubicBezTo>
                  <a:pt x="514" y="200"/>
                  <a:pt x="514" y="200"/>
                  <a:pt x="514" y="200"/>
                </a:cubicBezTo>
                <a:cubicBezTo>
                  <a:pt x="514" y="206"/>
                  <a:pt x="514" y="206"/>
                  <a:pt x="514" y="206"/>
                </a:cubicBezTo>
                <a:cubicBezTo>
                  <a:pt x="531" y="206"/>
                  <a:pt x="547" y="200"/>
                  <a:pt x="559" y="188"/>
                </a:cubicBezTo>
                <a:cubicBezTo>
                  <a:pt x="570" y="176"/>
                  <a:pt x="577" y="160"/>
                  <a:pt x="577" y="144"/>
                </a:cubicBezTo>
                <a:cubicBezTo>
                  <a:pt x="577" y="109"/>
                  <a:pt x="549" y="81"/>
                  <a:pt x="514" y="81"/>
                </a:cubicBezTo>
                <a:close/>
                <a:moveTo>
                  <a:pt x="549" y="178"/>
                </a:moveTo>
                <a:cubicBezTo>
                  <a:pt x="540" y="187"/>
                  <a:pt x="527" y="192"/>
                  <a:pt x="514" y="192"/>
                </a:cubicBezTo>
                <a:cubicBezTo>
                  <a:pt x="514" y="199"/>
                  <a:pt x="514" y="199"/>
                  <a:pt x="514" y="199"/>
                </a:cubicBezTo>
                <a:cubicBezTo>
                  <a:pt x="514" y="192"/>
                  <a:pt x="514" y="192"/>
                  <a:pt x="514" y="192"/>
                </a:cubicBezTo>
                <a:cubicBezTo>
                  <a:pt x="488" y="192"/>
                  <a:pt x="466" y="171"/>
                  <a:pt x="466" y="144"/>
                </a:cubicBezTo>
                <a:cubicBezTo>
                  <a:pt x="466" y="131"/>
                  <a:pt x="471" y="119"/>
                  <a:pt x="480" y="110"/>
                </a:cubicBezTo>
                <a:cubicBezTo>
                  <a:pt x="489" y="100"/>
                  <a:pt x="501" y="95"/>
                  <a:pt x="514" y="95"/>
                </a:cubicBezTo>
                <a:cubicBezTo>
                  <a:pt x="541" y="95"/>
                  <a:pt x="563" y="117"/>
                  <a:pt x="563" y="144"/>
                </a:cubicBezTo>
                <a:cubicBezTo>
                  <a:pt x="563" y="157"/>
                  <a:pt x="558" y="169"/>
                  <a:pt x="549" y="178"/>
                </a:cubicBezTo>
                <a:close/>
                <a:moveTo>
                  <a:pt x="403" y="266"/>
                </a:moveTo>
                <a:cubicBezTo>
                  <a:pt x="423" y="246"/>
                  <a:pt x="423" y="246"/>
                  <a:pt x="423" y="246"/>
                </a:cubicBezTo>
                <a:cubicBezTo>
                  <a:pt x="426" y="243"/>
                  <a:pt x="426" y="238"/>
                  <a:pt x="423" y="236"/>
                </a:cubicBezTo>
                <a:cubicBezTo>
                  <a:pt x="421" y="233"/>
                  <a:pt x="416" y="233"/>
                  <a:pt x="414" y="236"/>
                </a:cubicBezTo>
                <a:cubicBezTo>
                  <a:pt x="393" y="256"/>
                  <a:pt x="393" y="256"/>
                  <a:pt x="393" y="256"/>
                </a:cubicBezTo>
                <a:cubicBezTo>
                  <a:pt x="386" y="250"/>
                  <a:pt x="373" y="241"/>
                  <a:pt x="358" y="236"/>
                </a:cubicBezTo>
                <a:cubicBezTo>
                  <a:pt x="339" y="230"/>
                  <a:pt x="321" y="234"/>
                  <a:pt x="308" y="248"/>
                </a:cubicBezTo>
                <a:cubicBezTo>
                  <a:pt x="280" y="276"/>
                  <a:pt x="303" y="313"/>
                  <a:pt x="315" y="333"/>
                </a:cubicBezTo>
                <a:cubicBezTo>
                  <a:pt x="315" y="334"/>
                  <a:pt x="315" y="334"/>
                  <a:pt x="315" y="334"/>
                </a:cubicBezTo>
                <a:cubicBezTo>
                  <a:pt x="253" y="396"/>
                  <a:pt x="253" y="396"/>
                  <a:pt x="253" y="396"/>
                </a:cubicBezTo>
                <a:cubicBezTo>
                  <a:pt x="240" y="378"/>
                  <a:pt x="228" y="348"/>
                  <a:pt x="225" y="325"/>
                </a:cubicBezTo>
                <a:cubicBezTo>
                  <a:pt x="225" y="321"/>
                  <a:pt x="222" y="318"/>
                  <a:pt x="218" y="319"/>
                </a:cubicBezTo>
                <a:cubicBezTo>
                  <a:pt x="214" y="319"/>
                  <a:pt x="211" y="323"/>
                  <a:pt x="211" y="326"/>
                </a:cubicBezTo>
                <a:cubicBezTo>
                  <a:pt x="214" y="353"/>
                  <a:pt x="228" y="386"/>
                  <a:pt x="243" y="406"/>
                </a:cubicBezTo>
                <a:cubicBezTo>
                  <a:pt x="215" y="435"/>
                  <a:pt x="215" y="435"/>
                  <a:pt x="215" y="435"/>
                </a:cubicBezTo>
                <a:cubicBezTo>
                  <a:pt x="212" y="438"/>
                  <a:pt x="212" y="442"/>
                  <a:pt x="215" y="445"/>
                </a:cubicBezTo>
                <a:cubicBezTo>
                  <a:pt x="216" y="446"/>
                  <a:pt x="218" y="447"/>
                  <a:pt x="219" y="447"/>
                </a:cubicBezTo>
                <a:cubicBezTo>
                  <a:pt x="221" y="447"/>
                  <a:pt x="223" y="446"/>
                  <a:pt x="224" y="445"/>
                </a:cubicBezTo>
                <a:cubicBezTo>
                  <a:pt x="253" y="416"/>
                  <a:pt x="253" y="416"/>
                  <a:pt x="253" y="416"/>
                </a:cubicBezTo>
                <a:cubicBezTo>
                  <a:pt x="268" y="429"/>
                  <a:pt x="285" y="439"/>
                  <a:pt x="303" y="439"/>
                </a:cubicBezTo>
                <a:cubicBezTo>
                  <a:pt x="314" y="439"/>
                  <a:pt x="326" y="435"/>
                  <a:pt x="336" y="425"/>
                </a:cubicBezTo>
                <a:cubicBezTo>
                  <a:pt x="368" y="392"/>
                  <a:pt x="347" y="358"/>
                  <a:pt x="335" y="340"/>
                </a:cubicBezTo>
                <a:cubicBezTo>
                  <a:pt x="335" y="338"/>
                  <a:pt x="334" y="337"/>
                  <a:pt x="333" y="336"/>
                </a:cubicBezTo>
                <a:cubicBezTo>
                  <a:pt x="393" y="276"/>
                  <a:pt x="393" y="276"/>
                  <a:pt x="393" y="276"/>
                </a:cubicBezTo>
                <a:cubicBezTo>
                  <a:pt x="404" y="290"/>
                  <a:pt x="413" y="310"/>
                  <a:pt x="418" y="332"/>
                </a:cubicBezTo>
                <a:cubicBezTo>
                  <a:pt x="418" y="336"/>
                  <a:pt x="422" y="338"/>
                  <a:pt x="426" y="338"/>
                </a:cubicBezTo>
                <a:cubicBezTo>
                  <a:pt x="430" y="337"/>
                  <a:pt x="432" y="333"/>
                  <a:pt x="431" y="329"/>
                </a:cubicBezTo>
                <a:cubicBezTo>
                  <a:pt x="426" y="305"/>
                  <a:pt x="416" y="282"/>
                  <a:pt x="403" y="266"/>
                </a:cubicBezTo>
                <a:close/>
                <a:moveTo>
                  <a:pt x="317" y="258"/>
                </a:moveTo>
                <a:cubicBezTo>
                  <a:pt x="328" y="248"/>
                  <a:pt x="340" y="245"/>
                  <a:pt x="354" y="249"/>
                </a:cubicBezTo>
                <a:cubicBezTo>
                  <a:pt x="366" y="253"/>
                  <a:pt x="377" y="261"/>
                  <a:pt x="383" y="266"/>
                </a:cubicBezTo>
                <a:cubicBezTo>
                  <a:pt x="326" y="324"/>
                  <a:pt x="326" y="324"/>
                  <a:pt x="326" y="324"/>
                </a:cubicBezTo>
                <a:cubicBezTo>
                  <a:pt x="311" y="300"/>
                  <a:pt x="299" y="276"/>
                  <a:pt x="317" y="258"/>
                </a:cubicBezTo>
                <a:close/>
                <a:moveTo>
                  <a:pt x="323" y="347"/>
                </a:moveTo>
                <a:cubicBezTo>
                  <a:pt x="338" y="370"/>
                  <a:pt x="349" y="392"/>
                  <a:pt x="326" y="415"/>
                </a:cubicBezTo>
                <a:cubicBezTo>
                  <a:pt x="320" y="421"/>
                  <a:pt x="298" y="438"/>
                  <a:pt x="263" y="406"/>
                </a:cubicBezTo>
                <a:cubicBezTo>
                  <a:pt x="323" y="346"/>
                  <a:pt x="323" y="346"/>
                  <a:pt x="323" y="346"/>
                </a:cubicBezTo>
                <a:cubicBezTo>
                  <a:pt x="323" y="346"/>
                  <a:pt x="323" y="347"/>
                  <a:pt x="323" y="347"/>
                </a:cubicBez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9219" name="Oval 41"/>
          <p:cNvSpPr>
            <a:spLocks noChangeArrowheads="1"/>
          </p:cNvSpPr>
          <p:nvPr/>
        </p:nvSpPr>
        <p:spPr bwMode="auto">
          <a:xfrm>
            <a:off x="4831649" y="1528549"/>
            <a:ext cx="1119124" cy="1119124"/>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8203" name="Freeform 94"/>
          <p:cNvSpPr>
            <a:spLocks noEditPoints="1"/>
          </p:cNvSpPr>
          <p:nvPr/>
        </p:nvSpPr>
        <p:spPr bwMode="auto">
          <a:xfrm>
            <a:off x="5044526" y="1741657"/>
            <a:ext cx="693371" cy="694125"/>
          </a:xfrm>
          <a:custGeom>
            <a:avLst/>
            <a:gdLst>
              <a:gd name="T0" fmla="*/ 428 w 659"/>
              <a:gd name="T1" fmla="*/ 343 h 658"/>
              <a:gd name="T2" fmla="*/ 421 w 659"/>
              <a:gd name="T3" fmla="*/ 357 h 658"/>
              <a:gd name="T4" fmla="*/ 414 w 659"/>
              <a:gd name="T5" fmla="*/ 343 h 658"/>
              <a:gd name="T6" fmla="*/ 329 w 659"/>
              <a:gd name="T7" fmla="*/ 293 h 658"/>
              <a:gd name="T8" fmla="*/ 358 w 659"/>
              <a:gd name="T9" fmla="*/ 380 h 658"/>
              <a:gd name="T10" fmla="*/ 353 w 659"/>
              <a:gd name="T11" fmla="*/ 392 h 658"/>
              <a:gd name="T12" fmla="*/ 290 w 659"/>
              <a:gd name="T13" fmla="*/ 332 h 658"/>
              <a:gd name="T14" fmla="*/ 312 w 659"/>
              <a:gd name="T15" fmla="*/ 467 h 658"/>
              <a:gd name="T16" fmla="*/ 307 w 659"/>
              <a:gd name="T17" fmla="*/ 479 h 658"/>
              <a:gd name="T18" fmla="*/ 193 w 659"/>
              <a:gd name="T19" fmla="*/ 369 h 658"/>
              <a:gd name="T20" fmla="*/ 203 w 659"/>
              <a:gd name="T21" fmla="*/ 359 h 658"/>
              <a:gd name="T22" fmla="*/ 280 w 659"/>
              <a:gd name="T23" fmla="*/ 322 h 658"/>
              <a:gd name="T24" fmla="*/ 260 w 659"/>
              <a:gd name="T25" fmla="*/ 292 h 658"/>
              <a:gd name="T26" fmla="*/ 290 w 659"/>
              <a:gd name="T27" fmla="*/ 312 h 658"/>
              <a:gd name="T28" fmla="*/ 407 w 659"/>
              <a:gd name="T29" fmla="*/ 281 h 658"/>
              <a:gd name="T30" fmla="*/ 657 w 659"/>
              <a:gd name="T31" fmla="*/ 297 h 658"/>
              <a:gd name="T32" fmla="*/ 293 w 659"/>
              <a:gd name="T33" fmla="*/ 658 h 658"/>
              <a:gd name="T34" fmla="*/ 2 w 659"/>
              <a:gd name="T35" fmla="*/ 370 h 658"/>
              <a:gd name="T36" fmla="*/ 2 w 659"/>
              <a:gd name="T37" fmla="*/ 361 h 658"/>
              <a:gd name="T38" fmla="*/ 366 w 659"/>
              <a:gd name="T39" fmla="*/ 0 h 658"/>
              <a:gd name="T40" fmla="*/ 659 w 659"/>
              <a:gd name="T41" fmla="*/ 7 h 658"/>
              <a:gd name="T42" fmla="*/ 645 w 659"/>
              <a:gd name="T43" fmla="*/ 289 h 658"/>
              <a:gd name="T44" fmla="*/ 369 w 659"/>
              <a:gd name="T45" fmla="*/ 14 h 658"/>
              <a:gd name="T46" fmla="*/ 293 w 659"/>
              <a:gd name="T47" fmla="*/ 641 h 658"/>
              <a:gd name="T48" fmla="*/ 577 w 659"/>
              <a:gd name="T49" fmla="*/ 144 h 658"/>
              <a:gd name="T50" fmla="*/ 528 w 659"/>
              <a:gd name="T51" fmla="*/ 205 h 658"/>
              <a:gd name="T52" fmla="*/ 523 w 659"/>
              <a:gd name="T53" fmla="*/ 206 h 658"/>
              <a:gd name="T54" fmla="*/ 519 w 659"/>
              <a:gd name="T55" fmla="*/ 206 h 658"/>
              <a:gd name="T56" fmla="*/ 511 w 659"/>
              <a:gd name="T57" fmla="*/ 206 h 658"/>
              <a:gd name="T58" fmla="*/ 506 w 659"/>
              <a:gd name="T59" fmla="*/ 206 h 658"/>
              <a:gd name="T60" fmla="*/ 501 w 659"/>
              <a:gd name="T61" fmla="*/ 205 h 658"/>
              <a:gd name="T62" fmla="*/ 453 w 659"/>
              <a:gd name="T63" fmla="*/ 151 h 658"/>
              <a:gd name="T64" fmla="*/ 452 w 659"/>
              <a:gd name="T65" fmla="*/ 144 h 658"/>
              <a:gd name="T66" fmla="*/ 452 w 659"/>
              <a:gd name="T67" fmla="*/ 144 h 658"/>
              <a:gd name="T68" fmla="*/ 470 w 659"/>
              <a:gd name="T69" fmla="*/ 100 h 658"/>
              <a:gd name="T70" fmla="*/ 577 w 659"/>
              <a:gd name="T71" fmla="*/ 144 h 658"/>
              <a:gd name="T72" fmla="*/ 563 w 659"/>
              <a:gd name="T73" fmla="*/ 144 h 658"/>
              <a:gd name="T74" fmla="*/ 480 w 659"/>
              <a:gd name="T75" fmla="*/ 110 h 658"/>
              <a:gd name="T76" fmla="*/ 466 w 659"/>
              <a:gd name="T77" fmla="*/ 149 h 658"/>
              <a:gd name="T78" fmla="*/ 500 w 659"/>
              <a:gd name="T79" fmla="*/ 190 h 658"/>
              <a:gd name="T80" fmla="*/ 504 w 659"/>
              <a:gd name="T81" fmla="*/ 191 h 658"/>
              <a:gd name="T82" fmla="*/ 508 w 659"/>
              <a:gd name="T83" fmla="*/ 192 h 658"/>
              <a:gd name="T84" fmla="*/ 511 w 659"/>
              <a:gd name="T85" fmla="*/ 192 h 658"/>
              <a:gd name="T86" fmla="*/ 519 w 659"/>
              <a:gd name="T87" fmla="*/ 192 h 658"/>
              <a:gd name="T88" fmla="*/ 522 w 659"/>
              <a:gd name="T89" fmla="*/ 192 h 658"/>
              <a:gd name="T90" fmla="*/ 525 w 659"/>
              <a:gd name="T91" fmla="*/ 191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659" h="658">
                <a:moveTo>
                  <a:pt x="407" y="281"/>
                </a:moveTo>
                <a:cubicBezTo>
                  <a:pt x="430" y="304"/>
                  <a:pt x="429" y="321"/>
                  <a:pt x="428" y="343"/>
                </a:cubicBezTo>
                <a:cubicBezTo>
                  <a:pt x="428" y="346"/>
                  <a:pt x="428" y="348"/>
                  <a:pt x="428" y="350"/>
                </a:cubicBezTo>
                <a:cubicBezTo>
                  <a:pt x="428" y="354"/>
                  <a:pt x="424" y="357"/>
                  <a:pt x="421" y="357"/>
                </a:cubicBezTo>
                <a:cubicBezTo>
                  <a:pt x="417" y="357"/>
                  <a:pt x="414" y="354"/>
                  <a:pt x="414" y="350"/>
                </a:cubicBezTo>
                <a:cubicBezTo>
                  <a:pt x="414" y="347"/>
                  <a:pt x="414" y="345"/>
                  <a:pt x="414" y="343"/>
                </a:cubicBezTo>
                <a:cubicBezTo>
                  <a:pt x="415" y="321"/>
                  <a:pt x="416" y="309"/>
                  <a:pt x="397" y="290"/>
                </a:cubicBezTo>
                <a:cubicBezTo>
                  <a:pt x="377" y="270"/>
                  <a:pt x="351" y="271"/>
                  <a:pt x="329" y="293"/>
                </a:cubicBezTo>
                <a:cubicBezTo>
                  <a:pt x="300" y="322"/>
                  <a:pt x="300" y="322"/>
                  <a:pt x="300" y="322"/>
                </a:cubicBezTo>
                <a:cubicBezTo>
                  <a:pt x="358" y="380"/>
                  <a:pt x="358" y="380"/>
                  <a:pt x="358" y="380"/>
                </a:cubicBezTo>
                <a:cubicBezTo>
                  <a:pt x="361" y="383"/>
                  <a:pt x="361" y="387"/>
                  <a:pt x="358" y="390"/>
                </a:cubicBezTo>
                <a:cubicBezTo>
                  <a:pt x="357" y="391"/>
                  <a:pt x="355" y="392"/>
                  <a:pt x="353" y="392"/>
                </a:cubicBezTo>
                <a:cubicBezTo>
                  <a:pt x="351" y="392"/>
                  <a:pt x="350" y="391"/>
                  <a:pt x="348" y="390"/>
                </a:cubicBezTo>
                <a:cubicBezTo>
                  <a:pt x="290" y="332"/>
                  <a:pt x="290" y="332"/>
                  <a:pt x="290" y="332"/>
                </a:cubicBezTo>
                <a:cubicBezTo>
                  <a:pt x="233" y="389"/>
                  <a:pt x="233" y="389"/>
                  <a:pt x="233" y="389"/>
                </a:cubicBezTo>
                <a:cubicBezTo>
                  <a:pt x="312" y="467"/>
                  <a:pt x="312" y="467"/>
                  <a:pt x="312" y="467"/>
                </a:cubicBezTo>
                <a:cubicBezTo>
                  <a:pt x="315" y="470"/>
                  <a:pt x="315" y="475"/>
                  <a:pt x="312" y="477"/>
                </a:cubicBezTo>
                <a:cubicBezTo>
                  <a:pt x="311" y="479"/>
                  <a:pt x="309" y="479"/>
                  <a:pt x="307" y="479"/>
                </a:cubicBezTo>
                <a:cubicBezTo>
                  <a:pt x="305" y="479"/>
                  <a:pt x="304" y="479"/>
                  <a:pt x="302" y="477"/>
                </a:cubicBezTo>
                <a:cubicBezTo>
                  <a:pt x="193" y="369"/>
                  <a:pt x="193" y="369"/>
                  <a:pt x="193" y="369"/>
                </a:cubicBezTo>
                <a:cubicBezTo>
                  <a:pt x="191" y="366"/>
                  <a:pt x="191" y="361"/>
                  <a:pt x="193" y="359"/>
                </a:cubicBezTo>
                <a:cubicBezTo>
                  <a:pt x="196" y="356"/>
                  <a:pt x="201" y="356"/>
                  <a:pt x="203" y="359"/>
                </a:cubicBezTo>
                <a:cubicBezTo>
                  <a:pt x="223" y="379"/>
                  <a:pt x="223" y="379"/>
                  <a:pt x="223" y="379"/>
                </a:cubicBezTo>
                <a:cubicBezTo>
                  <a:pt x="280" y="322"/>
                  <a:pt x="280" y="322"/>
                  <a:pt x="280" y="322"/>
                </a:cubicBezTo>
                <a:cubicBezTo>
                  <a:pt x="260" y="302"/>
                  <a:pt x="260" y="302"/>
                  <a:pt x="260" y="302"/>
                </a:cubicBezTo>
                <a:cubicBezTo>
                  <a:pt x="258" y="299"/>
                  <a:pt x="258" y="295"/>
                  <a:pt x="260" y="292"/>
                </a:cubicBezTo>
                <a:cubicBezTo>
                  <a:pt x="263" y="289"/>
                  <a:pt x="267" y="289"/>
                  <a:pt x="270" y="292"/>
                </a:cubicBezTo>
                <a:cubicBezTo>
                  <a:pt x="290" y="312"/>
                  <a:pt x="290" y="312"/>
                  <a:pt x="290" y="312"/>
                </a:cubicBezTo>
                <a:cubicBezTo>
                  <a:pt x="319" y="283"/>
                  <a:pt x="319" y="283"/>
                  <a:pt x="319" y="283"/>
                </a:cubicBezTo>
                <a:cubicBezTo>
                  <a:pt x="346" y="256"/>
                  <a:pt x="381" y="255"/>
                  <a:pt x="407" y="281"/>
                </a:cubicBezTo>
                <a:close/>
                <a:moveTo>
                  <a:pt x="659" y="292"/>
                </a:moveTo>
                <a:cubicBezTo>
                  <a:pt x="659" y="294"/>
                  <a:pt x="658" y="296"/>
                  <a:pt x="657" y="297"/>
                </a:cubicBezTo>
                <a:cubicBezTo>
                  <a:pt x="298" y="656"/>
                  <a:pt x="298" y="656"/>
                  <a:pt x="298" y="656"/>
                </a:cubicBezTo>
                <a:cubicBezTo>
                  <a:pt x="297" y="657"/>
                  <a:pt x="295" y="658"/>
                  <a:pt x="293" y="658"/>
                </a:cubicBezTo>
                <a:cubicBezTo>
                  <a:pt x="291" y="658"/>
                  <a:pt x="289" y="657"/>
                  <a:pt x="288" y="656"/>
                </a:cubicBezTo>
                <a:cubicBezTo>
                  <a:pt x="2" y="370"/>
                  <a:pt x="2" y="370"/>
                  <a:pt x="2" y="370"/>
                </a:cubicBezTo>
                <a:cubicBezTo>
                  <a:pt x="1" y="369"/>
                  <a:pt x="0" y="367"/>
                  <a:pt x="0" y="366"/>
                </a:cubicBezTo>
                <a:cubicBezTo>
                  <a:pt x="0" y="364"/>
                  <a:pt x="1" y="362"/>
                  <a:pt x="2" y="361"/>
                </a:cubicBezTo>
                <a:cubicBezTo>
                  <a:pt x="361" y="2"/>
                  <a:pt x="361" y="2"/>
                  <a:pt x="361" y="2"/>
                </a:cubicBezTo>
                <a:cubicBezTo>
                  <a:pt x="362" y="0"/>
                  <a:pt x="364" y="0"/>
                  <a:pt x="366" y="0"/>
                </a:cubicBezTo>
                <a:cubicBezTo>
                  <a:pt x="652" y="0"/>
                  <a:pt x="652" y="0"/>
                  <a:pt x="652" y="0"/>
                </a:cubicBezTo>
                <a:cubicBezTo>
                  <a:pt x="656" y="0"/>
                  <a:pt x="659" y="3"/>
                  <a:pt x="659" y="7"/>
                </a:cubicBezTo>
                <a:lnTo>
                  <a:pt x="659" y="292"/>
                </a:lnTo>
                <a:close/>
                <a:moveTo>
                  <a:pt x="645" y="289"/>
                </a:moveTo>
                <a:cubicBezTo>
                  <a:pt x="645" y="14"/>
                  <a:pt x="645" y="14"/>
                  <a:pt x="645" y="14"/>
                </a:cubicBezTo>
                <a:cubicBezTo>
                  <a:pt x="369" y="14"/>
                  <a:pt x="369" y="14"/>
                  <a:pt x="369" y="14"/>
                </a:cubicBezTo>
                <a:cubicBezTo>
                  <a:pt x="17" y="366"/>
                  <a:pt x="17" y="366"/>
                  <a:pt x="17" y="366"/>
                </a:cubicBezTo>
                <a:cubicBezTo>
                  <a:pt x="293" y="641"/>
                  <a:pt x="293" y="641"/>
                  <a:pt x="293" y="641"/>
                </a:cubicBezTo>
                <a:lnTo>
                  <a:pt x="645" y="289"/>
                </a:lnTo>
                <a:close/>
                <a:moveTo>
                  <a:pt x="577" y="144"/>
                </a:moveTo>
                <a:cubicBezTo>
                  <a:pt x="577" y="160"/>
                  <a:pt x="571" y="176"/>
                  <a:pt x="559" y="188"/>
                </a:cubicBezTo>
                <a:cubicBezTo>
                  <a:pt x="550" y="197"/>
                  <a:pt x="540" y="202"/>
                  <a:pt x="528" y="205"/>
                </a:cubicBezTo>
                <a:cubicBezTo>
                  <a:pt x="528" y="205"/>
                  <a:pt x="528" y="205"/>
                  <a:pt x="527" y="205"/>
                </a:cubicBezTo>
                <a:cubicBezTo>
                  <a:pt x="526" y="205"/>
                  <a:pt x="525" y="205"/>
                  <a:pt x="523" y="206"/>
                </a:cubicBezTo>
                <a:cubicBezTo>
                  <a:pt x="522" y="206"/>
                  <a:pt x="522" y="206"/>
                  <a:pt x="521" y="206"/>
                </a:cubicBezTo>
                <a:cubicBezTo>
                  <a:pt x="520" y="206"/>
                  <a:pt x="519" y="206"/>
                  <a:pt x="519" y="206"/>
                </a:cubicBezTo>
                <a:cubicBezTo>
                  <a:pt x="517" y="206"/>
                  <a:pt x="516" y="206"/>
                  <a:pt x="515" y="206"/>
                </a:cubicBezTo>
                <a:cubicBezTo>
                  <a:pt x="513" y="206"/>
                  <a:pt x="512" y="206"/>
                  <a:pt x="511" y="206"/>
                </a:cubicBezTo>
                <a:cubicBezTo>
                  <a:pt x="510" y="206"/>
                  <a:pt x="509" y="206"/>
                  <a:pt x="508" y="206"/>
                </a:cubicBezTo>
                <a:cubicBezTo>
                  <a:pt x="508" y="206"/>
                  <a:pt x="507" y="206"/>
                  <a:pt x="506" y="206"/>
                </a:cubicBezTo>
                <a:cubicBezTo>
                  <a:pt x="505" y="205"/>
                  <a:pt x="503" y="205"/>
                  <a:pt x="502" y="205"/>
                </a:cubicBezTo>
                <a:cubicBezTo>
                  <a:pt x="502" y="205"/>
                  <a:pt x="501" y="205"/>
                  <a:pt x="501" y="205"/>
                </a:cubicBezTo>
                <a:cubicBezTo>
                  <a:pt x="490" y="202"/>
                  <a:pt x="479" y="196"/>
                  <a:pt x="470" y="188"/>
                </a:cubicBezTo>
                <a:cubicBezTo>
                  <a:pt x="460" y="178"/>
                  <a:pt x="454" y="165"/>
                  <a:pt x="453" y="151"/>
                </a:cubicBezTo>
                <a:cubicBezTo>
                  <a:pt x="453" y="150"/>
                  <a:pt x="453" y="150"/>
                  <a:pt x="453" y="150"/>
                </a:cubicBezTo>
                <a:cubicBezTo>
                  <a:pt x="452" y="148"/>
                  <a:pt x="452" y="146"/>
                  <a:pt x="452" y="144"/>
                </a:cubicBezTo>
                <a:cubicBezTo>
                  <a:pt x="452" y="144"/>
                  <a:pt x="452" y="144"/>
                  <a:pt x="452" y="144"/>
                </a:cubicBezTo>
                <a:cubicBezTo>
                  <a:pt x="452" y="144"/>
                  <a:pt x="452" y="144"/>
                  <a:pt x="452" y="144"/>
                </a:cubicBezTo>
                <a:cubicBezTo>
                  <a:pt x="452" y="133"/>
                  <a:pt x="455" y="122"/>
                  <a:pt x="461" y="113"/>
                </a:cubicBezTo>
                <a:cubicBezTo>
                  <a:pt x="463" y="108"/>
                  <a:pt x="467" y="104"/>
                  <a:pt x="470" y="100"/>
                </a:cubicBezTo>
                <a:cubicBezTo>
                  <a:pt x="482" y="88"/>
                  <a:pt x="498" y="81"/>
                  <a:pt x="515" y="81"/>
                </a:cubicBezTo>
                <a:cubicBezTo>
                  <a:pt x="549" y="81"/>
                  <a:pt x="577" y="109"/>
                  <a:pt x="577" y="144"/>
                </a:cubicBezTo>
                <a:close/>
                <a:moveTo>
                  <a:pt x="525" y="191"/>
                </a:moveTo>
                <a:cubicBezTo>
                  <a:pt x="547" y="186"/>
                  <a:pt x="563" y="167"/>
                  <a:pt x="563" y="144"/>
                </a:cubicBezTo>
                <a:cubicBezTo>
                  <a:pt x="563" y="117"/>
                  <a:pt x="541" y="95"/>
                  <a:pt x="515" y="95"/>
                </a:cubicBezTo>
                <a:cubicBezTo>
                  <a:pt x="502" y="95"/>
                  <a:pt x="490" y="100"/>
                  <a:pt x="480" y="110"/>
                </a:cubicBezTo>
                <a:cubicBezTo>
                  <a:pt x="471" y="119"/>
                  <a:pt x="466" y="131"/>
                  <a:pt x="466" y="144"/>
                </a:cubicBezTo>
                <a:cubicBezTo>
                  <a:pt x="466" y="145"/>
                  <a:pt x="466" y="147"/>
                  <a:pt x="466" y="149"/>
                </a:cubicBezTo>
                <a:cubicBezTo>
                  <a:pt x="466" y="149"/>
                  <a:pt x="466" y="149"/>
                  <a:pt x="467" y="149"/>
                </a:cubicBezTo>
                <a:cubicBezTo>
                  <a:pt x="469" y="168"/>
                  <a:pt x="482" y="184"/>
                  <a:pt x="500" y="190"/>
                </a:cubicBezTo>
                <a:cubicBezTo>
                  <a:pt x="500" y="190"/>
                  <a:pt x="500" y="190"/>
                  <a:pt x="500" y="190"/>
                </a:cubicBezTo>
                <a:cubicBezTo>
                  <a:pt x="501" y="190"/>
                  <a:pt x="503" y="191"/>
                  <a:pt x="504" y="191"/>
                </a:cubicBezTo>
                <a:cubicBezTo>
                  <a:pt x="504" y="191"/>
                  <a:pt x="505" y="191"/>
                  <a:pt x="505" y="191"/>
                </a:cubicBezTo>
                <a:cubicBezTo>
                  <a:pt x="506" y="191"/>
                  <a:pt x="507" y="192"/>
                  <a:pt x="508" y="192"/>
                </a:cubicBezTo>
                <a:cubicBezTo>
                  <a:pt x="508" y="192"/>
                  <a:pt x="509" y="192"/>
                  <a:pt x="510" y="192"/>
                </a:cubicBezTo>
                <a:cubicBezTo>
                  <a:pt x="510" y="192"/>
                  <a:pt x="510" y="192"/>
                  <a:pt x="511" y="192"/>
                </a:cubicBezTo>
                <a:cubicBezTo>
                  <a:pt x="512" y="192"/>
                  <a:pt x="513" y="192"/>
                  <a:pt x="515" y="192"/>
                </a:cubicBezTo>
                <a:cubicBezTo>
                  <a:pt x="516" y="192"/>
                  <a:pt x="517" y="192"/>
                  <a:pt x="519" y="192"/>
                </a:cubicBezTo>
                <a:cubicBezTo>
                  <a:pt x="519" y="192"/>
                  <a:pt x="519" y="192"/>
                  <a:pt x="520" y="192"/>
                </a:cubicBezTo>
                <a:cubicBezTo>
                  <a:pt x="520" y="192"/>
                  <a:pt x="521" y="192"/>
                  <a:pt x="522" y="192"/>
                </a:cubicBezTo>
                <a:cubicBezTo>
                  <a:pt x="523" y="192"/>
                  <a:pt x="523" y="191"/>
                  <a:pt x="524" y="191"/>
                </a:cubicBezTo>
                <a:cubicBezTo>
                  <a:pt x="525" y="191"/>
                  <a:pt x="525" y="191"/>
                  <a:pt x="525" y="191"/>
                </a:cubicBez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9217" name="Oval 40"/>
          <p:cNvSpPr>
            <a:spLocks noChangeArrowheads="1"/>
          </p:cNvSpPr>
          <p:nvPr/>
        </p:nvSpPr>
        <p:spPr bwMode="auto">
          <a:xfrm>
            <a:off x="6589621" y="1528549"/>
            <a:ext cx="1119124" cy="1119124"/>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8204" name="Freeform 95"/>
          <p:cNvSpPr>
            <a:spLocks noEditPoints="1"/>
          </p:cNvSpPr>
          <p:nvPr/>
        </p:nvSpPr>
        <p:spPr bwMode="auto">
          <a:xfrm>
            <a:off x="6802499" y="1741657"/>
            <a:ext cx="693371" cy="694125"/>
          </a:xfrm>
          <a:custGeom>
            <a:avLst/>
            <a:gdLst>
              <a:gd name="T0" fmla="*/ 652 w 659"/>
              <a:gd name="T1" fmla="*/ 0 h 658"/>
              <a:gd name="T2" fmla="*/ 361 w 659"/>
              <a:gd name="T3" fmla="*/ 2 h 658"/>
              <a:gd name="T4" fmla="*/ 0 w 659"/>
              <a:gd name="T5" fmla="*/ 366 h 658"/>
              <a:gd name="T6" fmla="*/ 288 w 659"/>
              <a:gd name="T7" fmla="*/ 656 h 658"/>
              <a:gd name="T8" fmla="*/ 298 w 659"/>
              <a:gd name="T9" fmla="*/ 656 h 658"/>
              <a:gd name="T10" fmla="*/ 659 w 659"/>
              <a:gd name="T11" fmla="*/ 292 h 658"/>
              <a:gd name="T12" fmla="*/ 293 w 659"/>
              <a:gd name="T13" fmla="*/ 641 h 658"/>
              <a:gd name="T14" fmla="*/ 369 w 659"/>
              <a:gd name="T15" fmla="*/ 14 h 658"/>
              <a:gd name="T16" fmla="*/ 645 w 659"/>
              <a:gd name="T17" fmla="*/ 289 h 658"/>
              <a:gd name="T18" fmla="*/ 515 w 659"/>
              <a:gd name="T19" fmla="*/ 81 h 658"/>
              <a:gd name="T20" fmla="*/ 471 w 659"/>
              <a:gd name="T21" fmla="*/ 100 h 658"/>
              <a:gd name="T22" fmla="*/ 452 w 659"/>
              <a:gd name="T23" fmla="*/ 144 h 658"/>
              <a:gd name="T24" fmla="*/ 452 w 659"/>
              <a:gd name="T25" fmla="*/ 144 h 658"/>
              <a:gd name="T26" fmla="*/ 515 w 659"/>
              <a:gd name="T27" fmla="*/ 206 h 658"/>
              <a:gd name="T28" fmla="*/ 521 w 659"/>
              <a:gd name="T29" fmla="*/ 206 h 658"/>
              <a:gd name="T30" fmla="*/ 527 w 659"/>
              <a:gd name="T31" fmla="*/ 205 h 658"/>
              <a:gd name="T32" fmla="*/ 559 w 659"/>
              <a:gd name="T33" fmla="*/ 188 h 658"/>
              <a:gd name="T34" fmla="*/ 515 w 659"/>
              <a:gd name="T35" fmla="*/ 81 h 658"/>
              <a:gd name="T36" fmla="*/ 522 w 659"/>
              <a:gd name="T37" fmla="*/ 192 h 658"/>
              <a:gd name="T38" fmla="*/ 519 w 659"/>
              <a:gd name="T39" fmla="*/ 192 h 658"/>
              <a:gd name="T40" fmla="*/ 471 w 659"/>
              <a:gd name="T41" fmla="*/ 164 h 658"/>
              <a:gd name="T42" fmla="*/ 481 w 659"/>
              <a:gd name="T43" fmla="*/ 110 h 658"/>
              <a:gd name="T44" fmla="*/ 563 w 659"/>
              <a:gd name="T45" fmla="*/ 144 h 658"/>
              <a:gd name="T46" fmla="*/ 525 w 659"/>
              <a:gd name="T47" fmla="*/ 191 h 658"/>
              <a:gd name="T48" fmla="*/ 455 w 659"/>
              <a:gd name="T49" fmla="*/ 318 h 658"/>
              <a:gd name="T50" fmla="*/ 363 w 659"/>
              <a:gd name="T51" fmla="*/ 384 h 658"/>
              <a:gd name="T52" fmla="*/ 358 w 659"/>
              <a:gd name="T53" fmla="*/ 396 h 658"/>
              <a:gd name="T54" fmla="*/ 314 w 659"/>
              <a:gd name="T55" fmla="*/ 355 h 658"/>
              <a:gd name="T56" fmla="*/ 334 w 659"/>
              <a:gd name="T57" fmla="*/ 413 h 658"/>
              <a:gd name="T58" fmla="*/ 329 w 659"/>
              <a:gd name="T59" fmla="*/ 425 h 658"/>
              <a:gd name="T60" fmla="*/ 285 w 659"/>
              <a:gd name="T61" fmla="*/ 384 h 658"/>
              <a:gd name="T62" fmla="*/ 238 w 659"/>
              <a:gd name="T63" fmla="*/ 428 h 658"/>
              <a:gd name="T64" fmla="*/ 233 w 659"/>
              <a:gd name="T65" fmla="*/ 416 h 658"/>
              <a:gd name="T66" fmla="*/ 236 w 659"/>
              <a:gd name="T67" fmla="*/ 335 h 658"/>
              <a:gd name="T68" fmla="*/ 246 w 659"/>
              <a:gd name="T69" fmla="*/ 325 h 658"/>
              <a:gd name="T70" fmla="*/ 304 w 659"/>
              <a:gd name="T71" fmla="*/ 345 h 658"/>
              <a:gd name="T72" fmla="*/ 265 w 659"/>
              <a:gd name="T73" fmla="*/ 296 h 658"/>
              <a:gd name="T74" fmla="*/ 312 w 659"/>
              <a:gd name="T75" fmla="*/ 333 h 658"/>
              <a:gd name="T76" fmla="*/ 349 w 659"/>
              <a:gd name="T77" fmla="*/ 199 h 658"/>
              <a:gd name="T78" fmla="*/ 327 w 659"/>
              <a:gd name="T79" fmla="*/ 332 h 658"/>
              <a:gd name="T80" fmla="*/ 460 w 659"/>
              <a:gd name="T81" fmla="*/ 310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659" h="658">
                <a:moveTo>
                  <a:pt x="659" y="7"/>
                </a:moveTo>
                <a:cubicBezTo>
                  <a:pt x="659" y="3"/>
                  <a:pt x="656" y="0"/>
                  <a:pt x="652" y="0"/>
                </a:cubicBezTo>
                <a:cubicBezTo>
                  <a:pt x="366" y="0"/>
                  <a:pt x="366" y="0"/>
                  <a:pt x="366" y="0"/>
                </a:cubicBezTo>
                <a:cubicBezTo>
                  <a:pt x="364" y="0"/>
                  <a:pt x="363" y="0"/>
                  <a:pt x="361" y="2"/>
                </a:cubicBezTo>
                <a:cubicBezTo>
                  <a:pt x="3" y="361"/>
                  <a:pt x="3" y="361"/>
                  <a:pt x="3" y="361"/>
                </a:cubicBezTo>
                <a:cubicBezTo>
                  <a:pt x="1" y="362"/>
                  <a:pt x="0" y="364"/>
                  <a:pt x="0" y="366"/>
                </a:cubicBezTo>
                <a:cubicBezTo>
                  <a:pt x="0" y="367"/>
                  <a:pt x="1" y="369"/>
                  <a:pt x="3" y="370"/>
                </a:cubicBezTo>
                <a:cubicBezTo>
                  <a:pt x="288" y="656"/>
                  <a:pt x="288" y="656"/>
                  <a:pt x="288" y="656"/>
                </a:cubicBezTo>
                <a:cubicBezTo>
                  <a:pt x="290" y="657"/>
                  <a:pt x="291" y="658"/>
                  <a:pt x="293" y="658"/>
                </a:cubicBezTo>
                <a:cubicBezTo>
                  <a:pt x="295" y="658"/>
                  <a:pt x="297" y="657"/>
                  <a:pt x="298" y="656"/>
                </a:cubicBezTo>
                <a:cubicBezTo>
                  <a:pt x="657" y="297"/>
                  <a:pt x="657" y="297"/>
                  <a:pt x="657" y="297"/>
                </a:cubicBezTo>
                <a:cubicBezTo>
                  <a:pt x="658" y="296"/>
                  <a:pt x="659" y="294"/>
                  <a:pt x="659" y="292"/>
                </a:cubicBezTo>
                <a:lnTo>
                  <a:pt x="659" y="7"/>
                </a:lnTo>
                <a:close/>
                <a:moveTo>
                  <a:pt x="293" y="641"/>
                </a:moveTo>
                <a:cubicBezTo>
                  <a:pt x="17" y="366"/>
                  <a:pt x="17" y="366"/>
                  <a:pt x="17" y="366"/>
                </a:cubicBezTo>
                <a:cubicBezTo>
                  <a:pt x="369" y="14"/>
                  <a:pt x="369" y="14"/>
                  <a:pt x="369" y="14"/>
                </a:cubicBezTo>
                <a:cubicBezTo>
                  <a:pt x="645" y="14"/>
                  <a:pt x="645" y="14"/>
                  <a:pt x="645" y="14"/>
                </a:cubicBezTo>
                <a:cubicBezTo>
                  <a:pt x="645" y="289"/>
                  <a:pt x="645" y="289"/>
                  <a:pt x="645" y="289"/>
                </a:cubicBezTo>
                <a:lnTo>
                  <a:pt x="293" y="641"/>
                </a:lnTo>
                <a:close/>
                <a:moveTo>
                  <a:pt x="515" y="81"/>
                </a:moveTo>
                <a:cubicBezTo>
                  <a:pt x="498" y="81"/>
                  <a:pt x="482" y="88"/>
                  <a:pt x="471" y="100"/>
                </a:cubicBezTo>
                <a:cubicBezTo>
                  <a:pt x="471" y="100"/>
                  <a:pt x="471" y="100"/>
                  <a:pt x="471" y="100"/>
                </a:cubicBezTo>
                <a:cubicBezTo>
                  <a:pt x="471" y="100"/>
                  <a:pt x="471" y="100"/>
                  <a:pt x="471" y="100"/>
                </a:cubicBezTo>
                <a:cubicBezTo>
                  <a:pt x="459" y="111"/>
                  <a:pt x="452" y="127"/>
                  <a:pt x="452" y="144"/>
                </a:cubicBezTo>
                <a:cubicBezTo>
                  <a:pt x="452" y="144"/>
                  <a:pt x="452" y="144"/>
                  <a:pt x="452" y="144"/>
                </a:cubicBezTo>
                <a:cubicBezTo>
                  <a:pt x="452" y="144"/>
                  <a:pt x="452" y="144"/>
                  <a:pt x="452" y="144"/>
                </a:cubicBezTo>
                <a:cubicBezTo>
                  <a:pt x="452" y="156"/>
                  <a:pt x="456" y="167"/>
                  <a:pt x="462" y="177"/>
                </a:cubicBezTo>
                <a:cubicBezTo>
                  <a:pt x="473" y="194"/>
                  <a:pt x="492" y="206"/>
                  <a:pt x="515" y="206"/>
                </a:cubicBezTo>
                <a:cubicBezTo>
                  <a:pt x="516" y="206"/>
                  <a:pt x="517" y="206"/>
                  <a:pt x="519" y="206"/>
                </a:cubicBezTo>
                <a:cubicBezTo>
                  <a:pt x="520" y="206"/>
                  <a:pt x="520" y="206"/>
                  <a:pt x="521" y="206"/>
                </a:cubicBezTo>
                <a:cubicBezTo>
                  <a:pt x="522" y="206"/>
                  <a:pt x="523" y="206"/>
                  <a:pt x="523" y="206"/>
                </a:cubicBezTo>
                <a:cubicBezTo>
                  <a:pt x="525" y="205"/>
                  <a:pt x="526" y="205"/>
                  <a:pt x="527" y="205"/>
                </a:cubicBezTo>
                <a:cubicBezTo>
                  <a:pt x="528" y="205"/>
                  <a:pt x="528" y="205"/>
                  <a:pt x="528" y="205"/>
                </a:cubicBezTo>
                <a:cubicBezTo>
                  <a:pt x="540" y="202"/>
                  <a:pt x="551" y="197"/>
                  <a:pt x="559" y="188"/>
                </a:cubicBezTo>
                <a:cubicBezTo>
                  <a:pt x="571" y="176"/>
                  <a:pt x="577" y="160"/>
                  <a:pt x="577" y="144"/>
                </a:cubicBezTo>
                <a:cubicBezTo>
                  <a:pt x="577" y="109"/>
                  <a:pt x="549" y="81"/>
                  <a:pt x="515" y="81"/>
                </a:cubicBezTo>
                <a:close/>
                <a:moveTo>
                  <a:pt x="525" y="191"/>
                </a:moveTo>
                <a:cubicBezTo>
                  <a:pt x="524" y="191"/>
                  <a:pt x="523" y="192"/>
                  <a:pt x="522" y="192"/>
                </a:cubicBezTo>
                <a:cubicBezTo>
                  <a:pt x="521" y="192"/>
                  <a:pt x="520" y="192"/>
                  <a:pt x="520" y="192"/>
                </a:cubicBezTo>
                <a:cubicBezTo>
                  <a:pt x="519" y="192"/>
                  <a:pt x="519" y="192"/>
                  <a:pt x="519" y="192"/>
                </a:cubicBezTo>
                <a:cubicBezTo>
                  <a:pt x="517" y="192"/>
                  <a:pt x="516" y="192"/>
                  <a:pt x="515" y="192"/>
                </a:cubicBezTo>
                <a:cubicBezTo>
                  <a:pt x="495" y="192"/>
                  <a:pt x="479" y="181"/>
                  <a:pt x="471" y="164"/>
                </a:cubicBezTo>
                <a:cubicBezTo>
                  <a:pt x="468" y="158"/>
                  <a:pt x="466" y="151"/>
                  <a:pt x="466" y="144"/>
                </a:cubicBezTo>
                <a:cubicBezTo>
                  <a:pt x="466" y="131"/>
                  <a:pt x="471" y="119"/>
                  <a:pt x="481" y="110"/>
                </a:cubicBezTo>
                <a:cubicBezTo>
                  <a:pt x="490" y="100"/>
                  <a:pt x="502" y="95"/>
                  <a:pt x="515" y="95"/>
                </a:cubicBezTo>
                <a:cubicBezTo>
                  <a:pt x="542" y="95"/>
                  <a:pt x="563" y="117"/>
                  <a:pt x="563" y="144"/>
                </a:cubicBezTo>
                <a:cubicBezTo>
                  <a:pt x="563" y="167"/>
                  <a:pt x="547" y="186"/>
                  <a:pt x="525" y="191"/>
                </a:cubicBezTo>
                <a:cubicBezTo>
                  <a:pt x="525" y="191"/>
                  <a:pt x="525" y="191"/>
                  <a:pt x="525" y="191"/>
                </a:cubicBezTo>
                <a:close/>
                <a:moveTo>
                  <a:pt x="460" y="310"/>
                </a:moveTo>
                <a:cubicBezTo>
                  <a:pt x="461" y="313"/>
                  <a:pt x="459" y="317"/>
                  <a:pt x="455" y="318"/>
                </a:cubicBezTo>
                <a:cubicBezTo>
                  <a:pt x="325" y="347"/>
                  <a:pt x="325" y="347"/>
                  <a:pt x="325" y="347"/>
                </a:cubicBezTo>
                <a:cubicBezTo>
                  <a:pt x="363" y="384"/>
                  <a:pt x="363" y="384"/>
                  <a:pt x="363" y="384"/>
                </a:cubicBezTo>
                <a:cubicBezTo>
                  <a:pt x="365" y="387"/>
                  <a:pt x="365" y="391"/>
                  <a:pt x="363" y="394"/>
                </a:cubicBezTo>
                <a:cubicBezTo>
                  <a:pt x="361" y="395"/>
                  <a:pt x="359" y="396"/>
                  <a:pt x="358" y="396"/>
                </a:cubicBezTo>
                <a:cubicBezTo>
                  <a:pt x="356" y="396"/>
                  <a:pt x="354" y="395"/>
                  <a:pt x="353" y="394"/>
                </a:cubicBezTo>
                <a:cubicBezTo>
                  <a:pt x="314" y="355"/>
                  <a:pt x="314" y="355"/>
                  <a:pt x="314" y="355"/>
                </a:cubicBezTo>
                <a:cubicBezTo>
                  <a:pt x="295" y="374"/>
                  <a:pt x="295" y="374"/>
                  <a:pt x="295" y="374"/>
                </a:cubicBezTo>
                <a:cubicBezTo>
                  <a:pt x="334" y="413"/>
                  <a:pt x="334" y="413"/>
                  <a:pt x="334" y="413"/>
                </a:cubicBezTo>
                <a:cubicBezTo>
                  <a:pt x="336" y="416"/>
                  <a:pt x="336" y="420"/>
                  <a:pt x="334" y="423"/>
                </a:cubicBezTo>
                <a:cubicBezTo>
                  <a:pt x="332" y="424"/>
                  <a:pt x="331" y="425"/>
                  <a:pt x="329" y="425"/>
                </a:cubicBezTo>
                <a:cubicBezTo>
                  <a:pt x="327" y="425"/>
                  <a:pt x="325" y="424"/>
                  <a:pt x="324" y="423"/>
                </a:cubicBezTo>
                <a:cubicBezTo>
                  <a:pt x="285" y="384"/>
                  <a:pt x="285" y="384"/>
                  <a:pt x="285" y="384"/>
                </a:cubicBezTo>
                <a:cubicBezTo>
                  <a:pt x="243" y="426"/>
                  <a:pt x="243" y="426"/>
                  <a:pt x="243" y="426"/>
                </a:cubicBezTo>
                <a:cubicBezTo>
                  <a:pt x="241" y="427"/>
                  <a:pt x="239" y="428"/>
                  <a:pt x="238" y="428"/>
                </a:cubicBezTo>
                <a:cubicBezTo>
                  <a:pt x="236" y="428"/>
                  <a:pt x="234" y="427"/>
                  <a:pt x="233" y="426"/>
                </a:cubicBezTo>
                <a:cubicBezTo>
                  <a:pt x="230" y="423"/>
                  <a:pt x="230" y="419"/>
                  <a:pt x="233" y="416"/>
                </a:cubicBezTo>
                <a:cubicBezTo>
                  <a:pt x="275" y="374"/>
                  <a:pt x="275" y="374"/>
                  <a:pt x="275" y="374"/>
                </a:cubicBezTo>
                <a:cubicBezTo>
                  <a:pt x="236" y="335"/>
                  <a:pt x="236" y="335"/>
                  <a:pt x="236" y="335"/>
                </a:cubicBezTo>
                <a:cubicBezTo>
                  <a:pt x="233" y="332"/>
                  <a:pt x="233" y="328"/>
                  <a:pt x="236" y="325"/>
                </a:cubicBezTo>
                <a:cubicBezTo>
                  <a:pt x="239" y="322"/>
                  <a:pt x="243" y="322"/>
                  <a:pt x="246" y="325"/>
                </a:cubicBezTo>
                <a:cubicBezTo>
                  <a:pt x="285" y="364"/>
                  <a:pt x="285" y="364"/>
                  <a:pt x="285" y="364"/>
                </a:cubicBezTo>
                <a:cubicBezTo>
                  <a:pt x="304" y="345"/>
                  <a:pt x="304" y="345"/>
                  <a:pt x="304" y="345"/>
                </a:cubicBezTo>
                <a:cubicBezTo>
                  <a:pt x="265" y="306"/>
                  <a:pt x="265" y="306"/>
                  <a:pt x="265" y="306"/>
                </a:cubicBezTo>
                <a:cubicBezTo>
                  <a:pt x="262" y="303"/>
                  <a:pt x="262" y="299"/>
                  <a:pt x="265" y="296"/>
                </a:cubicBezTo>
                <a:cubicBezTo>
                  <a:pt x="267" y="293"/>
                  <a:pt x="272" y="293"/>
                  <a:pt x="275" y="296"/>
                </a:cubicBezTo>
                <a:cubicBezTo>
                  <a:pt x="312" y="333"/>
                  <a:pt x="312" y="333"/>
                  <a:pt x="312" y="333"/>
                </a:cubicBezTo>
                <a:cubicBezTo>
                  <a:pt x="341" y="204"/>
                  <a:pt x="341" y="204"/>
                  <a:pt x="341" y="204"/>
                </a:cubicBezTo>
                <a:cubicBezTo>
                  <a:pt x="341" y="200"/>
                  <a:pt x="345" y="198"/>
                  <a:pt x="349" y="199"/>
                </a:cubicBezTo>
                <a:cubicBezTo>
                  <a:pt x="353" y="199"/>
                  <a:pt x="355" y="203"/>
                  <a:pt x="354" y="207"/>
                </a:cubicBezTo>
                <a:cubicBezTo>
                  <a:pt x="327" y="332"/>
                  <a:pt x="327" y="332"/>
                  <a:pt x="327" y="332"/>
                </a:cubicBezTo>
                <a:cubicBezTo>
                  <a:pt x="452" y="304"/>
                  <a:pt x="452" y="304"/>
                  <a:pt x="452" y="304"/>
                </a:cubicBezTo>
                <a:cubicBezTo>
                  <a:pt x="455" y="304"/>
                  <a:pt x="459" y="306"/>
                  <a:pt x="460" y="310"/>
                </a:cubicBez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9225" name="Oval 47"/>
          <p:cNvSpPr>
            <a:spLocks noChangeArrowheads="1"/>
          </p:cNvSpPr>
          <p:nvPr/>
        </p:nvSpPr>
        <p:spPr bwMode="auto">
          <a:xfrm>
            <a:off x="4831649" y="3120088"/>
            <a:ext cx="1119124" cy="1119124"/>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8214" name="Freeform 105"/>
          <p:cNvSpPr>
            <a:spLocks noEditPoints="1"/>
          </p:cNvSpPr>
          <p:nvPr/>
        </p:nvSpPr>
        <p:spPr bwMode="auto">
          <a:xfrm>
            <a:off x="4984921" y="3446093"/>
            <a:ext cx="812582" cy="468329"/>
          </a:xfrm>
          <a:custGeom>
            <a:avLst/>
            <a:gdLst>
              <a:gd name="T0" fmla="*/ 751 w 773"/>
              <a:gd name="T1" fmla="*/ 6 h 445"/>
              <a:gd name="T2" fmla="*/ 751 w 773"/>
              <a:gd name="T3" fmla="*/ 5 h 445"/>
              <a:gd name="T4" fmla="*/ 750 w 773"/>
              <a:gd name="T5" fmla="*/ 3 h 445"/>
              <a:gd name="T6" fmla="*/ 749 w 773"/>
              <a:gd name="T7" fmla="*/ 2 h 445"/>
              <a:gd name="T8" fmla="*/ 747 w 773"/>
              <a:gd name="T9" fmla="*/ 1 h 445"/>
              <a:gd name="T10" fmla="*/ 747 w 773"/>
              <a:gd name="T11" fmla="*/ 1 h 445"/>
              <a:gd name="T12" fmla="*/ 745 w 773"/>
              <a:gd name="T13" fmla="*/ 0 h 445"/>
              <a:gd name="T14" fmla="*/ 744 w 773"/>
              <a:gd name="T15" fmla="*/ 0 h 445"/>
              <a:gd name="T16" fmla="*/ 742 w 773"/>
              <a:gd name="T17" fmla="*/ 1 h 445"/>
              <a:gd name="T18" fmla="*/ 740 w 773"/>
              <a:gd name="T19" fmla="*/ 2 h 445"/>
              <a:gd name="T20" fmla="*/ 626 w 773"/>
              <a:gd name="T21" fmla="*/ 87 h 445"/>
              <a:gd name="T22" fmla="*/ 634 w 773"/>
              <a:gd name="T23" fmla="*/ 99 h 445"/>
              <a:gd name="T24" fmla="*/ 649 w 773"/>
              <a:gd name="T25" fmla="*/ 211 h 445"/>
              <a:gd name="T26" fmla="*/ 581 w 773"/>
              <a:gd name="T27" fmla="*/ 234 h 445"/>
              <a:gd name="T28" fmla="*/ 484 w 773"/>
              <a:gd name="T29" fmla="*/ 165 h 445"/>
              <a:gd name="T30" fmla="*/ 374 w 773"/>
              <a:gd name="T31" fmla="*/ 165 h 445"/>
              <a:gd name="T32" fmla="*/ 331 w 773"/>
              <a:gd name="T33" fmla="*/ 338 h 445"/>
              <a:gd name="T34" fmla="*/ 281 w 773"/>
              <a:gd name="T35" fmla="*/ 345 h 445"/>
              <a:gd name="T36" fmla="*/ 205 w 773"/>
              <a:gd name="T37" fmla="*/ 210 h 445"/>
              <a:gd name="T38" fmla="*/ 95 w 773"/>
              <a:gd name="T39" fmla="*/ 210 h 445"/>
              <a:gd name="T40" fmla="*/ 2 w 773"/>
              <a:gd name="T41" fmla="*/ 385 h 445"/>
              <a:gd name="T42" fmla="*/ 8 w 773"/>
              <a:gd name="T43" fmla="*/ 397 h 445"/>
              <a:gd name="T44" fmla="*/ 120 w 773"/>
              <a:gd name="T45" fmla="*/ 256 h 445"/>
              <a:gd name="T46" fmla="*/ 181 w 773"/>
              <a:gd name="T47" fmla="*/ 255 h 445"/>
              <a:gd name="T48" fmla="*/ 258 w 773"/>
              <a:gd name="T49" fmla="*/ 390 h 445"/>
              <a:gd name="T50" fmla="*/ 368 w 773"/>
              <a:gd name="T51" fmla="*/ 390 h 445"/>
              <a:gd name="T52" fmla="*/ 406 w 773"/>
              <a:gd name="T53" fmla="*/ 215 h 445"/>
              <a:gd name="T54" fmla="*/ 478 w 773"/>
              <a:gd name="T55" fmla="*/ 191 h 445"/>
              <a:gd name="T56" fmla="*/ 573 w 773"/>
              <a:gd name="T57" fmla="*/ 261 h 445"/>
              <a:gd name="T58" fmla="*/ 683 w 773"/>
              <a:gd name="T59" fmla="*/ 261 h 445"/>
              <a:gd name="T60" fmla="*/ 741 w 773"/>
              <a:gd name="T61" fmla="*/ 33 h 445"/>
              <a:gd name="T62" fmla="*/ 765 w 773"/>
              <a:gd name="T63" fmla="*/ 160 h 445"/>
              <a:gd name="T64" fmla="*/ 772 w 773"/>
              <a:gd name="T65" fmla="*/ 152 h 445"/>
              <a:gd name="T66" fmla="*/ 150 w 773"/>
              <a:gd name="T67" fmla="*/ 169 h 445"/>
              <a:gd name="T68" fmla="*/ 177 w 773"/>
              <a:gd name="T69" fmla="*/ 240 h 445"/>
              <a:gd name="T70" fmla="*/ 177 w 773"/>
              <a:gd name="T71" fmla="*/ 240 h 445"/>
              <a:gd name="T72" fmla="*/ 109 w 773"/>
              <a:gd name="T73" fmla="*/ 210 h 445"/>
              <a:gd name="T74" fmla="*/ 313 w 773"/>
              <a:gd name="T75" fmla="*/ 431 h 445"/>
              <a:gd name="T76" fmla="*/ 313 w 773"/>
              <a:gd name="T77" fmla="*/ 349 h 445"/>
              <a:gd name="T78" fmla="*/ 429 w 773"/>
              <a:gd name="T79" fmla="*/ 206 h 445"/>
              <a:gd name="T80" fmla="*/ 429 w 773"/>
              <a:gd name="T81" fmla="*/ 124 h 445"/>
              <a:gd name="T82" fmla="*/ 429 w 773"/>
              <a:gd name="T83" fmla="*/ 206 h 445"/>
              <a:gd name="T84" fmla="*/ 628 w 773"/>
              <a:gd name="T85" fmla="*/ 302 h 445"/>
              <a:gd name="T86" fmla="*/ 628 w 773"/>
              <a:gd name="T87" fmla="*/ 220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73" h="445">
                <a:moveTo>
                  <a:pt x="772" y="152"/>
                </a:moveTo>
                <a:cubicBezTo>
                  <a:pt x="751" y="6"/>
                  <a:pt x="751" y="6"/>
                  <a:pt x="751" y="6"/>
                </a:cubicBezTo>
                <a:cubicBezTo>
                  <a:pt x="751" y="6"/>
                  <a:pt x="751" y="6"/>
                  <a:pt x="751" y="6"/>
                </a:cubicBezTo>
                <a:cubicBezTo>
                  <a:pt x="751" y="6"/>
                  <a:pt x="751" y="5"/>
                  <a:pt x="751" y="5"/>
                </a:cubicBezTo>
                <a:cubicBezTo>
                  <a:pt x="751" y="5"/>
                  <a:pt x="751" y="4"/>
                  <a:pt x="751" y="4"/>
                </a:cubicBezTo>
                <a:cubicBezTo>
                  <a:pt x="750" y="4"/>
                  <a:pt x="750" y="4"/>
                  <a:pt x="750" y="3"/>
                </a:cubicBezTo>
                <a:cubicBezTo>
                  <a:pt x="750" y="3"/>
                  <a:pt x="750" y="3"/>
                  <a:pt x="750" y="3"/>
                </a:cubicBezTo>
                <a:cubicBezTo>
                  <a:pt x="749" y="3"/>
                  <a:pt x="749" y="2"/>
                  <a:pt x="749" y="2"/>
                </a:cubicBezTo>
                <a:cubicBezTo>
                  <a:pt x="749" y="2"/>
                  <a:pt x="749" y="2"/>
                  <a:pt x="749" y="2"/>
                </a:cubicBezTo>
                <a:cubicBezTo>
                  <a:pt x="748" y="1"/>
                  <a:pt x="748" y="1"/>
                  <a:pt x="747" y="1"/>
                </a:cubicBezTo>
                <a:cubicBezTo>
                  <a:pt x="747" y="1"/>
                  <a:pt x="747" y="1"/>
                  <a:pt x="747" y="1"/>
                </a:cubicBezTo>
                <a:cubicBezTo>
                  <a:pt x="747" y="1"/>
                  <a:pt x="747" y="1"/>
                  <a:pt x="747" y="1"/>
                </a:cubicBezTo>
                <a:cubicBezTo>
                  <a:pt x="747" y="1"/>
                  <a:pt x="747" y="1"/>
                  <a:pt x="747" y="1"/>
                </a:cubicBezTo>
                <a:cubicBezTo>
                  <a:pt x="746" y="1"/>
                  <a:pt x="746" y="1"/>
                  <a:pt x="745" y="0"/>
                </a:cubicBezTo>
                <a:cubicBezTo>
                  <a:pt x="745" y="0"/>
                  <a:pt x="745" y="0"/>
                  <a:pt x="745" y="0"/>
                </a:cubicBezTo>
                <a:cubicBezTo>
                  <a:pt x="745" y="0"/>
                  <a:pt x="744" y="0"/>
                  <a:pt x="744" y="0"/>
                </a:cubicBezTo>
                <a:cubicBezTo>
                  <a:pt x="744" y="0"/>
                  <a:pt x="743" y="0"/>
                  <a:pt x="743" y="0"/>
                </a:cubicBezTo>
                <a:cubicBezTo>
                  <a:pt x="743" y="1"/>
                  <a:pt x="742" y="1"/>
                  <a:pt x="742" y="1"/>
                </a:cubicBezTo>
                <a:cubicBezTo>
                  <a:pt x="742" y="1"/>
                  <a:pt x="742" y="1"/>
                  <a:pt x="742" y="1"/>
                </a:cubicBezTo>
                <a:cubicBezTo>
                  <a:pt x="741" y="1"/>
                  <a:pt x="741" y="1"/>
                  <a:pt x="740" y="2"/>
                </a:cubicBezTo>
                <a:cubicBezTo>
                  <a:pt x="740" y="2"/>
                  <a:pt x="740" y="2"/>
                  <a:pt x="740" y="2"/>
                </a:cubicBezTo>
                <a:cubicBezTo>
                  <a:pt x="626" y="87"/>
                  <a:pt x="626" y="87"/>
                  <a:pt x="626" y="87"/>
                </a:cubicBezTo>
                <a:cubicBezTo>
                  <a:pt x="623" y="90"/>
                  <a:pt x="622" y="94"/>
                  <a:pt x="625" y="97"/>
                </a:cubicBezTo>
                <a:cubicBezTo>
                  <a:pt x="627" y="100"/>
                  <a:pt x="631" y="101"/>
                  <a:pt x="634" y="99"/>
                </a:cubicBezTo>
                <a:cubicBezTo>
                  <a:pt x="728" y="29"/>
                  <a:pt x="728" y="29"/>
                  <a:pt x="728" y="29"/>
                </a:cubicBezTo>
                <a:cubicBezTo>
                  <a:pt x="649" y="211"/>
                  <a:pt x="649" y="211"/>
                  <a:pt x="649" y="211"/>
                </a:cubicBezTo>
                <a:cubicBezTo>
                  <a:pt x="643" y="208"/>
                  <a:pt x="636" y="206"/>
                  <a:pt x="628" y="206"/>
                </a:cubicBezTo>
                <a:cubicBezTo>
                  <a:pt x="608" y="206"/>
                  <a:pt x="590" y="218"/>
                  <a:pt x="581" y="234"/>
                </a:cubicBezTo>
                <a:cubicBezTo>
                  <a:pt x="482" y="177"/>
                  <a:pt x="482" y="177"/>
                  <a:pt x="482" y="177"/>
                </a:cubicBezTo>
                <a:cubicBezTo>
                  <a:pt x="483" y="173"/>
                  <a:pt x="484" y="169"/>
                  <a:pt x="484" y="165"/>
                </a:cubicBezTo>
                <a:cubicBezTo>
                  <a:pt x="484" y="135"/>
                  <a:pt x="459" y="110"/>
                  <a:pt x="429" y="110"/>
                </a:cubicBezTo>
                <a:cubicBezTo>
                  <a:pt x="398" y="110"/>
                  <a:pt x="374" y="135"/>
                  <a:pt x="374" y="165"/>
                </a:cubicBezTo>
                <a:cubicBezTo>
                  <a:pt x="374" y="183"/>
                  <a:pt x="382" y="198"/>
                  <a:pt x="394" y="208"/>
                </a:cubicBezTo>
                <a:cubicBezTo>
                  <a:pt x="331" y="338"/>
                  <a:pt x="331" y="338"/>
                  <a:pt x="331" y="338"/>
                </a:cubicBezTo>
                <a:cubicBezTo>
                  <a:pt x="325" y="336"/>
                  <a:pt x="319" y="335"/>
                  <a:pt x="313" y="335"/>
                </a:cubicBezTo>
                <a:cubicBezTo>
                  <a:pt x="301" y="335"/>
                  <a:pt x="290" y="338"/>
                  <a:pt x="281" y="345"/>
                </a:cubicBezTo>
                <a:cubicBezTo>
                  <a:pt x="192" y="245"/>
                  <a:pt x="192" y="245"/>
                  <a:pt x="192" y="245"/>
                </a:cubicBezTo>
                <a:cubicBezTo>
                  <a:pt x="200" y="236"/>
                  <a:pt x="205" y="223"/>
                  <a:pt x="205" y="210"/>
                </a:cubicBezTo>
                <a:cubicBezTo>
                  <a:pt x="205" y="179"/>
                  <a:pt x="180" y="155"/>
                  <a:pt x="150" y="155"/>
                </a:cubicBezTo>
                <a:cubicBezTo>
                  <a:pt x="119" y="155"/>
                  <a:pt x="95" y="179"/>
                  <a:pt x="95" y="210"/>
                </a:cubicBezTo>
                <a:cubicBezTo>
                  <a:pt x="95" y="224"/>
                  <a:pt x="100" y="237"/>
                  <a:pt x="109" y="247"/>
                </a:cubicBezTo>
                <a:cubicBezTo>
                  <a:pt x="2" y="385"/>
                  <a:pt x="2" y="385"/>
                  <a:pt x="2" y="385"/>
                </a:cubicBezTo>
                <a:cubicBezTo>
                  <a:pt x="0" y="388"/>
                  <a:pt x="1" y="393"/>
                  <a:pt x="4" y="395"/>
                </a:cubicBezTo>
                <a:cubicBezTo>
                  <a:pt x="5" y="396"/>
                  <a:pt x="7" y="397"/>
                  <a:pt x="8" y="397"/>
                </a:cubicBezTo>
                <a:cubicBezTo>
                  <a:pt x="10" y="397"/>
                  <a:pt x="12" y="396"/>
                  <a:pt x="14" y="394"/>
                </a:cubicBezTo>
                <a:cubicBezTo>
                  <a:pt x="120" y="256"/>
                  <a:pt x="120" y="256"/>
                  <a:pt x="120" y="256"/>
                </a:cubicBezTo>
                <a:cubicBezTo>
                  <a:pt x="128" y="262"/>
                  <a:pt x="139" y="265"/>
                  <a:pt x="150" y="265"/>
                </a:cubicBezTo>
                <a:cubicBezTo>
                  <a:pt x="161" y="265"/>
                  <a:pt x="172" y="261"/>
                  <a:pt x="181" y="255"/>
                </a:cubicBezTo>
                <a:cubicBezTo>
                  <a:pt x="271" y="354"/>
                  <a:pt x="271" y="354"/>
                  <a:pt x="271" y="354"/>
                </a:cubicBezTo>
                <a:cubicBezTo>
                  <a:pt x="263" y="364"/>
                  <a:pt x="258" y="376"/>
                  <a:pt x="258" y="390"/>
                </a:cubicBezTo>
                <a:cubicBezTo>
                  <a:pt x="258" y="420"/>
                  <a:pt x="283" y="445"/>
                  <a:pt x="313" y="445"/>
                </a:cubicBezTo>
                <a:cubicBezTo>
                  <a:pt x="343" y="445"/>
                  <a:pt x="368" y="420"/>
                  <a:pt x="368" y="390"/>
                </a:cubicBezTo>
                <a:cubicBezTo>
                  <a:pt x="368" y="371"/>
                  <a:pt x="358" y="354"/>
                  <a:pt x="344" y="344"/>
                </a:cubicBezTo>
                <a:cubicBezTo>
                  <a:pt x="406" y="215"/>
                  <a:pt x="406" y="215"/>
                  <a:pt x="406" y="215"/>
                </a:cubicBezTo>
                <a:cubicBezTo>
                  <a:pt x="413" y="219"/>
                  <a:pt x="421" y="220"/>
                  <a:pt x="429" y="220"/>
                </a:cubicBezTo>
                <a:cubicBezTo>
                  <a:pt x="450" y="220"/>
                  <a:pt x="468" y="208"/>
                  <a:pt x="478" y="191"/>
                </a:cubicBezTo>
                <a:cubicBezTo>
                  <a:pt x="575" y="247"/>
                  <a:pt x="575" y="247"/>
                  <a:pt x="575" y="247"/>
                </a:cubicBezTo>
                <a:cubicBezTo>
                  <a:pt x="574" y="252"/>
                  <a:pt x="573" y="256"/>
                  <a:pt x="573" y="261"/>
                </a:cubicBezTo>
                <a:cubicBezTo>
                  <a:pt x="573" y="292"/>
                  <a:pt x="598" y="316"/>
                  <a:pt x="628" y="316"/>
                </a:cubicBezTo>
                <a:cubicBezTo>
                  <a:pt x="659" y="316"/>
                  <a:pt x="683" y="292"/>
                  <a:pt x="683" y="261"/>
                </a:cubicBezTo>
                <a:cubicBezTo>
                  <a:pt x="683" y="244"/>
                  <a:pt x="675" y="228"/>
                  <a:pt x="662" y="218"/>
                </a:cubicBezTo>
                <a:cubicBezTo>
                  <a:pt x="741" y="33"/>
                  <a:pt x="741" y="33"/>
                  <a:pt x="741" y="33"/>
                </a:cubicBezTo>
                <a:cubicBezTo>
                  <a:pt x="758" y="154"/>
                  <a:pt x="758" y="154"/>
                  <a:pt x="758" y="154"/>
                </a:cubicBezTo>
                <a:cubicBezTo>
                  <a:pt x="759" y="158"/>
                  <a:pt x="762" y="160"/>
                  <a:pt x="765" y="160"/>
                </a:cubicBezTo>
                <a:cubicBezTo>
                  <a:pt x="766" y="160"/>
                  <a:pt x="766" y="160"/>
                  <a:pt x="766" y="160"/>
                </a:cubicBezTo>
                <a:cubicBezTo>
                  <a:pt x="770" y="160"/>
                  <a:pt x="773" y="156"/>
                  <a:pt x="772" y="152"/>
                </a:cubicBezTo>
                <a:close/>
                <a:moveTo>
                  <a:pt x="109" y="210"/>
                </a:moveTo>
                <a:cubicBezTo>
                  <a:pt x="109" y="187"/>
                  <a:pt x="127" y="169"/>
                  <a:pt x="150" y="169"/>
                </a:cubicBezTo>
                <a:cubicBezTo>
                  <a:pt x="172" y="169"/>
                  <a:pt x="191" y="187"/>
                  <a:pt x="191" y="210"/>
                </a:cubicBezTo>
                <a:cubicBezTo>
                  <a:pt x="191" y="222"/>
                  <a:pt x="186" y="233"/>
                  <a:pt x="177" y="240"/>
                </a:cubicBezTo>
                <a:cubicBezTo>
                  <a:pt x="177" y="240"/>
                  <a:pt x="177" y="240"/>
                  <a:pt x="177" y="240"/>
                </a:cubicBezTo>
                <a:cubicBezTo>
                  <a:pt x="177" y="240"/>
                  <a:pt x="177" y="240"/>
                  <a:pt x="177" y="240"/>
                </a:cubicBezTo>
                <a:cubicBezTo>
                  <a:pt x="170" y="247"/>
                  <a:pt x="160" y="251"/>
                  <a:pt x="150" y="251"/>
                </a:cubicBezTo>
                <a:cubicBezTo>
                  <a:pt x="127" y="251"/>
                  <a:pt x="109" y="232"/>
                  <a:pt x="109" y="210"/>
                </a:cubicBezTo>
                <a:close/>
                <a:moveTo>
                  <a:pt x="354" y="390"/>
                </a:moveTo>
                <a:cubicBezTo>
                  <a:pt x="354" y="412"/>
                  <a:pt x="336" y="431"/>
                  <a:pt x="313" y="431"/>
                </a:cubicBezTo>
                <a:cubicBezTo>
                  <a:pt x="290" y="431"/>
                  <a:pt x="272" y="412"/>
                  <a:pt x="272" y="390"/>
                </a:cubicBezTo>
                <a:cubicBezTo>
                  <a:pt x="272" y="367"/>
                  <a:pt x="290" y="349"/>
                  <a:pt x="313" y="349"/>
                </a:cubicBezTo>
                <a:cubicBezTo>
                  <a:pt x="336" y="349"/>
                  <a:pt x="354" y="367"/>
                  <a:pt x="354" y="390"/>
                </a:cubicBezTo>
                <a:close/>
                <a:moveTo>
                  <a:pt x="429" y="206"/>
                </a:moveTo>
                <a:cubicBezTo>
                  <a:pt x="406" y="206"/>
                  <a:pt x="388" y="188"/>
                  <a:pt x="388" y="165"/>
                </a:cubicBezTo>
                <a:cubicBezTo>
                  <a:pt x="388" y="143"/>
                  <a:pt x="406" y="124"/>
                  <a:pt x="429" y="124"/>
                </a:cubicBezTo>
                <a:cubicBezTo>
                  <a:pt x="451" y="124"/>
                  <a:pt x="470" y="143"/>
                  <a:pt x="470" y="165"/>
                </a:cubicBezTo>
                <a:cubicBezTo>
                  <a:pt x="470" y="188"/>
                  <a:pt x="451" y="206"/>
                  <a:pt x="429" y="206"/>
                </a:cubicBezTo>
                <a:close/>
                <a:moveTo>
                  <a:pt x="669" y="261"/>
                </a:moveTo>
                <a:cubicBezTo>
                  <a:pt x="669" y="284"/>
                  <a:pt x="651" y="302"/>
                  <a:pt x="628" y="302"/>
                </a:cubicBezTo>
                <a:cubicBezTo>
                  <a:pt x="606" y="302"/>
                  <a:pt x="587" y="284"/>
                  <a:pt x="587" y="261"/>
                </a:cubicBezTo>
                <a:cubicBezTo>
                  <a:pt x="587" y="239"/>
                  <a:pt x="606" y="220"/>
                  <a:pt x="628" y="220"/>
                </a:cubicBezTo>
                <a:cubicBezTo>
                  <a:pt x="651" y="220"/>
                  <a:pt x="669" y="239"/>
                  <a:pt x="669" y="261"/>
                </a:cubicBez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9243" name="Oval 65"/>
          <p:cNvSpPr>
            <a:spLocks noChangeArrowheads="1"/>
          </p:cNvSpPr>
          <p:nvPr/>
        </p:nvSpPr>
        <p:spPr bwMode="auto">
          <a:xfrm>
            <a:off x="4831649" y="4711628"/>
            <a:ext cx="1119124" cy="1119124"/>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8216" name="Freeform 107"/>
          <p:cNvSpPr>
            <a:spLocks noEditPoints="1"/>
          </p:cNvSpPr>
          <p:nvPr/>
        </p:nvSpPr>
        <p:spPr bwMode="auto">
          <a:xfrm>
            <a:off x="4979000" y="5056255"/>
            <a:ext cx="830514" cy="429871"/>
          </a:xfrm>
          <a:custGeom>
            <a:avLst/>
            <a:gdLst>
              <a:gd name="T0" fmla="*/ 731 w 788"/>
              <a:gd name="T1" fmla="*/ 0 h 407"/>
              <a:gd name="T2" fmla="*/ 683 w 788"/>
              <a:gd name="T3" fmla="*/ 67 h 407"/>
              <a:gd name="T4" fmla="*/ 642 w 788"/>
              <a:gd name="T5" fmla="*/ 227 h 407"/>
              <a:gd name="T6" fmla="*/ 588 w 788"/>
              <a:gd name="T7" fmla="*/ 245 h 407"/>
              <a:gd name="T8" fmla="*/ 489 w 788"/>
              <a:gd name="T9" fmla="*/ 157 h 407"/>
              <a:gd name="T10" fmla="*/ 442 w 788"/>
              <a:gd name="T11" fmla="*/ 123 h 407"/>
              <a:gd name="T12" fmla="*/ 394 w 788"/>
              <a:gd name="T13" fmla="*/ 190 h 407"/>
              <a:gd name="T14" fmla="*/ 326 w 788"/>
              <a:gd name="T15" fmla="*/ 311 h 407"/>
              <a:gd name="T16" fmla="*/ 300 w 788"/>
              <a:gd name="T17" fmla="*/ 304 h 407"/>
              <a:gd name="T18" fmla="*/ 254 w 788"/>
              <a:gd name="T19" fmla="*/ 334 h 407"/>
              <a:gd name="T20" fmla="*/ 148 w 788"/>
              <a:gd name="T21" fmla="*/ 281 h 407"/>
              <a:gd name="T22" fmla="*/ 100 w 788"/>
              <a:gd name="T23" fmla="*/ 247 h 407"/>
              <a:gd name="T24" fmla="*/ 52 w 788"/>
              <a:gd name="T25" fmla="*/ 314 h 407"/>
              <a:gd name="T26" fmla="*/ 3 w 788"/>
              <a:gd name="T27" fmla="*/ 396 h 407"/>
              <a:gd name="T28" fmla="*/ 8 w 788"/>
              <a:gd name="T29" fmla="*/ 407 h 407"/>
              <a:gd name="T30" fmla="*/ 72 w 788"/>
              <a:gd name="T31" fmla="*/ 339 h 407"/>
              <a:gd name="T32" fmla="*/ 100 w 788"/>
              <a:gd name="T33" fmla="*/ 348 h 407"/>
              <a:gd name="T34" fmla="*/ 146 w 788"/>
              <a:gd name="T35" fmla="*/ 318 h 407"/>
              <a:gd name="T36" fmla="*/ 252 w 788"/>
              <a:gd name="T37" fmla="*/ 371 h 407"/>
              <a:gd name="T38" fmla="*/ 300 w 788"/>
              <a:gd name="T39" fmla="*/ 405 h 407"/>
              <a:gd name="T40" fmla="*/ 348 w 788"/>
              <a:gd name="T41" fmla="*/ 338 h 407"/>
              <a:gd name="T42" fmla="*/ 417 w 788"/>
              <a:gd name="T43" fmla="*/ 218 h 407"/>
              <a:gd name="T44" fmla="*/ 442 w 788"/>
              <a:gd name="T45" fmla="*/ 224 h 407"/>
              <a:gd name="T46" fmla="*/ 581 w 788"/>
              <a:gd name="T47" fmla="*/ 258 h 407"/>
              <a:gd name="T48" fmla="*/ 628 w 788"/>
              <a:gd name="T49" fmla="*/ 326 h 407"/>
              <a:gd name="T50" fmla="*/ 655 w 788"/>
              <a:gd name="T51" fmla="*/ 233 h 407"/>
              <a:gd name="T52" fmla="*/ 731 w 788"/>
              <a:gd name="T53" fmla="*/ 101 h 407"/>
              <a:gd name="T54" fmla="*/ 753 w 788"/>
              <a:gd name="T55" fmla="*/ 5 h 407"/>
              <a:gd name="T56" fmla="*/ 84 w 788"/>
              <a:gd name="T57" fmla="*/ 330 h 407"/>
              <a:gd name="T58" fmla="*/ 75 w 788"/>
              <a:gd name="T59" fmla="*/ 325 h 407"/>
              <a:gd name="T60" fmla="*/ 65 w 788"/>
              <a:gd name="T61" fmla="*/ 309 h 407"/>
              <a:gd name="T62" fmla="*/ 100 w 788"/>
              <a:gd name="T63" fmla="*/ 261 h 407"/>
              <a:gd name="T64" fmla="*/ 134 w 788"/>
              <a:gd name="T65" fmla="*/ 286 h 407"/>
              <a:gd name="T66" fmla="*/ 100 w 788"/>
              <a:gd name="T67" fmla="*/ 334 h 407"/>
              <a:gd name="T68" fmla="*/ 300 w 788"/>
              <a:gd name="T69" fmla="*/ 391 h 407"/>
              <a:gd name="T70" fmla="*/ 266 w 788"/>
              <a:gd name="T71" fmla="*/ 367 h 407"/>
              <a:gd name="T72" fmla="*/ 300 w 788"/>
              <a:gd name="T73" fmla="*/ 318 h 407"/>
              <a:gd name="T74" fmla="*/ 335 w 788"/>
              <a:gd name="T75" fmla="*/ 343 h 407"/>
              <a:gd name="T76" fmla="*/ 442 w 788"/>
              <a:gd name="T77" fmla="*/ 210 h 407"/>
              <a:gd name="T78" fmla="*/ 407 w 788"/>
              <a:gd name="T79" fmla="*/ 186 h 407"/>
              <a:gd name="T80" fmla="*/ 442 w 788"/>
              <a:gd name="T81" fmla="*/ 137 h 407"/>
              <a:gd name="T82" fmla="*/ 476 w 788"/>
              <a:gd name="T83" fmla="*/ 162 h 407"/>
              <a:gd name="T84" fmla="*/ 442 w 788"/>
              <a:gd name="T85" fmla="*/ 210 h 407"/>
              <a:gd name="T86" fmla="*/ 628 w 788"/>
              <a:gd name="T87" fmla="*/ 312 h 407"/>
              <a:gd name="T88" fmla="*/ 595 w 788"/>
              <a:gd name="T89" fmla="*/ 260 h 407"/>
              <a:gd name="T90" fmla="*/ 644 w 788"/>
              <a:gd name="T91" fmla="*/ 243 h 407"/>
              <a:gd name="T92" fmla="*/ 764 w 788"/>
              <a:gd name="T93" fmla="*/ 67 h 407"/>
              <a:gd name="T94" fmla="*/ 715 w 788"/>
              <a:gd name="T95" fmla="*/ 83 h 407"/>
              <a:gd name="T96" fmla="*/ 698 w 788"/>
              <a:gd name="T97" fmla="*/ 35 h 407"/>
              <a:gd name="T98" fmla="*/ 747 w 788"/>
              <a:gd name="T99" fmla="*/ 18 h 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88" h="407">
                <a:moveTo>
                  <a:pt x="753" y="5"/>
                </a:moveTo>
                <a:cubicBezTo>
                  <a:pt x="746" y="2"/>
                  <a:pt x="738" y="0"/>
                  <a:pt x="731" y="0"/>
                </a:cubicBezTo>
                <a:cubicBezTo>
                  <a:pt x="711" y="0"/>
                  <a:pt x="694" y="11"/>
                  <a:pt x="685" y="29"/>
                </a:cubicBezTo>
                <a:cubicBezTo>
                  <a:pt x="679" y="41"/>
                  <a:pt x="679" y="54"/>
                  <a:pt x="683" y="67"/>
                </a:cubicBezTo>
                <a:cubicBezTo>
                  <a:pt x="687" y="78"/>
                  <a:pt x="694" y="86"/>
                  <a:pt x="703" y="93"/>
                </a:cubicBezTo>
                <a:cubicBezTo>
                  <a:pt x="642" y="227"/>
                  <a:pt x="642" y="227"/>
                  <a:pt x="642" y="227"/>
                </a:cubicBezTo>
                <a:cubicBezTo>
                  <a:pt x="638" y="226"/>
                  <a:pt x="633" y="225"/>
                  <a:pt x="628" y="225"/>
                </a:cubicBezTo>
                <a:cubicBezTo>
                  <a:pt x="612" y="225"/>
                  <a:pt x="597" y="233"/>
                  <a:pt x="588" y="245"/>
                </a:cubicBezTo>
                <a:cubicBezTo>
                  <a:pt x="489" y="192"/>
                  <a:pt x="489" y="192"/>
                  <a:pt x="489" y="192"/>
                </a:cubicBezTo>
                <a:cubicBezTo>
                  <a:pt x="493" y="181"/>
                  <a:pt x="493" y="169"/>
                  <a:pt x="489" y="157"/>
                </a:cubicBezTo>
                <a:cubicBezTo>
                  <a:pt x="484" y="142"/>
                  <a:pt x="472" y="130"/>
                  <a:pt x="456" y="125"/>
                </a:cubicBezTo>
                <a:cubicBezTo>
                  <a:pt x="451" y="124"/>
                  <a:pt x="447" y="123"/>
                  <a:pt x="442" y="123"/>
                </a:cubicBezTo>
                <a:cubicBezTo>
                  <a:pt x="425" y="123"/>
                  <a:pt x="410" y="131"/>
                  <a:pt x="401" y="144"/>
                </a:cubicBezTo>
                <a:cubicBezTo>
                  <a:pt x="391" y="158"/>
                  <a:pt x="389" y="175"/>
                  <a:pt x="394" y="190"/>
                </a:cubicBezTo>
                <a:cubicBezTo>
                  <a:pt x="396" y="198"/>
                  <a:pt x="401" y="204"/>
                  <a:pt x="406" y="209"/>
                </a:cubicBezTo>
                <a:cubicBezTo>
                  <a:pt x="326" y="311"/>
                  <a:pt x="326" y="311"/>
                  <a:pt x="326" y="311"/>
                </a:cubicBezTo>
                <a:cubicBezTo>
                  <a:pt x="322" y="309"/>
                  <a:pt x="318" y="308"/>
                  <a:pt x="314" y="306"/>
                </a:cubicBezTo>
                <a:cubicBezTo>
                  <a:pt x="310" y="305"/>
                  <a:pt x="305" y="304"/>
                  <a:pt x="300" y="304"/>
                </a:cubicBezTo>
                <a:cubicBezTo>
                  <a:pt x="284" y="304"/>
                  <a:pt x="268" y="312"/>
                  <a:pt x="259" y="325"/>
                </a:cubicBezTo>
                <a:cubicBezTo>
                  <a:pt x="257" y="328"/>
                  <a:pt x="255" y="331"/>
                  <a:pt x="254" y="334"/>
                </a:cubicBezTo>
                <a:cubicBezTo>
                  <a:pt x="150" y="305"/>
                  <a:pt x="150" y="305"/>
                  <a:pt x="150" y="305"/>
                </a:cubicBezTo>
                <a:cubicBezTo>
                  <a:pt x="151" y="297"/>
                  <a:pt x="150" y="289"/>
                  <a:pt x="148" y="281"/>
                </a:cubicBezTo>
                <a:cubicBezTo>
                  <a:pt x="143" y="268"/>
                  <a:pt x="134" y="258"/>
                  <a:pt x="122" y="252"/>
                </a:cubicBezTo>
                <a:cubicBezTo>
                  <a:pt x="115" y="249"/>
                  <a:pt x="108" y="247"/>
                  <a:pt x="100" y="247"/>
                </a:cubicBezTo>
                <a:cubicBezTo>
                  <a:pt x="80" y="247"/>
                  <a:pt x="63" y="258"/>
                  <a:pt x="54" y="275"/>
                </a:cubicBezTo>
                <a:cubicBezTo>
                  <a:pt x="48" y="288"/>
                  <a:pt x="48" y="301"/>
                  <a:pt x="52" y="314"/>
                </a:cubicBezTo>
                <a:cubicBezTo>
                  <a:pt x="54" y="320"/>
                  <a:pt x="57" y="325"/>
                  <a:pt x="61" y="330"/>
                </a:cubicBezTo>
                <a:cubicBezTo>
                  <a:pt x="3" y="396"/>
                  <a:pt x="3" y="396"/>
                  <a:pt x="3" y="396"/>
                </a:cubicBezTo>
                <a:cubicBezTo>
                  <a:pt x="0" y="398"/>
                  <a:pt x="0" y="403"/>
                  <a:pt x="3" y="405"/>
                </a:cubicBezTo>
                <a:cubicBezTo>
                  <a:pt x="5" y="407"/>
                  <a:pt x="6" y="407"/>
                  <a:pt x="8" y="407"/>
                </a:cubicBezTo>
                <a:cubicBezTo>
                  <a:pt x="10" y="407"/>
                  <a:pt x="12" y="406"/>
                  <a:pt x="13" y="405"/>
                </a:cubicBezTo>
                <a:cubicBezTo>
                  <a:pt x="72" y="339"/>
                  <a:pt x="72" y="339"/>
                  <a:pt x="72" y="339"/>
                </a:cubicBezTo>
                <a:cubicBezTo>
                  <a:pt x="74" y="341"/>
                  <a:pt x="76" y="342"/>
                  <a:pt x="78" y="343"/>
                </a:cubicBezTo>
                <a:cubicBezTo>
                  <a:pt x="85" y="346"/>
                  <a:pt x="92" y="348"/>
                  <a:pt x="100" y="348"/>
                </a:cubicBezTo>
                <a:cubicBezTo>
                  <a:pt x="119" y="348"/>
                  <a:pt x="137" y="337"/>
                  <a:pt x="145" y="320"/>
                </a:cubicBezTo>
                <a:cubicBezTo>
                  <a:pt x="145" y="319"/>
                  <a:pt x="146" y="319"/>
                  <a:pt x="146" y="318"/>
                </a:cubicBezTo>
                <a:cubicBezTo>
                  <a:pt x="250" y="348"/>
                  <a:pt x="250" y="348"/>
                  <a:pt x="250" y="348"/>
                </a:cubicBezTo>
                <a:cubicBezTo>
                  <a:pt x="249" y="356"/>
                  <a:pt x="250" y="364"/>
                  <a:pt x="252" y="371"/>
                </a:cubicBezTo>
                <a:cubicBezTo>
                  <a:pt x="258" y="387"/>
                  <a:pt x="270" y="399"/>
                  <a:pt x="286" y="403"/>
                </a:cubicBezTo>
                <a:cubicBezTo>
                  <a:pt x="291" y="405"/>
                  <a:pt x="295" y="405"/>
                  <a:pt x="300" y="405"/>
                </a:cubicBezTo>
                <a:cubicBezTo>
                  <a:pt x="316" y="405"/>
                  <a:pt x="332" y="397"/>
                  <a:pt x="341" y="384"/>
                </a:cubicBezTo>
                <a:cubicBezTo>
                  <a:pt x="351" y="371"/>
                  <a:pt x="353" y="354"/>
                  <a:pt x="348" y="338"/>
                </a:cubicBezTo>
                <a:cubicBezTo>
                  <a:pt x="345" y="331"/>
                  <a:pt x="342" y="325"/>
                  <a:pt x="337" y="320"/>
                </a:cubicBezTo>
                <a:cubicBezTo>
                  <a:pt x="417" y="218"/>
                  <a:pt x="417" y="218"/>
                  <a:pt x="417" y="218"/>
                </a:cubicBezTo>
                <a:cubicBezTo>
                  <a:pt x="420" y="220"/>
                  <a:pt x="424" y="221"/>
                  <a:pt x="428" y="222"/>
                </a:cubicBezTo>
                <a:cubicBezTo>
                  <a:pt x="432" y="224"/>
                  <a:pt x="437" y="224"/>
                  <a:pt x="442" y="224"/>
                </a:cubicBezTo>
                <a:cubicBezTo>
                  <a:pt x="458" y="224"/>
                  <a:pt x="473" y="217"/>
                  <a:pt x="482" y="204"/>
                </a:cubicBezTo>
                <a:cubicBezTo>
                  <a:pt x="581" y="258"/>
                  <a:pt x="581" y="258"/>
                  <a:pt x="581" y="258"/>
                </a:cubicBezTo>
                <a:cubicBezTo>
                  <a:pt x="572" y="282"/>
                  <a:pt x="582" y="309"/>
                  <a:pt x="606" y="321"/>
                </a:cubicBezTo>
                <a:cubicBezTo>
                  <a:pt x="613" y="324"/>
                  <a:pt x="620" y="326"/>
                  <a:pt x="628" y="326"/>
                </a:cubicBezTo>
                <a:cubicBezTo>
                  <a:pt x="647" y="326"/>
                  <a:pt x="665" y="315"/>
                  <a:pt x="673" y="298"/>
                </a:cubicBezTo>
                <a:cubicBezTo>
                  <a:pt x="685" y="274"/>
                  <a:pt x="677" y="247"/>
                  <a:pt x="655" y="233"/>
                </a:cubicBezTo>
                <a:cubicBezTo>
                  <a:pt x="715" y="99"/>
                  <a:pt x="715" y="99"/>
                  <a:pt x="715" y="99"/>
                </a:cubicBezTo>
                <a:cubicBezTo>
                  <a:pt x="720" y="100"/>
                  <a:pt x="725" y="101"/>
                  <a:pt x="731" y="101"/>
                </a:cubicBezTo>
                <a:cubicBezTo>
                  <a:pt x="750" y="101"/>
                  <a:pt x="768" y="90"/>
                  <a:pt x="776" y="73"/>
                </a:cubicBezTo>
                <a:cubicBezTo>
                  <a:pt x="788" y="48"/>
                  <a:pt x="778" y="17"/>
                  <a:pt x="753" y="5"/>
                </a:cubicBezTo>
                <a:close/>
                <a:moveTo>
                  <a:pt x="100" y="334"/>
                </a:moveTo>
                <a:cubicBezTo>
                  <a:pt x="94" y="334"/>
                  <a:pt x="89" y="333"/>
                  <a:pt x="84" y="330"/>
                </a:cubicBezTo>
                <a:cubicBezTo>
                  <a:pt x="81" y="329"/>
                  <a:pt x="78" y="327"/>
                  <a:pt x="75" y="325"/>
                </a:cubicBezTo>
                <a:cubicBezTo>
                  <a:pt x="75" y="325"/>
                  <a:pt x="75" y="325"/>
                  <a:pt x="75" y="325"/>
                </a:cubicBezTo>
                <a:cubicBezTo>
                  <a:pt x="75" y="325"/>
                  <a:pt x="75" y="325"/>
                  <a:pt x="75" y="325"/>
                </a:cubicBezTo>
                <a:cubicBezTo>
                  <a:pt x="71" y="321"/>
                  <a:pt x="67" y="315"/>
                  <a:pt x="65" y="309"/>
                </a:cubicBezTo>
                <a:cubicBezTo>
                  <a:pt x="62" y="300"/>
                  <a:pt x="63" y="290"/>
                  <a:pt x="67" y="282"/>
                </a:cubicBezTo>
                <a:cubicBezTo>
                  <a:pt x="73" y="269"/>
                  <a:pt x="86" y="261"/>
                  <a:pt x="100" y="261"/>
                </a:cubicBezTo>
                <a:cubicBezTo>
                  <a:pt x="105" y="261"/>
                  <a:pt x="111" y="262"/>
                  <a:pt x="116" y="265"/>
                </a:cubicBezTo>
                <a:cubicBezTo>
                  <a:pt x="125" y="269"/>
                  <a:pt x="131" y="276"/>
                  <a:pt x="134" y="286"/>
                </a:cubicBezTo>
                <a:cubicBezTo>
                  <a:pt x="137" y="295"/>
                  <a:pt x="137" y="305"/>
                  <a:pt x="133" y="314"/>
                </a:cubicBezTo>
                <a:cubicBezTo>
                  <a:pt x="126" y="326"/>
                  <a:pt x="114" y="334"/>
                  <a:pt x="100" y="334"/>
                </a:cubicBezTo>
                <a:close/>
                <a:moveTo>
                  <a:pt x="330" y="376"/>
                </a:moveTo>
                <a:cubicBezTo>
                  <a:pt x="323" y="386"/>
                  <a:pt x="312" y="391"/>
                  <a:pt x="300" y="391"/>
                </a:cubicBezTo>
                <a:cubicBezTo>
                  <a:pt x="297" y="391"/>
                  <a:pt x="293" y="391"/>
                  <a:pt x="290" y="390"/>
                </a:cubicBezTo>
                <a:cubicBezTo>
                  <a:pt x="278" y="386"/>
                  <a:pt x="270" y="378"/>
                  <a:pt x="266" y="367"/>
                </a:cubicBezTo>
                <a:cubicBezTo>
                  <a:pt x="262" y="355"/>
                  <a:pt x="264" y="343"/>
                  <a:pt x="271" y="333"/>
                </a:cubicBezTo>
                <a:cubicBezTo>
                  <a:pt x="277" y="324"/>
                  <a:pt x="288" y="318"/>
                  <a:pt x="300" y="318"/>
                </a:cubicBezTo>
                <a:cubicBezTo>
                  <a:pt x="304" y="318"/>
                  <a:pt x="307" y="319"/>
                  <a:pt x="310" y="320"/>
                </a:cubicBezTo>
                <a:cubicBezTo>
                  <a:pt x="322" y="323"/>
                  <a:pt x="331" y="332"/>
                  <a:pt x="335" y="343"/>
                </a:cubicBezTo>
                <a:cubicBezTo>
                  <a:pt x="339" y="354"/>
                  <a:pt x="337" y="366"/>
                  <a:pt x="330" y="376"/>
                </a:cubicBezTo>
                <a:close/>
                <a:moveTo>
                  <a:pt x="442" y="210"/>
                </a:moveTo>
                <a:cubicBezTo>
                  <a:pt x="438" y="210"/>
                  <a:pt x="435" y="210"/>
                  <a:pt x="432" y="209"/>
                </a:cubicBezTo>
                <a:cubicBezTo>
                  <a:pt x="420" y="205"/>
                  <a:pt x="411" y="197"/>
                  <a:pt x="407" y="186"/>
                </a:cubicBezTo>
                <a:cubicBezTo>
                  <a:pt x="403" y="174"/>
                  <a:pt x="405" y="162"/>
                  <a:pt x="412" y="152"/>
                </a:cubicBezTo>
                <a:cubicBezTo>
                  <a:pt x="419" y="143"/>
                  <a:pt x="430" y="137"/>
                  <a:pt x="442" y="137"/>
                </a:cubicBezTo>
                <a:cubicBezTo>
                  <a:pt x="445" y="137"/>
                  <a:pt x="449" y="138"/>
                  <a:pt x="452" y="139"/>
                </a:cubicBezTo>
                <a:cubicBezTo>
                  <a:pt x="463" y="142"/>
                  <a:pt x="472" y="151"/>
                  <a:pt x="476" y="162"/>
                </a:cubicBezTo>
                <a:cubicBezTo>
                  <a:pt x="480" y="173"/>
                  <a:pt x="478" y="185"/>
                  <a:pt x="471" y="195"/>
                </a:cubicBezTo>
                <a:cubicBezTo>
                  <a:pt x="465" y="205"/>
                  <a:pt x="454" y="210"/>
                  <a:pt x="442" y="210"/>
                </a:cubicBezTo>
                <a:close/>
                <a:moveTo>
                  <a:pt x="661" y="292"/>
                </a:moveTo>
                <a:cubicBezTo>
                  <a:pt x="655" y="304"/>
                  <a:pt x="642" y="312"/>
                  <a:pt x="628" y="312"/>
                </a:cubicBezTo>
                <a:cubicBezTo>
                  <a:pt x="622" y="312"/>
                  <a:pt x="617" y="311"/>
                  <a:pt x="612" y="308"/>
                </a:cubicBezTo>
                <a:cubicBezTo>
                  <a:pt x="594" y="299"/>
                  <a:pt x="586" y="278"/>
                  <a:pt x="595" y="260"/>
                </a:cubicBezTo>
                <a:cubicBezTo>
                  <a:pt x="601" y="247"/>
                  <a:pt x="614" y="239"/>
                  <a:pt x="628" y="239"/>
                </a:cubicBezTo>
                <a:cubicBezTo>
                  <a:pt x="634" y="239"/>
                  <a:pt x="639" y="240"/>
                  <a:pt x="644" y="243"/>
                </a:cubicBezTo>
                <a:cubicBezTo>
                  <a:pt x="662" y="252"/>
                  <a:pt x="670" y="273"/>
                  <a:pt x="661" y="292"/>
                </a:cubicBezTo>
                <a:close/>
                <a:moveTo>
                  <a:pt x="764" y="67"/>
                </a:moveTo>
                <a:cubicBezTo>
                  <a:pt x="757" y="79"/>
                  <a:pt x="745" y="87"/>
                  <a:pt x="731" y="87"/>
                </a:cubicBezTo>
                <a:cubicBezTo>
                  <a:pt x="725" y="87"/>
                  <a:pt x="720" y="86"/>
                  <a:pt x="715" y="83"/>
                </a:cubicBezTo>
                <a:cubicBezTo>
                  <a:pt x="706" y="79"/>
                  <a:pt x="699" y="72"/>
                  <a:pt x="696" y="63"/>
                </a:cubicBezTo>
                <a:cubicBezTo>
                  <a:pt x="693" y="53"/>
                  <a:pt x="694" y="43"/>
                  <a:pt x="698" y="35"/>
                </a:cubicBezTo>
                <a:cubicBezTo>
                  <a:pt x="704" y="22"/>
                  <a:pt x="717" y="14"/>
                  <a:pt x="731" y="14"/>
                </a:cubicBezTo>
                <a:cubicBezTo>
                  <a:pt x="736" y="14"/>
                  <a:pt x="742" y="15"/>
                  <a:pt x="747" y="18"/>
                </a:cubicBezTo>
                <a:cubicBezTo>
                  <a:pt x="765" y="27"/>
                  <a:pt x="772" y="49"/>
                  <a:pt x="764" y="67"/>
                </a:cubicBez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9242" name="Oval 64"/>
          <p:cNvSpPr>
            <a:spLocks noChangeArrowheads="1"/>
          </p:cNvSpPr>
          <p:nvPr/>
        </p:nvSpPr>
        <p:spPr bwMode="auto">
          <a:xfrm>
            <a:off x="6589621" y="4711628"/>
            <a:ext cx="1119124" cy="1119124"/>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8217" name="Freeform 108"/>
          <p:cNvSpPr>
            <a:spLocks noEditPoints="1"/>
          </p:cNvSpPr>
          <p:nvPr/>
        </p:nvSpPr>
        <p:spPr bwMode="auto">
          <a:xfrm>
            <a:off x="6730881" y="5056255"/>
            <a:ext cx="829297" cy="429871"/>
          </a:xfrm>
          <a:custGeom>
            <a:avLst/>
            <a:gdLst>
              <a:gd name="T0" fmla="*/ 727 w 788"/>
              <a:gd name="T1" fmla="*/ 330 h 407"/>
              <a:gd name="T2" fmla="*/ 688 w 788"/>
              <a:gd name="T3" fmla="*/ 247 h 407"/>
              <a:gd name="T4" fmla="*/ 641 w 788"/>
              <a:gd name="T5" fmla="*/ 281 h 407"/>
              <a:gd name="T6" fmla="*/ 534 w 788"/>
              <a:gd name="T7" fmla="*/ 334 h 407"/>
              <a:gd name="T8" fmla="*/ 488 w 788"/>
              <a:gd name="T9" fmla="*/ 304 h 407"/>
              <a:gd name="T10" fmla="*/ 463 w 788"/>
              <a:gd name="T11" fmla="*/ 311 h 407"/>
              <a:gd name="T12" fmla="*/ 394 w 788"/>
              <a:gd name="T13" fmla="*/ 190 h 407"/>
              <a:gd name="T14" fmla="*/ 346 w 788"/>
              <a:gd name="T15" fmla="*/ 123 h 407"/>
              <a:gd name="T16" fmla="*/ 299 w 788"/>
              <a:gd name="T17" fmla="*/ 157 h 407"/>
              <a:gd name="T18" fmla="*/ 201 w 788"/>
              <a:gd name="T19" fmla="*/ 245 h 407"/>
              <a:gd name="T20" fmla="*/ 146 w 788"/>
              <a:gd name="T21" fmla="*/ 227 h 407"/>
              <a:gd name="T22" fmla="*/ 105 w 788"/>
              <a:gd name="T23" fmla="*/ 67 h 407"/>
              <a:gd name="T24" fmla="*/ 57 w 788"/>
              <a:gd name="T25" fmla="*/ 0 h 407"/>
              <a:gd name="T26" fmla="*/ 12 w 788"/>
              <a:gd name="T27" fmla="*/ 73 h 407"/>
              <a:gd name="T28" fmla="*/ 57 w 788"/>
              <a:gd name="T29" fmla="*/ 101 h 407"/>
              <a:gd name="T30" fmla="*/ 133 w 788"/>
              <a:gd name="T31" fmla="*/ 233 h 407"/>
              <a:gd name="T32" fmla="*/ 160 w 788"/>
              <a:gd name="T33" fmla="*/ 326 h 407"/>
              <a:gd name="T34" fmla="*/ 182 w 788"/>
              <a:gd name="T35" fmla="*/ 321 h 407"/>
              <a:gd name="T36" fmla="*/ 306 w 788"/>
              <a:gd name="T37" fmla="*/ 204 h 407"/>
              <a:gd name="T38" fmla="*/ 346 w 788"/>
              <a:gd name="T39" fmla="*/ 224 h 407"/>
              <a:gd name="T40" fmla="*/ 371 w 788"/>
              <a:gd name="T41" fmla="*/ 218 h 407"/>
              <a:gd name="T42" fmla="*/ 440 w 788"/>
              <a:gd name="T43" fmla="*/ 338 h 407"/>
              <a:gd name="T44" fmla="*/ 488 w 788"/>
              <a:gd name="T45" fmla="*/ 405 h 407"/>
              <a:gd name="T46" fmla="*/ 502 w 788"/>
              <a:gd name="T47" fmla="*/ 403 h 407"/>
              <a:gd name="T48" fmla="*/ 538 w 788"/>
              <a:gd name="T49" fmla="*/ 348 h 407"/>
              <a:gd name="T50" fmla="*/ 643 w 788"/>
              <a:gd name="T51" fmla="*/ 320 h 407"/>
              <a:gd name="T52" fmla="*/ 688 w 788"/>
              <a:gd name="T53" fmla="*/ 348 h 407"/>
              <a:gd name="T54" fmla="*/ 716 w 788"/>
              <a:gd name="T55" fmla="*/ 339 h 407"/>
              <a:gd name="T56" fmla="*/ 780 w 788"/>
              <a:gd name="T57" fmla="*/ 407 h 407"/>
              <a:gd name="T58" fmla="*/ 786 w 788"/>
              <a:gd name="T59" fmla="*/ 396 h 407"/>
              <a:gd name="T60" fmla="*/ 25 w 788"/>
              <a:gd name="T61" fmla="*/ 67 h 407"/>
              <a:gd name="T62" fmla="*/ 57 w 788"/>
              <a:gd name="T63" fmla="*/ 14 h 407"/>
              <a:gd name="T64" fmla="*/ 92 w 788"/>
              <a:gd name="T65" fmla="*/ 63 h 407"/>
              <a:gd name="T66" fmla="*/ 57 w 788"/>
              <a:gd name="T67" fmla="*/ 87 h 407"/>
              <a:gd name="T68" fmla="*/ 160 w 788"/>
              <a:gd name="T69" fmla="*/ 312 h 407"/>
              <a:gd name="T70" fmla="*/ 127 w 788"/>
              <a:gd name="T71" fmla="*/ 292 h 407"/>
              <a:gd name="T72" fmla="*/ 160 w 788"/>
              <a:gd name="T73" fmla="*/ 239 h 407"/>
              <a:gd name="T74" fmla="*/ 176 w 788"/>
              <a:gd name="T75" fmla="*/ 308 h 407"/>
              <a:gd name="T76" fmla="*/ 346 w 788"/>
              <a:gd name="T77" fmla="*/ 210 h 407"/>
              <a:gd name="T78" fmla="*/ 317 w 788"/>
              <a:gd name="T79" fmla="*/ 195 h 407"/>
              <a:gd name="T80" fmla="*/ 336 w 788"/>
              <a:gd name="T81" fmla="*/ 139 h 407"/>
              <a:gd name="T82" fmla="*/ 376 w 788"/>
              <a:gd name="T83" fmla="*/ 152 h 407"/>
              <a:gd name="T84" fmla="*/ 357 w 788"/>
              <a:gd name="T85" fmla="*/ 209 h 407"/>
              <a:gd name="T86" fmla="*/ 498 w 788"/>
              <a:gd name="T87" fmla="*/ 390 h 407"/>
              <a:gd name="T88" fmla="*/ 488 w 788"/>
              <a:gd name="T89" fmla="*/ 391 h 407"/>
              <a:gd name="T90" fmla="*/ 453 w 788"/>
              <a:gd name="T91" fmla="*/ 343 h 407"/>
              <a:gd name="T92" fmla="*/ 488 w 788"/>
              <a:gd name="T93" fmla="*/ 318 h 407"/>
              <a:gd name="T94" fmla="*/ 523 w 788"/>
              <a:gd name="T95" fmla="*/ 367 h 407"/>
              <a:gd name="T96" fmla="*/ 656 w 788"/>
              <a:gd name="T97" fmla="*/ 314 h 407"/>
              <a:gd name="T98" fmla="*/ 672 w 788"/>
              <a:gd name="T99" fmla="*/ 265 h 407"/>
              <a:gd name="T100" fmla="*/ 721 w 788"/>
              <a:gd name="T101" fmla="*/ 282 h 407"/>
              <a:gd name="T102" fmla="*/ 688 w 788"/>
              <a:gd name="T103" fmla="*/ 334 h 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788" h="407">
                <a:moveTo>
                  <a:pt x="786" y="396"/>
                </a:moveTo>
                <a:cubicBezTo>
                  <a:pt x="727" y="330"/>
                  <a:pt x="727" y="330"/>
                  <a:pt x="727" y="330"/>
                </a:cubicBezTo>
                <a:cubicBezTo>
                  <a:pt x="739" y="315"/>
                  <a:pt x="743" y="294"/>
                  <a:pt x="734" y="275"/>
                </a:cubicBezTo>
                <a:cubicBezTo>
                  <a:pt x="725" y="258"/>
                  <a:pt x="708" y="247"/>
                  <a:pt x="688" y="247"/>
                </a:cubicBezTo>
                <a:cubicBezTo>
                  <a:pt x="681" y="247"/>
                  <a:pt x="673" y="249"/>
                  <a:pt x="666" y="252"/>
                </a:cubicBezTo>
                <a:cubicBezTo>
                  <a:pt x="654" y="258"/>
                  <a:pt x="645" y="268"/>
                  <a:pt x="641" y="281"/>
                </a:cubicBezTo>
                <a:cubicBezTo>
                  <a:pt x="638" y="289"/>
                  <a:pt x="637" y="297"/>
                  <a:pt x="638" y="305"/>
                </a:cubicBezTo>
                <a:cubicBezTo>
                  <a:pt x="534" y="334"/>
                  <a:pt x="534" y="334"/>
                  <a:pt x="534" y="334"/>
                </a:cubicBezTo>
                <a:cubicBezTo>
                  <a:pt x="533" y="331"/>
                  <a:pt x="531" y="328"/>
                  <a:pt x="529" y="325"/>
                </a:cubicBezTo>
                <a:cubicBezTo>
                  <a:pt x="520" y="312"/>
                  <a:pt x="504" y="304"/>
                  <a:pt x="488" y="304"/>
                </a:cubicBezTo>
                <a:cubicBezTo>
                  <a:pt x="483" y="304"/>
                  <a:pt x="478" y="305"/>
                  <a:pt x="474" y="306"/>
                </a:cubicBezTo>
                <a:cubicBezTo>
                  <a:pt x="470" y="308"/>
                  <a:pt x="466" y="309"/>
                  <a:pt x="463" y="311"/>
                </a:cubicBezTo>
                <a:cubicBezTo>
                  <a:pt x="382" y="209"/>
                  <a:pt x="382" y="209"/>
                  <a:pt x="382" y="209"/>
                </a:cubicBezTo>
                <a:cubicBezTo>
                  <a:pt x="388" y="204"/>
                  <a:pt x="392" y="198"/>
                  <a:pt x="394" y="190"/>
                </a:cubicBezTo>
                <a:cubicBezTo>
                  <a:pt x="400" y="175"/>
                  <a:pt x="397" y="158"/>
                  <a:pt x="387" y="144"/>
                </a:cubicBezTo>
                <a:cubicBezTo>
                  <a:pt x="378" y="131"/>
                  <a:pt x="363" y="123"/>
                  <a:pt x="346" y="123"/>
                </a:cubicBezTo>
                <a:cubicBezTo>
                  <a:pt x="342" y="123"/>
                  <a:pt x="337" y="124"/>
                  <a:pt x="332" y="125"/>
                </a:cubicBezTo>
                <a:cubicBezTo>
                  <a:pt x="316" y="130"/>
                  <a:pt x="304" y="142"/>
                  <a:pt x="299" y="157"/>
                </a:cubicBezTo>
                <a:cubicBezTo>
                  <a:pt x="295" y="169"/>
                  <a:pt x="295" y="181"/>
                  <a:pt x="299" y="192"/>
                </a:cubicBezTo>
                <a:cubicBezTo>
                  <a:pt x="201" y="245"/>
                  <a:pt x="201" y="245"/>
                  <a:pt x="201" y="245"/>
                </a:cubicBezTo>
                <a:cubicBezTo>
                  <a:pt x="191" y="233"/>
                  <a:pt x="176" y="225"/>
                  <a:pt x="160" y="225"/>
                </a:cubicBezTo>
                <a:cubicBezTo>
                  <a:pt x="155" y="225"/>
                  <a:pt x="150" y="226"/>
                  <a:pt x="146" y="227"/>
                </a:cubicBezTo>
                <a:cubicBezTo>
                  <a:pt x="85" y="93"/>
                  <a:pt x="85" y="93"/>
                  <a:pt x="85" y="93"/>
                </a:cubicBezTo>
                <a:cubicBezTo>
                  <a:pt x="95" y="86"/>
                  <a:pt x="102" y="78"/>
                  <a:pt x="105" y="67"/>
                </a:cubicBezTo>
                <a:cubicBezTo>
                  <a:pt x="110" y="54"/>
                  <a:pt x="109" y="41"/>
                  <a:pt x="103" y="29"/>
                </a:cubicBezTo>
                <a:cubicBezTo>
                  <a:pt x="94" y="11"/>
                  <a:pt x="77" y="0"/>
                  <a:pt x="57" y="0"/>
                </a:cubicBezTo>
                <a:cubicBezTo>
                  <a:pt x="50" y="0"/>
                  <a:pt x="42" y="2"/>
                  <a:pt x="35" y="5"/>
                </a:cubicBezTo>
                <a:cubicBezTo>
                  <a:pt x="10" y="17"/>
                  <a:pt x="0" y="48"/>
                  <a:pt x="12" y="73"/>
                </a:cubicBezTo>
                <a:cubicBezTo>
                  <a:pt x="21" y="90"/>
                  <a:pt x="38" y="101"/>
                  <a:pt x="57" y="101"/>
                </a:cubicBezTo>
                <a:cubicBezTo>
                  <a:pt x="57" y="101"/>
                  <a:pt x="57" y="101"/>
                  <a:pt x="57" y="101"/>
                </a:cubicBezTo>
                <a:cubicBezTo>
                  <a:pt x="63" y="101"/>
                  <a:pt x="68" y="100"/>
                  <a:pt x="73" y="99"/>
                </a:cubicBezTo>
                <a:cubicBezTo>
                  <a:pt x="133" y="233"/>
                  <a:pt x="133" y="233"/>
                  <a:pt x="133" y="233"/>
                </a:cubicBezTo>
                <a:cubicBezTo>
                  <a:pt x="112" y="247"/>
                  <a:pt x="103" y="274"/>
                  <a:pt x="115" y="298"/>
                </a:cubicBezTo>
                <a:cubicBezTo>
                  <a:pt x="123" y="315"/>
                  <a:pt x="141" y="326"/>
                  <a:pt x="160" y="326"/>
                </a:cubicBezTo>
                <a:cubicBezTo>
                  <a:pt x="160" y="326"/>
                  <a:pt x="160" y="326"/>
                  <a:pt x="160" y="326"/>
                </a:cubicBezTo>
                <a:cubicBezTo>
                  <a:pt x="168" y="326"/>
                  <a:pt x="175" y="324"/>
                  <a:pt x="182" y="321"/>
                </a:cubicBezTo>
                <a:cubicBezTo>
                  <a:pt x="206" y="309"/>
                  <a:pt x="216" y="282"/>
                  <a:pt x="207" y="258"/>
                </a:cubicBezTo>
                <a:cubicBezTo>
                  <a:pt x="306" y="204"/>
                  <a:pt x="306" y="204"/>
                  <a:pt x="306" y="204"/>
                </a:cubicBezTo>
                <a:cubicBezTo>
                  <a:pt x="315" y="217"/>
                  <a:pt x="330" y="224"/>
                  <a:pt x="346" y="224"/>
                </a:cubicBezTo>
                <a:cubicBezTo>
                  <a:pt x="346" y="224"/>
                  <a:pt x="346" y="224"/>
                  <a:pt x="346" y="224"/>
                </a:cubicBezTo>
                <a:cubicBezTo>
                  <a:pt x="351" y="224"/>
                  <a:pt x="356" y="224"/>
                  <a:pt x="361" y="222"/>
                </a:cubicBezTo>
                <a:cubicBezTo>
                  <a:pt x="364" y="221"/>
                  <a:pt x="368" y="220"/>
                  <a:pt x="371" y="218"/>
                </a:cubicBezTo>
                <a:cubicBezTo>
                  <a:pt x="452" y="320"/>
                  <a:pt x="452" y="320"/>
                  <a:pt x="452" y="320"/>
                </a:cubicBezTo>
                <a:cubicBezTo>
                  <a:pt x="447" y="325"/>
                  <a:pt x="443" y="331"/>
                  <a:pt x="440" y="338"/>
                </a:cubicBezTo>
                <a:cubicBezTo>
                  <a:pt x="435" y="354"/>
                  <a:pt x="437" y="371"/>
                  <a:pt x="447" y="384"/>
                </a:cubicBezTo>
                <a:cubicBezTo>
                  <a:pt x="456" y="397"/>
                  <a:pt x="472" y="405"/>
                  <a:pt x="488" y="405"/>
                </a:cubicBezTo>
                <a:cubicBezTo>
                  <a:pt x="488" y="405"/>
                  <a:pt x="488" y="405"/>
                  <a:pt x="488" y="405"/>
                </a:cubicBezTo>
                <a:cubicBezTo>
                  <a:pt x="493" y="405"/>
                  <a:pt x="498" y="405"/>
                  <a:pt x="502" y="403"/>
                </a:cubicBezTo>
                <a:cubicBezTo>
                  <a:pt x="518" y="399"/>
                  <a:pt x="530" y="387"/>
                  <a:pt x="536" y="371"/>
                </a:cubicBezTo>
                <a:cubicBezTo>
                  <a:pt x="538" y="364"/>
                  <a:pt x="539" y="356"/>
                  <a:pt x="538" y="348"/>
                </a:cubicBezTo>
                <a:cubicBezTo>
                  <a:pt x="642" y="318"/>
                  <a:pt x="642" y="318"/>
                  <a:pt x="642" y="318"/>
                </a:cubicBezTo>
                <a:cubicBezTo>
                  <a:pt x="643" y="319"/>
                  <a:pt x="643" y="319"/>
                  <a:pt x="643" y="320"/>
                </a:cubicBezTo>
                <a:cubicBezTo>
                  <a:pt x="652" y="337"/>
                  <a:pt x="669" y="348"/>
                  <a:pt x="688" y="348"/>
                </a:cubicBezTo>
                <a:cubicBezTo>
                  <a:pt x="688" y="348"/>
                  <a:pt x="688" y="348"/>
                  <a:pt x="688" y="348"/>
                </a:cubicBezTo>
                <a:cubicBezTo>
                  <a:pt x="696" y="348"/>
                  <a:pt x="704" y="346"/>
                  <a:pt x="711" y="343"/>
                </a:cubicBezTo>
                <a:cubicBezTo>
                  <a:pt x="713" y="342"/>
                  <a:pt x="715" y="341"/>
                  <a:pt x="716" y="339"/>
                </a:cubicBezTo>
                <a:cubicBezTo>
                  <a:pt x="775" y="405"/>
                  <a:pt x="775" y="405"/>
                  <a:pt x="775" y="405"/>
                </a:cubicBezTo>
                <a:cubicBezTo>
                  <a:pt x="776" y="406"/>
                  <a:pt x="778" y="407"/>
                  <a:pt x="780" y="407"/>
                </a:cubicBezTo>
                <a:cubicBezTo>
                  <a:pt x="782" y="407"/>
                  <a:pt x="784" y="407"/>
                  <a:pt x="785" y="405"/>
                </a:cubicBezTo>
                <a:cubicBezTo>
                  <a:pt x="788" y="403"/>
                  <a:pt x="788" y="398"/>
                  <a:pt x="786" y="396"/>
                </a:cubicBezTo>
                <a:close/>
                <a:moveTo>
                  <a:pt x="57" y="87"/>
                </a:moveTo>
                <a:cubicBezTo>
                  <a:pt x="43" y="87"/>
                  <a:pt x="31" y="79"/>
                  <a:pt x="25" y="67"/>
                </a:cubicBezTo>
                <a:cubicBezTo>
                  <a:pt x="16" y="49"/>
                  <a:pt x="23" y="27"/>
                  <a:pt x="41" y="18"/>
                </a:cubicBezTo>
                <a:cubicBezTo>
                  <a:pt x="46" y="15"/>
                  <a:pt x="52" y="14"/>
                  <a:pt x="57" y="14"/>
                </a:cubicBezTo>
                <a:cubicBezTo>
                  <a:pt x="71" y="14"/>
                  <a:pt x="84" y="22"/>
                  <a:pt x="90" y="35"/>
                </a:cubicBezTo>
                <a:cubicBezTo>
                  <a:pt x="94" y="43"/>
                  <a:pt x="95" y="53"/>
                  <a:pt x="92" y="63"/>
                </a:cubicBezTo>
                <a:cubicBezTo>
                  <a:pt x="89" y="72"/>
                  <a:pt x="82" y="79"/>
                  <a:pt x="73" y="83"/>
                </a:cubicBezTo>
                <a:cubicBezTo>
                  <a:pt x="68" y="86"/>
                  <a:pt x="63" y="87"/>
                  <a:pt x="57" y="87"/>
                </a:cubicBezTo>
                <a:close/>
                <a:moveTo>
                  <a:pt x="176" y="308"/>
                </a:moveTo>
                <a:cubicBezTo>
                  <a:pt x="171" y="311"/>
                  <a:pt x="166" y="312"/>
                  <a:pt x="160" y="312"/>
                </a:cubicBezTo>
                <a:cubicBezTo>
                  <a:pt x="160" y="312"/>
                  <a:pt x="160" y="312"/>
                  <a:pt x="160" y="312"/>
                </a:cubicBezTo>
                <a:cubicBezTo>
                  <a:pt x="146" y="312"/>
                  <a:pt x="133" y="304"/>
                  <a:pt x="127" y="292"/>
                </a:cubicBezTo>
                <a:cubicBezTo>
                  <a:pt x="118" y="273"/>
                  <a:pt x="126" y="252"/>
                  <a:pt x="144" y="243"/>
                </a:cubicBezTo>
                <a:cubicBezTo>
                  <a:pt x="149" y="240"/>
                  <a:pt x="155" y="239"/>
                  <a:pt x="160" y="239"/>
                </a:cubicBezTo>
                <a:cubicBezTo>
                  <a:pt x="174" y="239"/>
                  <a:pt x="187" y="247"/>
                  <a:pt x="193" y="260"/>
                </a:cubicBezTo>
                <a:cubicBezTo>
                  <a:pt x="202" y="278"/>
                  <a:pt x="194" y="299"/>
                  <a:pt x="176" y="308"/>
                </a:cubicBezTo>
                <a:close/>
                <a:moveTo>
                  <a:pt x="357" y="209"/>
                </a:moveTo>
                <a:cubicBezTo>
                  <a:pt x="353" y="210"/>
                  <a:pt x="350" y="210"/>
                  <a:pt x="346" y="210"/>
                </a:cubicBezTo>
                <a:cubicBezTo>
                  <a:pt x="346" y="210"/>
                  <a:pt x="346" y="210"/>
                  <a:pt x="346" y="210"/>
                </a:cubicBezTo>
                <a:cubicBezTo>
                  <a:pt x="335" y="210"/>
                  <a:pt x="324" y="205"/>
                  <a:pt x="317" y="195"/>
                </a:cubicBezTo>
                <a:cubicBezTo>
                  <a:pt x="310" y="185"/>
                  <a:pt x="308" y="173"/>
                  <a:pt x="312" y="162"/>
                </a:cubicBezTo>
                <a:cubicBezTo>
                  <a:pt x="316" y="151"/>
                  <a:pt x="325" y="142"/>
                  <a:pt x="336" y="139"/>
                </a:cubicBezTo>
                <a:cubicBezTo>
                  <a:pt x="340" y="138"/>
                  <a:pt x="343" y="137"/>
                  <a:pt x="346" y="137"/>
                </a:cubicBezTo>
                <a:cubicBezTo>
                  <a:pt x="358" y="137"/>
                  <a:pt x="369" y="143"/>
                  <a:pt x="376" y="152"/>
                </a:cubicBezTo>
                <a:cubicBezTo>
                  <a:pt x="383" y="162"/>
                  <a:pt x="385" y="174"/>
                  <a:pt x="381" y="186"/>
                </a:cubicBezTo>
                <a:cubicBezTo>
                  <a:pt x="377" y="197"/>
                  <a:pt x="368" y="205"/>
                  <a:pt x="357" y="209"/>
                </a:cubicBezTo>
                <a:close/>
                <a:moveTo>
                  <a:pt x="523" y="367"/>
                </a:moveTo>
                <a:cubicBezTo>
                  <a:pt x="519" y="378"/>
                  <a:pt x="510" y="386"/>
                  <a:pt x="498" y="390"/>
                </a:cubicBezTo>
                <a:cubicBezTo>
                  <a:pt x="495" y="391"/>
                  <a:pt x="491" y="391"/>
                  <a:pt x="488" y="391"/>
                </a:cubicBezTo>
                <a:cubicBezTo>
                  <a:pt x="488" y="391"/>
                  <a:pt x="488" y="391"/>
                  <a:pt x="488" y="391"/>
                </a:cubicBezTo>
                <a:cubicBezTo>
                  <a:pt x="476" y="391"/>
                  <a:pt x="465" y="386"/>
                  <a:pt x="458" y="376"/>
                </a:cubicBezTo>
                <a:cubicBezTo>
                  <a:pt x="451" y="366"/>
                  <a:pt x="450" y="354"/>
                  <a:pt x="453" y="343"/>
                </a:cubicBezTo>
                <a:cubicBezTo>
                  <a:pt x="457" y="332"/>
                  <a:pt x="466" y="323"/>
                  <a:pt x="478" y="320"/>
                </a:cubicBezTo>
                <a:cubicBezTo>
                  <a:pt x="481" y="319"/>
                  <a:pt x="484" y="318"/>
                  <a:pt x="488" y="318"/>
                </a:cubicBezTo>
                <a:cubicBezTo>
                  <a:pt x="500" y="318"/>
                  <a:pt x="511" y="324"/>
                  <a:pt x="518" y="333"/>
                </a:cubicBezTo>
                <a:cubicBezTo>
                  <a:pt x="525" y="343"/>
                  <a:pt x="526" y="355"/>
                  <a:pt x="523" y="367"/>
                </a:cubicBezTo>
                <a:close/>
                <a:moveTo>
                  <a:pt x="688" y="334"/>
                </a:moveTo>
                <a:cubicBezTo>
                  <a:pt x="674" y="334"/>
                  <a:pt x="662" y="326"/>
                  <a:pt x="656" y="314"/>
                </a:cubicBezTo>
                <a:cubicBezTo>
                  <a:pt x="651" y="305"/>
                  <a:pt x="651" y="295"/>
                  <a:pt x="654" y="286"/>
                </a:cubicBezTo>
                <a:cubicBezTo>
                  <a:pt x="657" y="276"/>
                  <a:pt x="664" y="269"/>
                  <a:pt x="672" y="265"/>
                </a:cubicBezTo>
                <a:cubicBezTo>
                  <a:pt x="677" y="262"/>
                  <a:pt x="683" y="261"/>
                  <a:pt x="688" y="261"/>
                </a:cubicBezTo>
                <a:cubicBezTo>
                  <a:pt x="702" y="261"/>
                  <a:pt x="715" y="269"/>
                  <a:pt x="721" y="282"/>
                </a:cubicBezTo>
                <a:cubicBezTo>
                  <a:pt x="730" y="300"/>
                  <a:pt x="722" y="322"/>
                  <a:pt x="704" y="330"/>
                </a:cubicBezTo>
                <a:cubicBezTo>
                  <a:pt x="699" y="333"/>
                  <a:pt x="694" y="334"/>
                  <a:pt x="688" y="334"/>
                </a:cubicBez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9229" name="Oval 51"/>
          <p:cNvSpPr>
            <a:spLocks noChangeArrowheads="1"/>
          </p:cNvSpPr>
          <p:nvPr/>
        </p:nvSpPr>
        <p:spPr bwMode="auto">
          <a:xfrm>
            <a:off x="1315706" y="4711628"/>
            <a:ext cx="1119124" cy="1119124"/>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9252" name="Freeform 119"/>
          <p:cNvSpPr>
            <a:spLocks noEditPoints="1"/>
          </p:cNvSpPr>
          <p:nvPr/>
        </p:nvSpPr>
        <p:spPr bwMode="auto">
          <a:xfrm>
            <a:off x="1563860" y="5052231"/>
            <a:ext cx="622817" cy="439135"/>
          </a:xfrm>
          <a:custGeom>
            <a:avLst/>
            <a:gdLst>
              <a:gd name="T0" fmla="*/ 413 w 591"/>
              <a:gd name="T1" fmla="*/ 93 h 417"/>
              <a:gd name="T2" fmla="*/ 377 w 591"/>
              <a:gd name="T3" fmla="*/ 100 h 417"/>
              <a:gd name="T4" fmla="*/ 264 w 591"/>
              <a:gd name="T5" fmla="*/ 93 h 417"/>
              <a:gd name="T6" fmla="*/ 229 w 591"/>
              <a:gd name="T7" fmla="*/ 100 h 417"/>
              <a:gd name="T8" fmla="*/ 116 w 591"/>
              <a:gd name="T9" fmla="*/ 93 h 417"/>
              <a:gd name="T10" fmla="*/ 66 w 591"/>
              <a:gd name="T11" fmla="*/ 316 h 417"/>
              <a:gd name="T12" fmla="*/ 179 w 591"/>
              <a:gd name="T13" fmla="*/ 323 h 417"/>
              <a:gd name="T14" fmla="*/ 215 w 591"/>
              <a:gd name="T15" fmla="*/ 316 h 417"/>
              <a:gd name="T16" fmla="*/ 327 w 591"/>
              <a:gd name="T17" fmla="*/ 323 h 417"/>
              <a:gd name="T18" fmla="*/ 363 w 591"/>
              <a:gd name="T19" fmla="*/ 316 h 417"/>
              <a:gd name="T20" fmla="*/ 476 w 591"/>
              <a:gd name="T21" fmla="*/ 323 h 417"/>
              <a:gd name="T22" fmla="*/ 525 w 591"/>
              <a:gd name="T23" fmla="*/ 100 h 417"/>
              <a:gd name="T24" fmla="*/ 179 w 591"/>
              <a:gd name="T25" fmla="*/ 309 h 417"/>
              <a:gd name="T26" fmla="*/ 80 w 591"/>
              <a:gd name="T27" fmla="*/ 142 h 417"/>
              <a:gd name="T28" fmla="*/ 215 w 591"/>
              <a:gd name="T29" fmla="*/ 107 h 417"/>
              <a:gd name="T30" fmla="*/ 215 w 591"/>
              <a:gd name="T31" fmla="*/ 274 h 417"/>
              <a:gd name="T32" fmla="*/ 327 w 591"/>
              <a:gd name="T33" fmla="*/ 309 h 417"/>
              <a:gd name="T34" fmla="*/ 229 w 591"/>
              <a:gd name="T35" fmla="*/ 274 h 417"/>
              <a:gd name="T36" fmla="*/ 264 w 591"/>
              <a:gd name="T37" fmla="*/ 107 h 417"/>
              <a:gd name="T38" fmla="*/ 363 w 591"/>
              <a:gd name="T39" fmla="*/ 142 h 417"/>
              <a:gd name="T40" fmla="*/ 327 w 591"/>
              <a:gd name="T41" fmla="*/ 309 h 417"/>
              <a:gd name="T42" fmla="*/ 476 w 591"/>
              <a:gd name="T43" fmla="*/ 309 h 417"/>
              <a:gd name="T44" fmla="*/ 377 w 591"/>
              <a:gd name="T45" fmla="*/ 274 h 417"/>
              <a:gd name="T46" fmla="*/ 413 w 591"/>
              <a:gd name="T47" fmla="*/ 107 h 417"/>
              <a:gd name="T48" fmla="*/ 511 w 591"/>
              <a:gd name="T49" fmla="*/ 274 h 417"/>
              <a:gd name="T50" fmla="*/ 179 w 591"/>
              <a:gd name="T51" fmla="*/ 236 h 417"/>
              <a:gd name="T52" fmla="*/ 116 w 591"/>
              <a:gd name="T53" fmla="*/ 236 h 417"/>
              <a:gd name="T54" fmla="*/ 130 w 591"/>
              <a:gd name="T55" fmla="*/ 236 h 417"/>
              <a:gd name="T56" fmla="*/ 165 w 591"/>
              <a:gd name="T57" fmla="*/ 236 h 417"/>
              <a:gd name="T58" fmla="*/ 172 w 591"/>
              <a:gd name="T59" fmla="*/ 149 h 417"/>
              <a:gd name="T60" fmla="*/ 269 w 591"/>
              <a:gd name="T61" fmla="*/ 208 h 417"/>
              <a:gd name="T62" fmla="*/ 325 w 591"/>
              <a:gd name="T63" fmla="*/ 245 h 417"/>
              <a:gd name="T64" fmla="*/ 334 w 591"/>
              <a:gd name="T65" fmla="*/ 256 h 417"/>
              <a:gd name="T66" fmla="*/ 255 w 591"/>
              <a:gd name="T67" fmla="*/ 208 h 417"/>
              <a:gd name="T68" fmla="*/ 334 w 591"/>
              <a:gd name="T69" fmla="*/ 160 h 417"/>
              <a:gd name="T70" fmla="*/ 325 w 591"/>
              <a:gd name="T71" fmla="*/ 171 h 417"/>
              <a:gd name="T72" fmla="*/ 269 w 591"/>
              <a:gd name="T73" fmla="*/ 208 h 417"/>
              <a:gd name="T74" fmla="*/ 406 w 591"/>
              <a:gd name="T75" fmla="*/ 255 h 417"/>
              <a:gd name="T76" fmla="*/ 452 w 591"/>
              <a:gd name="T77" fmla="*/ 262 h 417"/>
              <a:gd name="T78" fmla="*/ 467 w 591"/>
              <a:gd name="T79" fmla="*/ 205 h 417"/>
              <a:gd name="T80" fmla="*/ 445 w 591"/>
              <a:gd name="T81" fmla="*/ 154 h 417"/>
              <a:gd name="T82" fmla="*/ 406 w 591"/>
              <a:gd name="T83" fmla="*/ 161 h 417"/>
              <a:gd name="T84" fmla="*/ 445 w 591"/>
              <a:gd name="T85" fmla="*/ 168 h 417"/>
              <a:gd name="T86" fmla="*/ 445 w 591"/>
              <a:gd name="T87" fmla="*/ 201 h 417"/>
              <a:gd name="T88" fmla="*/ 420 w 591"/>
              <a:gd name="T89" fmla="*/ 168 h 417"/>
              <a:gd name="T90" fmla="*/ 452 w 591"/>
              <a:gd name="T91" fmla="*/ 215 h 417"/>
              <a:gd name="T92" fmla="*/ 452 w 591"/>
              <a:gd name="T93" fmla="*/ 248 h 417"/>
              <a:gd name="T94" fmla="*/ 420 w 591"/>
              <a:gd name="T95" fmla="*/ 215 h 417"/>
              <a:gd name="T96" fmla="*/ 47 w 591"/>
              <a:gd name="T97" fmla="*/ 0 h 417"/>
              <a:gd name="T98" fmla="*/ 0 w 591"/>
              <a:gd name="T99" fmla="*/ 369 h 417"/>
              <a:gd name="T100" fmla="*/ 544 w 591"/>
              <a:gd name="T101" fmla="*/ 417 h 417"/>
              <a:gd name="T102" fmla="*/ 591 w 591"/>
              <a:gd name="T103" fmla="*/ 48 h 417"/>
              <a:gd name="T104" fmla="*/ 577 w 591"/>
              <a:gd name="T105" fmla="*/ 369 h 417"/>
              <a:gd name="T106" fmla="*/ 47 w 591"/>
              <a:gd name="T107" fmla="*/ 403 h 417"/>
              <a:gd name="T108" fmla="*/ 14 w 591"/>
              <a:gd name="T109" fmla="*/ 48 h 417"/>
              <a:gd name="T110" fmla="*/ 544 w 591"/>
              <a:gd name="T111" fmla="*/ 14 h 417"/>
              <a:gd name="T112" fmla="*/ 577 w 591"/>
              <a:gd name="T113" fmla="*/ 369 h 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91" h="417">
                <a:moveTo>
                  <a:pt x="518" y="93"/>
                </a:moveTo>
                <a:cubicBezTo>
                  <a:pt x="413" y="93"/>
                  <a:pt x="413" y="93"/>
                  <a:pt x="413" y="93"/>
                </a:cubicBezTo>
                <a:cubicBezTo>
                  <a:pt x="399" y="93"/>
                  <a:pt x="386" y="98"/>
                  <a:pt x="377" y="108"/>
                </a:cubicBezTo>
                <a:cubicBezTo>
                  <a:pt x="377" y="100"/>
                  <a:pt x="377" y="100"/>
                  <a:pt x="377" y="100"/>
                </a:cubicBezTo>
                <a:cubicBezTo>
                  <a:pt x="377" y="96"/>
                  <a:pt x="374" y="93"/>
                  <a:pt x="370" y="93"/>
                </a:cubicBezTo>
                <a:cubicBezTo>
                  <a:pt x="264" y="93"/>
                  <a:pt x="264" y="93"/>
                  <a:pt x="264" y="93"/>
                </a:cubicBezTo>
                <a:cubicBezTo>
                  <a:pt x="250" y="93"/>
                  <a:pt x="238" y="98"/>
                  <a:pt x="229" y="108"/>
                </a:cubicBezTo>
                <a:cubicBezTo>
                  <a:pt x="229" y="100"/>
                  <a:pt x="229" y="100"/>
                  <a:pt x="229" y="100"/>
                </a:cubicBezTo>
                <a:cubicBezTo>
                  <a:pt x="229" y="96"/>
                  <a:pt x="225" y="93"/>
                  <a:pt x="222" y="93"/>
                </a:cubicBezTo>
                <a:cubicBezTo>
                  <a:pt x="116" y="93"/>
                  <a:pt x="116" y="93"/>
                  <a:pt x="116" y="93"/>
                </a:cubicBezTo>
                <a:cubicBezTo>
                  <a:pt x="88" y="93"/>
                  <a:pt x="66" y="115"/>
                  <a:pt x="66" y="142"/>
                </a:cubicBezTo>
                <a:cubicBezTo>
                  <a:pt x="66" y="316"/>
                  <a:pt x="66" y="316"/>
                  <a:pt x="66" y="316"/>
                </a:cubicBezTo>
                <a:cubicBezTo>
                  <a:pt x="66" y="320"/>
                  <a:pt x="69" y="323"/>
                  <a:pt x="73" y="323"/>
                </a:cubicBezTo>
                <a:cubicBezTo>
                  <a:pt x="179" y="323"/>
                  <a:pt x="179" y="323"/>
                  <a:pt x="179" y="323"/>
                </a:cubicBezTo>
                <a:cubicBezTo>
                  <a:pt x="193" y="323"/>
                  <a:pt x="205" y="318"/>
                  <a:pt x="215" y="308"/>
                </a:cubicBezTo>
                <a:cubicBezTo>
                  <a:pt x="215" y="316"/>
                  <a:pt x="215" y="316"/>
                  <a:pt x="215" y="316"/>
                </a:cubicBezTo>
                <a:cubicBezTo>
                  <a:pt x="215" y="320"/>
                  <a:pt x="218" y="323"/>
                  <a:pt x="222" y="323"/>
                </a:cubicBezTo>
                <a:cubicBezTo>
                  <a:pt x="327" y="323"/>
                  <a:pt x="327" y="323"/>
                  <a:pt x="327" y="323"/>
                </a:cubicBezTo>
                <a:cubicBezTo>
                  <a:pt x="341" y="323"/>
                  <a:pt x="354" y="318"/>
                  <a:pt x="363" y="308"/>
                </a:cubicBezTo>
                <a:cubicBezTo>
                  <a:pt x="363" y="316"/>
                  <a:pt x="363" y="316"/>
                  <a:pt x="363" y="316"/>
                </a:cubicBezTo>
                <a:cubicBezTo>
                  <a:pt x="363" y="320"/>
                  <a:pt x="366" y="323"/>
                  <a:pt x="370" y="323"/>
                </a:cubicBezTo>
                <a:cubicBezTo>
                  <a:pt x="476" y="323"/>
                  <a:pt x="476" y="323"/>
                  <a:pt x="476" y="323"/>
                </a:cubicBezTo>
                <a:cubicBezTo>
                  <a:pt x="503" y="323"/>
                  <a:pt x="525" y="301"/>
                  <a:pt x="525" y="274"/>
                </a:cubicBezTo>
                <a:cubicBezTo>
                  <a:pt x="525" y="100"/>
                  <a:pt x="525" y="100"/>
                  <a:pt x="525" y="100"/>
                </a:cubicBezTo>
                <a:cubicBezTo>
                  <a:pt x="525" y="96"/>
                  <a:pt x="522" y="93"/>
                  <a:pt x="518" y="93"/>
                </a:cubicBezTo>
                <a:close/>
                <a:moveTo>
                  <a:pt x="179" y="309"/>
                </a:moveTo>
                <a:cubicBezTo>
                  <a:pt x="80" y="309"/>
                  <a:pt x="80" y="309"/>
                  <a:pt x="80" y="309"/>
                </a:cubicBezTo>
                <a:cubicBezTo>
                  <a:pt x="80" y="142"/>
                  <a:pt x="80" y="142"/>
                  <a:pt x="80" y="142"/>
                </a:cubicBezTo>
                <a:cubicBezTo>
                  <a:pt x="80" y="123"/>
                  <a:pt x="96" y="107"/>
                  <a:pt x="116" y="107"/>
                </a:cubicBezTo>
                <a:cubicBezTo>
                  <a:pt x="215" y="107"/>
                  <a:pt x="215" y="107"/>
                  <a:pt x="215" y="107"/>
                </a:cubicBezTo>
                <a:cubicBezTo>
                  <a:pt x="215" y="142"/>
                  <a:pt x="215" y="142"/>
                  <a:pt x="215" y="142"/>
                </a:cubicBezTo>
                <a:cubicBezTo>
                  <a:pt x="215" y="274"/>
                  <a:pt x="215" y="274"/>
                  <a:pt x="215" y="274"/>
                </a:cubicBezTo>
                <a:cubicBezTo>
                  <a:pt x="215" y="293"/>
                  <a:pt x="198" y="309"/>
                  <a:pt x="179" y="309"/>
                </a:cubicBezTo>
                <a:close/>
                <a:moveTo>
                  <a:pt x="327" y="309"/>
                </a:moveTo>
                <a:cubicBezTo>
                  <a:pt x="229" y="309"/>
                  <a:pt x="229" y="309"/>
                  <a:pt x="229" y="309"/>
                </a:cubicBezTo>
                <a:cubicBezTo>
                  <a:pt x="229" y="274"/>
                  <a:pt x="229" y="274"/>
                  <a:pt x="229" y="274"/>
                </a:cubicBezTo>
                <a:cubicBezTo>
                  <a:pt x="229" y="142"/>
                  <a:pt x="229" y="142"/>
                  <a:pt x="229" y="142"/>
                </a:cubicBezTo>
                <a:cubicBezTo>
                  <a:pt x="229" y="123"/>
                  <a:pt x="245" y="107"/>
                  <a:pt x="264" y="107"/>
                </a:cubicBezTo>
                <a:cubicBezTo>
                  <a:pt x="363" y="107"/>
                  <a:pt x="363" y="107"/>
                  <a:pt x="363" y="107"/>
                </a:cubicBezTo>
                <a:cubicBezTo>
                  <a:pt x="363" y="142"/>
                  <a:pt x="363" y="142"/>
                  <a:pt x="363" y="142"/>
                </a:cubicBezTo>
                <a:cubicBezTo>
                  <a:pt x="363" y="274"/>
                  <a:pt x="363" y="274"/>
                  <a:pt x="363" y="274"/>
                </a:cubicBezTo>
                <a:cubicBezTo>
                  <a:pt x="363" y="293"/>
                  <a:pt x="347" y="309"/>
                  <a:pt x="327" y="309"/>
                </a:cubicBezTo>
                <a:close/>
                <a:moveTo>
                  <a:pt x="511" y="274"/>
                </a:moveTo>
                <a:cubicBezTo>
                  <a:pt x="511" y="293"/>
                  <a:pt x="495" y="309"/>
                  <a:pt x="476" y="309"/>
                </a:cubicBezTo>
                <a:cubicBezTo>
                  <a:pt x="377" y="309"/>
                  <a:pt x="377" y="309"/>
                  <a:pt x="377" y="309"/>
                </a:cubicBezTo>
                <a:cubicBezTo>
                  <a:pt x="377" y="274"/>
                  <a:pt x="377" y="274"/>
                  <a:pt x="377" y="274"/>
                </a:cubicBezTo>
                <a:cubicBezTo>
                  <a:pt x="377" y="142"/>
                  <a:pt x="377" y="142"/>
                  <a:pt x="377" y="142"/>
                </a:cubicBezTo>
                <a:cubicBezTo>
                  <a:pt x="377" y="123"/>
                  <a:pt x="393" y="107"/>
                  <a:pt x="413" y="107"/>
                </a:cubicBezTo>
                <a:cubicBezTo>
                  <a:pt x="511" y="107"/>
                  <a:pt x="511" y="107"/>
                  <a:pt x="511" y="107"/>
                </a:cubicBezTo>
                <a:lnTo>
                  <a:pt x="511" y="274"/>
                </a:lnTo>
                <a:close/>
                <a:moveTo>
                  <a:pt x="179" y="156"/>
                </a:moveTo>
                <a:cubicBezTo>
                  <a:pt x="179" y="236"/>
                  <a:pt x="179" y="236"/>
                  <a:pt x="179" y="236"/>
                </a:cubicBezTo>
                <a:cubicBezTo>
                  <a:pt x="179" y="253"/>
                  <a:pt x="165" y="267"/>
                  <a:pt x="147" y="267"/>
                </a:cubicBezTo>
                <a:cubicBezTo>
                  <a:pt x="130" y="267"/>
                  <a:pt x="116" y="253"/>
                  <a:pt x="116" y="236"/>
                </a:cubicBezTo>
                <a:cubicBezTo>
                  <a:pt x="116" y="232"/>
                  <a:pt x="119" y="229"/>
                  <a:pt x="123" y="229"/>
                </a:cubicBezTo>
                <a:cubicBezTo>
                  <a:pt x="127" y="229"/>
                  <a:pt x="130" y="232"/>
                  <a:pt x="130" y="236"/>
                </a:cubicBezTo>
                <a:cubicBezTo>
                  <a:pt x="130" y="245"/>
                  <a:pt x="138" y="253"/>
                  <a:pt x="147" y="253"/>
                </a:cubicBezTo>
                <a:cubicBezTo>
                  <a:pt x="157" y="253"/>
                  <a:pt x="165" y="245"/>
                  <a:pt x="165" y="236"/>
                </a:cubicBezTo>
                <a:cubicBezTo>
                  <a:pt x="165" y="156"/>
                  <a:pt x="165" y="156"/>
                  <a:pt x="165" y="156"/>
                </a:cubicBezTo>
                <a:cubicBezTo>
                  <a:pt x="165" y="152"/>
                  <a:pt x="168" y="149"/>
                  <a:pt x="172" y="149"/>
                </a:cubicBezTo>
                <a:cubicBezTo>
                  <a:pt x="175" y="149"/>
                  <a:pt x="179" y="152"/>
                  <a:pt x="179" y="156"/>
                </a:cubicBezTo>
                <a:close/>
                <a:moveTo>
                  <a:pt x="269" y="208"/>
                </a:moveTo>
                <a:cubicBezTo>
                  <a:pt x="269" y="233"/>
                  <a:pt x="285" y="253"/>
                  <a:pt x="305" y="253"/>
                </a:cubicBezTo>
                <a:cubicBezTo>
                  <a:pt x="312" y="253"/>
                  <a:pt x="319" y="250"/>
                  <a:pt x="325" y="245"/>
                </a:cubicBezTo>
                <a:cubicBezTo>
                  <a:pt x="328" y="242"/>
                  <a:pt x="332" y="243"/>
                  <a:pt x="335" y="246"/>
                </a:cubicBezTo>
                <a:cubicBezTo>
                  <a:pt x="337" y="249"/>
                  <a:pt x="337" y="253"/>
                  <a:pt x="334" y="256"/>
                </a:cubicBezTo>
                <a:cubicBezTo>
                  <a:pt x="326" y="263"/>
                  <a:pt x="315" y="267"/>
                  <a:pt x="305" y="267"/>
                </a:cubicBezTo>
                <a:cubicBezTo>
                  <a:pt x="277" y="267"/>
                  <a:pt x="255" y="240"/>
                  <a:pt x="255" y="208"/>
                </a:cubicBezTo>
                <a:cubicBezTo>
                  <a:pt x="255" y="176"/>
                  <a:pt x="277" y="149"/>
                  <a:pt x="305" y="149"/>
                </a:cubicBezTo>
                <a:cubicBezTo>
                  <a:pt x="315" y="149"/>
                  <a:pt x="326" y="153"/>
                  <a:pt x="334" y="160"/>
                </a:cubicBezTo>
                <a:cubicBezTo>
                  <a:pt x="337" y="163"/>
                  <a:pt x="337" y="167"/>
                  <a:pt x="335" y="170"/>
                </a:cubicBezTo>
                <a:cubicBezTo>
                  <a:pt x="332" y="173"/>
                  <a:pt x="328" y="174"/>
                  <a:pt x="325" y="171"/>
                </a:cubicBezTo>
                <a:cubicBezTo>
                  <a:pt x="319" y="166"/>
                  <a:pt x="312" y="163"/>
                  <a:pt x="305" y="163"/>
                </a:cubicBezTo>
                <a:cubicBezTo>
                  <a:pt x="285" y="163"/>
                  <a:pt x="269" y="183"/>
                  <a:pt x="269" y="208"/>
                </a:cubicBezTo>
                <a:close/>
                <a:moveTo>
                  <a:pt x="406" y="161"/>
                </a:moveTo>
                <a:cubicBezTo>
                  <a:pt x="406" y="255"/>
                  <a:pt x="406" y="255"/>
                  <a:pt x="406" y="255"/>
                </a:cubicBezTo>
                <a:cubicBezTo>
                  <a:pt x="406" y="259"/>
                  <a:pt x="409" y="262"/>
                  <a:pt x="413" y="262"/>
                </a:cubicBezTo>
                <a:cubicBezTo>
                  <a:pt x="452" y="262"/>
                  <a:pt x="452" y="262"/>
                  <a:pt x="452" y="262"/>
                </a:cubicBezTo>
                <a:cubicBezTo>
                  <a:pt x="469" y="262"/>
                  <a:pt x="483" y="248"/>
                  <a:pt x="483" y="232"/>
                </a:cubicBezTo>
                <a:cubicBezTo>
                  <a:pt x="483" y="220"/>
                  <a:pt x="476" y="210"/>
                  <a:pt x="467" y="205"/>
                </a:cubicBezTo>
                <a:cubicBezTo>
                  <a:pt x="472" y="200"/>
                  <a:pt x="475" y="192"/>
                  <a:pt x="475" y="184"/>
                </a:cubicBezTo>
                <a:cubicBezTo>
                  <a:pt x="475" y="168"/>
                  <a:pt x="461" y="154"/>
                  <a:pt x="445" y="154"/>
                </a:cubicBezTo>
                <a:cubicBezTo>
                  <a:pt x="413" y="154"/>
                  <a:pt x="413" y="154"/>
                  <a:pt x="413" y="154"/>
                </a:cubicBezTo>
                <a:cubicBezTo>
                  <a:pt x="409" y="154"/>
                  <a:pt x="406" y="157"/>
                  <a:pt x="406" y="161"/>
                </a:cubicBezTo>
                <a:close/>
                <a:moveTo>
                  <a:pt x="420" y="168"/>
                </a:moveTo>
                <a:cubicBezTo>
                  <a:pt x="445" y="168"/>
                  <a:pt x="445" y="168"/>
                  <a:pt x="445" y="168"/>
                </a:cubicBezTo>
                <a:cubicBezTo>
                  <a:pt x="454" y="168"/>
                  <a:pt x="461" y="175"/>
                  <a:pt x="461" y="184"/>
                </a:cubicBezTo>
                <a:cubicBezTo>
                  <a:pt x="461" y="193"/>
                  <a:pt x="454" y="201"/>
                  <a:pt x="445" y="201"/>
                </a:cubicBezTo>
                <a:cubicBezTo>
                  <a:pt x="420" y="201"/>
                  <a:pt x="420" y="201"/>
                  <a:pt x="420" y="201"/>
                </a:cubicBezTo>
                <a:lnTo>
                  <a:pt x="420" y="168"/>
                </a:lnTo>
                <a:close/>
                <a:moveTo>
                  <a:pt x="420" y="215"/>
                </a:moveTo>
                <a:cubicBezTo>
                  <a:pt x="452" y="215"/>
                  <a:pt x="452" y="215"/>
                  <a:pt x="452" y="215"/>
                </a:cubicBezTo>
                <a:cubicBezTo>
                  <a:pt x="461" y="215"/>
                  <a:pt x="469" y="223"/>
                  <a:pt x="469" y="232"/>
                </a:cubicBezTo>
                <a:cubicBezTo>
                  <a:pt x="469" y="241"/>
                  <a:pt x="461" y="248"/>
                  <a:pt x="452" y="248"/>
                </a:cubicBezTo>
                <a:cubicBezTo>
                  <a:pt x="420" y="248"/>
                  <a:pt x="420" y="248"/>
                  <a:pt x="420" y="248"/>
                </a:cubicBezTo>
                <a:lnTo>
                  <a:pt x="420" y="215"/>
                </a:lnTo>
                <a:close/>
                <a:moveTo>
                  <a:pt x="544" y="0"/>
                </a:moveTo>
                <a:cubicBezTo>
                  <a:pt x="47" y="0"/>
                  <a:pt x="47" y="0"/>
                  <a:pt x="47" y="0"/>
                </a:cubicBezTo>
                <a:cubicBezTo>
                  <a:pt x="21" y="0"/>
                  <a:pt x="0" y="22"/>
                  <a:pt x="0" y="48"/>
                </a:cubicBezTo>
                <a:cubicBezTo>
                  <a:pt x="0" y="369"/>
                  <a:pt x="0" y="369"/>
                  <a:pt x="0" y="369"/>
                </a:cubicBezTo>
                <a:cubicBezTo>
                  <a:pt x="0" y="395"/>
                  <a:pt x="21" y="417"/>
                  <a:pt x="47" y="417"/>
                </a:cubicBezTo>
                <a:cubicBezTo>
                  <a:pt x="544" y="417"/>
                  <a:pt x="544" y="417"/>
                  <a:pt x="544" y="417"/>
                </a:cubicBezTo>
                <a:cubicBezTo>
                  <a:pt x="570" y="417"/>
                  <a:pt x="591" y="395"/>
                  <a:pt x="591" y="369"/>
                </a:cubicBezTo>
                <a:cubicBezTo>
                  <a:pt x="591" y="48"/>
                  <a:pt x="591" y="48"/>
                  <a:pt x="591" y="48"/>
                </a:cubicBezTo>
                <a:cubicBezTo>
                  <a:pt x="591" y="22"/>
                  <a:pt x="570" y="0"/>
                  <a:pt x="544" y="0"/>
                </a:cubicBezTo>
                <a:close/>
                <a:moveTo>
                  <a:pt x="577" y="369"/>
                </a:moveTo>
                <a:cubicBezTo>
                  <a:pt x="577" y="387"/>
                  <a:pt x="562" y="403"/>
                  <a:pt x="544" y="403"/>
                </a:cubicBezTo>
                <a:cubicBezTo>
                  <a:pt x="47" y="403"/>
                  <a:pt x="47" y="403"/>
                  <a:pt x="47" y="403"/>
                </a:cubicBezTo>
                <a:cubicBezTo>
                  <a:pt x="29" y="403"/>
                  <a:pt x="14" y="387"/>
                  <a:pt x="14" y="369"/>
                </a:cubicBezTo>
                <a:cubicBezTo>
                  <a:pt x="14" y="48"/>
                  <a:pt x="14" y="48"/>
                  <a:pt x="14" y="48"/>
                </a:cubicBezTo>
                <a:cubicBezTo>
                  <a:pt x="14" y="30"/>
                  <a:pt x="29" y="14"/>
                  <a:pt x="47" y="14"/>
                </a:cubicBezTo>
                <a:cubicBezTo>
                  <a:pt x="544" y="14"/>
                  <a:pt x="544" y="14"/>
                  <a:pt x="544" y="14"/>
                </a:cubicBezTo>
                <a:cubicBezTo>
                  <a:pt x="562" y="14"/>
                  <a:pt x="577" y="30"/>
                  <a:pt x="577" y="48"/>
                </a:cubicBezTo>
                <a:lnTo>
                  <a:pt x="577" y="369"/>
                </a:ln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9237" name="Oval 59"/>
          <p:cNvSpPr>
            <a:spLocks noChangeArrowheads="1"/>
          </p:cNvSpPr>
          <p:nvPr/>
        </p:nvSpPr>
        <p:spPr bwMode="auto">
          <a:xfrm>
            <a:off x="8347593" y="4711628"/>
            <a:ext cx="1119124" cy="1119124"/>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9279" name="Freeform 146"/>
          <p:cNvSpPr>
            <a:spLocks noEditPoints="1"/>
          </p:cNvSpPr>
          <p:nvPr/>
        </p:nvSpPr>
        <p:spPr bwMode="auto">
          <a:xfrm>
            <a:off x="8571661" y="4980754"/>
            <a:ext cx="669769" cy="573566"/>
          </a:xfrm>
          <a:custGeom>
            <a:avLst/>
            <a:gdLst>
              <a:gd name="T0" fmla="*/ 85 w 636"/>
              <a:gd name="T1" fmla="*/ 159 h 544"/>
              <a:gd name="T2" fmla="*/ 308 w 636"/>
              <a:gd name="T3" fmla="*/ 544 h 544"/>
              <a:gd name="T4" fmla="*/ 532 w 636"/>
              <a:gd name="T5" fmla="*/ 159 h 544"/>
              <a:gd name="T6" fmla="*/ 226 w 636"/>
              <a:gd name="T7" fmla="*/ 353 h 544"/>
              <a:gd name="T8" fmla="*/ 308 w 636"/>
              <a:gd name="T9" fmla="*/ 240 h 544"/>
              <a:gd name="T10" fmla="*/ 391 w 636"/>
              <a:gd name="T11" fmla="*/ 353 h 544"/>
              <a:gd name="T12" fmla="*/ 308 w 636"/>
              <a:gd name="T13" fmla="*/ 530 h 544"/>
              <a:gd name="T14" fmla="*/ 399 w 636"/>
              <a:gd name="T15" fmla="*/ 515 h 544"/>
              <a:gd name="T16" fmla="*/ 405 w 636"/>
              <a:gd name="T17" fmla="*/ 350 h 544"/>
              <a:gd name="T18" fmla="*/ 308 w 636"/>
              <a:gd name="T19" fmla="*/ 226 h 544"/>
              <a:gd name="T20" fmla="*/ 212 w 636"/>
              <a:gd name="T21" fmla="*/ 350 h 544"/>
              <a:gd name="T22" fmla="*/ 218 w 636"/>
              <a:gd name="T23" fmla="*/ 515 h 544"/>
              <a:gd name="T24" fmla="*/ 98 w 636"/>
              <a:gd name="T25" fmla="*/ 164 h 544"/>
              <a:gd name="T26" fmla="*/ 530 w 636"/>
              <a:gd name="T27" fmla="*/ 197 h 544"/>
              <a:gd name="T28" fmla="*/ 442 w 636"/>
              <a:gd name="T29" fmla="*/ 192 h 544"/>
              <a:gd name="T30" fmla="*/ 445 w 636"/>
              <a:gd name="T31" fmla="*/ 237 h 544"/>
              <a:gd name="T32" fmla="*/ 442 w 636"/>
              <a:gd name="T33" fmla="*/ 223 h 544"/>
              <a:gd name="T34" fmla="*/ 445 w 636"/>
              <a:gd name="T35" fmla="*/ 206 h 544"/>
              <a:gd name="T36" fmla="*/ 442 w 636"/>
              <a:gd name="T37" fmla="*/ 223 h 544"/>
              <a:gd name="T38" fmla="*/ 143 w 636"/>
              <a:gd name="T39" fmla="*/ 208 h 544"/>
              <a:gd name="T40" fmla="*/ 211 w 636"/>
              <a:gd name="T41" fmla="*/ 235 h 544"/>
              <a:gd name="T42" fmla="*/ 204 w 636"/>
              <a:gd name="T43" fmla="*/ 222 h 544"/>
              <a:gd name="T44" fmla="*/ 157 w 636"/>
              <a:gd name="T45" fmla="*/ 208 h 544"/>
              <a:gd name="T46" fmla="*/ 206 w 636"/>
              <a:gd name="T47" fmla="*/ 221 h 544"/>
              <a:gd name="T48" fmla="*/ 28 w 636"/>
              <a:gd name="T49" fmla="*/ 132 h 544"/>
              <a:gd name="T50" fmla="*/ 132 w 636"/>
              <a:gd name="T51" fmla="*/ 28 h 544"/>
              <a:gd name="T52" fmla="*/ 132 w 636"/>
              <a:gd name="T53" fmla="*/ 51 h 544"/>
              <a:gd name="T54" fmla="*/ 38 w 636"/>
              <a:gd name="T55" fmla="*/ 38 h 544"/>
              <a:gd name="T56" fmla="*/ 50 w 636"/>
              <a:gd name="T57" fmla="*/ 131 h 544"/>
              <a:gd name="T58" fmla="*/ 43 w 636"/>
              <a:gd name="T59" fmla="*/ 143 h 544"/>
              <a:gd name="T60" fmla="*/ 589 w 636"/>
              <a:gd name="T61" fmla="*/ 144 h 544"/>
              <a:gd name="T62" fmla="*/ 598 w 636"/>
              <a:gd name="T63" fmla="*/ 122 h 544"/>
              <a:gd name="T64" fmla="*/ 556 w 636"/>
              <a:gd name="T65" fmla="*/ 21 h 544"/>
              <a:gd name="T66" fmla="*/ 494 w 636"/>
              <a:gd name="T67" fmla="*/ 54 h 544"/>
              <a:gd name="T68" fmla="*/ 607 w 636"/>
              <a:gd name="T69" fmla="*/ 28 h 544"/>
              <a:gd name="T70" fmla="*/ 321 w 636"/>
              <a:gd name="T71" fmla="*/ 413 h 544"/>
              <a:gd name="T72" fmla="*/ 344 w 636"/>
              <a:gd name="T73" fmla="*/ 348 h 544"/>
              <a:gd name="T74" fmla="*/ 270 w 636"/>
              <a:gd name="T75" fmla="*/ 315 h 544"/>
              <a:gd name="T76" fmla="*/ 307 w 636"/>
              <a:gd name="T77" fmla="*/ 385 h 544"/>
              <a:gd name="T78" fmla="*/ 262 w 636"/>
              <a:gd name="T79" fmla="*/ 458 h 544"/>
              <a:gd name="T80" fmla="*/ 314 w 636"/>
              <a:gd name="T81" fmla="*/ 426 h 544"/>
              <a:gd name="T82" fmla="*/ 367 w 636"/>
              <a:gd name="T83" fmla="*/ 458 h 544"/>
              <a:gd name="T84" fmla="*/ 314 w 636"/>
              <a:gd name="T85" fmla="*/ 319 h 544"/>
              <a:gd name="T86" fmla="*/ 314 w 636"/>
              <a:gd name="T87" fmla="*/ 366 h 5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36" h="544">
                <a:moveTo>
                  <a:pt x="532" y="159"/>
                </a:moveTo>
                <a:cubicBezTo>
                  <a:pt x="518" y="115"/>
                  <a:pt x="470" y="41"/>
                  <a:pt x="308" y="41"/>
                </a:cubicBezTo>
                <a:cubicBezTo>
                  <a:pt x="147" y="41"/>
                  <a:pt x="99" y="115"/>
                  <a:pt x="85" y="159"/>
                </a:cubicBezTo>
                <a:cubicBezTo>
                  <a:pt x="81" y="170"/>
                  <a:pt x="77" y="181"/>
                  <a:pt x="73" y="193"/>
                </a:cubicBezTo>
                <a:cubicBezTo>
                  <a:pt x="46" y="275"/>
                  <a:pt x="11" y="377"/>
                  <a:pt x="66" y="429"/>
                </a:cubicBezTo>
                <a:cubicBezTo>
                  <a:pt x="128" y="487"/>
                  <a:pt x="198" y="544"/>
                  <a:pt x="308" y="544"/>
                </a:cubicBezTo>
                <a:cubicBezTo>
                  <a:pt x="419" y="544"/>
                  <a:pt x="489" y="487"/>
                  <a:pt x="551" y="429"/>
                </a:cubicBezTo>
                <a:cubicBezTo>
                  <a:pt x="606" y="377"/>
                  <a:pt x="571" y="275"/>
                  <a:pt x="543" y="193"/>
                </a:cubicBezTo>
                <a:cubicBezTo>
                  <a:pt x="540" y="181"/>
                  <a:pt x="536" y="170"/>
                  <a:pt x="532" y="159"/>
                </a:cubicBezTo>
                <a:close/>
                <a:moveTo>
                  <a:pt x="221" y="497"/>
                </a:moveTo>
                <a:cubicBezTo>
                  <a:pt x="198" y="467"/>
                  <a:pt x="207" y="427"/>
                  <a:pt x="210" y="415"/>
                </a:cubicBezTo>
                <a:cubicBezTo>
                  <a:pt x="216" y="393"/>
                  <a:pt x="221" y="371"/>
                  <a:pt x="226" y="353"/>
                </a:cubicBezTo>
                <a:cubicBezTo>
                  <a:pt x="231" y="333"/>
                  <a:pt x="235" y="316"/>
                  <a:pt x="239" y="302"/>
                </a:cubicBezTo>
                <a:cubicBezTo>
                  <a:pt x="240" y="299"/>
                  <a:pt x="241" y="296"/>
                  <a:pt x="242" y="293"/>
                </a:cubicBezTo>
                <a:cubicBezTo>
                  <a:pt x="248" y="267"/>
                  <a:pt x="256" y="240"/>
                  <a:pt x="308" y="240"/>
                </a:cubicBezTo>
                <a:cubicBezTo>
                  <a:pt x="361" y="240"/>
                  <a:pt x="368" y="267"/>
                  <a:pt x="375" y="293"/>
                </a:cubicBezTo>
                <a:cubicBezTo>
                  <a:pt x="376" y="296"/>
                  <a:pt x="377" y="299"/>
                  <a:pt x="378" y="302"/>
                </a:cubicBezTo>
                <a:cubicBezTo>
                  <a:pt x="382" y="316"/>
                  <a:pt x="386" y="333"/>
                  <a:pt x="391" y="353"/>
                </a:cubicBezTo>
                <a:cubicBezTo>
                  <a:pt x="396" y="371"/>
                  <a:pt x="401" y="393"/>
                  <a:pt x="407" y="415"/>
                </a:cubicBezTo>
                <a:cubicBezTo>
                  <a:pt x="410" y="427"/>
                  <a:pt x="419" y="467"/>
                  <a:pt x="396" y="497"/>
                </a:cubicBezTo>
                <a:cubicBezTo>
                  <a:pt x="379" y="519"/>
                  <a:pt x="350" y="530"/>
                  <a:pt x="308" y="530"/>
                </a:cubicBezTo>
                <a:cubicBezTo>
                  <a:pt x="267" y="530"/>
                  <a:pt x="238" y="519"/>
                  <a:pt x="221" y="497"/>
                </a:cubicBezTo>
                <a:close/>
                <a:moveTo>
                  <a:pt x="542" y="418"/>
                </a:moveTo>
                <a:cubicBezTo>
                  <a:pt x="501" y="457"/>
                  <a:pt x="456" y="495"/>
                  <a:pt x="399" y="515"/>
                </a:cubicBezTo>
                <a:cubicBezTo>
                  <a:pt x="402" y="512"/>
                  <a:pt x="404" y="509"/>
                  <a:pt x="407" y="506"/>
                </a:cubicBezTo>
                <a:cubicBezTo>
                  <a:pt x="434" y="471"/>
                  <a:pt x="424" y="425"/>
                  <a:pt x="420" y="412"/>
                </a:cubicBezTo>
                <a:cubicBezTo>
                  <a:pt x="414" y="389"/>
                  <a:pt x="409" y="368"/>
                  <a:pt x="405" y="350"/>
                </a:cubicBezTo>
                <a:cubicBezTo>
                  <a:pt x="400" y="329"/>
                  <a:pt x="396" y="312"/>
                  <a:pt x="391" y="298"/>
                </a:cubicBezTo>
                <a:cubicBezTo>
                  <a:pt x="391" y="295"/>
                  <a:pt x="390" y="292"/>
                  <a:pt x="389" y="289"/>
                </a:cubicBezTo>
                <a:cubicBezTo>
                  <a:pt x="382" y="263"/>
                  <a:pt x="372" y="226"/>
                  <a:pt x="308" y="226"/>
                </a:cubicBezTo>
                <a:cubicBezTo>
                  <a:pt x="245" y="226"/>
                  <a:pt x="235" y="263"/>
                  <a:pt x="228" y="289"/>
                </a:cubicBezTo>
                <a:cubicBezTo>
                  <a:pt x="227" y="292"/>
                  <a:pt x="226" y="295"/>
                  <a:pt x="225" y="298"/>
                </a:cubicBezTo>
                <a:cubicBezTo>
                  <a:pt x="221" y="312"/>
                  <a:pt x="217" y="329"/>
                  <a:pt x="212" y="350"/>
                </a:cubicBezTo>
                <a:cubicBezTo>
                  <a:pt x="208" y="368"/>
                  <a:pt x="203" y="389"/>
                  <a:pt x="196" y="412"/>
                </a:cubicBezTo>
                <a:cubicBezTo>
                  <a:pt x="193" y="425"/>
                  <a:pt x="183" y="471"/>
                  <a:pt x="210" y="506"/>
                </a:cubicBezTo>
                <a:cubicBezTo>
                  <a:pt x="212" y="509"/>
                  <a:pt x="215" y="512"/>
                  <a:pt x="218" y="515"/>
                </a:cubicBezTo>
                <a:cubicBezTo>
                  <a:pt x="161" y="495"/>
                  <a:pt x="116" y="457"/>
                  <a:pt x="75" y="418"/>
                </a:cubicBezTo>
                <a:cubicBezTo>
                  <a:pt x="27" y="373"/>
                  <a:pt x="60" y="276"/>
                  <a:pt x="87" y="197"/>
                </a:cubicBezTo>
                <a:cubicBezTo>
                  <a:pt x="91" y="185"/>
                  <a:pt x="94" y="174"/>
                  <a:pt x="98" y="164"/>
                </a:cubicBezTo>
                <a:cubicBezTo>
                  <a:pt x="111" y="123"/>
                  <a:pt x="156" y="55"/>
                  <a:pt x="308" y="55"/>
                </a:cubicBezTo>
                <a:cubicBezTo>
                  <a:pt x="461" y="55"/>
                  <a:pt x="506" y="123"/>
                  <a:pt x="519" y="164"/>
                </a:cubicBezTo>
                <a:cubicBezTo>
                  <a:pt x="523" y="174"/>
                  <a:pt x="526" y="185"/>
                  <a:pt x="530" y="197"/>
                </a:cubicBezTo>
                <a:cubicBezTo>
                  <a:pt x="557" y="276"/>
                  <a:pt x="590" y="373"/>
                  <a:pt x="542" y="418"/>
                </a:cubicBezTo>
                <a:close/>
                <a:moveTo>
                  <a:pt x="455" y="191"/>
                </a:moveTo>
                <a:cubicBezTo>
                  <a:pt x="451" y="191"/>
                  <a:pt x="447" y="191"/>
                  <a:pt x="442" y="192"/>
                </a:cubicBezTo>
                <a:cubicBezTo>
                  <a:pt x="424" y="196"/>
                  <a:pt x="405" y="207"/>
                  <a:pt x="405" y="221"/>
                </a:cubicBezTo>
                <a:cubicBezTo>
                  <a:pt x="405" y="232"/>
                  <a:pt x="416" y="239"/>
                  <a:pt x="432" y="239"/>
                </a:cubicBezTo>
                <a:cubicBezTo>
                  <a:pt x="436" y="239"/>
                  <a:pt x="441" y="238"/>
                  <a:pt x="445" y="237"/>
                </a:cubicBezTo>
                <a:cubicBezTo>
                  <a:pt x="463" y="234"/>
                  <a:pt x="482" y="223"/>
                  <a:pt x="482" y="208"/>
                </a:cubicBezTo>
                <a:cubicBezTo>
                  <a:pt x="482" y="198"/>
                  <a:pt x="471" y="191"/>
                  <a:pt x="455" y="191"/>
                </a:cubicBezTo>
                <a:close/>
                <a:moveTo>
                  <a:pt x="442" y="223"/>
                </a:moveTo>
                <a:cubicBezTo>
                  <a:pt x="439" y="224"/>
                  <a:pt x="435" y="225"/>
                  <a:pt x="432" y="225"/>
                </a:cubicBezTo>
                <a:cubicBezTo>
                  <a:pt x="423" y="225"/>
                  <a:pt x="419" y="222"/>
                  <a:pt x="419" y="221"/>
                </a:cubicBezTo>
                <a:cubicBezTo>
                  <a:pt x="419" y="217"/>
                  <a:pt x="429" y="209"/>
                  <a:pt x="445" y="206"/>
                </a:cubicBezTo>
                <a:cubicBezTo>
                  <a:pt x="448" y="205"/>
                  <a:pt x="452" y="205"/>
                  <a:pt x="455" y="205"/>
                </a:cubicBezTo>
                <a:cubicBezTo>
                  <a:pt x="464" y="205"/>
                  <a:pt x="468" y="208"/>
                  <a:pt x="468" y="208"/>
                </a:cubicBezTo>
                <a:cubicBezTo>
                  <a:pt x="468" y="212"/>
                  <a:pt x="458" y="220"/>
                  <a:pt x="442" y="223"/>
                </a:cubicBezTo>
                <a:close/>
                <a:moveTo>
                  <a:pt x="183" y="192"/>
                </a:moveTo>
                <a:cubicBezTo>
                  <a:pt x="179" y="191"/>
                  <a:pt x="174" y="191"/>
                  <a:pt x="170" y="191"/>
                </a:cubicBezTo>
                <a:cubicBezTo>
                  <a:pt x="154" y="191"/>
                  <a:pt x="143" y="198"/>
                  <a:pt x="143" y="208"/>
                </a:cubicBezTo>
                <a:cubicBezTo>
                  <a:pt x="143" y="223"/>
                  <a:pt x="162" y="234"/>
                  <a:pt x="180" y="237"/>
                </a:cubicBezTo>
                <a:cubicBezTo>
                  <a:pt x="185" y="238"/>
                  <a:pt x="189" y="239"/>
                  <a:pt x="193" y="239"/>
                </a:cubicBezTo>
                <a:cubicBezTo>
                  <a:pt x="200" y="239"/>
                  <a:pt x="206" y="237"/>
                  <a:pt x="211" y="235"/>
                </a:cubicBezTo>
                <a:cubicBezTo>
                  <a:pt x="217" y="232"/>
                  <a:pt x="220" y="227"/>
                  <a:pt x="220" y="221"/>
                </a:cubicBezTo>
                <a:cubicBezTo>
                  <a:pt x="220" y="207"/>
                  <a:pt x="202" y="196"/>
                  <a:pt x="183" y="192"/>
                </a:cubicBezTo>
                <a:close/>
                <a:moveTo>
                  <a:pt x="204" y="222"/>
                </a:moveTo>
                <a:cubicBezTo>
                  <a:pt x="203" y="223"/>
                  <a:pt x="200" y="225"/>
                  <a:pt x="193" y="225"/>
                </a:cubicBezTo>
                <a:cubicBezTo>
                  <a:pt x="190" y="225"/>
                  <a:pt x="187" y="224"/>
                  <a:pt x="183" y="223"/>
                </a:cubicBezTo>
                <a:cubicBezTo>
                  <a:pt x="167" y="220"/>
                  <a:pt x="157" y="212"/>
                  <a:pt x="157" y="208"/>
                </a:cubicBezTo>
                <a:cubicBezTo>
                  <a:pt x="157" y="208"/>
                  <a:pt x="161" y="205"/>
                  <a:pt x="170" y="205"/>
                </a:cubicBezTo>
                <a:cubicBezTo>
                  <a:pt x="174" y="205"/>
                  <a:pt x="177" y="205"/>
                  <a:pt x="180" y="206"/>
                </a:cubicBezTo>
                <a:cubicBezTo>
                  <a:pt x="196" y="209"/>
                  <a:pt x="206" y="217"/>
                  <a:pt x="206" y="221"/>
                </a:cubicBezTo>
                <a:cubicBezTo>
                  <a:pt x="206" y="221"/>
                  <a:pt x="205" y="222"/>
                  <a:pt x="204" y="222"/>
                </a:cubicBezTo>
                <a:close/>
                <a:moveTo>
                  <a:pt x="43" y="143"/>
                </a:moveTo>
                <a:cubicBezTo>
                  <a:pt x="38" y="140"/>
                  <a:pt x="33" y="136"/>
                  <a:pt x="28" y="132"/>
                </a:cubicBezTo>
                <a:cubicBezTo>
                  <a:pt x="0" y="103"/>
                  <a:pt x="0" y="57"/>
                  <a:pt x="28" y="28"/>
                </a:cubicBezTo>
                <a:cubicBezTo>
                  <a:pt x="42" y="15"/>
                  <a:pt x="61" y="7"/>
                  <a:pt x="80" y="7"/>
                </a:cubicBezTo>
                <a:cubicBezTo>
                  <a:pt x="100" y="7"/>
                  <a:pt x="118" y="15"/>
                  <a:pt x="132" y="28"/>
                </a:cubicBezTo>
                <a:cubicBezTo>
                  <a:pt x="137" y="33"/>
                  <a:pt x="141" y="39"/>
                  <a:pt x="144" y="44"/>
                </a:cubicBezTo>
                <a:cubicBezTo>
                  <a:pt x="146" y="48"/>
                  <a:pt x="145" y="52"/>
                  <a:pt x="141" y="54"/>
                </a:cubicBezTo>
                <a:cubicBezTo>
                  <a:pt x="138" y="56"/>
                  <a:pt x="134" y="55"/>
                  <a:pt x="132" y="51"/>
                </a:cubicBezTo>
                <a:cubicBezTo>
                  <a:pt x="129" y="47"/>
                  <a:pt x="126" y="42"/>
                  <a:pt x="122" y="38"/>
                </a:cubicBezTo>
                <a:cubicBezTo>
                  <a:pt x="111" y="27"/>
                  <a:pt x="96" y="21"/>
                  <a:pt x="80" y="21"/>
                </a:cubicBezTo>
                <a:cubicBezTo>
                  <a:pt x="64" y="21"/>
                  <a:pt x="49" y="27"/>
                  <a:pt x="38" y="38"/>
                </a:cubicBezTo>
                <a:cubicBezTo>
                  <a:pt x="27" y="49"/>
                  <a:pt x="21" y="64"/>
                  <a:pt x="21" y="80"/>
                </a:cubicBezTo>
                <a:cubicBezTo>
                  <a:pt x="21" y="96"/>
                  <a:pt x="27" y="111"/>
                  <a:pt x="38" y="122"/>
                </a:cubicBezTo>
                <a:cubicBezTo>
                  <a:pt x="42" y="126"/>
                  <a:pt x="46" y="129"/>
                  <a:pt x="50" y="131"/>
                </a:cubicBezTo>
                <a:cubicBezTo>
                  <a:pt x="54" y="133"/>
                  <a:pt x="55" y="138"/>
                  <a:pt x="53" y="141"/>
                </a:cubicBezTo>
                <a:cubicBezTo>
                  <a:pt x="51" y="143"/>
                  <a:pt x="49" y="144"/>
                  <a:pt x="47" y="144"/>
                </a:cubicBezTo>
                <a:cubicBezTo>
                  <a:pt x="46" y="144"/>
                  <a:pt x="44" y="144"/>
                  <a:pt x="43" y="143"/>
                </a:cubicBezTo>
                <a:close/>
                <a:moveTo>
                  <a:pt x="607" y="132"/>
                </a:moveTo>
                <a:cubicBezTo>
                  <a:pt x="603" y="136"/>
                  <a:pt x="598" y="140"/>
                  <a:pt x="593" y="143"/>
                </a:cubicBezTo>
                <a:cubicBezTo>
                  <a:pt x="591" y="144"/>
                  <a:pt x="590" y="144"/>
                  <a:pt x="589" y="144"/>
                </a:cubicBezTo>
                <a:cubicBezTo>
                  <a:pt x="587" y="144"/>
                  <a:pt x="584" y="143"/>
                  <a:pt x="583" y="141"/>
                </a:cubicBezTo>
                <a:cubicBezTo>
                  <a:pt x="581" y="138"/>
                  <a:pt x="582" y="133"/>
                  <a:pt x="586" y="131"/>
                </a:cubicBezTo>
                <a:cubicBezTo>
                  <a:pt x="590" y="129"/>
                  <a:pt x="594" y="126"/>
                  <a:pt x="598" y="122"/>
                </a:cubicBezTo>
                <a:cubicBezTo>
                  <a:pt x="609" y="111"/>
                  <a:pt x="615" y="96"/>
                  <a:pt x="615" y="80"/>
                </a:cubicBezTo>
                <a:cubicBezTo>
                  <a:pt x="615" y="64"/>
                  <a:pt x="609" y="49"/>
                  <a:pt x="598" y="38"/>
                </a:cubicBezTo>
                <a:cubicBezTo>
                  <a:pt x="586" y="27"/>
                  <a:pt x="571" y="21"/>
                  <a:pt x="556" y="21"/>
                </a:cubicBezTo>
                <a:cubicBezTo>
                  <a:pt x="540" y="21"/>
                  <a:pt x="525" y="27"/>
                  <a:pt x="514" y="38"/>
                </a:cubicBezTo>
                <a:cubicBezTo>
                  <a:pt x="510" y="42"/>
                  <a:pt x="507" y="47"/>
                  <a:pt x="504" y="51"/>
                </a:cubicBezTo>
                <a:cubicBezTo>
                  <a:pt x="502" y="55"/>
                  <a:pt x="498" y="56"/>
                  <a:pt x="494" y="54"/>
                </a:cubicBezTo>
                <a:cubicBezTo>
                  <a:pt x="491" y="52"/>
                  <a:pt x="490" y="48"/>
                  <a:pt x="492" y="44"/>
                </a:cubicBezTo>
                <a:cubicBezTo>
                  <a:pt x="495" y="39"/>
                  <a:pt x="499" y="33"/>
                  <a:pt x="504" y="28"/>
                </a:cubicBezTo>
                <a:cubicBezTo>
                  <a:pt x="532" y="0"/>
                  <a:pt x="579" y="0"/>
                  <a:pt x="607" y="28"/>
                </a:cubicBezTo>
                <a:cubicBezTo>
                  <a:pt x="636" y="57"/>
                  <a:pt x="636" y="103"/>
                  <a:pt x="607" y="132"/>
                </a:cubicBezTo>
                <a:close/>
                <a:moveTo>
                  <a:pt x="366" y="449"/>
                </a:moveTo>
                <a:cubicBezTo>
                  <a:pt x="321" y="413"/>
                  <a:pt x="321" y="413"/>
                  <a:pt x="321" y="413"/>
                </a:cubicBezTo>
                <a:cubicBezTo>
                  <a:pt x="321" y="386"/>
                  <a:pt x="321" y="386"/>
                  <a:pt x="321" y="386"/>
                </a:cubicBezTo>
                <a:cubicBezTo>
                  <a:pt x="321" y="386"/>
                  <a:pt x="321" y="386"/>
                  <a:pt x="321" y="385"/>
                </a:cubicBezTo>
                <a:cubicBezTo>
                  <a:pt x="321" y="377"/>
                  <a:pt x="335" y="360"/>
                  <a:pt x="344" y="348"/>
                </a:cubicBezTo>
                <a:cubicBezTo>
                  <a:pt x="357" y="331"/>
                  <a:pt x="362" y="323"/>
                  <a:pt x="359" y="316"/>
                </a:cubicBezTo>
                <a:cubicBezTo>
                  <a:pt x="358" y="313"/>
                  <a:pt x="355" y="305"/>
                  <a:pt x="314" y="305"/>
                </a:cubicBezTo>
                <a:cubicBezTo>
                  <a:pt x="275" y="305"/>
                  <a:pt x="271" y="313"/>
                  <a:pt x="270" y="315"/>
                </a:cubicBezTo>
                <a:cubicBezTo>
                  <a:pt x="265" y="323"/>
                  <a:pt x="273" y="334"/>
                  <a:pt x="287" y="352"/>
                </a:cubicBezTo>
                <a:cubicBezTo>
                  <a:pt x="295" y="363"/>
                  <a:pt x="307" y="378"/>
                  <a:pt x="307" y="385"/>
                </a:cubicBezTo>
                <a:cubicBezTo>
                  <a:pt x="307" y="385"/>
                  <a:pt x="307" y="385"/>
                  <a:pt x="307" y="385"/>
                </a:cubicBezTo>
                <a:cubicBezTo>
                  <a:pt x="307" y="413"/>
                  <a:pt x="307" y="413"/>
                  <a:pt x="307" y="413"/>
                </a:cubicBezTo>
                <a:cubicBezTo>
                  <a:pt x="263" y="449"/>
                  <a:pt x="263" y="449"/>
                  <a:pt x="263" y="449"/>
                </a:cubicBezTo>
                <a:cubicBezTo>
                  <a:pt x="260" y="451"/>
                  <a:pt x="259" y="455"/>
                  <a:pt x="262" y="458"/>
                </a:cubicBezTo>
                <a:cubicBezTo>
                  <a:pt x="263" y="460"/>
                  <a:pt x="265" y="461"/>
                  <a:pt x="267" y="461"/>
                </a:cubicBezTo>
                <a:cubicBezTo>
                  <a:pt x="269" y="461"/>
                  <a:pt x="270" y="461"/>
                  <a:pt x="272" y="460"/>
                </a:cubicBezTo>
                <a:cubicBezTo>
                  <a:pt x="314" y="426"/>
                  <a:pt x="314" y="426"/>
                  <a:pt x="314" y="426"/>
                </a:cubicBezTo>
                <a:cubicBezTo>
                  <a:pt x="357" y="460"/>
                  <a:pt x="357" y="460"/>
                  <a:pt x="357" y="460"/>
                </a:cubicBezTo>
                <a:cubicBezTo>
                  <a:pt x="359" y="461"/>
                  <a:pt x="360" y="461"/>
                  <a:pt x="362" y="461"/>
                </a:cubicBezTo>
                <a:cubicBezTo>
                  <a:pt x="364" y="461"/>
                  <a:pt x="366" y="460"/>
                  <a:pt x="367" y="458"/>
                </a:cubicBezTo>
                <a:cubicBezTo>
                  <a:pt x="370" y="455"/>
                  <a:pt x="369" y="451"/>
                  <a:pt x="366" y="449"/>
                </a:cubicBezTo>
                <a:close/>
                <a:moveTo>
                  <a:pt x="283" y="322"/>
                </a:moveTo>
                <a:cubicBezTo>
                  <a:pt x="288" y="321"/>
                  <a:pt x="298" y="319"/>
                  <a:pt x="314" y="319"/>
                </a:cubicBezTo>
                <a:cubicBezTo>
                  <a:pt x="329" y="319"/>
                  <a:pt x="340" y="321"/>
                  <a:pt x="345" y="322"/>
                </a:cubicBezTo>
                <a:cubicBezTo>
                  <a:pt x="343" y="326"/>
                  <a:pt x="337" y="334"/>
                  <a:pt x="333" y="340"/>
                </a:cubicBezTo>
                <a:cubicBezTo>
                  <a:pt x="326" y="348"/>
                  <a:pt x="319" y="358"/>
                  <a:pt x="314" y="366"/>
                </a:cubicBezTo>
                <a:cubicBezTo>
                  <a:pt x="310" y="359"/>
                  <a:pt x="304" y="351"/>
                  <a:pt x="298" y="343"/>
                </a:cubicBezTo>
                <a:cubicBezTo>
                  <a:pt x="293" y="337"/>
                  <a:pt x="285" y="327"/>
                  <a:pt x="283" y="322"/>
                </a:cubicBez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9236" name="Oval 58"/>
          <p:cNvSpPr>
            <a:spLocks noChangeArrowheads="1"/>
          </p:cNvSpPr>
          <p:nvPr/>
        </p:nvSpPr>
        <p:spPr bwMode="auto">
          <a:xfrm>
            <a:off x="10105564" y="4711628"/>
            <a:ext cx="1119124" cy="1119124"/>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9280" name="Freeform 147"/>
          <p:cNvSpPr>
            <a:spLocks noEditPoints="1"/>
          </p:cNvSpPr>
          <p:nvPr/>
        </p:nvSpPr>
        <p:spPr bwMode="auto">
          <a:xfrm>
            <a:off x="10363449" y="4922300"/>
            <a:ext cx="603354" cy="696560"/>
          </a:xfrm>
          <a:custGeom>
            <a:avLst/>
            <a:gdLst>
              <a:gd name="T0" fmla="*/ 184 w 573"/>
              <a:gd name="T1" fmla="*/ 291 h 661"/>
              <a:gd name="T2" fmla="*/ 194 w 573"/>
              <a:gd name="T3" fmla="*/ 360 h 661"/>
              <a:gd name="T4" fmla="*/ 224 w 573"/>
              <a:gd name="T5" fmla="*/ 338 h 661"/>
              <a:gd name="T6" fmla="*/ 194 w 573"/>
              <a:gd name="T7" fmla="*/ 346 h 661"/>
              <a:gd name="T8" fmla="*/ 184 w 573"/>
              <a:gd name="T9" fmla="*/ 305 h 661"/>
              <a:gd name="T10" fmla="*/ 194 w 573"/>
              <a:gd name="T11" fmla="*/ 346 h 661"/>
              <a:gd name="T12" fmla="*/ 367 w 573"/>
              <a:gd name="T13" fmla="*/ 301 h 661"/>
              <a:gd name="T14" fmla="*/ 379 w 573"/>
              <a:gd name="T15" fmla="*/ 360 h 661"/>
              <a:gd name="T16" fmla="*/ 389 w 573"/>
              <a:gd name="T17" fmla="*/ 291 h 661"/>
              <a:gd name="T18" fmla="*/ 363 w 573"/>
              <a:gd name="T19" fmla="*/ 343 h 661"/>
              <a:gd name="T20" fmla="*/ 400 w 573"/>
              <a:gd name="T21" fmla="*/ 311 h 661"/>
              <a:gd name="T22" fmla="*/ 436 w 573"/>
              <a:gd name="T23" fmla="*/ 221 h 661"/>
              <a:gd name="T24" fmla="*/ 486 w 573"/>
              <a:gd name="T25" fmla="*/ 176 h 661"/>
              <a:gd name="T26" fmla="*/ 493 w 573"/>
              <a:gd name="T27" fmla="*/ 189 h 661"/>
              <a:gd name="T28" fmla="*/ 515 w 573"/>
              <a:gd name="T29" fmla="*/ 6 h 661"/>
              <a:gd name="T30" fmla="*/ 286 w 573"/>
              <a:gd name="T31" fmla="*/ 125 h 661"/>
              <a:gd name="T32" fmla="*/ 58 w 573"/>
              <a:gd name="T33" fmla="*/ 6 h 661"/>
              <a:gd name="T34" fmla="*/ 79 w 573"/>
              <a:gd name="T35" fmla="*/ 189 h 661"/>
              <a:gd name="T36" fmla="*/ 86 w 573"/>
              <a:gd name="T37" fmla="*/ 176 h 661"/>
              <a:gd name="T38" fmla="*/ 190 w 573"/>
              <a:gd name="T39" fmla="*/ 145 h 661"/>
              <a:gd name="T40" fmla="*/ 3 w 573"/>
              <a:gd name="T41" fmla="*/ 328 h 661"/>
              <a:gd name="T42" fmla="*/ 25 w 573"/>
              <a:gd name="T43" fmla="*/ 332 h 661"/>
              <a:gd name="T44" fmla="*/ 141 w 573"/>
              <a:gd name="T45" fmla="*/ 424 h 661"/>
              <a:gd name="T46" fmla="*/ 175 w 573"/>
              <a:gd name="T47" fmla="*/ 599 h 661"/>
              <a:gd name="T48" fmla="*/ 398 w 573"/>
              <a:gd name="T49" fmla="*/ 599 h 661"/>
              <a:gd name="T50" fmla="*/ 434 w 573"/>
              <a:gd name="T51" fmla="*/ 419 h 661"/>
              <a:gd name="T52" fmla="*/ 548 w 573"/>
              <a:gd name="T53" fmla="*/ 332 h 661"/>
              <a:gd name="T54" fmla="*/ 570 w 573"/>
              <a:gd name="T55" fmla="*/ 328 h 661"/>
              <a:gd name="T56" fmla="*/ 384 w 573"/>
              <a:gd name="T57" fmla="*/ 599 h 661"/>
              <a:gd name="T58" fmla="*/ 189 w 573"/>
              <a:gd name="T59" fmla="*/ 599 h 661"/>
              <a:gd name="T60" fmla="*/ 214 w 573"/>
              <a:gd name="T61" fmla="*/ 535 h 661"/>
              <a:gd name="T62" fmla="*/ 313 w 573"/>
              <a:gd name="T63" fmla="*/ 518 h 661"/>
              <a:gd name="T64" fmla="*/ 457 w 573"/>
              <a:gd name="T65" fmla="*/ 277 h 661"/>
              <a:gd name="T66" fmla="*/ 448 w 573"/>
              <a:gd name="T67" fmla="*/ 384 h 661"/>
              <a:gd name="T68" fmla="*/ 313 w 573"/>
              <a:gd name="T69" fmla="*/ 504 h 661"/>
              <a:gd name="T70" fmla="*/ 151 w 573"/>
              <a:gd name="T71" fmla="*/ 414 h 661"/>
              <a:gd name="T72" fmla="*/ 124 w 573"/>
              <a:gd name="T73" fmla="*/ 272 h 661"/>
              <a:gd name="T74" fmla="*/ 18 w 573"/>
              <a:gd name="T75" fmla="*/ 319 h 661"/>
              <a:gd name="T76" fmla="*/ 148 w 573"/>
              <a:gd name="T77" fmla="*/ 229 h 661"/>
              <a:gd name="T78" fmla="*/ 430 w 573"/>
              <a:gd name="T79" fmla="*/ 234 h 661"/>
              <a:gd name="T80" fmla="*/ 552 w 573"/>
              <a:gd name="T81" fmla="*/ 318 h 661"/>
              <a:gd name="T82" fmla="*/ 252 w 573"/>
              <a:gd name="T83" fmla="*/ 613 h 661"/>
              <a:gd name="T84" fmla="*/ 252 w 573"/>
              <a:gd name="T85" fmla="*/ 599 h 661"/>
              <a:gd name="T86" fmla="*/ 266 w 573"/>
              <a:gd name="T87" fmla="*/ 582 h 661"/>
              <a:gd name="T88" fmla="*/ 293 w 573"/>
              <a:gd name="T89" fmla="*/ 582 h 661"/>
              <a:gd name="T90" fmla="*/ 321 w 573"/>
              <a:gd name="T91" fmla="*/ 551 h 661"/>
              <a:gd name="T92" fmla="*/ 321 w 573"/>
              <a:gd name="T93" fmla="*/ 565 h 6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73" h="661">
                <a:moveTo>
                  <a:pt x="206" y="301"/>
                </a:moveTo>
                <a:cubicBezTo>
                  <a:pt x="206" y="300"/>
                  <a:pt x="204" y="298"/>
                  <a:pt x="203" y="297"/>
                </a:cubicBezTo>
                <a:cubicBezTo>
                  <a:pt x="197" y="293"/>
                  <a:pt x="191" y="291"/>
                  <a:pt x="184" y="291"/>
                </a:cubicBezTo>
                <a:cubicBezTo>
                  <a:pt x="173" y="291"/>
                  <a:pt x="163" y="297"/>
                  <a:pt x="160" y="306"/>
                </a:cubicBezTo>
                <a:cubicBezTo>
                  <a:pt x="155" y="316"/>
                  <a:pt x="155" y="343"/>
                  <a:pt x="173" y="354"/>
                </a:cubicBezTo>
                <a:cubicBezTo>
                  <a:pt x="178" y="358"/>
                  <a:pt x="186" y="360"/>
                  <a:pt x="194" y="360"/>
                </a:cubicBezTo>
                <a:cubicBezTo>
                  <a:pt x="194" y="360"/>
                  <a:pt x="194" y="360"/>
                  <a:pt x="194" y="360"/>
                </a:cubicBezTo>
                <a:cubicBezTo>
                  <a:pt x="207" y="360"/>
                  <a:pt x="222" y="355"/>
                  <a:pt x="226" y="346"/>
                </a:cubicBezTo>
                <a:cubicBezTo>
                  <a:pt x="227" y="343"/>
                  <a:pt x="227" y="340"/>
                  <a:pt x="224" y="338"/>
                </a:cubicBezTo>
                <a:cubicBezTo>
                  <a:pt x="217" y="330"/>
                  <a:pt x="211" y="322"/>
                  <a:pt x="206" y="301"/>
                </a:cubicBezTo>
                <a:close/>
                <a:moveTo>
                  <a:pt x="194" y="346"/>
                </a:moveTo>
                <a:cubicBezTo>
                  <a:pt x="194" y="346"/>
                  <a:pt x="194" y="346"/>
                  <a:pt x="194" y="346"/>
                </a:cubicBezTo>
                <a:cubicBezTo>
                  <a:pt x="190" y="346"/>
                  <a:pt x="185" y="346"/>
                  <a:pt x="180" y="343"/>
                </a:cubicBezTo>
                <a:cubicBezTo>
                  <a:pt x="169" y="335"/>
                  <a:pt x="170" y="317"/>
                  <a:pt x="173" y="311"/>
                </a:cubicBezTo>
                <a:cubicBezTo>
                  <a:pt x="173" y="309"/>
                  <a:pt x="178" y="305"/>
                  <a:pt x="184" y="305"/>
                </a:cubicBezTo>
                <a:cubicBezTo>
                  <a:pt x="187" y="305"/>
                  <a:pt x="190" y="306"/>
                  <a:pt x="193" y="308"/>
                </a:cubicBezTo>
                <a:cubicBezTo>
                  <a:pt x="197" y="323"/>
                  <a:pt x="202" y="334"/>
                  <a:pt x="210" y="343"/>
                </a:cubicBezTo>
                <a:cubicBezTo>
                  <a:pt x="206" y="344"/>
                  <a:pt x="201" y="346"/>
                  <a:pt x="194" y="346"/>
                </a:cubicBezTo>
                <a:close/>
                <a:moveTo>
                  <a:pt x="389" y="291"/>
                </a:moveTo>
                <a:cubicBezTo>
                  <a:pt x="382" y="291"/>
                  <a:pt x="376" y="293"/>
                  <a:pt x="370" y="297"/>
                </a:cubicBezTo>
                <a:cubicBezTo>
                  <a:pt x="368" y="298"/>
                  <a:pt x="367" y="300"/>
                  <a:pt x="367" y="301"/>
                </a:cubicBezTo>
                <a:cubicBezTo>
                  <a:pt x="362" y="322"/>
                  <a:pt x="356" y="330"/>
                  <a:pt x="348" y="338"/>
                </a:cubicBezTo>
                <a:cubicBezTo>
                  <a:pt x="346" y="340"/>
                  <a:pt x="346" y="343"/>
                  <a:pt x="347" y="346"/>
                </a:cubicBezTo>
                <a:cubicBezTo>
                  <a:pt x="350" y="355"/>
                  <a:pt x="366" y="360"/>
                  <a:pt x="379" y="360"/>
                </a:cubicBezTo>
                <a:cubicBezTo>
                  <a:pt x="387" y="360"/>
                  <a:pt x="394" y="358"/>
                  <a:pt x="400" y="354"/>
                </a:cubicBezTo>
                <a:cubicBezTo>
                  <a:pt x="418" y="343"/>
                  <a:pt x="418" y="316"/>
                  <a:pt x="413" y="306"/>
                </a:cubicBezTo>
                <a:cubicBezTo>
                  <a:pt x="410" y="297"/>
                  <a:pt x="400" y="291"/>
                  <a:pt x="389" y="291"/>
                </a:cubicBezTo>
                <a:close/>
                <a:moveTo>
                  <a:pt x="393" y="343"/>
                </a:moveTo>
                <a:cubicBezTo>
                  <a:pt x="388" y="346"/>
                  <a:pt x="382" y="346"/>
                  <a:pt x="379" y="346"/>
                </a:cubicBezTo>
                <a:cubicBezTo>
                  <a:pt x="372" y="346"/>
                  <a:pt x="367" y="344"/>
                  <a:pt x="363" y="343"/>
                </a:cubicBezTo>
                <a:cubicBezTo>
                  <a:pt x="371" y="334"/>
                  <a:pt x="376" y="323"/>
                  <a:pt x="380" y="308"/>
                </a:cubicBezTo>
                <a:cubicBezTo>
                  <a:pt x="383" y="306"/>
                  <a:pt x="386" y="305"/>
                  <a:pt x="389" y="305"/>
                </a:cubicBezTo>
                <a:cubicBezTo>
                  <a:pt x="395" y="305"/>
                  <a:pt x="399" y="309"/>
                  <a:pt x="400" y="311"/>
                </a:cubicBezTo>
                <a:cubicBezTo>
                  <a:pt x="403" y="317"/>
                  <a:pt x="404" y="335"/>
                  <a:pt x="393" y="343"/>
                </a:cubicBezTo>
                <a:close/>
                <a:moveTo>
                  <a:pt x="447" y="223"/>
                </a:moveTo>
                <a:cubicBezTo>
                  <a:pt x="443" y="222"/>
                  <a:pt x="440" y="221"/>
                  <a:pt x="436" y="221"/>
                </a:cubicBezTo>
                <a:cubicBezTo>
                  <a:pt x="423" y="183"/>
                  <a:pt x="406" y="160"/>
                  <a:pt x="383" y="145"/>
                </a:cubicBezTo>
                <a:cubicBezTo>
                  <a:pt x="464" y="140"/>
                  <a:pt x="508" y="85"/>
                  <a:pt x="524" y="30"/>
                </a:cubicBezTo>
                <a:cubicBezTo>
                  <a:pt x="552" y="100"/>
                  <a:pt x="526" y="154"/>
                  <a:pt x="486" y="176"/>
                </a:cubicBezTo>
                <a:cubicBezTo>
                  <a:pt x="483" y="178"/>
                  <a:pt x="482" y="183"/>
                  <a:pt x="484" y="186"/>
                </a:cubicBezTo>
                <a:cubicBezTo>
                  <a:pt x="485" y="188"/>
                  <a:pt x="487" y="190"/>
                  <a:pt x="490" y="190"/>
                </a:cubicBezTo>
                <a:cubicBezTo>
                  <a:pt x="491" y="190"/>
                  <a:pt x="492" y="189"/>
                  <a:pt x="493" y="189"/>
                </a:cubicBezTo>
                <a:cubicBezTo>
                  <a:pt x="542" y="161"/>
                  <a:pt x="573" y="92"/>
                  <a:pt x="528" y="4"/>
                </a:cubicBezTo>
                <a:cubicBezTo>
                  <a:pt x="527" y="2"/>
                  <a:pt x="524" y="0"/>
                  <a:pt x="521" y="1"/>
                </a:cubicBezTo>
                <a:cubicBezTo>
                  <a:pt x="518" y="1"/>
                  <a:pt x="516" y="3"/>
                  <a:pt x="515" y="6"/>
                </a:cubicBezTo>
                <a:cubicBezTo>
                  <a:pt x="511" y="30"/>
                  <a:pt x="485" y="146"/>
                  <a:pt x="345" y="131"/>
                </a:cubicBezTo>
                <a:cubicBezTo>
                  <a:pt x="345" y="131"/>
                  <a:pt x="345" y="131"/>
                  <a:pt x="345" y="131"/>
                </a:cubicBezTo>
                <a:cubicBezTo>
                  <a:pt x="327" y="127"/>
                  <a:pt x="308" y="125"/>
                  <a:pt x="286" y="125"/>
                </a:cubicBezTo>
                <a:cubicBezTo>
                  <a:pt x="265" y="125"/>
                  <a:pt x="245" y="127"/>
                  <a:pt x="228" y="131"/>
                </a:cubicBezTo>
                <a:cubicBezTo>
                  <a:pt x="228" y="131"/>
                  <a:pt x="228" y="131"/>
                  <a:pt x="228" y="131"/>
                </a:cubicBezTo>
                <a:cubicBezTo>
                  <a:pt x="88" y="146"/>
                  <a:pt x="62" y="30"/>
                  <a:pt x="58" y="6"/>
                </a:cubicBezTo>
                <a:cubicBezTo>
                  <a:pt x="57" y="3"/>
                  <a:pt x="55" y="1"/>
                  <a:pt x="52" y="1"/>
                </a:cubicBezTo>
                <a:cubicBezTo>
                  <a:pt x="49" y="0"/>
                  <a:pt x="46" y="2"/>
                  <a:pt x="45" y="4"/>
                </a:cubicBezTo>
                <a:cubicBezTo>
                  <a:pt x="0" y="92"/>
                  <a:pt x="31" y="161"/>
                  <a:pt x="79" y="189"/>
                </a:cubicBezTo>
                <a:cubicBezTo>
                  <a:pt x="81" y="189"/>
                  <a:pt x="82" y="190"/>
                  <a:pt x="83" y="190"/>
                </a:cubicBezTo>
                <a:cubicBezTo>
                  <a:pt x="85" y="190"/>
                  <a:pt x="88" y="188"/>
                  <a:pt x="89" y="186"/>
                </a:cubicBezTo>
                <a:cubicBezTo>
                  <a:pt x="91" y="183"/>
                  <a:pt x="90" y="178"/>
                  <a:pt x="86" y="176"/>
                </a:cubicBezTo>
                <a:cubicBezTo>
                  <a:pt x="47" y="154"/>
                  <a:pt x="21" y="100"/>
                  <a:pt x="49" y="29"/>
                </a:cubicBezTo>
                <a:cubicBezTo>
                  <a:pt x="55" y="50"/>
                  <a:pt x="67" y="79"/>
                  <a:pt x="91" y="103"/>
                </a:cubicBezTo>
                <a:cubicBezTo>
                  <a:pt x="117" y="129"/>
                  <a:pt x="150" y="143"/>
                  <a:pt x="190" y="145"/>
                </a:cubicBezTo>
                <a:cubicBezTo>
                  <a:pt x="167" y="160"/>
                  <a:pt x="150" y="183"/>
                  <a:pt x="137" y="221"/>
                </a:cubicBezTo>
                <a:cubicBezTo>
                  <a:pt x="133" y="221"/>
                  <a:pt x="130" y="222"/>
                  <a:pt x="126" y="223"/>
                </a:cubicBezTo>
                <a:cubicBezTo>
                  <a:pt x="74" y="230"/>
                  <a:pt x="10" y="240"/>
                  <a:pt x="3" y="328"/>
                </a:cubicBezTo>
                <a:cubicBezTo>
                  <a:pt x="3" y="331"/>
                  <a:pt x="4" y="333"/>
                  <a:pt x="5" y="334"/>
                </a:cubicBezTo>
                <a:cubicBezTo>
                  <a:pt x="7" y="336"/>
                  <a:pt x="10" y="336"/>
                  <a:pt x="12" y="336"/>
                </a:cubicBezTo>
                <a:cubicBezTo>
                  <a:pt x="25" y="332"/>
                  <a:pt x="25" y="332"/>
                  <a:pt x="25" y="332"/>
                </a:cubicBezTo>
                <a:cubicBezTo>
                  <a:pt x="63" y="320"/>
                  <a:pt x="92" y="311"/>
                  <a:pt x="109" y="301"/>
                </a:cubicBezTo>
                <a:cubicBezTo>
                  <a:pt x="101" y="339"/>
                  <a:pt x="98" y="366"/>
                  <a:pt x="113" y="391"/>
                </a:cubicBezTo>
                <a:cubicBezTo>
                  <a:pt x="118" y="401"/>
                  <a:pt x="129" y="412"/>
                  <a:pt x="141" y="424"/>
                </a:cubicBezTo>
                <a:cubicBezTo>
                  <a:pt x="168" y="449"/>
                  <a:pt x="200" y="481"/>
                  <a:pt x="206" y="523"/>
                </a:cubicBezTo>
                <a:cubicBezTo>
                  <a:pt x="187" y="539"/>
                  <a:pt x="175" y="563"/>
                  <a:pt x="175" y="589"/>
                </a:cubicBezTo>
                <a:cubicBezTo>
                  <a:pt x="175" y="599"/>
                  <a:pt x="175" y="599"/>
                  <a:pt x="175" y="599"/>
                </a:cubicBezTo>
                <a:cubicBezTo>
                  <a:pt x="175" y="633"/>
                  <a:pt x="203" y="661"/>
                  <a:pt x="237" y="661"/>
                </a:cubicBezTo>
                <a:cubicBezTo>
                  <a:pt x="336" y="661"/>
                  <a:pt x="336" y="661"/>
                  <a:pt x="336" y="661"/>
                </a:cubicBezTo>
                <a:cubicBezTo>
                  <a:pt x="370" y="661"/>
                  <a:pt x="398" y="633"/>
                  <a:pt x="398" y="599"/>
                </a:cubicBezTo>
                <a:cubicBezTo>
                  <a:pt x="398" y="589"/>
                  <a:pt x="398" y="589"/>
                  <a:pt x="398" y="589"/>
                </a:cubicBezTo>
                <a:cubicBezTo>
                  <a:pt x="398" y="565"/>
                  <a:pt x="388" y="543"/>
                  <a:pt x="372" y="528"/>
                </a:cubicBezTo>
                <a:cubicBezTo>
                  <a:pt x="377" y="471"/>
                  <a:pt x="409" y="442"/>
                  <a:pt x="434" y="419"/>
                </a:cubicBezTo>
                <a:cubicBezTo>
                  <a:pt x="445" y="409"/>
                  <a:pt x="455" y="401"/>
                  <a:pt x="460" y="391"/>
                </a:cubicBezTo>
                <a:cubicBezTo>
                  <a:pt x="474" y="366"/>
                  <a:pt x="472" y="339"/>
                  <a:pt x="463" y="301"/>
                </a:cubicBezTo>
                <a:cubicBezTo>
                  <a:pt x="481" y="311"/>
                  <a:pt x="510" y="320"/>
                  <a:pt x="548" y="332"/>
                </a:cubicBezTo>
                <a:cubicBezTo>
                  <a:pt x="561" y="336"/>
                  <a:pt x="561" y="336"/>
                  <a:pt x="561" y="336"/>
                </a:cubicBezTo>
                <a:cubicBezTo>
                  <a:pt x="563" y="336"/>
                  <a:pt x="566" y="336"/>
                  <a:pt x="567" y="334"/>
                </a:cubicBezTo>
                <a:cubicBezTo>
                  <a:pt x="569" y="333"/>
                  <a:pt x="570" y="331"/>
                  <a:pt x="570" y="328"/>
                </a:cubicBezTo>
                <a:cubicBezTo>
                  <a:pt x="563" y="240"/>
                  <a:pt x="499" y="230"/>
                  <a:pt x="447" y="223"/>
                </a:cubicBezTo>
                <a:close/>
                <a:moveTo>
                  <a:pt x="384" y="589"/>
                </a:moveTo>
                <a:cubicBezTo>
                  <a:pt x="384" y="599"/>
                  <a:pt x="384" y="599"/>
                  <a:pt x="384" y="599"/>
                </a:cubicBezTo>
                <a:cubicBezTo>
                  <a:pt x="384" y="625"/>
                  <a:pt x="362" y="647"/>
                  <a:pt x="336" y="647"/>
                </a:cubicBezTo>
                <a:cubicBezTo>
                  <a:pt x="237" y="647"/>
                  <a:pt x="237" y="647"/>
                  <a:pt x="237" y="647"/>
                </a:cubicBezTo>
                <a:cubicBezTo>
                  <a:pt x="211" y="647"/>
                  <a:pt x="189" y="625"/>
                  <a:pt x="189" y="599"/>
                </a:cubicBezTo>
                <a:cubicBezTo>
                  <a:pt x="189" y="589"/>
                  <a:pt x="189" y="589"/>
                  <a:pt x="189" y="589"/>
                </a:cubicBezTo>
                <a:cubicBezTo>
                  <a:pt x="189" y="567"/>
                  <a:pt x="199" y="548"/>
                  <a:pt x="213" y="535"/>
                </a:cubicBezTo>
                <a:cubicBezTo>
                  <a:pt x="214" y="535"/>
                  <a:pt x="214" y="535"/>
                  <a:pt x="214" y="535"/>
                </a:cubicBezTo>
                <a:cubicBezTo>
                  <a:pt x="217" y="535"/>
                  <a:pt x="219" y="533"/>
                  <a:pt x="220" y="530"/>
                </a:cubicBezTo>
                <a:cubicBezTo>
                  <a:pt x="232" y="522"/>
                  <a:pt x="245" y="518"/>
                  <a:pt x="260" y="518"/>
                </a:cubicBezTo>
                <a:cubicBezTo>
                  <a:pt x="313" y="518"/>
                  <a:pt x="313" y="518"/>
                  <a:pt x="313" y="518"/>
                </a:cubicBezTo>
                <a:cubicBezTo>
                  <a:pt x="352" y="518"/>
                  <a:pt x="384" y="550"/>
                  <a:pt x="384" y="589"/>
                </a:cubicBezTo>
                <a:close/>
                <a:moveTo>
                  <a:pt x="552" y="318"/>
                </a:moveTo>
                <a:cubicBezTo>
                  <a:pt x="509" y="306"/>
                  <a:pt x="461" y="291"/>
                  <a:pt x="457" y="277"/>
                </a:cubicBezTo>
                <a:cubicBezTo>
                  <a:pt x="456" y="273"/>
                  <a:pt x="453" y="271"/>
                  <a:pt x="449" y="272"/>
                </a:cubicBezTo>
                <a:cubicBezTo>
                  <a:pt x="445" y="273"/>
                  <a:pt x="443" y="277"/>
                  <a:pt x="444" y="281"/>
                </a:cubicBezTo>
                <a:cubicBezTo>
                  <a:pt x="456" y="328"/>
                  <a:pt x="463" y="358"/>
                  <a:pt x="448" y="384"/>
                </a:cubicBezTo>
                <a:cubicBezTo>
                  <a:pt x="444" y="392"/>
                  <a:pt x="435" y="400"/>
                  <a:pt x="425" y="409"/>
                </a:cubicBezTo>
                <a:cubicBezTo>
                  <a:pt x="400" y="431"/>
                  <a:pt x="367" y="461"/>
                  <a:pt x="359" y="517"/>
                </a:cubicBezTo>
                <a:cubicBezTo>
                  <a:pt x="346" y="509"/>
                  <a:pt x="330" y="504"/>
                  <a:pt x="313" y="504"/>
                </a:cubicBezTo>
                <a:cubicBezTo>
                  <a:pt x="260" y="504"/>
                  <a:pt x="260" y="504"/>
                  <a:pt x="260" y="504"/>
                </a:cubicBezTo>
                <a:cubicBezTo>
                  <a:pt x="245" y="504"/>
                  <a:pt x="231" y="508"/>
                  <a:pt x="218" y="515"/>
                </a:cubicBezTo>
                <a:cubicBezTo>
                  <a:pt x="210" y="471"/>
                  <a:pt x="176" y="438"/>
                  <a:pt x="151" y="414"/>
                </a:cubicBezTo>
                <a:cubicBezTo>
                  <a:pt x="139" y="402"/>
                  <a:pt x="129" y="392"/>
                  <a:pt x="125" y="384"/>
                </a:cubicBezTo>
                <a:cubicBezTo>
                  <a:pt x="110" y="358"/>
                  <a:pt x="117" y="328"/>
                  <a:pt x="129" y="281"/>
                </a:cubicBezTo>
                <a:cubicBezTo>
                  <a:pt x="130" y="277"/>
                  <a:pt x="128" y="273"/>
                  <a:pt x="124" y="272"/>
                </a:cubicBezTo>
                <a:cubicBezTo>
                  <a:pt x="120" y="271"/>
                  <a:pt x="116" y="273"/>
                  <a:pt x="115" y="277"/>
                </a:cubicBezTo>
                <a:cubicBezTo>
                  <a:pt x="112" y="291"/>
                  <a:pt x="64" y="306"/>
                  <a:pt x="21" y="318"/>
                </a:cubicBezTo>
                <a:cubicBezTo>
                  <a:pt x="18" y="319"/>
                  <a:pt x="18" y="319"/>
                  <a:pt x="18" y="319"/>
                </a:cubicBezTo>
                <a:cubicBezTo>
                  <a:pt x="28" y="251"/>
                  <a:pt x="79" y="244"/>
                  <a:pt x="128" y="236"/>
                </a:cubicBezTo>
                <a:cubicBezTo>
                  <a:pt x="133" y="236"/>
                  <a:pt x="138" y="235"/>
                  <a:pt x="143" y="234"/>
                </a:cubicBezTo>
                <a:cubicBezTo>
                  <a:pt x="146" y="234"/>
                  <a:pt x="148" y="232"/>
                  <a:pt x="148" y="229"/>
                </a:cubicBezTo>
                <a:cubicBezTo>
                  <a:pt x="173" y="154"/>
                  <a:pt x="216" y="139"/>
                  <a:pt x="286" y="139"/>
                </a:cubicBezTo>
                <a:cubicBezTo>
                  <a:pt x="357" y="139"/>
                  <a:pt x="400" y="154"/>
                  <a:pt x="424" y="229"/>
                </a:cubicBezTo>
                <a:cubicBezTo>
                  <a:pt x="425" y="232"/>
                  <a:pt x="427" y="234"/>
                  <a:pt x="430" y="234"/>
                </a:cubicBezTo>
                <a:cubicBezTo>
                  <a:pt x="435" y="235"/>
                  <a:pt x="440" y="236"/>
                  <a:pt x="445" y="236"/>
                </a:cubicBezTo>
                <a:cubicBezTo>
                  <a:pt x="494" y="244"/>
                  <a:pt x="545" y="251"/>
                  <a:pt x="555" y="319"/>
                </a:cubicBezTo>
                <a:lnTo>
                  <a:pt x="552" y="318"/>
                </a:lnTo>
                <a:close/>
                <a:moveTo>
                  <a:pt x="252" y="551"/>
                </a:moveTo>
                <a:cubicBezTo>
                  <a:pt x="236" y="551"/>
                  <a:pt x="224" y="564"/>
                  <a:pt x="224" y="582"/>
                </a:cubicBezTo>
                <a:cubicBezTo>
                  <a:pt x="224" y="600"/>
                  <a:pt x="236" y="613"/>
                  <a:pt x="252" y="613"/>
                </a:cubicBezTo>
                <a:cubicBezTo>
                  <a:pt x="268" y="613"/>
                  <a:pt x="280" y="600"/>
                  <a:pt x="280" y="582"/>
                </a:cubicBezTo>
                <a:cubicBezTo>
                  <a:pt x="280" y="564"/>
                  <a:pt x="268" y="551"/>
                  <a:pt x="252" y="551"/>
                </a:cubicBezTo>
                <a:close/>
                <a:moveTo>
                  <a:pt x="252" y="599"/>
                </a:moveTo>
                <a:cubicBezTo>
                  <a:pt x="244" y="599"/>
                  <a:pt x="238" y="593"/>
                  <a:pt x="238" y="582"/>
                </a:cubicBezTo>
                <a:cubicBezTo>
                  <a:pt x="238" y="572"/>
                  <a:pt x="244" y="565"/>
                  <a:pt x="252" y="565"/>
                </a:cubicBezTo>
                <a:cubicBezTo>
                  <a:pt x="260" y="565"/>
                  <a:pt x="266" y="572"/>
                  <a:pt x="266" y="582"/>
                </a:cubicBezTo>
                <a:cubicBezTo>
                  <a:pt x="266" y="593"/>
                  <a:pt x="260" y="599"/>
                  <a:pt x="252" y="599"/>
                </a:cubicBezTo>
                <a:close/>
                <a:moveTo>
                  <a:pt x="321" y="551"/>
                </a:moveTo>
                <a:cubicBezTo>
                  <a:pt x="305" y="551"/>
                  <a:pt x="293" y="564"/>
                  <a:pt x="293" y="582"/>
                </a:cubicBezTo>
                <a:cubicBezTo>
                  <a:pt x="293" y="600"/>
                  <a:pt x="305" y="613"/>
                  <a:pt x="321" y="613"/>
                </a:cubicBezTo>
                <a:cubicBezTo>
                  <a:pt x="337" y="613"/>
                  <a:pt x="348" y="600"/>
                  <a:pt x="348" y="582"/>
                </a:cubicBezTo>
                <a:cubicBezTo>
                  <a:pt x="348" y="564"/>
                  <a:pt x="337" y="551"/>
                  <a:pt x="321" y="551"/>
                </a:cubicBezTo>
                <a:close/>
                <a:moveTo>
                  <a:pt x="321" y="599"/>
                </a:moveTo>
                <a:cubicBezTo>
                  <a:pt x="312" y="599"/>
                  <a:pt x="307" y="593"/>
                  <a:pt x="307" y="582"/>
                </a:cubicBezTo>
                <a:cubicBezTo>
                  <a:pt x="307" y="572"/>
                  <a:pt x="312" y="565"/>
                  <a:pt x="321" y="565"/>
                </a:cubicBezTo>
                <a:cubicBezTo>
                  <a:pt x="329" y="565"/>
                  <a:pt x="334" y="572"/>
                  <a:pt x="334" y="582"/>
                </a:cubicBezTo>
                <a:cubicBezTo>
                  <a:pt x="334" y="593"/>
                  <a:pt x="329" y="599"/>
                  <a:pt x="321" y="599"/>
                </a:cubicBez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endParaRPr lang="en-US" sz="1836"/>
          </a:p>
        </p:txBody>
      </p:sp>
    </p:spTree>
    <p:extLst>
      <p:ext uri="{BB962C8B-B14F-4D97-AF65-F5344CB8AC3E}">
        <p14:creationId xmlns:p14="http://schemas.microsoft.com/office/powerpoint/2010/main" val="1020851523"/>
      </p:ext>
    </p:extLst>
  </p:cSld>
  <p:clrMapOvr>
    <a:masterClrMapping/>
  </p:clrMapOvr>
  <p:transition>
    <p:fade/>
  </p:transition>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usiness</a:t>
            </a:r>
          </a:p>
        </p:txBody>
      </p:sp>
      <p:sp>
        <p:nvSpPr>
          <p:cNvPr id="6146" name="Oval 70"/>
          <p:cNvSpPr>
            <a:spLocks noChangeArrowheads="1"/>
          </p:cNvSpPr>
          <p:nvPr/>
        </p:nvSpPr>
        <p:spPr bwMode="auto">
          <a:xfrm>
            <a:off x="3073678" y="4711628"/>
            <a:ext cx="1119124" cy="1119124"/>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8200" name="Freeform 91"/>
          <p:cNvSpPr>
            <a:spLocks noEditPoints="1"/>
          </p:cNvSpPr>
          <p:nvPr/>
        </p:nvSpPr>
        <p:spPr bwMode="auto">
          <a:xfrm>
            <a:off x="3248845" y="4886986"/>
            <a:ext cx="768790" cy="768408"/>
          </a:xfrm>
          <a:custGeom>
            <a:avLst/>
            <a:gdLst>
              <a:gd name="T0" fmla="*/ 730 w 730"/>
              <a:gd name="T1" fmla="*/ 364 h 729"/>
              <a:gd name="T2" fmla="*/ 677 w 730"/>
              <a:gd name="T3" fmla="*/ 176 h 729"/>
              <a:gd name="T4" fmla="*/ 53 w 730"/>
              <a:gd name="T5" fmla="*/ 176 h 729"/>
              <a:gd name="T6" fmla="*/ 0 w 730"/>
              <a:gd name="T7" fmla="*/ 364 h 729"/>
              <a:gd name="T8" fmla="*/ 53 w 730"/>
              <a:gd name="T9" fmla="*/ 553 h 729"/>
              <a:gd name="T10" fmla="*/ 677 w 730"/>
              <a:gd name="T11" fmla="*/ 553 h 729"/>
              <a:gd name="T12" fmla="*/ 14 w 730"/>
              <a:gd name="T13" fmla="*/ 371 h 729"/>
              <a:gd name="T14" fmla="*/ 191 w 730"/>
              <a:gd name="T15" fmla="*/ 541 h 729"/>
              <a:gd name="T16" fmla="*/ 14 w 730"/>
              <a:gd name="T17" fmla="*/ 371 h 729"/>
              <a:gd name="T18" fmla="*/ 191 w 730"/>
              <a:gd name="T19" fmla="*/ 187 h 729"/>
              <a:gd name="T20" fmla="*/ 14 w 730"/>
              <a:gd name="T21" fmla="*/ 357 h 729"/>
              <a:gd name="T22" fmla="*/ 716 w 730"/>
              <a:gd name="T23" fmla="*/ 357 h 729"/>
              <a:gd name="T24" fmla="*/ 539 w 730"/>
              <a:gd name="T25" fmla="*/ 187 h 729"/>
              <a:gd name="T26" fmla="*/ 716 w 730"/>
              <a:gd name="T27" fmla="*/ 357 h 729"/>
              <a:gd name="T28" fmla="*/ 372 w 730"/>
              <a:gd name="T29" fmla="*/ 357 h 729"/>
              <a:gd name="T30" fmla="*/ 525 w 730"/>
              <a:gd name="T31" fmla="*/ 187 h 729"/>
              <a:gd name="T32" fmla="*/ 372 w 730"/>
              <a:gd name="T33" fmla="*/ 173 h 729"/>
              <a:gd name="T34" fmla="*/ 520 w 730"/>
              <a:gd name="T35" fmla="*/ 173 h 729"/>
              <a:gd name="T36" fmla="*/ 358 w 730"/>
              <a:gd name="T37" fmla="*/ 173 h 729"/>
              <a:gd name="T38" fmla="*/ 358 w 730"/>
              <a:gd name="T39" fmla="*/ 14 h 729"/>
              <a:gd name="T40" fmla="*/ 358 w 730"/>
              <a:gd name="T41" fmla="*/ 187 h 729"/>
              <a:gd name="T42" fmla="*/ 180 w 730"/>
              <a:gd name="T43" fmla="*/ 357 h 729"/>
              <a:gd name="T44" fmla="*/ 358 w 730"/>
              <a:gd name="T45" fmla="*/ 187 h 729"/>
              <a:gd name="T46" fmla="*/ 358 w 730"/>
              <a:gd name="T47" fmla="*/ 371 h 729"/>
              <a:gd name="T48" fmla="*/ 205 w 730"/>
              <a:gd name="T49" fmla="*/ 541 h 729"/>
              <a:gd name="T50" fmla="*/ 358 w 730"/>
              <a:gd name="T51" fmla="*/ 555 h 729"/>
              <a:gd name="T52" fmla="*/ 210 w 730"/>
              <a:gd name="T53" fmla="*/ 555 h 729"/>
              <a:gd name="T54" fmla="*/ 372 w 730"/>
              <a:gd name="T55" fmla="*/ 555 h 729"/>
              <a:gd name="T56" fmla="*/ 372 w 730"/>
              <a:gd name="T57" fmla="*/ 715 h 729"/>
              <a:gd name="T58" fmla="*/ 372 w 730"/>
              <a:gd name="T59" fmla="*/ 541 h 729"/>
              <a:gd name="T60" fmla="*/ 550 w 730"/>
              <a:gd name="T61" fmla="*/ 371 h 729"/>
              <a:gd name="T62" fmla="*/ 372 w 730"/>
              <a:gd name="T63" fmla="*/ 541 h 729"/>
              <a:gd name="T64" fmla="*/ 716 w 730"/>
              <a:gd name="T65" fmla="*/ 371 h 729"/>
              <a:gd name="T66" fmla="*/ 539 w 730"/>
              <a:gd name="T67" fmla="*/ 541 h 729"/>
              <a:gd name="T68" fmla="*/ 659 w 730"/>
              <a:gd name="T69" fmla="*/ 173 h 729"/>
              <a:gd name="T70" fmla="*/ 507 w 730"/>
              <a:gd name="T71" fmla="*/ 108 h 729"/>
              <a:gd name="T72" fmla="*/ 659 w 730"/>
              <a:gd name="T73" fmla="*/ 173 h 729"/>
              <a:gd name="T74" fmla="*/ 223 w 730"/>
              <a:gd name="T75" fmla="*/ 108 h 729"/>
              <a:gd name="T76" fmla="*/ 71 w 730"/>
              <a:gd name="T77" fmla="*/ 173 h 729"/>
              <a:gd name="T78" fmla="*/ 71 w 730"/>
              <a:gd name="T79" fmla="*/ 555 h 729"/>
              <a:gd name="T80" fmla="*/ 223 w 730"/>
              <a:gd name="T81" fmla="*/ 621 h 729"/>
              <a:gd name="T82" fmla="*/ 71 w 730"/>
              <a:gd name="T83" fmla="*/ 555 h 729"/>
              <a:gd name="T84" fmla="*/ 507 w 730"/>
              <a:gd name="T85" fmla="*/ 621 h 729"/>
              <a:gd name="T86" fmla="*/ 659 w 730"/>
              <a:gd name="T87" fmla="*/ 555 h 7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30" h="729">
                <a:moveTo>
                  <a:pt x="678" y="551"/>
                </a:moveTo>
                <a:cubicBezTo>
                  <a:pt x="711" y="496"/>
                  <a:pt x="730" y="432"/>
                  <a:pt x="730" y="364"/>
                </a:cubicBezTo>
                <a:cubicBezTo>
                  <a:pt x="730" y="296"/>
                  <a:pt x="711" y="233"/>
                  <a:pt x="678" y="178"/>
                </a:cubicBezTo>
                <a:cubicBezTo>
                  <a:pt x="678" y="177"/>
                  <a:pt x="678" y="177"/>
                  <a:pt x="677" y="176"/>
                </a:cubicBezTo>
                <a:cubicBezTo>
                  <a:pt x="613" y="70"/>
                  <a:pt x="497" y="0"/>
                  <a:pt x="365" y="0"/>
                </a:cubicBezTo>
                <a:cubicBezTo>
                  <a:pt x="233" y="0"/>
                  <a:pt x="117" y="70"/>
                  <a:pt x="53" y="176"/>
                </a:cubicBezTo>
                <a:cubicBezTo>
                  <a:pt x="52" y="177"/>
                  <a:pt x="52" y="177"/>
                  <a:pt x="51" y="178"/>
                </a:cubicBezTo>
                <a:cubicBezTo>
                  <a:pt x="19" y="233"/>
                  <a:pt x="0" y="296"/>
                  <a:pt x="0" y="364"/>
                </a:cubicBezTo>
                <a:cubicBezTo>
                  <a:pt x="0" y="432"/>
                  <a:pt x="19" y="496"/>
                  <a:pt x="51" y="551"/>
                </a:cubicBezTo>
                <a:cubicBezTo>
                  <a:pt x="52" y="552"/>
                  <a:pt x="52" y="552"/>
                  <a:pt x="53" y="553"/>
                </a:cubicBezTo>
                <a:cubicBezTo>
                  <a:pt x="117" y="658"/>
                  <a:pt x="233" y="729"/>
                  <a:pt x="365" y="729"/>
                </a:cubicBezTo>
                <a:cubicBezTo>
                  <a:pt x="497" y="729"/>
                  <a:pt x="613" y="658"/>
                  <a:pt x="677" y="553"/>
                </a:cubicBezTo>
                <a:cubicBezTo>
                  <a:pt x="678" y="552"/>
                  <a:pt x="678" y="552"/>
                  <a:pt x="678" y="551"/>
                </a:cubicBezTo>
                <a:close/>
                <a:moveTo>
                  <a:pt x="14" y="371"/>
                </a:moveTo>
                <a:cubicBezTo>
                  <a:pt x="166" y="371"/>
                  <a:pt x="166" y="371"/>
                  <a:pt x="166" y="371"/>
                </a:cubicBezTo>
                <a:cubicBezTo>
                  <a:pt x="166" y="432"/>
                  <a:pt x="175" y="490"/>
                  <a:pt x="191" y="541"/>
                </a:cubicBezTo>
                <a:cubicBezTo>
                  <a:pt x="62" y="541"/>
                  <a:pt x="62" y="541"/>
                  <a:pt x="62" y="541"/>
                </a:cubicBezTo>
                <a:cubicBezTo>
                  <a:pt x="33" y="491"/>
                  <a:pt x="15" y="433"/>
                  <a:pt x="14" y="371"/>
                </a:cubicBezTo>
                <a:close/>
                <a:moveTo>
                  <a:pt x="62" y="187"/>
                </a:moveTo>
                <a:cubicBezTo>
                  <a:pt x="191" y="187"/>
                  <a:pt x="191" y="187"/>
                  <a:pt x="191" y="187"/>
                </a:cubicBezTo>
                <a:cubicBezTo>
                  <a:pt x="175" y="239"/>
                  <a:pt x="166" y="297"/>
                  <a:pt x="166" y="357"/>
                </a:cubicBezTo>
                <a:cubicBezTo>
                  <a:pt x="14" y="357"/>
                  <a:pt x="14" y="357"/>
                  <a:pt x="14" y="357"/>
                </a:cubicBezTo>
                <a:cubicBezTo>
                  <a:pt x="15" y="296"/>
                  <a:pt x="33" y="238"/>
                  <a:pt x="62" y="187"/>
                </a:cubicBezTo>
                <a:close/>
                <a:moveTo>
                  <a:pt x="716" y="357"/>
                </a:moveTo>
                <a:cubicBezTo>
                  <a:pt x="564" y="357"/>
                  <a:pt x="564" y="357"/>
                  <a:pt x="564" y="357"/>
                </a:cubicBezTo>
                <a:cubicBezTo>
                  <a:pt x="563" y="297"/>
                  <a:pt x="555" y="239"/>
                  <a:pt x="539" y="187"/>
                </a:cubicBezTo>
                <a:cubicBezTo>
                  <a:pt x="668" y="187"/>
                  <a:pt x="668" y="187"/>
                  <a:pt x="668" y="187"/>
                </a:cubicBezTo>
                <a:cubicBezTo>
                  <a:pt x="697" y="238"/>
                  <a:pt x="714" y="296"/>
                  <a:pt x="716" y="357"/>
                </a:cubicBezTo>
                <a:close/>
                <a:moveTo>
                  <a:pt x="550" y="357"/>
                </a:moveTo>
                <a:cubicBezTo>
                  <a:pt x="372" y="357"/>
                  <a:pt x="372" y="357"/>
                  <a:pt x="372" y="357"/>
                </a:cubicBezTo>
                <a:cubicBezTo>
                  <a:pt x="372" y="187"/>
                  <a:pt x="372" y="187"/>
                  <a:pt x="372" y="187"/>
                </a:cubicBezTo>
                <a:cubicBezTo>
                  <a:pt x="525" y="187"/>
                  <a:pt x="525" y="187"/>
                  <a:pt x="525" y="187"/>
                </a:cubicBezTo>
                <a:cubicBezTo>
                  <a:pt x="540" y="238"/>
                  <a:pt x="549" y="296"/>
                  <a:pt x="550" y="357"/>
                </a:cubicBezTo>
                <a:close/>
                <a:moveTo>
                  <a:pt x="372" y="173"/>
                </a:moveTo>
                <a:cubicBezTo>
                  <a:pt x="372" y="14"/>
                  <a:pt x="372" y="14"/>
                  <a:pt x="372" y="14"/>
                </a:cubicBezTo>
                <a:cubicBezTo>
                  <a:pt x="434" y="18"/>
                  <a:pt x="488" y="81"/>
                  <a:pt x="520" y="173"/>
                </a:cubicBezTo>
                <a:lnTo>
                  <a:pt x="372" y="173"/>
                </a:lnTo>
                <a:close/>
                <a:moveTo>
                  <a:pt x="358" y="173"/>
                </a:moveTo>
                <a:cubicBezTo>
                  <a:pt x="210" y="173"/>
                  <a:pt x="210" y="173"/>
                  <a:pt x="210" y="173"/>
                </a:cubicBezTo>
                <a:cubicBezTo>
                  <a:pt x="241" y="81"/>
                  <a:pt x="296" y="18"/>
                  <a:pt x="358" y="14"/>
                </a:cubicBezTo>
                <a:lnTo>
                  <a:pt x="358" y="173"/>
                </a:lnTo>
                <a:close/>
                <a:moveTo>
                  <a:pt x="358" y="187"/>
                </a:moveTo>
                <a:cubicBezTo>
                  <a:pt x="358" y="357"/>
                  <a:pt x="358" y="357"/>
                  <a:pt x="358" y="357"/>
                </a:cubicBezTo>
                <a:cubicBezTo>
                  <a:pt x="180" y="357"/>
                  <a:pt x="180" y="357"/>
                  <a:pt x="180" y="357"/>
                </a:cubicBezTo>
                <a:cubicBezTo>
                  <a:pt x="180" y="296"/>
                  <a:pt x="190" y="238"/>
                  <a:pt x="205" y="187"/>
                </a:cubicBezTo>
                <a:lnTo>
                  <a:pt x="358" y="187"/>
                </a:lnTo>
                <a:close/>
                <a:moveTo>
                  <a:pt x="180" y="371"/>
                </a:moveTo>
                <a:cubicBezTo>
                  <a:pt x="358" y="371"/>
                  <a:pt x="358" y="371"/>
                  <a:pt x="358" y="371"/>
                </a:cubicBezTo>
                <a:cubicBezTo>
                  <a:pt x="358" y="541"/>
                  <a:pt x="358" y="541"/>
                  <a:pt x="358" y="541"/>
                </a:cubicBezTo>
                <a:cubicBezTo>
                  <a:pt x="205" y="541"/>
                  <a:pt x="205" y="541"/>
                  <a:pt x="205" y="541"/>
                </a:cubicBezTo>
                <a:cubicBezTo>
                  <a:pt x="190" y="491"/>
                  <a:pt x="180" y="433"/>
                  <a:pt x="180" y="371"/>
                </a:cubicBezTo>
                <a:close/>
                <a:moveTo>
                  <a:pt x="358" y="555"/>
                </a:moveTo>
                <a:cubicBezTo>
                  <a:pt x="358" y="715"/>
                  <a:pt x="358" y="715"/>
                  <a:pt x="358" y="715"/>
                </a:cubicBezTo>
                <a:cubicBezTo>
                  <a:pt x="296" y="710"/>
                  <a:pt x="241" y="648"/>
                  <a:pt x="210" y="555"/>
                </a:cubicBezTo>
                <a:lnTo>
                  <a:pt x="358" y="555"/>
                </a:lnTo>
                <a:close/>
                <a:moveTo>
                  <a:pt x="372" y="555"/>
                </a:moveTo>
                <a:cubicBezTo>
                  <a:pt x="520" y="555"/>
                  <a:pt x="520" y="555"/>
                  <a:pt x="520" y="555"/>
                </a:cubicBezTo>
                <a:cubicBezTo>
                  <a:pt x="488" y="648"/>
                  <a:pt x="434" y="710"/>
                  <a:pt x="372" y="715"/>
                </a:cubicBezTo>
                <a:lnTo>
                  <a:pt x="372" y="555"/>
                </a:lnTo>
                <a:close/>
                <a:moveTo>
                  <a:pt x="372" y="541"/>
                </a:moveTo>
                <a:cubicBezTo>
                  <a:pt x="372" y="371"/>
                  <a:pt x="372" y="371"/>
                  <a:pt x="372" y="371"/>
                </a:cubicBezTo>
                <a:cubicBezTo>
                  <a:pt x="550" y="371"/>
                  <a:pt x="550" y="371"/>
                  <a:pt x="550" y="371"/>
                </a:cubicBezTo>
                <a:cubicBezTo>
                  <a:pt x="549" y="433"/>
                  <a:pt x="540" y="491"/>
                  <a:pt x="525" y="541"/>
                </a:cubicBezTo>
                <a:lnTo>
                  <a:pt x="372" y="541"/>
                </a:lnTo>
                <a:close/>
                <a:moveTo>
                  <a:pt x="564" y="371"/>
                </a:moveTo>
                <a:cubicBezTo>
                  <a:pt x="716" y="371"/>
                  <a:pt x="716" y="371"/>
                  <a:pt x="716" y="371"/>
                </a:cubicBezTo>
                <a:cubicBezTo>
                  <a:pt x="714" y="433"/>
                  <a:pt x="697" y="491"/>
                  <a:pt x="668" y="541"/>
                </a:cubicBezTo>
                <a:cubicBezTo>
                  <a:pt x="539" y="541"/>
                  <a:pt x="539" y="541"/>
                  <a:pt x="539" y="541"/>
                </a:cubicBezTo>
                <a:cubicBezTo>
                  <a:pt x="555" y="490"/>
                  <a:pt x="563" y="432"/>
                  <a:pt x="564" y="371"/>
                </a:cubicBezTo>
                <a:close/>
                <a:moveTo>
                  <a:pt x="659" y="173"/>
                </a:moveTo>
                <a:cubicBezTo>
                  <a:pt x="535" y="173"/>
                  <a:pt x="535" y="173"/>
                  <a:pt x="535" y="173"/>
                </a:cubicBezTo>
                <a:cubicBezTo>
                  <a:pt x="527" y="150"/>
                  <a:pt x="518" y="128"/>
                  <a:pt x="507" y="108"/>
                </a:cubicBezTo>
                <a:cubicBezTo>
                  <a:pt x="485" y="68"/>
                  <a:pt x="459" y="38"/>
                  <a:pt x="431" y="20"/>
                </a:cubicBezTo>
                <a:cubicBezTo>
                  <a:pt x="526" y="38"/>
                  <a:pt x="608" y="95"/>
                  <a:pt x="659" y="173"/>
                </a:cubicBezTo>
                <a:close/>
                <a:moveTo>
                  <a:pt x="299" y="20"/>
                </a:moveTo>
                <a:cubicBezTo>
                  <a:pt x="270" y="38"/>
                  <a:pt x="244" y="68"/>
                  <a:pt x="223" y="108"/>
                </a:cubicBezTo>
                <a:cubicBezTo>
                  <a:pt x="212" y="128"/>
                  <a:pt x="203" y="150"/>
                  <a:pt x="195" y="173"/>
                </a:cubicBezTo>
                <a:cubicBezTo>
                  <a:pt x="71" y="173"/>
                  <a:pt x="71" y="173"/>
                  <a:pt x="71" y="173"/>
                </a:cubicBezTo>
                <a:cubicBezTo>
                  <a:pt x="122" y="95"/>
                  <a:pt x="204" y="38"/>
                  <a:pt x="299" y="20"/>
                </a:cubicBezTo>
                <a:close/>
                <a:moveTo>
                  <a:pt x="71" y="555"/>
                </a:moveTo>
                <a:cubicBezTo>
                  <a:pt x="195" y="555"/>
                  <a:pt x="195" y="555"/>
                  <a:pt x="195" y="555"/>
                </a:cubicBezTo>
                <a:cubicBezTo>
                  <a:pt x="203" y="579"/>
                  <a:pt x="212" y="601"/>
                  <a:pt x="223" y="621"/>
                </a:cubicBezTo>
                <a:cubicBezTo>
                  <a:pt x="244" y="661"/>
                  <a:pt x="270" y="691"/>
                  <a:pt x="299" y="709"/>
                </a:cubicBezTo>
                <a:cubicBezTo>
                  <a:pt x="204" y="691"/>
                  <a:pt x="122" y="634"/>
                  <a:pt x="71" y="555"/>
                </a:cubicBezTo>
                <a:close/>
                <a:moveTo>
                  <a:pt x="431" y="709"/>
                </a:moveTo>
                <a:cubicBezTo>
                  <a:pt x="459" y="691"/>
                  <a:pt x="485" y="661"/>
                  <a:pt x="507" y="621"/>
                </a:cubicBezTo>
                <a:cubicBezTo>
                  <a:pt x="518" y="601"/>
                  <a:pt x="527" y="579"/>
                  <a:pt x="535" y="555"/>
                </a:cubicBezTo>
                <a:cubicBezTo>
                  <a:pt x="659" y="555"/>
                  <a:pt x="659" y="555"/>
                  <a:pt x="659" y="555"/>
                </a:cubicBezTo>
                <a:cubicBezTo>
                  <a:pt x="608" y="634"/>
                  <a:pt x="526" y="691"/>
                  <a:pt x="431" y="709"/>
                </a:cubicBez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6149" name="Oval 71"/>
          <p:cNvSpPr>
            <a:spLocks noChangeArrowheads="1"/>
          </p:cNvSpPr>
          <p:nvPr/>
        </p:nvSpPr>
        <p:spPr bwMode="auto">
          <a:xfrm>
            <a:off x="1315706" y="4711628"/>
            <a:ext cx="1119124" cy="1119124"/>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8205" name="Freeform 96"/>
          <p:cNvSpPr>
            <a:spLocks noEditPoints="1"/>
          </p:cNvSpPr>
          <p:nvPr/>
        </p:nvSpPr>
        <p:spPr bwMode="auto">
          <a:xfrm>
            <a:off x="1490873" y="4860195"/>
            <a:ext cx="768790" cy="821990"/>
          </a:xfrm>
          <a:custGeom>
            <a:avLst/>
            <a:gdLst>
              <a:gd name="T0" fmla="*/ 730 w 730"/>
              <a:gd name="T1" fmla="*/ 386 h 780"/>
              <a:gd name="T2" fmla="*/ 677 w 730"/>
              <a:gd name="T3" fmla="*/ 198 h 780"/>
              <a:gd name="T4" fmla="*/ 476 w 730"/>
              <a:gd name="T5" fmla="*/ 46 h 780"/>
              <a:gd name="T6" fmla="*/ 659 w 730"/>
              <a:gd name="T7" fmla="*/ 195 h 780"/>
              <a:gd name="T8" fmla="*/ 523 w 730"/>
              <a:gd name="T9" fmla="*/ 163 h 780"/>
              <a:gd name="T10" fmla="*/ 510 w 730"/>
              <a:gd name="T11" fmla="*/ 169 h 780"/>
              <a:gd name="T12" fmla="*/ 372 w 730"/>
              <a:gd name="T13" fmla="*/ 195 h 780"/>
              <a:gd name="T14" fmla="*/ 365 w 730"/>
              <a:gd name="T15" fmla="*/ 22 h 780"/>
              <a:gd name="T16" fmla="*/ 52 w 730"/>
              <a:gd name="T17" fmla="*/ 200 h 780"/>
              <a:gd name="T18" fmla="*/ 52 w 730"/>
              <a:gd name="T19" fmla="*/ 574 h 780"/>
              <a:gd name="T20" fmla="*/ 247 w 730"/>
              <a:gd name="T21" fmla="*/ 732 h 780"/>
              <a:gd name="T22" fmla="*/ 256 w 730"/>
              <a:gd name="T23" fmla="*/ 727 h 780"/>
              <a:gd name="T24" fmla="*/ 71 w 730"/>
              <a:gd name="T25" fmla="*/ 577 h 780"/>
              <a:gd name="T26" fmla="*/ 207 w 730"/>
              <a:gd name="T27" fmla="*/ 608 h 780"/>
              <a:gd name="T28" fmla="*/ 216 w 730"/>
              <a:gd name="T29" fmla="*/ 612 h 780"/>
              <a:gd name="T30" fmla="*/ 210 w 730"/>
              <a:gd name="T31" fmla="*/ 577 h 780"/>
              <a:gd name="T32" fmla="*/ 358 w 730"/>
              <a:gd name="T33" fmla="*/ 744 h 780"/>
              <a:gd name="T34" fmla="*/ 677 w 730"/>
              <a:gd name="T35" fmla="*/ 575 h 780"/>
              <a:gd name="T36" fmla="*/ 564 w 730"/>
              <a:gd name="T37" fmla="*/ 393 h 780"/>
              <a:gd name="T38" fmla="*/ 668 w 730"/>
              <a:gd name="T39" fmla="*/ 563 h 780"/>
              <a:gd name="T40" fmla="*/ 564 w 730"/>
              <a:gd name="T41" fmla="*/ 393 h 780"/>
              <a:gd name="T42" fmla="*/ 372 w 730"/>
              <a:gd name="T43" fmla="*/ 563 h 780"/>
              <a:gd name="T44" fmla="*/ 550 w 730"/>
              <a:gd name="T45" fmla="*/ 393 h 780"/>
              <a:gd name="T46" fmla="*/ 668 w 730"/>
              <a:gd name="T47" fmla="*/ 209 h 780"/>
              <a:gd name="T48" fmla="*/ 564 w 730"/>
              <a:gd name="T49" fmla="*/ 379 h 780"/>
              <a:gd name="T50" fmla="*/ 668 w 730"/>
              <a:gd name="T51" fmla="*/ 209 h 780"/>
              <a:gd name="T52" fmla="*/ 550 w 730"/>
              <a:gd name="T53" fmla="*/ 379 h 780"/>
              <a:gd name="T54" fmla="*/ 372 w 730"/>
              <a:gd name="T55" fmla="*/ 209 h 780"/>
              <a:gd name="T56" fmla="*/ 14 w 730"/>
              <a:gd name="T57" fmla="*/ 379 h 780"/>
              <a:gd name="T58" fmla="*/ 191 w 730"/>
              <a:gd name="T59" fmla="*/ 209 h 780"/>
              <a:gd name="T60" fmla="*/ 14 w 730"/>
              <a:gd name="T61" fmla="*/ 379 h 780"/>
              <a:gd name="T62" fmla="*/ 358 w 730"/>
              <a:gd name="T63" fmla="*/ 209 h 780"/>
              <a:gd name="T64" fmla="*/ 180 w 730"/>
              <a:gd name="T65" fmla="*/ 379 h 780"/>
              <a:gd name="T66" fmla="*/ 210 w 730"/>
              <a:gd name="T67" fmla="*/ 195 h 780"/>
              <a:gd name="T68" fmla="*/ 358 w 730"/>
              <a:gd name="T69" fmla="*/ 195 h 780"/>
              <a:gd name="T70" fmla="*/ 299 w 730"/>
              <a:gd name="T71" fmla="*/ 42 h 780"/>
              <a:gd name="T72" fmla="*/ 195 w 730"/>
              <a:gd name="T73" fmla="*/ 195 h 780"/>
              <a:gd name="T74" fmla="*/ 299 w 730"/>
              <a:gd name="T75" fmla="*/ 42 h 780"/>
              <a:gd name="T76" fmla="*/ 14 w 730"/>
              <a:gd name="T77" fmla="*/ 393 h 780"/>
              <a:gd name="T78" fmla="*/ 191 w 730"/>
              <a:gd name="T79" fmla="*/ 563 h 780"/>
              <a:gd name="T80" fmla="*/ 205 w 730"/>
              <a:gd name="T81" fmla="*/ 563 h 780"/>
              <a:gd name="T82" fmla="*/ 358 w 730"/>
              <a:gd name="T83" fmla="*/ 393 h 780"/>
              <a:gd name="T84" fmla="*/ 205 w 730"/>
              <a:gd name="T85" fmla="*/ 563 h 780"/>
              <a:gd name="T86" fmla="*/ 372 w 730"/>
              <a:gd name="T87" fmla="*/ 737 h 780"/>
              <a:gd name="T88" fmla="*/ 520 w 730"/>
              <a:gd name="T89" fmla="*/ 577 h 780"/>
              <a:gd name="T90" fmla="*/ 507 w 730"/>
              <a:gd name="T91" fmla="*/ 643 h 780"/>
              <a:gd name="T92" fmla="*/ 659 w 730"/>
              <a:gd name="T93" fmla="*/ 577 h 780"/>
              <a:gd name="T94" fmla="*/ 324 w 730"/>
              <a:gd name="T95" fmla="*/ 740 h 780"/>
              <a:gd name="T96" fmla="*/ 321 w 730"/>
              <a:gd name="T97" fmla="*/ 752 h 780"/>
              <a:gd name="T98" fmla="*/ 194 w 730"/>
              <a:gd name="T99" fmla="*/ 780 h 780"/>
              <a:gd name="T100" fmla="*/ 193 w 730"/>
              <a:gd name="T101" fmla="*/ 766 h 780"/>
              <a:gd name="T102" fmla="*/ 227 w 730"/>
              <a:gd name="T103" fmla="*/ 653 h 780"/>
              <a:gd name="T104" fmla="*/ 238 w 730"/>
              <a:gd name="T105" fmla="*/ 643 h 780"/>
              <a:gd name="T106" fmla="*/ 416 w 730"/>
              <a:gd name="T107" fmla="*/ 38 h 780"/>
              <a:gd name="T108" fmla="*/ 420 w 730"/>
              <a:gd name="T109" fmla="*/ 27 h 780"/>
              <a:gd name="T110" fmla="*/ 540 w 730"/>
              <a:gd name="T111" fmla="*/ 7 h 780"/>
              <a:gd name="T112" fmla="*/ 435 w 730"/>
              <a:gd name="T113" fmla="*/ 38 h 780"/>
              <a:gd name="T114" fmla="*/ 504 w 730"/>
              <a:gd name="T115" fmla="*/ 125 h 780"/>
              <a:gd name="T116" fmla="*/ 494 w 730"/>
              <a:gd name="T117" fmla="*/ 125 h 7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30" h="780">
                <a:moveTo>
                  <a:pt x="678" y="573"/>
                </a:moveTo>
                <a:cubicBezTo>
                  <a:pt x="711" y="518"/>
                  <a:pt x="730" y="454"/>
                  <a:pt x="730" y="386"/>
                </a:cubicBezTo>
                <a:cubicBezTo>
                  <a:pt x="730" y="319"/>
                  <a:pt x="711" y="255"/>
                  <a:pt x="678" y="200"/>
                </a:cubicBezTo>
                <a:cubicBezTo>
                  <a:pt x="678" y="199"/>
                  <a:pt x="678" y="199"/>
                  <a:pt x="677" y="198"/>
                </a:cubicBezTo>
                <a:cubicBezTo>
                  <a:pt x="634" y="127"/>
                  <a:pt x="567" y="70"/>
                  <a:pt x="485" y="42"/>
                </a:cubicBezTo>
                <a:cubicBezTo>
                  <a:pt x="481" y="41"/>
                  <a:pt x="477" y="42"/>
                  <a:pt x="476" y="46"/>
                </a:cubicBezTo>
                <a:cubicBezTo>
                  <a:pt x="475" y="50"/>
                  <a:pt x="476" y="54"/>
                  <a:pt x="480" y="55"/>
                </a:cubicBezTo>
                <a:cubicBezTo>
                  <a:pt x="556" y="81"/>
                  <a:pt x="618" y="131"/>
                  <a:pt x="659" y="195"/>
                </a:cubicBezTo>
                <a:cubicBezTo>
                  <a:pt x="535" y="195"/>
                  <a:pt x="535" y="195"/>
                  <a:pt x="535" y="195"/>
                </a:cubicBezTo>
                <a:cubicBezTo>
                  <a:pt x="531" y="184"/>
                  <a:pt x="527" y="174"/>
                  <a:pt x="523" y="163"/>
                </a:cubicBezTo>
                <a:cubicBezTo>
                  <a:pt x="521" y="160"/>
                  <a:pt x="517" y="158"/>
                  <a:pt x="514" y="159"/>
                </a:cubicBezTo>
                <a:cubicBezTo>
                  <a:pt x="510" y="161"/>
                  <a:pt x="508" y="165"/>
                  <a:pt x="510" y="169"/>
                </a:cubicBezTo>
                <a:cubicBezTo>
                  <a:pt x="514" y="177"/>
                  <a:pt x="517" y="186"/>
                  <a:pt x="520" y="195"/>
                </a:cubicBezTo>
                <a:cubicBezTo>
                  <a:pt x="372" y="195"/>
                  <a:pt x="372" y="195"/>
                  <a:pt x="372" y="195"/>
                </a:cubicBezTo>
                <a:cubicBezTo>
                  <a:pt x="372" y="29"/>
                  <a:pt x="372" y="29"/>
                  <a:pt x="372" y="29"/>
                </a:cubicBezTo>
                <a:cubicBezTo>
                  <a:pt x="372" y="25"/>
                  <a:pt x="369" y="22"/>
                  <a:pt x="365" y="22"/>
                </a:cubicBezTo>
                <a:cubicBezTo>
                  <a:pt x="233" y="22"/>
                  <a:pt x="117" y="92"/>
                  <a:pt x="53" y="198"/>
                </a:cubicBezTo>
                <a:cubicBezTo>
                  <a:pt x="52" y="199"/>
                  <a:pt x="52" y="199"/>
                  <a:pt x="52" y="200"/>
                </a:cubicBezTo>
                <a:cubicBezTo>
                  <a:pt x="19" y="255"/>
                  <a:pt x="0" y="318"/>
                  <a:pt x="0" y="386"/>
                </a:cubicBezTo>
                <a:cubicBezTo>
                  <a:pt x="0" y="454"/>
                  <a:pt x="19" y="519"/>
                  <a:pt x="52" y="574"/>
                </a:cubicBezTo>
                <a:cubicBezTo>
                  <a:pt x="52" y="574"/>
                  <a:pt x="52" y="574"/>
                  <a:pt x="52" y="574"/>
                </a:cubicBezTo>
                <a:cubicBezTo>
                  <a:pt x="96" y="646"/>
                  <a:pt x="164" y="703"/>
                  <a:pt x="247" y="732"/>
                </a:cubicBezTo>
                <a:cubicBezTo>
                  <a:pt x="248" y="732"/>
                  <a:pt x="248" y="732"/>
                  <a:pt x="249" y="732"/>
                </a:cubicBezTo>
                <a:cubicBezTo>
                  <a:pt x="252" y="732"/>
                  <a:pt x="255" y="730"/>
                  <a:pt x="256" y="727"/>
                </a:cubicBezTo>
                <a:cubicBezTo>
                  <a:pt x="257" y="724"/>
                  <a:pt x="255" y="720"/>
                  <a:pt x="251" y="718"/>
                </a:cubicBezTo>
                <a:cubicBezTo>
                  <a:pt x="175" y="692"/>
                  <a:pt x="113" y="642"/>
                  <a:pt x="71" y="577"/>
                </a:cubicBezTo>
                <a:cubicBezTo>
                  <a:pt x="195" y="577"/>
                  <a:pt x="195" y="577"/>
                  <a:pt x="195" y="577"/>
                </a:cubicBezTo>
                <a:cubicBezTo>
                  <a:pt x="199" y="588"/>
                  <a:pt x="202" y="598"/>
                  <a:pt x="207" y="608"/>
                </a:cubicBezTo>
                <a:cubicBezTo>
                  <a:pt x="208" y="611"/>
                  <a:pt x="210" y="612"/>
                  <a:pt x="213" y="612"/>
                </a:cubicBezTo>
                <a:cubicBezTo>
                  <a:pt x="214" y="612"/>
                  <a:pt x="215" y="612"/>
                  <a:pt x="216" y="612"/>
                </a:cubicBezTo>
                <a:cubicBezTo>
                  <a:pt x="219" y="610"/>
                  <a:pt x="221" y="606"/>
                  <a:pt x="219" y="603"/>
                </a:cubicBezTo>
                <a:cubicBezTo>
                  <a:pt x="216" y="594"/>
                  <a:pt x="213" y="586"/>
                  <a:pt x="210" y="577"/>
                </a:cubicBezTo>
                <a:cubicBezTo>
                  <a:pt x="358" y="577"/>
                  <a:pt x="358" y="577"/>
                  <a:pt x="358" y="577"/>
                </a:cubicBezTo>
                <a:cubicBezTo>
                  <a:pt x="358" y="744"/>
                  <a:pt x="358" y="744"/>
                  <a:pt x="358" y="744"/>
                </a:cubicBezTo>
                <a:cubicBezTo>
                  <a:pt x="358" y="748"/>
                  <a:pt x="361" y="751"/>
                  <a:pt x="365" y="751"/>
                </a:cubicBezTo>
                <a:cubicBezTo>
                  <a:pt x="497" y="751"/>
                  <a:pt x="613" y="680"/>
                  <a:pt x="677" y="575"/>
                </a:cubicBezTo>
                <a:cubicBezTo>
                  <a:pt x="678" y="574"/>
                  <a:pt x="678" y="574"/>
                  <a:pt x="678" y="573"/>
                </a:cubicBezTo>
                <a:close/>
                <a:moveTo>
                  <a:pt x="564" y="393"/>
                </a:moveTo>
                <a:cubicBezTo>
                  <a:pt x="716" y="393"/>
                  <a:pt x="716" y="393"/>
                  <a:pt x="716" y="393"/>
                </a:cubicBezTo>
                <a:cubicBezTo>
                  <a:pt x="714" y="455"/>
                  <a:pt x="697" y="513"/>
                  <a:pt x="668" y="563"/>
                </a:cubicBezTo>
                <a:cubicBezTo>
                  <a:pt x="539" y="563"/>
                  <a:pt x="539" y="563"/>
                  <a:pt x="539" y="563"/>
                </a:cubicBezTo>
                <a:cubicBezTo>
                  <a:pt x="555" y="512"/>
                  <a:pt x="564" y="454"/>
                  <a:pt x="564" y="393"/>
                </a:cubicBezTo>
                <a:close/>
                <a:moveTo>
                  <a:pt x="525" y="563"/>
                </a:moveTo>
                <a:cubicBezTo>
                  <a:pt x="372" y="563"/>
                  <a:pt x="372" y="563"/>
                  <a:pt x="372" y="563"/>
                </a:cubicBezTo>
                <a:cubicBezTo>
                  <a:pt x="372" y="393"/>
                  <a:pt x="372" y="393"/>
                  <a:pt x="372" y="393"/>
                </a:cubicBezTo>
                <a:cubicBezTo>
                  <a:pt x="550" y="393"/>
                  <a:pt x="550" y="393"/>
                  <a:pt x="550" y="393"/>
                </a:cubicBezTo>
                <a:cubicBezTo>
                  <a:pt x="550" y="455"/>
                  <a:pt x="540" y="513"/>
                  <a:pt x="525" y="563"/>
                </a:cubicBezTo>
                <a:close/>
                <a:moveTo>
                  <a:pt x="668" y="209"/>
                </a:moveTo>
                <a:cubicBezTo>
                  <a:pt x="697" y="260"/>
                  <a:pt x="714" y="318"/>
                  <a:pt x="716" y="379"/>
                </a:cubicBezTo>
                <a:cubicBezTo>
                  <a:pt x="564" y="379"/>
                  <a:pt x="564" y="379"/>
                  <a:pt x="564" y="379"/>
                </a:cubicBezTo>
                <a:cubicBezTo>
                  <a:pt x="564" y="319"/>
                  <a:pt x="555" y="261"/>
                  <a:pt x="539" y="209"/>
                </a:cubicBezTo>
                <a:lnTo>
                  <a:pt x="668" y="209"/>
                </a:lnTo>
                <a:close/>
                <a:moveTo>
                  <a:pt x="525" y="209"/>
                </a:moveTo>
                <a:cubicBezTo>
                  <a:pt x="541" y="261"/>
                  <a:pt x="550" y="319"/>
                  <a:pt x="550" y="379"/>
                </a:cubicBezTo>
                <a:cubicBezTo>
                  <a:pt x="372" y="379"/>
                  <a:pt x="372" y="379"/>
                  <a:pt x="372" y="379"/>
                </a:cubicBezTo>
                <a:cubicBezTo>
                  <a:pt x="372" y="209"/>
                  <a:pt x="372" y="209"/>
                  <a:pt x="372" y="209"/>
                </a:cubicBezTo>
                <a:lnTo>
                  <a:pt x="525" y="209"/>
                </a:lnTo>
                <a:close/>
                <a:moveTo>
                  <a:pt x="14" y="379"/>
                </a:moveTo>
                <a:cubicBezTo>
                  <a:pt x="16" y="318"/>
                  <a:pt x="33" y="260"/>
                  <a:pt x="62" y="209"/>
                </a:cubicBezTo>
                <a:cubicBezTo>
                  <a:pt x="191" y="209"/>
                  <a:pt x="191" y="209"/>
                  <a:pt x="191" y="209"/>
                </a:cubicBezTo>
                <a:cubicBezTo>
                  <a:pt x="175" y="261"/>
                  <a:pt x="166" y="319"/>
                  <a:pt x="166" y="379"/>
                </a:cubicBezTo>
                <a:lnTo>
                  <a:pt x="14" y="379"/>
                </a:lnTo>
                <a:close/>
                <a:moveTo>
                  <a:pt x="205" y="209"/>
                </a:moveTo>
                <a:cubicBezTo>
                  <a:pt x="358" y="209"/>
                  <a:pt x="358" y="209"/>
                  <a:pt x="358" y="209"/>
                </a:cubicBezTo>
                <a:cubicBezTo>
                  <a:pt x="358" y="379"/>
                  <a:pt x="358" y="379"/>
                  <a:pt x="358" y="379"/>
                </a:cubicBezTo>
                <a:cubicBezTo>
                  <a:pt x="180" y="379"/>
                  <a:pt x="180" y="379"/>
                  <a:pt x="180" y="379"/>
                </a:cubicBezTo>
                <a:cubicBezTo>
                  <a:pt x="180" y="318"/>
                  <a:pt x="190" y="260"/>
                  <a:pt x="205" y="209"/>
                </a:cubicBezTo>
                <a:close/>
                <a:moveTo>
                  <a:pt x="210" y="195"/>
                </a:moveTo>
                <a:cubicBezTo>
                  <a:pt x="242" y="103"/>
                  <a:pt x="296" y="40"/>
                  <a:pt x="358" y="36"/>
                </a:cubicBezTo>
                <a:cubicBezTo>
                  <a:pt x="358" y="195"/>
                  <a:pt x="358" y="195"/>
                  <a:pt x="358" y="195"/>
                </a:cubicBezTo>
                <a:lnTo>
                  <a:pt x="210" y="195"/>
                </a:lnTo>
                <a:close/>
                <a:moveTo>
                  <a:pt x="299" y="42"/>
                </a:moveTo>
                <a:cubicBezTo>
                  <a:pt x="271" y="60"/>
                  <a:pt x="245" y="90"/>
                  <a:pt x="223" y="130"/>
                </a:cubicBezTo>
                <a:cubicBezTo>
                  <a:pt x="212" y="150"/>
                  <a:pt x="203" y="172"/>
                  <a:pt x="195" y="195"/>
                </a:cubicBezTo>
                <a:cubicBezTo>
                  <a:pt x="71" y="195"/>
                  <a:pt x="71" y="195"/>
                  <a:pt x="71" y="195"/>
                </a:cubicBezTo>
                <a:cubicBezTo>
                  <a:pt x="122" y="117"/>
                  <a:pt x="204" y="60"/>
                  <a:pt x="299" y="42"/>
                </a:cubicBezTo>
                <a:close/>
                <a:moveTo>
                  <a:pt x="62" y="563"/>
                </a:moveTo>
                <a:cubicBezTo>
                  <a:pt x="33" y="513"/>
                  <a:pt x="16" y="455"/>
                  <a:pt x="14" y="393"/>
                </a:cubicBezTo>
                <a:cubicBezTo>
                  <a:pt x="166" y="393"/>
                  <a:pt x="166" y="393"/>
                  <a:pt x="166" y="393"/>
                </a:cubicBezTo>
                <a:cubicBezTo>
                  <a:pt x="166" y="454"/>
                  <a:pt x="175" y="512"/>
                  <a:pt x="191" y="563"/>
                </a:cubicBezTo>
                <a:lnTo>
                  <a:pt x="62" y="563"/>
                </a:lnTo>
                <a:close/>
                <a:moveTo>
                  <a:pt x="205" y="563"/>
                </a:moveTo>
                <a:cubicBezTo>
                  <a:pt x="189" y="512"/>
                  <a:pt x="180" y="454"/>
                  <a:pt x="180" y="393"/>
                </a:cubicBezTo>
                <a:cubicBezTo>
                  <a:pt x="358" y="393"/>
                  <a:pt x="358" y="393"/>
                  <a:pt x="358" y="393"/>
                </a:cubicBezTo>
                <a:cubicBezTo>
                  <a:pt x="358" y="563"/>
                  <a:pt x="358" y="563"/>
                  <a:pt x="358" y="563"/>
                </a:cubicBezTo>
                <a:lnTo>
                  <a:pt x="205" y="563"/>
                </a:lnTo>
                <a:close/>
                <a:moveTo>
                  <a:pt x="520" y="577"/>
                </a:moveTo>
                <a:cubicBezTo>
                  <a:pt x="488" y="670"/>
                  <a:pt x="434" y="732"/>
                  <a:pt x="372" y="737"/>
                </a:cubicBezTo>
                <a:cubicBezTo>
                  <a:pt x="372" y="577"/>
                  <a:pt x="372" y="577"/>
                  <a:pt x="372" y="577"/>
                </a:cubicBezTo>
                <a:lnTo>
                  <a:pt x="520" y="577"/>
                </a:lnTo>
                <a:close/>
                <a:moveTo>
                  <a:pt x="431" y="731"/>
                </a:moveTo>
                <a:cubicBezTo>
                  <a:pt x="459" y="713"/>
                  <a:pt x="485" y="683"/>
                  <a:pt x="507" y="643"/>
                </a:cubicBezTo>
                <a:cubicBezTo>
                  <a:pt x="518" y="623"/>
                  <a:pt x="527" y="601"/>
                  <a:pt x="535" y="577"/>
                </a:cubicBezTo>
                <a:cubicBezTo>
                  <a:pt x="659" y="577"/>
                  <a:pt x="659" y="577"/>
                  <a:pt x="659" y="577"/>
                </a:cubicBezTo>
                <a:cubicBezTo>
                  <a:pt x="608" y="656"/>
                  <a:pt x="526" y="713"/>
                  <a:pt x="431" y="731"/>
                </a:cubicBezTo>
                <a:close/>
                <a:moveTo>
                  <a:pt x="324" y="740"/>
                </a:moveTo>
                <a:cubicBezTo>
                  <a:pt x="326" y="742"/>
                  <a:pt x="327" y="745"/>
                  <a:pt x="326" y="747"/>
                </a:cubicBezTo>
                <a:cubicBezTo>
                  <a:pt x="325" y="749"/>
                  <a:pt x="323" y="751"/>
                  <a:pt x="321" y="752"/>
                </a:cubicBezTo>
                <a:cubicBezTo>
                  <a:pt x="196" y="780"/>
                  <a:pt x="196" y="780"/>
                  <a:pt x="196" y="780"/>
                </a:cubicBezTo>
                <a:cubicBezTo>
                  <a:pt x="195" y="780"/>
                  <a:pt x="195" y="780"/>
                  <a:pt x="194" y="780"/>
                </a:cubicBezTo>
                <a:cubicBezTo>
                  <a:pt x="191" y="780"/>
                  <a:pt x="188" y="778"/>
                  <a:pt x="187" y="775"/>
                </a:cubicBezTo>
                <a:cubicBezTo>
                  <a:pt x="186" y="771"/>
                  <a:pt x="189" y="767"/>
                  <a:pt x="193" y="766"/>
                </a:cubicBezTo>
                <a:cubicBezTo>
                  <a:pt x="306" y="741"/>
                  <a:pt x="306" y="741"/>
                  <a:pt x="306" y="741"/>
                </a:cubicBezTo>
                <a:cubicBezTo>
                  <a:pt x="227" y="653"/>
                  <a:pt x="227" y="653"/>
                  <a:pt x="227" y="653"/>
                </a:cubicBezTo>
                <a:cubicBezTo>
                  <a:pt x="225" y="650"/>
                  <a:pt x="225" y="646"/>
                  <a:pt x="228" y="643"/>
                </a:cubicBezTo>
                <a:cubicBezTo>
                  <a:pt x="231" y="640"/>
                  <a:pt x="235" y="641"/>
                  <a:pt x="238" y="643"/>
                </a:cubicBezTo>
                <a:lnTo>
                  <a:pt x="324" y="740"/>
                </a:lnTo>
                <a:close/>
                <a:moveTo>
                  <a:pt x="416" y="38"/>
                </a:moveTo>
                <a:cubicBezTo>
                  <a:pt x="415" y="36"/>
                  <a:pt x="414" y="34"/>
                  <a:pt x="415" y="31"/>
                </a:cubicBezTo>
                <a:cubicBezTo>
                  <a:pt x="415" y="29"/>
                  <a:pt x="417" y="27"/>
                  <a:pt x="420" y="27"/>
                </a:cubicBezTo>
                <a:cubicBezTo>
                  <a:pt x="532" y="1"/>
                  <a:pt x="532" y="1"/>
                  <a:pt x="532" y="1"/>
                </a:cubicBezTo>
                <a:cubicBezTo>
                  <a:pt x="536" y="0"/>
                  <a:pt x="539" y="3"/>
                  <a:pt x="540" y="7"/>
                </a:cubicBezTo>
                <a:cubicBezTo>
                  <a:pt x="541" y="10"/>
                  <a:pt x="539" y="14"/>
                  <a:pt x="535" y="15"/>
                </a:cubicBezTo>
                <a:cubicBezTo>
                  <a:pt x="435" y="38"/>
                  <a:pt x="435" y="38"/>
                  <a:pt x="435" y="38"/>
                </a:cubicBezTo>
                <a:cubicBezTo>
                  <a:pt x="504" y="115"/>
                  <a:pt x="504" y="115"/>
                  <a:pt x="504" y="115"/>
                </a:cubicBezTo>
                <a:cubicBezTo>
                  <a:pt x="507" y="118"/>
                  <a:pt x="506" y="123"/>
                  <a:pt x="504" y="125"/>
                </a:cubicBezTo>
                <a:cubicBezTo>
                  <a:pt x="502" y="127"/>
                  <a:pt x="501" y="127"/>
                  <a:pt x="499" y="127"/>
                </a:cubicBezTo>
                <a:cubicBezTo>
                  <a:pt x="497" y="127"/>
                  <a:pt x="495" y="126"/>
                  <a:pt x="494" y="125"/>
                </a:cubicBezTo>
                <a:lnTo>
                  <a:pt x="416" y="38"/>
                </a:ln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9246" name="Oval 68"/>
          <p:cNvSpPr>
            <a:spLocks noChangeArrowheads="1"/>
          </p:cNvSpPr>
          <p:nvPr/>
        </p:nvSpPr>
        <p:spPr bwMode="auto">
          <a:xfrm>
            <a:off x="3073678" y="3120088"/>
            <a:ext cx="1119124" cy="1119124"/>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9262" name="Freeform 129"/>
          <p:cNvSpPr>
            <a:spLocks noEditPoints="1"/>
          </p:cNvSpPr>
          <p:nvPr/>
        </p:nvSpPr>
        <p:spPr bwMode="auto">
          <a:xfrm>
            <a:off x="3275607" y="3331749"/>
            <a:ext cx="715266" cy="697020"/>
          </a:xfrm>
          <a:custGeom>
            <a:avLst/>
            <a:gdLst>
              <a:gd name="T0" fmla="*/ 209 w 679"/>
              <a:gd name="T1" fmla="*/ 265 h 663"/>
              <a:gd name="T2" fmla="*/ 314 w 679"/>
              <a:gd name="T3" fmla="*/ 265 h 663"/>
              <a:gd name="T4" fmla="*/ 262 w 679"/>
              <a:gd name="T5" fmla="*/ 201 h 663"/>
              <a:gd name="T6" fmla="*/ 262 w 679"/>
              <a:gd name="T7" fmla="*/ 329 h 663"/>
              <a:gd name="T8" fmla="*/ 262 w 679"/>
              <a:gd name="T9" fmla="*/ 201 h 663"/>
              <a:gd name="T10" fmla="*/ 365 w 679"/>
              <a:gd name="T11" fmla="*/ 398 h 663"/>
              <a:gd name="T12" fmla="*/ 470 w 679"/>
              <a:gd name="T13" fmla="*/ 398 h 663"/>
              <a:gd name="T14" fmla="*/ 417 w 679"/>
              <a:gd name="T15" fmla="*/ 335 h 663"/>
              <a:gd name="T16" fmla="*/ 417 w 679"/>
              <a:gd name="T17" fmla="*/ 462 h 663"/>
              <a:gd name="T18" fmla="*/ 417 w 679"/>
              <a:gd name="T19" fmla="*/ 335 h 663"/>
              <a:gd name="T20" fmla="*/ 423 w 679"/>
              <a:gd name="T21" fmla="*/ 198 h 663"/>
              <a:gd name="T22" fmla="*/ 411 w 679"/>
              <a:gd name="T23" fmla="*/ 191 h 663"/>
              <a:gd name="T24" fmla="*/ 258 w 679"/>
              <a:gd name="T25" fmla="*/ 475 h 663"/>
              <a:gd name="T26" fmla="*/ 268 w 679"/>
              <a:gd name="T27" fmla="*/ 472 h 663"/>
              <a:gd name="T28" fmla="*/ 410 w 679"/>
              <a:gd name="T29" fmla="*/ 661 h 663"/>
              <a:gd name="T30" fmla="*/ 269 w 679"/>
              <a:gd name="T31" fmla="*/ 661 h 663"/>
              <a:gd name="T32" fmla="*/ 212 w 679"/>
              <a:gd name="T33" fmla="*/ 597 h 663"/>
              <a:gd name="T34" fmla="*/ 126 w 679"/>
              <a:gd name="T35" fmla="*/ 592 h 663"/>
              <a:gd name="T36" fmla="*/ 38 w 679"/>
              <a:gd name="T37" fmla="*/ 482 h 663"/>
              <a:gd name="T38" fmla="*/ 52 w 679"/>
              <a:gd name="T39" fmla="*/ 397 h 663"/>
              <a:gd name="T40" fmla="*/ 2 w 679"/>
              <a:gd name="T41" fmla="*/ 327 h 663"/>
              <a:gd name="T42" fmla="*/ 34 w 679"/>
              <a:gd name="T43" fmla="*/ 189 h 663"/>
              <a:gd name="T44" fmla="*/ 109 w 679"/>
              <a:gd name="T45" fmla="*/ 148 h 663"/>
              <a:gd name="T46" fmla="*/ 133 w 679"/>
              <a:gd name="T47" fmla="*/ 65 h 663"/>
              <a:gd name="T48" fmla="*/ 260 w 679"/>
              <a:gd name="T49" fmla="*/ 4 h 663"/>
              <a:gd name="T50" fmla="*/ 339 w 679"/>
              <a:gd name="T51" fmla="*/ 37 h 663"/>
              <a:gd name="T52" fmla="*/ 419 w 679"/>
              <a:gd name="T53" fmla="*/ 4 h 663"/>
              <a:gd name="T54" fmla="*/ 546 w 679"/>
              <a:gd name="T55" fmla="*/ 65 h 663"/>
              <a:gd name="T56" fmla="*/ 570 w 679"/>
              <a:gd name="T57" fmla="*/ 148 h 663"/>
              <a:gd name="T58" fmla="*/ 645 w 679"/>
              <a:gd name="T59" fmla="*/ 189 h 663"/>
              <a:gd name="T60" fmla="*/ 677 w 679"/>
              <a:gd name="T61" fmla="*/ 327 h 663"/>
              <a:gd name="T62" fmla="*/ 626 w 679"/>
              <a:gd name="T63" fmla="*/ 397 h 663"/>
              <a:gd name="T64" fmla="*/ 641 w 679"/>
              <a:gd name="T65" fmla="*/ 482 h 663"/>
              <a:gd name="T66" fmla="*/ 553 w 679"/>
              <a:gd name="T67" fmla="*/ 592 h 663"/>
              <a:gd name="T68" fmla="*/ 546 w 679"/>
              <a:gd name="T69" fmla="*/ 598 h 663"/>
              <a:gd name="T70" fmla="*/ 419 w 679"/>
              <a:gd name="T71" fmla="*/ 659 h 663"/>
              <a:gd name="T72" fmla="*/ 215 w 679"/>
              <a:gd name="T73" fmla="*/ 583 h 663"/>
              <a:gd name="T74" fmla="*/ 268 w 679"/>
              <a:gd name="T75" fmla="*/ 646 h 663"/>
              <a:gd name="T76" fmla="*/ 343 w 679"/>
              <a:gd name="T77" fmla="*/ 612 h 663"/>
              <a:gd name="T78" fmla="*/ 458 w 679"/>
              <a:gd name="T79" fmla="*/ 585 h 663"/>
              <a:gd name="T80" fmla="*/ 541 w 679"/>
              <a:gd name="T81" fmla="*/ 584 h 663"/>
              <a:gd name="T82" fmla="*/ 561 w 679"/>
              <a:gd name="T83" fmla="*/ 504 h 663"/>
              <a:gd name="T84" fmla="*/ 612 w 679"/>
              <a:gd name="T85" fmla="*/ 397 h 663"/>
              <a:gd name="T86" fmla="*/ 662 w 679"/>
              <a:gd name="T87" fmla="*/ 332 h 663"/>
              <a:gd name="T88" fmla="*/ 612 w 679"/>
              <a:gd name="T89" fmla="*/ 266 h 663"/>
              <a:gd name="T90" fmla="*/ 561 w 679"/>
              <a:gd name="T91" fmla="*/ 159 h 663"/>
              <a:gd name="T92" fmla="*/ 541 w 679"/>
              <a:gd name="T93" fmla="*/ 79 h 663"/>
              <a:gd name="T94" fmla="*/ 458 w 679"/>
              <a:gd name="T95" fmla="*/ 78 h 663"/>
              <a:gd name="T96" fmla="*/ 343 w 679"/>
              <a:gd name="T97" fmla="*/ 51 h 663"/>
              <a:gd name="T98" fmla="*/ 268 w 679"/>
              <a:gd name="T99" fmla="*/ 17 h 663"/>
              <a:gd name="T100" fmla="*/ 215 w 679"/>
              <a:gd name="T101" fmla="*/ 80 h 663"/>
              <a:gd name="T102" fmla="*/ 138 w 679"/>
              <a:gd name="T103" fmla="*/ 79 h 663"/>
              <a:gd name="T104" fmla="*/ 118 w 679"/>
              <a:gd name="T105" fmla="*/ 159 h 663"/>
              <a:gd name="T106" fmla="*/ 67 w 679"/>
              <a:gd name="T107" fmla="*/ 266 h 663"/>
              <a:gd name="T108" fmla="*/ 17 w 679"/>
              <a:gd name="T109" fmla="*/ 332 h 663"/>
              <a:gd name="T110" fmla="*/ 67 w 679"/>
              <a:gd name="T111" fmla="*/ 397 h 663"/>
              <a:gd name="T112" fmla="*/ 118 w 679"/>
              <a:gd name="T113" fmla="*/ 504 h 663"/>
              <a:gd name="T114" fmla="*/ 138 w 679"/>
              <a:gd name="T115" fmla="*/ 584 h 663"/>
              <a:gd name="T116" fmla="*/ 215 w 679"/>
              <a:gd name="T117" fmla="*/ 583 h 6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79" h="663">
                <a:moveTo>
                  <a:pt x="262" y="343"/>
                </a:moveTo>
                <a:cubicBezTo>
                  <a:pt x="232" y="343"/>
                  <a:pt x="209" y="308"/>
                  <a:pt x="209" y="265"/>
                </a:cubicBezTo>
                <a:cubicBezTo>
                  <a:pt x="209" y="221"/>
                  <a:pt x="232" y="187"/>
                  <a:pt x="262" y="187"/>
                </a:cubicBezTo>
                <a:cubicBezTo>
                  <a:pt x="291" y="187"/>
                  <a:pt x="314" y="221"/>
                  <a:pt x="314" y="265"/>
                </a:cubicBezTo>
                <a:cubicBezTo>
                  <a:pt x="314" y="308"/>
                  <a:pt x="291" y="343"/>
                  <a:pt x="262" y="343"/>
                </a:cubicBezTo>
                <a:close/>
                <a:moveTo>
                  <a:pt x="262" y="201"/>
                </a:moveTo>
                <a:cubicBezTo>
                  <a:pt x="241" y="201"/>
                  <a:pt x="223" y="230"/>
                  <a:pt x="223" y="265"/>
                </a:cubicBezTo>
                <a:cubicBezTo>
                  <a:pt x="223" y="299"/>
                  <a:pt x="241" y="329"/>
                  <a:pt x="262" y="329"/>
                </a:cubicBezTo>
                <a:cubicBezTo>
                  <a:pt x="282" y="329"/>
                  <a:pt x="300" y="299"/>
                  <a:pt x="300" y="265"/>
                </a:cubicBezTo>
                <a:cubicBezTo>
                  <a:pt x="300" y="230"/>
                  <a:pt x="282" y="201"/>
                  <a:pt x="262" y="201"/>
                </a:cubicBezTo>
                <a:close/>
                <a:moveTo>
                  <a:pt x="417" y="476"/>
                </a:moveTo>
                <a:cubicBezTo>
                  <a:pt x="388" y="476"/>
                  <a:pt x="365" y="442"/>
                  <a:pt x="365" y="398"/>
                </a:cubicBezTo>
                <a:cubicBezTo>
                  <a:pt x="365" y="355"/>
                  <a:pt x="388" y="321"/>
                  <a:pt x="417" y="321"/>
                </a:cubicBezTo>
                <a:cubicBezTo>
                  <a:pt x="447" y="321"/>
                  <a:pt x="470" y="355"/>
                  <a:pt x="470" y="398"/>
                </a:cubicBezTo>
                <a:cubicBezTo>
                  <a:pt x="470" y="442"/>
                  <a:pt x="447" y="476"/>
                  <a:pt x="417" y="476"/>
                </a:cubicBezTo>
                <a:close/>
                <a:moveTo>
                  <a:pt x="417" y="335"/>
                </a:moveTo>
                <a:cubicBezTo>
                  <a:pt x="396" y="335"/>
                  <a:pt x="379" y="364"/>
                  <a:pt x="379" y="398"/>
                </a:cubicBezTo>
                <a:cubicBezTo>
                  <a:pt x="379" y="433"/>
                  <a:pt x="396" y="462"/>
                  <a:pt x="417" y="462"/>
                </a:cubicBezTo>
                <a:cubicBezTo>
                  <a:pt x="438" y="462"/>
                  <a:pt x="456" y="433"/>
                  <a:pt x="456" y="398"/>
                </a:cubicBezTo>
                <a:cubicBezTo>
                  <a:pt x="456" y="364"/>
                  <a:pt x="438" y="335"/>
                  <a:pt x="417" y="335"/>
                </a:cubicBezTo>
                <a:close/>
                <a:moveTo>
                  <a:pt x="268" y="472"/>
                </a:moveTo>
                <a:cubicBezTo>
                  <a:pt x="423" y="198"/>
                  <a:pt x="423" y="198"/>
                  <a:pt x="423" y="198"/>
                </a:cubicBezTo>
                <a:cubicBezTo>
                  <a:pt x="425" y="194"/>
                  <a:pt x="424" y="190"/>
                  <a:pt x="421" y="188"/>
                </a:cubicBezTo>
                <a:cubicBezTo>
                  <a:pt x="417" y="186"/>
                  <a:pt x="413" y="187"/>
                  <a:pt x="411" y="191"/>
                </a:cubicBezTo>
                <a:cubicBezTo>
                  <a:pt x="256" y="466"/>
                  <a:pt x="256" y="466"/>
                  <a:pt x="256" y="466"/>
                </a:cubicBezTo>
                <a:cubicBezTo>
                  <a:pt x="254" y="469"/>
                  <a:pt x="255" y="473"/>
                  <a:pt x="258" y="475"/>
                </a:cubicBezTo>
                <a:cubicBezTo>
                  <a:pt x="259" y="476"/>
                  <a:pt x="261" y="476"/>
                  <a:pt x="262" y="476"/>
                </a:cubicBezTo>
                <a:cubicBezTo>
                  <a:pt x="264" y="476"/>
                  <a:pt x="266" y="475"/>
                  <a:pt x="268" y="472"/>
                </a:cubicBezTo>
                <a:close/>
                <a:moveTo>
                  <a:pt x="413" y="662"/>
                </a:moveTo>
                <a:cubicBezTo>
                  <a:pt x="412" y="662"/>
                  <a:pt x="411" y="662"/>
                  <a:pt x="410" y="661"/>
                </a:cubicBezTo>
                <a:cubicBezTo>
                  <a:pt x="339" y="626"/>
                  <a:pt x="339" y="626"/>
                  <a:pt x="339" y="626"/>
                </a:cubicBezTo>
                <a:cubicBezTo>
                  <a:pt x="269" y="661"/>
                  <a:pt x="269" y="661"/>
                  <a:pt x="269" y="661"/>
                </a:cubicBezTo>
                <a:cubicBezTo>
                  <a:pt x="266" y="663"/>
                  <a:pt x="262" y="662"/>
                  <a:pt x="260" y="659"/>
                </a:cubicBezTo>
                <a:cubicBezTo>
                  <a:pt x="212" y="597"/>
                  <a:pt x="212" y="597"/>
                  <a:pt x="212" y="597"/>
                </a:cubicBezTo>
                <a:cubicBezTo>
                  <a:pt x="133" y="598"/>
                  <a:pt x="133" y="598"/>
                  <a:pt x="133" y="598"/>
                </a:cubicBezTo>
                <a:cubicBezTo>
                  <a:pt x="129" y="598"/>
                  <a:pt x="126" y="596"/>
                  <a:pt x="126" y="592"/>
                </a:cubicBezTo>
                <a:cubicBezTo>
                  <a:pt x="109" y="515"/>
                  <a:pt x="109" y="515"/>
                  <a:pt x="109" y="515"/>
                </a:cubicBezTo>
                <a:cubicBezTo>
                  <a:pt x="38" y="482"/>
                  <a:pt x="38" y="482"/>
                  <a:pt x="38" y="482"/>
                </a:cubicBezTo>
                <a:cubicBezTo>
                  <a:pt x="35" y="480"/>
                  <a:pt x="33" y="477"/>
                  <a:pt x="34" y="474"/>
                </a:cubicBezTo>
                <a:cubicBezTo>
                  <a:pt x="52" y="397"/>
                  <a:pt x="52" y="397"/>
                  <a:pt x="52" y="397"/>
                </a:cubicBezTo>
                <a:cubicBezTo>
                  <a:pt x="2" y="336"/>
                  <a:pt x="2" y="336"/>
                  <a:pt x="2" y="336"/>
                </a:cubicBezTo>
                <a:cubicBezTo>
                  <a:pt x="0" y="333"/>
                  <a:pt x="0" y="330"/>
                  <a:pt x="2" y="327"/>
                </a:cubicBezTo>
                <a:cubicBezTo>
                  <a:pt x="52" y="266"/>
                  <a:pt x="52" y="266"/>
                  <a:pt x="52" y="266"/>
                </a:cubicBezTo>
                <a:cubicBezTo>
                  <a:pt x="34" y="189"/>
                  <a:pt x="34" y="189"/>
                  <a:pt x="34" y="189"/>
                </a:cubicBezTo>
                <a:cubicBezTo>
                  <a:pt x="33" y="186"/>
                  <a:pt x="35" y="183"/>
                  <a:pt x="38" y="181"/>
                </a:cubicBezTo>
                <a:cubicBezTo>
                  <a:pt x="109" y="148"/>
                  <a:pt x="109" y="148"/>
                  <a:pt x="109" y="148"/>
                </a:cubicBezTo>
                <a:cubicBezTo>
                  <a:pt x="126" y="71"/>
                  <a:pt x="126" y="71"/>
                  <a:pt x="126" y="71"/>
                </a:cubicBezTo>
                <a:cubicBezTo>
                  <a:pt x="126" y="68"/>
                  <a:pt x="129" y="65"/>
                  <a:pt x="133" y="65"/>
                </a:cubicBezTo>
                <a:cubicBezTo>
                  <a:pt x="212" y="66"/>
                  <a:pt x="212" y="66"/>
                  <a:pt x="212" y="66"/>
                </a:cubicBezTo>
                <a:cubicBezTo>
                  <a:pt x="260" y="4"/>
                  <a:pt x="260" y="4"/>
                  <a:pt x="260" y="4"/>
                </a:cubicBezTo>
                <a:cubicBezTo>
                  <a:pt x="262" y="1"/>
                  <a:pt x="266" y="0"/>
                  <a:pt x="269" y="2"/>
                </a:cubicBezTo>
                <a:cubicBezTo>
                  <a:pt x="339" y="37"/>
                  <a:pt x="339" y="37"/>
                  <a:pt x="339" y="37"/>
                </a:cubicBezTo>
                <a:cubicBezTo>
                  <a:pt x="410" y="2"/>
                  <a:pt x="410" y="2"/>
                  <a:pt x="410" y="2"/>
                </a:cubicBezTo>
                <a:cubicBezTo>
                  <a:pt x="413" y="0"/>
                  <a:pt x="417" y="1"/>
                  <a:pt x="419" y="4"/>
                </a:cubicBezTo>
                <a:cubicBezTo>
                  <a:pt x="467" y="66"/>
                  <a:pt x="467" y="66"/>
                  <a:pt x="467" y="66"/>
                </a:cubicBezTo>
                <a:cubicBezTo>
                  <a:pt x="546" y="65"/>
                  <a:pt x="546" y="65"/>
                  <a:pt x="546" y="65"/>
                </a:cubicBezTo>
                <a:cubicBezTo>
                  <a:pt x="549" y="65"/>
                  <a:pt x="552" y="68"/>
                  <a:pt x="553" y="71"/>
                </a:cubicBezTo>
                <a:cubicBezTo>
                  <a:pt x="570" y="148"/>
                  <a:pt x="570" y="148"/>
                  <a:pt x="570" y="148"/>
                </a:cubicBezTo>
                <a:cubicBezTo>
                  <a:pt x="641" y="181"/>
                  <a:pt x="641" y="181"/>
                  <a:pt x="641" y="181"/>
                </a:cubicBezTo>
                <a:cubicBezTo>
                  <a:pt x="644" y="183"/>
                  <a:pt x="646" y="186"/>
                  <a:pt x="645" y="189"/>
                </a:cubicBezTo>
                <a:cubicBezTo>
                  <a:pt x="626" y="266"/>
                  <a:pt x="626" y="266"/>
                  <a:pt x="626" y="266"/>
                </a:cubicBezTo>
                <a:cubicBezTo>
                  <a:pt x="677" y="327"/>
                  <a:pt x="677" y="327"/>
                  <a:pt x="677" y="327"/>
                </a:cubicBezTo>
                <a:cubicBezTo>
                  <a:pt x="679" y="330"/>
                  <a:pt x="679" y="333"/>
                  <a:pt x="677" y="336"/>
                </a:cubicBezTo>
                <a:cubicBezTo>
                  <a:pt x="626" y="397"/>
                  <a:pt x="626" y="397"/>
                  <a:pt x="626" y="397"/>
                </a:cubicBezTo>
                <a:cubicBezTo>
                  <a:pt x="645" y="474"/>
                  <a:pt x="645" y="474"/>
                  <a:pt x="645" y="474"/>
                </a:cubicBezTo>
                <a:cubicBezTo>
                  <a:pt x="646" y="477"/>
                  <a:pt x="644" y="480"/>
                  <a:pt x="641" y="482"/>
                </a:cubicBezTo>
                <a:cubicBezTo>
                  <a:pt x="570" y="515"/>
                  <a:pt x="570" y="515"/>
                  <a:pt x="570" y="515"/>
                </a:cubicBezTo>
                <a:cubicBezTo>
                  <a:pt x="553" y="592"/>
                  <a:pt x="553" y="592"/>
                  <a:pt x="553" y="592"/>
                </a:cubicBezTo>
                <a:cubicBezTo>
                  <a:pt x="552" y="596"/>
                  <a:pt x="550" y="598"/>
                  <a:pt x="546" y="598"/>
                </a:cubicBezTo>
                <a:cubicBezTo>
                  <a:pt x="546" y="598"/>
                  <a:pt x="546" y="598"/>
                  <a:pt x="546" y="598"/>
                </a:cubicBezTo>
                <a:cubicBezTo>
                  <a:pt x="467" y="597"/>
                  <a:pt x="467" y="597"/>
                  <a:pt x="467" y="597"/>
                </a:cubicBezTo>
                <a:cubicBezTo>
                  <a:pt x="419" y="659"/>
                  <a:pt x="419" y="659"/>
                  <a:pt x="419" y="659"/>
                </a:cubicBezTo>
                <a:cubicBezTo>
                  <a:pt x="417" y="661"/>
                  <a:pt x="415" y="662"/>
                  <a:pt x="413" y="662"/>
                </a:cubicBezTo>
                <a:close/>
                <a:moveTo>
                  <a:pt x="215" y="583"/>
                </a:moveTo>
                <a:cubicBezTo>
                  <a:pt x="217" y="583"/>
                  <a:pt x="219" y="584"/>
                  <a:pt x="221" y="585"/>
                </a:cubicBezTo>
                <a:cubicBezTo>
                  <a:pt x="268" y="646"/>
                  <a:pt x="268" y="646"/>
                  <a:pt x="268" y="646"/>
                </a:cubicBezTo>
                <a:cubicBezTo>
                  <a:pt x="336" y="612"/>
                  <a:pt x="336" y="612"/>
                  <a:pt x="336" y="612"/>
                </a:cubicBezTo>
                <a:cubicBezTo>
                  <a:pt x="338" y="611"/>
                  <a:pt x="341" y="611"/>
                  <a:pt x="343" y="612"/>
                </a:cubicBezTo>
                <a:cubicBezTo>
                  <a:pt x="411" y="646"/>
                  <a:pt x="411" y="646"/>
                  <a:pt x="411" y="646"/>
                </a:cubicBezTo>
                <a:cubicBezTo>
                  <a:pt x="458" y="585"/>
                  <a:pt x="458" y="585"/>
                  <a:pt x="458" y="585"/>
                </a:cubicBezTo>
                <a:cubicBezTo>
                  <a:pt x="460" y="584"/>
                  <a:pt x="461" y="583"/>
                  <a:pt x="464" y="583"/>
                </a:cubicBezTo>
                <a:cubicBezTo>
                  <a:pt x="541" y="584"/>
                  <a:pt x="541" y="584"/>
                  <a:pt x="541" y="584"/>
                </a:cubicBezTo>
                <a:cubicBezTo>
                  <a:pt x="557" y="509"/>
                  <a:pt x="557" y="509"/>
                  <a:pt x="557" y="509"/>
                </a:cubicBezTo>
                <a:cubicBezTo>
                  <a:pt x="557" y="507"/>
                  <a:pt x="559" y="505"/>
                  <a:pt x="561" y="504"/>
                </a:cubicBezTo>
                <a:cubicBezTo>
                  <a:pt x="630" y="472"/>
                  <a:pt x="630" y="472"/>
                  <a:pt x="630" y="472"/>
                </a:cubicBezTo>
                <a:cubicBezTo>
                  <a:pt x="612" y="397"/>
                  <a:pt x="612" y="397"/>
                  <a:pt x="612" y="397"/>
                </a:cubicBezTo>
                <a:cubicBezTo>
                  <a:pt x="611" y="395"/>
                  <a:pt x="612" y="393"/>
                  <a:pt x="613" y="391"/>
                </a:cubicBezTo>
                <a:cubicBezTo>
                  <a:pt x="662" y="332"/>
                  <a:pt x="662" y="332"/>
                  <a:pt x="662" y="332"/>
                </a:cubicBezTo>
                <a:cubicBezTo>
                  <a:pt x="613" y="272"/>
                  <a:pt x="613" y="272"/>
                  <a:pt x="613" y="272"/>
                </a:cubicBezTo>
                <a:cubicBezTo>
                  <a:pt x="612" y="271"/>
                  <a:pt x="611" y="268"/>
                  <a:pt x="612" y="266"/>
                </a:cubicBezTo>
                <a:cubicBezTo>
                  <a:pt x="630" y="192"/>
                  <a:pt x="630" y="192"/>
                  <a:pt x="630" y="192"/>
                </a:cubicBezTo>
                <a:cubicBezTo>
                  <a:pt x="561" y="159"/>
                  <a:pt x="561" y="159"/>
                  <a:pt x="561" y="159"/>
                </a:cubicBezTo>
                <a:cubicBezTo>
                  <a:pt x="559" y="158"/>
                  <a:pt x="557" y="157"/>
                  <a:pt x="557" y="154"/>
                </a:cubicBezTo>
                <a:cubicBezTo>
                  <a:pt x="541" y="79"/>
                  <a:pt x="541" y="79"/>
                  <a:pt x="541" y="79"/>
                </a:cubicBezTo>
                <a:cubicBezTo>
                  <a:pt x="464" y="80"/>
                  <a:pt x="464" y="80"/>
                  <a:pt x="464" y="80"/>
                </a:cubicBezTo>
                <a:cubicBezTo>
                  <a:pt x="462" y="80"/>
                  <a:pt x="460" y="79"/>
                  <a:pt x="458" y="78"/>
                </a:cubicBezTo>
                <a:cubicBezTo>
                  <a:pt x="411" y="17"/>
                  <a:pt x="411" y="17"/>
                  <a:pt x="411" y="17"/>
                </a:cubicBezTo>
                <a:cubicBezTo>
                  <a:pt x="343" y="51"/>
                  <a:pt x="343" y="51"/>
                  <a:pt x="343" y="51"/>
                </a:cubicBezTo>
                <a:cubicBezTo>
                  <a:pt x="341" y="52"/>
                  <a:pt x="338" y="52"/>
                  <a:pt x="336" y="51"/>
                </a:cubicBezTo>
                <a:cubicBezTo>
                  <a:pt x="268" y="17"/>
                  <a:pt x="268" y="17"/>
                  <a:pt x="268" y="17"/>
                </a:cubicBezTo>
                <a:cubicBezTo>
                  <a:pt x="221" y="78"/>
                  <a:pt x="221" y="78"/>
                  <a:pt x="221" y="78"/>
                </a:cubicBezTo>
                <a:cubicBezTo>
                  <a:pt x="219" y="79"/>
                  <a:pt x="217" y="80"/>
                  <a:pt x="215" y="80"/>
                </a:cubicBezTo>
                <a:cubicBezTo>
                  <a:pt x="215" y="80"/>
                  <a:pt x="215" y="80"/>
                  <a:pt x="215" y="80"/>
                </a:cubicBezTo>
                <a:cubicBezTo>
                  <a:pt x="138" y="79"/>
                  <a:pt x="138" y="79"/>
                  <a:pt x="138" y="79"/>
                </a:cubicBezTo>
                <a:cubicBezTo>
                  <a:pt x="122" y="154"/>
                  <a:pt x="122" y="154"/>
                  <a:pt x="122" y="154"/>
                </a:cubicBezTo>
                <a:cubicBezTo>
                  <a:pt x="122" y="157"/>
                  <a:pt x="120" y="158"/>
                  <a:pt x="118" y="159"/>
                </a:cubicBezTo>
                <a:cubicBezTo>
                  <a:pt x="49" y="192"/>
                  <a:pt x="49" y="192"/>
                  <a:pt x="49" y="192"/>
                </a:cubicBezTo>
                <a:cubicBezTo>
                  <a:pt x="67" y="266"/>
                  <a:pt x="67" y="266"/>
                  <a:pt x="67" y="266"/>
                </a:cubicBezTo>
                <a:cubicBezTo>
                  <a:pt x="67" y="268"/>
                  <a:pt x="67" y="271"/>
                  <a:pt x="65" y="272"/>
                </a:cubicBezTo>
                <a:cubicBezTo>
                  <a:pt x="17" y="332"/>
                  <a:pt x="17" y="332"/>
                  <a:pt x="17" y="332"/>
                </a:cubicBezTo>
                <a:cubicBezTo>
                  <a:pt x="65" y="391"/>
                  <a:pt x="65" y="391"/>
                  <a:pt x="65" y="391"/>
                </a:cubicBezTo>
                <a:cubicBezTo>
                  <a:pt x="67" y="393"/>
                  <a:pt x="67" y="395"/>
                  <a:pt x="67" y="397"/>
                </a:cubicBezTo>
                <a:cubicBezTo>
                  <a:pt x="49" y="472"/>
                  <a:pt x="49" y="472"/>
                  <a:pt x="49" y="472"/>
                </a:cubicBezTo>
                <a:cubicBezTo>
                  <a:pt x="118" y="504"/>
                  <a:pt x="118" y="504"/>
                  <a:pt x="118" y="504"/>
                </a:cubicBezTo>
                <a:cubicBezTo>
                  <a:pt x="120" y="505"/>
                  <a:pt x="122" y="507"/>
                  <a:pt x="122" y="509"/>
                </a:cubicBezTo>
                <a:cubicBezTo>
                  <a:pt x="138" y="584"/>
                  <a:pt x="138" y="584"/>
                  <a:pt x="138" y="584"/>
                </a:cubicBezTo>
                <a:cubicBezTo>
                  <a:pt x="215" y="583"/>
                  <a:pt x="215" y="583"/>
                  <a:pt x="215" y="583"/>
                </a:cubicBezTo>
                <a:cubicBezTo>
                  <a:pt x="215" y="583"/>
                  <a:pt x="215" y="583"/>
                  <a:pt x="215" y="583"/>
                </a:cubicBez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9241" name="Oval 63"/>
          <p:cNvSpPr>
            <a:spLocks noChangeArrowheads="1"/>
          </p:cNvSpPr>
          <p:nvPr/>
        </p:nvSpPr>
        <p:spPr bwMode="auto">
          <a:xfrm>
            <a:off x="4831649" y="1528549"/>
            <a:ext cx="1119124" cy="1119124"/>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9263" name="Freeform 130"/>
          <p:cNvSpPr>
            <a:spLocks noEditPoints="1"/>
          </p:cNvSpPr>
          <p:nvPr/>
        </p:nvSpPr>
        <p:spPr bwMode="auto">
          <a:xfrm>
            <a:off x="4926532" y="1886571"/>
            <a:ext cx="914762" cy="404297"/>
          </a:xfrm>
          <a:custGeom>
            <a:avLst/>
            <a:gdLst>
              <a:gd name="T0" fmla="*/ 869 w 869"/>
              <a:gd name="T1" fmla="*/ 6 h 384"/>
              <a:gd name="T2" fmla="*/ 868 w 869"/>
              <a:gd name="T3" fmla="*/ 4 h 384"/>
              <a:gd name="T4" fmla="*/ 868 w 869"/>
              <a:gd name="T5" fmla="*/ 3 h 384"/>
              <a:gd name="T6" fmla="*/ 867 w 869"/>
              <a:gd name="T7" fmla="*/ 2 h 384"/>
              <a:gd name="T8" fmla="*/ 866 w 869"/>
              <a:gd name="T9" fmla="*/ 2 h 384"/>
              <a:gd name="T10" fmla="*/ 865 w 869"/>
              <a:gd name="T11" fmla="*/ 1 h 384"/>
              <a:gd name="T12" fmla="*/ 864 w 869"/>
              <a:gd name="T13" fmla="*/ 0 h 384"/>
              <a:gd name="T14" fmla="*/ 863 w 869"/>
              <a:gd name="T15" fmla="*/ 0 h 384"/>
              <a:gd name="T16" fmla="*/ 862 w 869"/>
              <a:gd name="T17" fmla="*/ 0 h 384"/>
              <a:gd name="T18" fmla="*/ 263 w 869"/>
              <a:gd name="T19" fmla="*/ 0 h 384"/>
              <a:gd name="T20" fmla="*/ 261 w 869"/>
              <a:gd name="T21" fmla="*/ 0 h 384"/>
              <a:gd name="T22" fmla="*/ 260 w 869"/>
              <a:gd name="T23" fmla="*/ 0 h 384"/>
              <a:gd name="T24" fmla="*/ 259 w 869"/>
              <a:gd name="T25" fmla="*/ 1 h 384"/>
              <a:gd name="T26" fmla="*/ 258 w 869"/>
              <a:gd name="T27" fmla="*/ 2 h 384"/>
              <a:gd name="T28" fmla="*/ 258 w 869"/>
              <a:gd name="T29" fmla="*/ 2 h 384"/>
              <a:gd name="T30" fmla="*/ 257 w 869"/>
              <a:gd name="T31" fmla="*/ 3 h 384"/>
              <a:gd name="T32" fmla="*/ 256 w 869"/>
              <a:gd name="T33" fmla="*/ 4 h 384"/>
              <a:gd name="T34" fmla="*/ 256 w 869"/>
              <a:gd name="T35" fmla="*/ 6 h 384"/>
              <a:gd name="T36" fmla="*/ 256 w 869"/>
              <a:gd name="T37" fmla="*/ 7 h 384"/>
              <a:gd name="T38" fmla="*/ 263 w 869"/>
              <a:gd name="T39" fmla="*/ 384 h 384"/>
              <a:gd name="T40" fmla="*/ 869 w 869"/>
              <a:gd name="T41" fmla="*/ 377 h 384"/>
              <a:gd name="T42" fmla="*/ 869 w 869"/>
              <a:gd name="T43" fmla="*/ 6 h 384"/>
              <a:gd name="T44" fmla="*/ 442 w 869"/>
              <a:gd name="T45" fmla="*/ 169 h 384"/>
              <a:gd name="T46" fmla="*/ 270 w 869"/>
              <a:gd name="T47" fmla="*/ 22 h 384"/>
              <a:gd name="T48" fmla="*/ 843 w 869"/>
              <a:gd name="T49" fmla="*/ 14 h 384"/>
              <a:gd name="T50" fmla="*/ 515 w 869"/>
              <a:gd name="T51" fmla="*/ 214 h 384"/>
              <a:gd name="T52" fmla="*/ 855 w 869"/>
              <a:gd name="T53" fmla="*/ 22 h 384"/>
              <a:gd name="T54" fmla="*/ 683 w 869"/>
              <a:gd name="T55" fmla="*/ 168 h 384"/>
              <a:gd name="T56" fmla="*/ 270 w 869"/>
              <a:gd name="T57" fmla="*/ 370 h 384"/>
              <a:gd name="T58" fmla="*/ 453 w 869"/>
              <a:gd name="T59" fmla="*/ 178 h 384"/>
              <a:gd name="T60" fmla="*/ 561 w 869"/>
              <a:gd name="T61" fmla="*/ 244 h 384"/>
              <a:gd name="T62" fmla="*/ 672 w 869"/>
              <a:gd name="T63" fmla="*/ 177 h 384"/>
              <a:gd name="T64" fmla="*/ 855 w 869"/>
              <a:gd name="T65" fmla="*/ 370 h 384"/>
              <a:gd name="T66" fmla="*/ 204 w 869"/>
              <a:gd name="T67" fmla="*/ 7 h 384"/>
              <a:gd name="T68" fmla="*/ 7 w 869"/>
              <a:gd name="T69" fmla="*/ 14 h 384"/>
              <a:gd name="T70" fmla="*/ 7 w 869"/>
              <a:gd name="T71" fmla="*/ 0 h 384"/>
              <a:gd name="T72" fmla="*/ 204 w 869"/>
              <a:gd name="T73" fmla="*/ 7 h 384"/>
              <a:gd name="T74" fmla="*/ 197 w 869"/>
              <a:gd name="T75" fmla="*/ 95 h 384"/>
              <a:gd name="T76" fmla="*/ 58 w 869"/>
              <a:gd name="T77" fmla="*/ 88 h 384"/>
              <a:gd name="T78" fmla="*/ 197 w 869"/>
              <a:gd name="T79" fmla="*/ 81 h 384"/>
              <a:gd name="T80" fmla="*/ 204 w 869"/>
              <a:gd name="T81" fmla="*/ 169 h 384"/>
              <a:gd name="T82" fmla="*/ 142 w 869"/>
              <a:gd name="T83" fmla="*/ 176 h 384"/>
              <a:gd name="T84" fmla="*/ 142 w 869"/>
              <a:gd name="T85" fmla="*/ 162 h 384"/>
              <a:gd name="T86" fmla="*/ 204 w 869"/>
              <a:gd name="T87" fmla="*/ 169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869" h="384">
                <a:moveTo>
                  <a:pt x="869" y="6"/>
                </a:moveTo>
                <a:cubicBezTo>
                  <a:pt x="869" y="6"/>
                  <a:pt x="869" y="6"/>
                  <a:pt x="869" y="6"/>
                </a:cubicBezTo>
                <a:cubicBezTo>
                  <a:pt x="869" y="6"/>
                  <a:pt x="869" y="5"/>
                  <a:pt x="869" y="5"/>
                </a:cubicBezTo>
                <a:cubicBezTo>
                  <a:pt x="868" y="5"/>
                  <a:pt x="868" y="5"/>
                  <a:pt x="868" y="4"/>
                </a:cubicBezTo>
                <a:cubicBezTo>
                  <a:pt x="868" y="4"/>
                  <a:pt x="868" y="4"/>
                  <a:pt x="868" y="4"/>
                </a:cubicBezTo>
                <a:cubicBezTo>
                  <a:pt x="868" y="4"/>
                  <a:pt x="868" y="3"/>
                  <a:pt x="868" y="3"/>
                </a:cubicBezTo>
                <a:cubicBezTo>
                  <a:pt x="868" y="3"/>
                  <a:pt x="867" y="3"/>
                  <a:pt x="867" y="3"/>
                </a:cubicBezTo>
                <a:cubicBezTo>
                  <a:pt x="867" y="3"/>
                  <a:pt x="867" y="2"/>
                  <a:pt x="867" y="2"/>
                </a:cubicBezTo>
                <a:cubicBezTo>
                  <a:pt x="867" y="2"/>
                  <a:pt x="867" y="2"/>
                  <a:pt x="867" y="2"/>
                </a:cubicBezTo>
                <a:cubicBezTo>
                  <a:pt x="867" y="2"/>
                  <a:pt x="867" y="2"/>
                  <a:pt x="866" y="2"/>
                </a:cubicBezTo>
                <a:cubicBezTo>
                  <a:pt x="866" y="1"/>
                  <a:pt x="866" y="1"/>
                  <a:pt x="866" y="1"/>
                </a:cubicBezTo>
                <a:cubicBezTo>
                  <a:pt x="866" y="1"/>
                  <a:pt x="865" y="1"/>
                  <a:pt x="865" y="1"/>
                </a:cubicBezTo>
                <a:cubicBezTo>
                  <a:pt x="865" y="1"/>
                  <a:pt x="865" y="1"/>
                  <a:pt x="865" y="1"/>
                </a:cubicBezTo>
                <a:cubicBezTo>
                  <a:pt x="864" y="0"/>
                  <a:pt x="864" y="0"/>
                  <a:pt x="864" y="0"/>
                </a:cubicBezTo>
                <a:cubicBezTo>
                  <a:pt x="864" y="0"/>
                  <a:pt x="864" y="0"/>
                  <a:pt x="863" y="0"/>
                </a:cubicBezTo>
                <a:cubicBezTo>
                  <a:pt x="863" y="0"/>
                  <a:pt x="863" y="0"/>
                  <a:pt x="863" y="0"/>
                </a:cubicBezTo>
                <a:cubicBezTo>
                  <a:pt x="863" y="0"/>
                  <a:pt x="862" y="0"/>
                  <a:pt x="862" y="0"/>
                </a:cubicBezTo>
                <a:cubicBezTo>
                  <a:pt x="862" y="0"/>
                  <a:pt x="862" y="0"/>
                  <a:pt x="862" y="0"/>
                </a:cubicBezTo>
                <a:cubicBezTo>
                  <a:pt x="263" y="0"/>
                  <a:pt x="263" y="0"/>
                  <a:pt x="263" y="0"/>
                </a:cubicBezTo>
                <a:cubicBezTo>
                  <a:pt x="263" y="0"/>
                  <a:pt x="263" y="0"/>
                  <a:pt x="263" y="0"/>
                </a:cubicBezTo>
                <a:cubicBezTo>
                  <a:pt x="262" y="0"/>
                  <a:pt x="262" y="0"/>
                  <a:pt x="262" y="0"/>
                </a:cubicBezTo>
                <a:cubicBezTo>
                  <a:pt x="262" y="0"/>
                  <a:pt x="261" y="0"/>
                  <a:pt x="261" y="0"/>
                </a:cubicBezTo>
                <a:cubicBezTo>
                  <a:pt x="261" y="0"/>
                  <a:pt x="261" y="0"/>
                  <a:pt x="261" y="0"/>
                </a:cubicBezTo>
                <a:cubicBezTo>
                  <a:pt x="260" y="0"/>
                  <a:pt x="260" y="0"/>
                  <a:pt x="260" y="0"/>
                </a:cubicBezTo>
                <a:cubicBezTo>
                  <a:pt x="260" y="1"/>
                  <a:pt x="260" y="1"/>
                  <a:pt x="259" y="1"/>
                </a:cubicBezTo>
                <a:cubicBezTo>
                  <a:pt x="259" y="1"/>
                  <a:pt x="259" y="1"/>
                  <a:pt x="259" y="1"/>
                </a:cubicBezTo>
                <a:cubicBezTo>
                  <a:pt x="259" y="1"/>
                  <a:pt x="258" y="1"/>
                  <a:pt x="258" y="2"/>
                </a:cubicBezTo>
                <a:cubicBezTo>
                  <a:pt x="258" y="2"/>
                  <a:pt x="258" y="2"/>
                  <a:pt x="258" y="2"/>
                </a:cubicBezTo>
                <a:cubicBezTo>
                  <a:pt x="258" y="2"/>
                  <a:pt x="258" y="2"/>
                  <a:pt x="258" y="2"/>
                </a:cubicBezTo>
                <a:cubicBezTo>
                  <a:pt x="258" y="2"/>
                  <a:pt x="258" y="2"/>
                  <a:pt x="258" y="2"/>
                </a:cubicBezTo>
                <a:cubicBezTo>
                  <a:pt x="257" y="2"/>
                  <a:pt x="257" y="3"/>
                  <a:pt x="257" y="3"/>
                </a:cubicBezTo>
                <a:cubicBezTo>
                  <a:pt x="257" y="3"/>
                  <a:pt x="257" y="3"/>
                  <a:pt x="257" y="3"/>
                </a:cubicBezTo>
                <a:cubicBezTo>
                  <a:pt x="257" y="3"/>
                  <a:pt x="257" y="4"/>
                  <a:pt x="257" y="4"/>
                </a:cubicBezTo>
                <a:cubicBezTo>
                  <a:pt x="257" y="4"/>
                  <a:pt x="256" y="4"/>
                  <a:pt x="256" y="4"/>
                </a:cubicBezTo>
                <a:cubicBezTo>
                  <a:pt x="256" y="5"/>
                  <a:pt x="256" y="5"/>
                  <a:pt x="256" y="5"/>
                </a:cubicBezTo>
                <a:cubicBezTo>
                  <a:pt x="256" y="5"/>
                  <a:pt x="256" y="6"/>
                  <a:pt x="256" y="6"/>
                </a:cubicBezTo>
                <a:cubicBezTo>
                  <a:pt x="256" y="6"/>
                  <a:pt x="256" y="6"/>
                  <a:pt x="256" y="6"/>
                </a:cubicBezTo>
                <a:cubicBezTo>
                  <a:pt x="256" y="7"/>
                  <a:pt x="256" y="7"/>
                  <a:pt x="256" y="7"/>
                </a:cubicBezTo>
                <a:cubicBezTo>
                  <a:pt x="256" y="377"/>
                  <a:pt x="256" y="377"/>
                  <a:pt x="256" y="377"/>
                </a:cubicBezTo>
                <a:cubicBezTo>
                  <a:pt x="256" y="380"/>
                  <a:pt x="259" y="384"/>
                  <a:pt x="263" y="384"/>
                </a:cubicBezTo>
                <a:cubicBezTo>
                  <a:pt x="862" y="384"/>
                  <a:pt x="862" y="384"/>
                  <a:pt x="862" y="384"/>
                </a:cubicBezTo>
                <a:cubicBezTo>
                  <a:pt x="866" y="384"/>
                  <a:pt x="869" y="380"/>
                  <a:pt x="869" y="377"/>
                </a:cubicBezTo>
                <a:cubicBezTo>
                  <a:pt x="869" y="7"/>
                  <a:pt x="869" y="7"/>
                  <a:pt x="869" y="7"/>
                </a:cubicBezTo>
                <a:cubicBezTo>
                  <a:pt x="869" y="7"/>
                  <a:pt x="869" y="7"/>
                  <a:pt x="869" y="6"/>
                </a:cubicBezTo>
                <a:close/>
                <a:moveTo>
                  <a:pt x="270" y="22"/>
                </a:moveTo>
                <a:cubicBezTo>
                  <a:pt x="442" y="169"/>
                  <a:pt x="442" y="169"/>
                  <a:pt x="442" y="169"/>
                </a:cubicBezTo>
                <a:cubicBezTo>
                  <a:pt x="270" y="315"/>
                  <a:pt x="270" y="315"/>
                  <a:pt x="270" y="315"/>
                </a:cubicBezTo>
                <a:lnTo>
                  <a:pt x="270" y="22"/>
                </a:lnTo>
                <a:close/>
                <a:moveTo>
                  <a:pt x="282" y="14"/>
                </a:moveTo>
                <a:cubicBezTo>
                  <a:pt x="843" y="14"/>
                  <a:pt x="843" y="14"/>
                  <a:pt x="843" y="14"/>
                </a:cubicBezTo>
                <a:cubicBezTo>
                  <a:pt x="607" y="214"/>
                  <a:pt x="607" y="214"/>
                  <a:pt x="607" y="214"/>
                </a:cubicBezTo>
                <a:cubicBezTo>
                  <a:pt x="582" y="235"/>
                  <a:pt x="541" y="235"/>
                  <a:pt x="515" y="214"/>
                </a:cubicBezTo>
                <a:lnTo>
                  <a:pt x="282" y="14"/>
                </a:lnTo>
                <a:close/>
                <a:moveTo>
                  <a:pt x="855" y="22"/>
                </a:moveTo>
                <a:cubicBezTo>
                  <a:pt x="855" y="315"/>
                  <a:pt x="855" y="315"/>
                  <a:pt x="855" y="315"/>
                </a:cubicBezTo>
                <a:cubicBezTo>
                  <a:pt x="683" y="168"/>
                  <a:pt x="683" y="168"/>
                  <a:pt x="683" y="168"/>
                </a:cubicBezTo>
                <a:lnTo>
                  <a:pt x="855" y="22"/>
                </a:lnTo>
                <a:close/>
                <a:moveTo>
                  <a:pt x="270" y="370"/>
                </a:moveTo>
                <a:cubicBezTo>
                  <a:pt x="270" y="333"/>
                  <a:pt x="270" y="333"/>
                  <a:pt x="270" y="333"/>
                </a:cubicBezTo>
                <a:cubicBezTo>
                  <a:pt x="453" y="178"/>
                  <a:pt x="453" y="178"/>
                  <a:pt x="453" y="178"/>
                </a:cubicBezTo>
                <a:cubicBezTo>
                  <a:pt x="506" y="224"/>
                  <a:pt x="506" y="224"/>
                  <a:pt x="506" y="224"/>
                </a:cubicBezTo>
                <a:cubicBezTo>
                  <a:pt x="521" y="237"/>
                  <a:pt x="541" y="244"/>
                  <a:pt x="561" y="244"/>
                </a:cubicBezTo>
                <a:cubicBezTo>
                  <a:pt x="581" y="244"/>
                  <a:pt x="601" y="237"/>
                  <a:pt x="616" y="224"/>
                </a:cubicBezTo>
                <a:cubicBezTo>
                  <a:pt x="672" y="177"/>
                  <a:pt x="672" y="177"/>
                  <a:pt x="672" y="177"/>
                </a:cubicBezTo>
                <a:cubicBezTo>
                  <a:pt x="855" y="333"/>
                  <a:pt x="855" y="333"/>
                  <a:pt x="855" y="333"/>
                </a:cubicBezTo>
                <a:cubicBezTo>
                  <a:pt x="855" y="370"/>
                  <a:pt x="855" y="370"/>
                  <a:pt x="855" y="370"/>
                </a:cubicBezTo>
                <a:lnTo>
                  <a:pt x="270" y="370"/>
                </a:lnTo>
                <a:close/>
                <a:moveTo>
                  <a:pt x="204" y="7"/>
                </a:moveTo>
                <a:cubicBezTo>
                  <a:pt x="204" y="11"/>
                  <a:pt x="201" y="14"/>
                  <a:pt x="197" y="14"/>
                </a:cubicBezTo>
                <a:cubicBezTo>
                  <a:pt x="7" y="14"/>
                  <a:pt x="7" y="14"/>
                  <a:pt x="7" y="14"/>
                </a:cubicBezTo>
                <a:cubicBezTo>
                  <a:pt x="3" y="14"/>
                  <a:pt x="0" y="11"/>
                  <a:pt x="0" y="7"/>
                </a:cubicBezTo>
                <a:cubicBezTo>
                  <a:pt x="0" y="3"/>
                  <a:pt x="3" y="0"/>
                  <a:pt x="7" y="0"/>
                </a:cubicBezTo>
                <a:cubicBezTo>
                  <a:pt x="197" y="0"/>
                  <a:pt x="197" y="0"/>
                  <a:pt x="197" y="0"/>
                </a:cubicBezTo>
                <a:cubicBezTo>
                  <a:pt x="201" y="0"/>
                  <a:pt x="204" y="3"/>
                  <a:pt x="204" y="7"/>
                </a:cubicBezTo>
                <a:close/>
                <a:moveTo>
                  <a:pt x="204" y="88"/>
                </a:moveTo>
                <a:cubicBezTo>
                  <a:pt x="204" y="92"/>
                  <a:pt x="201" y="95"/>
                  <a:pt x="197" y="95"/>
                </a:cubicBezTo>
                <a:cubicBezTo>
                  <a:pt x="65" y="95"/>
                  <a:pt x="65" y="95"/>
                  <a:pt x="65" y="95"/>
                </a:cubicBezTo>
                <a:cubicBezTo>
                  <a:pt x="61" y="95"/>
                  <a:pt x="58" y="92"/>
                  <a:pt x="58" y="88"/>
                </a:cubicBezTo>
                <a:cubicBezTo>
                  <a:pt x="58" y="84"/>
                  <a:pt x="61" y="81"/>
                  <a:pt x="65" y="81"/>
                </a:cubicBezTo>
                <a:cubicBezTo>
                  <a:pt x="197" y="81"/>
                  <a:pt x="197" y="81"/>
                  <a:pt x="197" y="81"/>
                </a:cubicBezTo>
                <a:cubicBezTo>
                  <a:pt x="201" y="81"/>
                  <a:pt x="204" y="84"/>
                  <a:pt x="204" y="88"/>
                </a:cubicBezTo>
                <a:close/>
                <a:moveTo>
                  <a:pt x="204" y="169"/>
                </a:moveTo>
                <a:cubicBezTo>
                  <a:pt x="204" y="173"/>
                  <a:pt x="201" y="176"/>
                  <a:pt x="197" y="176"/>
                </a:cubicBezTo>
                <a:cubicBezTo>
                  <a:pt x="142" y="176"/>
                  <a:pt x="142" y="176"/>
                  <a:pt x="142" y="176"/>
                </a:cubicBezTo>
                <a:cubicBezTo>
                  <a:pt x="139" y="176"/>
                  <a:pt x="135" y="173"/>
                  <a:pt x="135" y="169"/>
                </a:cubicBezTo>
                <a:cubicBezTo>
                  <a:pt x="135" y="165"/>
                  <a:pt x="139" y="162"/>
                  <a:pt x="142" y="162"/>
                </a:cubicBezTo>
                <a:cubicBezTo>
                  <a:pt x="197" y="162"/>
                  <a:pt x="197" y="162"/>
                  <a:pt x="197" y="162"/>
                </a:cubicBezTo>
                <a:cubicBezTo>
                  <a:pt x="201" y="162"/>
                  <a:pt x="204" y="165"/>
                  <a:pt x="204" y="169"/>
                </a:cubicBez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9240" name="Oval 62"/>
          <p:cNvSpPr>
            <a:spLocks noChangeArrowheads="1"/>
          </p:cNvSpPr>
          <p:nvPr/>
        </p:nvSpPr>
        <p:spPr bwMode="auto">
          <a:xfrm>
            <a:off x="6589621" y="1528549"/>
            <a:ext cx="1119124" cy="1119124"/>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9264" name="Freeform 131"/>
          <p:cNvSpPr>
            <a:spLocks noEditPoints="1"/>
          </p:cNvSpPr>
          <p:nvPr/>
        </p:nvSpPr>
        <p:spPr bwMode="auto">
          <a:xfrm>
            <a:off x="6826828" y="1886571"/>
            <a:ext cx="644713" cy="404297"/>
          </a:xfrm>
          <a:custGeom>
            <a:avLst/>
            <a:gdLst>
              <a:gd name="T0" fmla="*/ 613 w 613"/>
              <a:gd name="T1" fmla="*/ 6 h 384"/>
              <a:gd name="T2" fmla="*/ 612 w 613"/>
              <a:gd name="T3" fmla="*/ 4 h 384"/>
              <a:gd name="T4" fmla="*/ 612 w 613"/>
              <a:gd name="T5" fmla="*/ 3 h 384"/>
              <a:gd name="T6" fmla="*/ 611 w 613"/>
              <a:gd name="T7" fmla="*/ 2 h 384"/>
              <a:gd name="T8" fmla="*/ 610 w 613"/>
              <a:gd name="T9" fmla="*/ 2 h 384"/>
              <a:gd name="T10" fmla="*/ 609 w 613"/>
              <a:gd name="T11" fmla="*/ 1 h 384"/>
              <a:gd name="T12" fmla="*/ 608 w 613"/>
              <a:gd name="T13" fmla="*/ 0 h 384"/>
              <a:gd name="T14" fmla="*/ 607 w 613"/>
              <a:gd name="T15" fmla="*/ 0 h 384"/>
              <a:gd name="T16" fmla="*/ 606 w 613"/>
              <a:gd name="T17" fmla="*/ 0 h 384"/>
              <a:gd name="T18" fmla="*/ 7 w 613"/>
              <a:gd name="T19" fmla="*/ 0 h 384"/>
              <a:gd name="T20" fmla="*/ 5 w 613"/>
              <a:gd name="T21" fmla="*/ 0 h 384"/>
              <a:gd name="T22" fmla="*/ 4 w 613"/>
              <a:gd name="T23" fmla="*/ 0 h 384"/>
              <a:gd name="T24" fmla="*/ 3 w 613"/>
              <a:gd name="T25" fmla="*/ 1 h 384"/>
              <a:gd name="T26" fmla="*/ 2 w 613"/>
              <a:gd name="T27" fmla="*/ 2 h 384"/>
              <a:gd name="T28" fmla="*/ 2 w 613"/>
              <a:gd name="T29" fmla="*/ 2 h 384"/>
              <a:gd name="T30" fmla="*/ 1 w 613"/>
              <a:gd name="T31" fmla="*/ 3 h 384"/>
              <a:gd name="T32" fmla="*/ 0 w 613"/>
              <a:gd name="T33" fmla="*/ 4 h 384"/>
              <a:gd name="T34" fmla="*/ 0 w 613"/>
              <a:gd name="T35" fmla="*/ 6 h 384"/>
              <a:gd name="T36" fmla="*/ 0 w 613"/>
              <a:gd name="T37" fmla="*/ 7 h 384"/>
              <a:gd name="T38" fmla="*/ 7 w 613"/>
              <a:gd name="T39" fmla="*/ 384 h 384"/>
              <a:gd name="T40" fmla="*/ 613 w 613"/>
              <a:gd name="T41" fmla="*/ 377 h 384"/>
              <a:gd name="T42" fmla="*/ 613 w 613"/>
              <a:gd name="T43" fmla="*/ 6 h 384"/>
              <a:gd name="T44" fmla="*/ 186 w 613"/>
              <a:gd name="T45" fmla="*/ 169 h 384"/>
              <a:gd name="T46" fmla="*/ 14 w 613"/>
              <a:gd name="T47" fmla="*/ 22 h 384"/>
              <a:gd name="T48" fmla="*/ 587 w 613"/>
              <a:gd name="T49" fmla="*/ 14 h 384"/>
              <a:gd name="T50" fmla="*/ 259 w 613"/>
              <a:gd name="T51" fmla="*/ 214 h 384"/>
              <a:gd name="T52" fmla="*/ 599 w 613"/>
              <a:gd name="T53" fmla="*/ 22 h 384"/>
              <a:gd name="T54" fmla="*/ 427 w 613"/>
              <a:gd name="T55" fmla="*/ 168 h 384"/>
              <a:gd name="T56" fmla="*/ 14 w 613"/>
              <a:gd name="T57" fmla="*/ 370 h 384"/>
              <a:gd name="T58" fmla="*/ 197 w 613"/>
              <a:gd name="T59" fmla="*/ 178 h 384"/>
              <a:gd name="T60" fmla="*/ 305 w 613"/>
              <a:gd name="T61" fmla="*/ 244 h 384"/>
              <a:gd name="T62" fmla="*/ 416 w 613"/>
              <a:gd name="T63" fmla="*/ 177 h 384"/>
              <a:gd name="T64" fmla="*/ 599 w 613"/>
              <a:gd name="T65" fmla="*/ 370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13" h="384">
                <a:moveTo>
                  <a:pt x="613" y="6"/>
                </a:moveTo>
                <a:cubicBezTo>
                  <a:pt x="613" y="6"/>
                  <a:pt x="613" y="6"/>
                  <a:pt x="613" y="6"/>
                </a:cubicBezTo>
                <a:cubicBezTo>
                  <a:pt x="613" y="6"/>
                  <a:pt x="613" y="5"/>
                  <a:pt x="613" y="5"/>
                </a:cubicBezTo>
                <a:cubicBezTo>
                  <a:pt x="612" y="5"/>
                  <a:pt x="612" y="5"/>
                  <a:pt x="612" y="4"/>
                </a:cubicBezTo>
                <a:cubicBezTo>
                  <a:pt x="612" y="4"/>
                  <a:pt x="612" y="4"/>
                  <a:pt x="612" y="4"/>
                </a:cubicBezTo>
                <a:cubicBezTo>
                  <a:pt x="612" y="4"/>
                  <a:pt x="612" y="3"/>
                  <a:pt x="612" y="3"/>
                </a:cubicBezTo>
                <a:cubicBezTo>
                  <a:pt x="612" y="3"/>
                  <a:pt x="611" y="3"/>
                  <a:pt x="611" y="3"/>
                </a:cubicBezTo>
                <a:cubicBezTo>
                  <a:pt x="611" y="3"/>
                  <a:pt x="611" y="2"/>
                  <a:pt x="611" y="2"/>
                </a:cubicBezTo>
                <a:cubicBezTo>
                  <a:pt x="611" y="2"/>
                  <a:pt x="611" y="2"/>
                  <a:pt x="611" y="2"/>
                </a:cubicBezTo>
                <a:cubicBezTo>
                  <a:pt x="611" y="2"/>
                  <a:pt x="611" y="2"/>
                  <a:pt x="610" y="2"/>
                </a:cubicBezTo>
                <a:cubicBezTo>
                  <a:pt x="610" y="1"/>
                  <a:pt x="610" y="1"/>
                  <a:pt x="610" y="1"/>
                </a:cubicBezTo>
                <a:cubicBezTo>
                  <a:pt x="610" y="1"/>
                  <a:pt x="610" y="1"/>
                  <a:pt x="609" y="1"/>
                </a:cubicBezTo>
                <a:cubicBezTo>
                  <a:pt x="609" y="1"/>
                  <a:pt x="609" y="1"/>
                  <a:pt x="609" y="1"/>
                </a:cubicBezTo>
                <a:cubicBezTo>
                  <a:pt x="609" y="0"/>
                  <a:pt x="608" y="0"/>
                  <a:pt x="608" y="0"/>
                </a:cubicBezTo>
                <a:cubicBezTo>
                  <a:pt x="608" y="0"/>
                  <a:pt x="608" y="0"/>
                  <a:pt x="607" y="0"/>
                </a:cubicBezTo>
                <a:cubicBezTo>
                  <a:pt x="607" y="0"/>
                  <a:pt x="607" y="0"/>
                  <a:pt x="607" y="0"/>
                </a:cubicBezTo>
                <a:cubicBezTo>
                  <a:pt x="607" y="0"/>
                  <a:pt x="606" y="0"/>
                  <a:pt x="606" y="0"/>
                </a:cubicBezTo>
                <a:cubicBezTo>
                  <a:pt x="606" y="0"/>
                  <a:pt x="606" y="0"/>
                  <a:pt x="606" y="0"/>
                </a:cubicBezTo>
                <a:cubicBezTo>
                  <a:pt x="7" y="0"/>
                  <a:pt x="7" y="0"/>
                  <a:pt x="7" y="0"/>
                </a:cubicBezTo>
                <a:cubicBezTo>
                  <a:pt x="7" y="0"/>
                  <a:pt x="7" y="0"/>
                  <a:pt x="7" y="0"/>
                </a:cubicBezTo>
                <a:cubicBezTo>
                  <a:pt x="6" y="0"/>
                  <a:pt x="6" y="0"/>
                  <a:pt x="6" y="0"/>
                </a:cubicBezTo>
                <a:cubicBezTo>
                  <a:pt x="6" y="0"/>
                  <a:pt x="6" y="0"/>
                  <a:pt x="5" y="0"/>
                </a:cubicBezTo>
                <a:cubicBezTo>
                  <a:pt x="5" y="0"/>
                  <a:pt x="5" y="0"/>
                  <a:pt x="5" y="0"/>
                </a:cubicBezTo>
                <a:cubicBezTo>
                  <a:pt x="4" y="0"/>
                  <a:pt x="4" y="0"/>
                  <a:pt x="4" y="0"/>
                </a:cubicBezTo>
                <a:cubicBezTo>
                  <a:pt x="4" y="1"/>
                  <a:pt x="4" y="1"/>
                  <a:pt x="3" y="1"/>
                </a:cubicBezTo>
                <a:cubicBezTo>
                  <a:pt x="3" y="1"/>
                  <a:pt x="3" y="1"/>
                  <a:pt x="3" y="1"/>
                </a:cubicBezTo>
                <a:cubicBezTo>
                  <a:pt x="3" y="1"/>
                  <a:pt x="2" y="1"/>
                  <a:pt x="2" y="2"/>
                </a:cubicBezTo>
                <a:cubicBezTo>
                  <a:pt x="2" y="2"/>
                  <a:pt x="2" y="2"/>
                  <a:pt x="2" y="2"/>
                </a:cubicBezTo>
                <a:cubicBezTo>
                  <a:pt x="2" y="2"/>
                  <a:pt x="2" y="2"/>
                  <a:pt x="2" y="2"/>
                </a:cubicBezTo>
                <a:cubicBezTo>
                  <a:pt x="2" y="2"/>
                  <a:pt x="2" y="2"/>
                  <a:pt x="2" y="2"/>
                </a:cubicBezTo>
                <a:cubicBezTo>
                  <a:pt x="2" y="2"/>
                  <a:pt x="1" y="3"/>
                  <a:pt x="1" y="3"/>
                </a:cubicBezTo>
                <a:cubicBezTo>
                  <a:pt x="1" y="3"/>
                  <a:pt x="1" y="3"/>
                  <a:pt x="1" y="3"/>
                </a:cubicBezTo>
                <a:cubicBezTo>
                  <a:pt x="1" y="3"/>
                  <a:pt x="1" y="4"/>
                  <a:pt x="1" y="4"/>
                </a:cubicBezTo>
                <a:cubicBezTo>
                  <a:pt x="1" y="4"/>
                  <a:pt x="0" y="4"/>
                  <a:pt x="0" y="4"/>
                </a:cubicBezTo>
                <a:cubicBezTo>
                  <a:pt x="0" y="5"/>
                  <a:pt x="0" y="5"/>
                  <a:pt x="0" y="5"/>
                </a:cubicBezTo>
                <a:cubicBezTo>
                  <a:pt x="0" y="5"/>
                  <a:pt x="0" y="6"/>
                  <a:pt x="0" y="6"/>
                </a:cubicBezTo>
                <a:cubicBezTo>
                  <a:pt x="0" y="6"/>
                  <a:pt x="0" y="6"/>
                  <a:pt x="0" y="6"/>
                </a:cubicBezTo>
                <a:cubicBezTo>
                  <a:pt x="0" y="7"/>
                  <a:pt x="0" y="7"/>
                  <a:pt x="0" y="7"/>
                </a:cubicBezTo>
                <a:cubicBezTo>
                  <a:pt x="0" y="377"/>
                  <a:pt x="0" y="377"/>
                  <a:pt x="0" y="377"/>
                </a:cubicBezTo>
                <a:cubicBezTo>
                  <a:pt x="0" y="380"/>
                  <a:pt x="3" y="384"/>
                  <a:pt x="7" y="384"/>
                </a:cubicBezTo>
                <a:cubicBezTo>
                  <a:pt x="606" y="384"/>
                  <a:pt x="606" y="384"/>
                  <a:pt x="606" y="384"/>
                </a:cubicBezTo>
                <a:cubicBezTo>
                  <a:pt x="610" y="384"/>
                  <a:pt x="613" y="380"/>
                  <a:pt x="613" y="377"/>
                </a:cubicBezTo>
                <a:cubicBezTo>
                  <a:pt x="613" y="7"/>
                  <a:pt x="613" y="7"/>
                  <a:pt x="613" y="7"/>
                </a:cubicBezTo>
                <a:cubicBezTo>
                  <a:pt x="613" y="7"/>
                  <a:pt x="613" y="7"/>
                  <a:pt x="613" y="6"/>
                </a:cubicBezTo>
                <a:close/>
                <a:moveTo>
                  <a:pt x="14" y="22"/>
                </a:moveTo>
                <a:cubicBezTo>
                  <a:pt x="186" y="169"/>
                  <a:pt x="186" y="169"/>
                  <a:pt x="186" y="169"/>
                </a:cubicBezTo>
                <a:cubicBezTo>
                  <a:pt x="14" y="315"/>
                  <a:pt x="14" y="315"/>
                  <a:pt x="14" y="315"/>
                </a:cubicBezTo>
                <a:lnTo>
                  <a:pt x="14" y="22"/>
                </a:lnTo>
                <a:close/>
                <a:moveTo>
                  <a:pt x="26" y="14"/>
                </a:moveTo>
                <a:cubicBezTo>
                  <a:pt x="587" y="14"/>
                  <a:pt x="587" y="14"/>
                  <a:pt x="587" y="14"/>
                </a:cubicBezTo>
                <a:cubicBezTo>
                  <a:pt x="351" y="214"/>
                  <a:pt x="351" y="214"/>
                  <a:pt x="351" y="214"/>
                </a:cubicBezTo>
                <a:cubicBezTo>
                  <a:pt x="326" y="235"/>
                  <a:pt x="285" y="235"/>
                  <a:pt x="259" y="214"/>
                </a:cubicBezTo>
                <a:lnTo>
                  <a:pt x="26" y="14"/>
                </a:lnTo>
                <a:close/>
                <a:moveTo>
                  <a:pt x="599" y="22"/>
                </a:moveTo>
                <a:cubicBezTo>
                  <a:pt x="599" y="315"/>
                  <a:pt x="599" y="315"/>
                  <a:pt x="599" y="315"/>
                </a:cubicBezTo>
                <a:cubicBezTo>
                  <a:pt x="427" y="168"/>
                  <a:pt x="427" y="168"/>
                  <a:pt x="427" y="168"/>
                </a:cubicBezTo>
                <a:lnTo>
                  <a:pt x="599" y="22"/>
                </a:lnTo>
                <a:close/>
                <a:moveTo>
                  <a:pt x="14" y="370"/>
                </a:moveTo>
                <a:cubicBezTo>
                  <a:pt x="14" y="333"/>
                  <a:pt x="14" y="333"/>
                  <a:pt x="14" y="333"/>
                </a:cubicBezTo>
                <a:cubicBezTo>
                  <a:pt x="197" y="178"/>
                  <a:pt x="197" y="178"/>
                  <a:pt x="197" y="178"/>
                </a:cubicBezTo>
                <a:cubicBezTo>
                  <a:pt x="250" y="224"/>
                  <a:pt x="250" y="224"/>
                  <a:pt x="250" y="224"/>
                </a:cubicBezTo>
                <a:cubicBezTo>
                  <a:pt x="265" y="237"/>
                  <a:pt x="285" y="244"/>
                  <a:pt x="305" y="244"/>
                </a:cubicBezTo>
                <a:cubicBezTo>
                  <a:pt x="325" y="244"/>
                  <a:pt x="345" y="237"/>
                  <a:pt x="360" y="224"/>
                </a:cubicBezTo>
                <a:cubicBezTo>
                  <a:pt x="416" y="177"/>
                  <a:pt x="416" y="177"/>
                  <a:pt x="416" y="177"/>
                </a:cubicBezTo>
                <a:cubicBezTo>
                  <a:pt x="599" y="333"/>
                  <a:pt x="599" y="333"/>
                  <a:pt x="599" y="333"/>
                </a:cubicBezTo>
                <a:cubicBezTo>
                  <a:pt x="599" y="370"/>
                  <a:pt x="599" y="370"/>
                  <a:pt x="599" y="370"/>
                </a:cubicBezTo>
                <a:lnTo>
                  <a:pt x="14" y="370"/>
                </a:ln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9234" name="Oval 56"/>
          <p:cNvSpPr>
            <a:spLocks noChangeArrowheads="1"/>
          </p:cNvSpPr>
          <p:nvPr/>
        </p:nvSpPr>
        <p:spPr bwMode="auto">
          <a:xfrm>
            <a:off x="3073678" y="1528549"/>
            <a:ext cx="1119124" cy="1119124"/>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9265" name="Freeform 132"/>
          <p:cNvSpPr>
            <a:spLocks noEditPoints="1"/>
          </p:cNvSpPr>
          <p:nvPr/>
        </p:nvSpPr>
        <p:spPr bwMode="auto">
          <a:xfrm>
            <a:off x="3352244" y="1808635"/>
            <a:ext cx="561994" cy="558953"/>
          </a:xfrm>
          <a:custGeom>
            <a:avLst/>
            <a:gdLst>
              <a:gd name="T0" fmla="*/ 534 w 534"/>
              <a:gd name="T1" fmla="*/ 207 h 531"/>
              <a:gd name="T2" fmla="*/ 534 w 534"/>
              <a:gd name="T3" fmla="*/ 206 h 531"/>
              <a:gd name="T4" fmla="*/ 534 w 534"/>
              <a:gd name="T5" fmla="*/ 205 h 531"/>
              <a:gd name="T6" fmla="*/ 534 w 534"/>
              <a:gd name="T7" fmla="*/ 204 h 531"/>
              <a:gd name="T8" fmla="*/ 534 w 534"/>
              <a:gd name="T9" fmla="*/ 204 h 531"/>
              <a:gd name="T10" fmla="*/ 533 w 534"/>
              <a:gd name="T11" fmla="*/ 203 h 531"/>
              <a:gd name="T12" fmla="*/ 533 w 534"/>
              <a:gd name="T13" fmla="*/ 203 h 531"/>
              <a:gd name="T14" fmla="*/ 533 w 534"/>
              <a:gd name="T15" fmla="*/ 202 h 531"/>
              <a:gd name="T16" fmla="*/ 532 w 534"/>
              <a:gd name="T17" fmla="*/ 202 h 531"/>
              <a:gd name="T18" fmla="*/ 532 w 534"/>
              <a:gd name="T19" fmla="*/ 202 h 531"/>
              <a:gd name="T20" fmla="*/ 317 w 534"/>
              <a:gd name="T21" fmla="*/ 18 h 531"/>
              <a:gd name="T22" fmla="*/ 268 w 534"/>
              <a:gd name="T23" fmla="*/ 0 h 531"/>
              <a:gd name="T24" fmla="*/ 220 w 534"/>
              <a:gd name="T25" fmla="*/ 18 h 531"/>
              <a:gd name="T26" fmla="*/ 3 w 534"/>
              <a:gd name="T27" fmla="*/ 202 h 531"/>
              <a:gd name="T28" fmla="*/ 3 w 534"/>
              <a:gd name="T29" fmla="*/ 202 h 531"/>
              <a:gd name="T30" fmla="*/ 2 w 534"/>
              <a:gd name="T31" fmla="*/ 202 h 531"/>
              <a:gd name="T32" fmla="*/ 2 w 534"/>
              <a:gd name="T33" fmla="*/ 203 h 531"/>
              <a:gd name="T34" fmla="*/ 2 w 534"/>
              <a:gd name="T35" fmla="*/ 203 h 531"/>
              <a:gd name="T36" fmla="*/ 1 w 534"/>
              <a:gd name="T37" fmla="*/ 204 h 531"/>
              <a:gd name="T38" fmla="*/ 1 w 534"/>
              <a:gd name="T39" fmla="*/ 204 h 531"/>
              <a:gd name="T40" fmla="*/ 1 w 534"/>
              <a:gd name="T41" fmla="*/ 205 h 531"/>
              <a:gd name="T42" fmla="*/ 1 w 534"/>
              <a:gd name="T43" fmla="*/ 206 h 531"/>
              <a:gd name="T44" fmla="*/ 1 w 534"/>
              <a:gd name="T45" fmla="*/ 207 h 531"/>
              <a:gd name="T46" fmla="*/ 0 w 534"/>
              <a:gd name="T47" fmla="*/ 207 h 531"/>
              <a:gd name="T48" fmla="*/ 0 w 534"/>
              <a:gd name="T49" fmla="*/ 524 h 531"/>
              <a:gd name="T50" fmla="*/ 7 w 534"/>
              <a:gd name="T51" fmla="*/ 531 h 531"/>
              <a:gd name="T52" fmla="*/ 527 w 534"/>
              <a:gd name="T53" fmla="*/ 531 h 531"/>
              <a:gd name="T54" fmla="*/ 534 w 534"/>
              <a:gd name="T55" fmla="*/ 524 h 531"/>
              <a:gd name="T56" fmla="*/ 534 w 534"/>
              <a:gd name="T57" fmla="*/ 207 h 531"/>
              <a:gd name="T58" fmla="*/ 534 w 534"/>
              <a:gd name="T59" fmla="*/ 207 h 531"/>
              <a:gd name="T60" fmla="*/ 520 w 534"/>
              <a:gd name="T61" fmla="*/ 472 h 531"/>
              <a:gd name="T62" fmla="*/ 374 w 534"/>
              <a:gd name="T63" fmla="*/ 347 h 531"/>
              <a:gd name="T64" fmla="*/ 520 w 534"/>
              <a:gd name="T65" fmla="*/ 222 h 531"/>
              <a:gd name="T66" fmla="*/ 520 w 534"/>
              <a:gd name="T67" fmla="*/ 472 h 531"/>
              <a:gd name="T68" fmla="*/ 229 w 534"/>
              <a:gd name="T69" fmla="*/ 28 h 531"/>
              <a:gd name="T70" fmla="*/ 268 w 534"/>
              <a:gd name="T71" fmla="*/ 14 h 531"/>
              <a:gd name="T72" fmla="*/ 308 w 534"/>
              <a:gd name="T73" fmla="*/ 28 h 531"/>
              <a:gd name="T74" fmla="*/ 517 w 534"/>
              <a:gd name="T75" fmla="*/ 207 h 531"/>
              <a:gd name="T76" fmla="*/ 363 w 534"/>
              <a:gd name="T77" fmla="*/ 337 h 531"/>
              <a:gd name="T78" fmla="*/ 317 w 534"/>
              <a:gd name="T79" fmla="*/ 298 h 531"/>
              <a:gd name="T80" fmla="*/ 220 w 534"/>
              <a:gd name="T81" fmla="*/ 298 h 531"/>
              <a:gd name="T82" fmla="*/ 172 w 534"/>
              <a:gd name="T83" fmla="*/ 339 h 531"/>
              <a:gd name="T84" fmla="*/ 18 w 534"/>
              <a:gd name="T85" fmla="*/ 207 h 531"/>
              <a:gd name="T86" fmla="*/ 229 w 534"/>
              <a:gd name="T87" fmla="*/ 28 h 531"/>
              <a:gd name="T88" fmla="*/ 14 w 534"/>
              <a:gd name="T89" fmla="*/ 222 h 531"/>
              <a:gd name="T90" fmla="*/ 161 w 534"/>
              <a:gd name="T91" fmla="*/ 348 h 531"/>
              <a:gd name="T92" fmla="*/ 14 w 534"/>
              <a:gd name="T93" fmla="*/ 472 h 531"/>
              <a:gd name="T94" fmla="*/ 14 w 534"/>
              <a:gd name="T95" fmla="*/ 222 h 531"/>
              <a:gd name="T96" fmla="*/ 14 w 534"/>
              <a:gd name="T97" fmla="*/ 517 h 531"/>
              <a:gd name="T98" fmla="*/ 14 w 534"/>
              <a:gd name="T99" fmla="*/ 491 h 531"/>
              <a:gd name="T100" fmla="*/ 229 w 534"/>
              <a:gd name="T101" fmla="*/ 309 h 531"/>
              <a:gd name="T102" fmla="*/ 308 w 534"/>
              <a:gd name="T103" fmla="*/ 309 h 531"/>
              <a:gd name="T104" fmla="*/ 520 w 534"/>
              <a:gd name="T105" fmla="*/ 491 h 531"/>
              <a:gd name="T106" fmla="*/ 520 w 534"/>
              <a:gd name="T107" fmla="*/ 517 h 531"/>
              <a:gd name="T108" fmla="*/ 14 w 534"/>
              <a:gd name="T109" fmla="*/ 517 h 5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34" h="531">
                <a:moveTo>
                  <a:pt x="534" y="207"/>
                </a:moveTo>
                <a:cubicBezTo>
                  <a:pt x="534" y="206"/>
                  <a:pt x="534" y="206"/>
                  <a:pt x="534" y="206"/>
                </a:cubicBezTo>
                <a:cubicBezTo>
                  <a:pt x="534" y="206"/>
                  <a:pt x="534" y="205"/>
                  <a:pt x="534" y="205"/>
                </a:cubicBezTo>
                <a:cubicBezTo>
                  <a:pt x="534" y="205"/>
                  <a:pt x="534" y="205"/>
                  <a:pt x="534" y="204"/>
                </a:cubicBezTo>
                <a:cubicBezTo>
                  <a:pt x="534" y="204"/>
                  <a:pt x="534" y="204"/>
                  <a:pt x="534" y="204"/>
                </a:cubicBezTo>
                <a:cubicBezTo>
                  <a:pt x="534" y="204"/>
                  <a:pt x="533" y="203"/>
                  <a:pt x="533" y="203"/>
                </a:cubicBezTo>
                <a:cubicBezTo>
                  <a:pt x="533" y="203"/>
                  <a:pt x="533" y="203"/>
                  <a:pt x="533" y="203"/>
                </a:cubicBezTo>
                <a:cubicBezTo>
                  <a:pt x="533" y="203"/>
                  <a:pt x="533" y="202"/>
                  <a:pt x="533" y="202"/>
                </a:cubicBezTo>
                <a:cubicBezTo>
                  <a:pt x="533" y="202"/>
                  <a:pt x="532" y="202"/>
                  <a:pt x="532" y="202"/>
                </a:cubicBezTo>
                <a:cubicBezTo>
                  <a:pt x="532" y="202"/>
                  <a:pt x="532" y="202"/>
                  <a:pt x="532" y="202"/>
                </a:cubicBezTo>
                <a:cubicBezTo>
                  <a:pt x="317" y="18"/>
                  <a:pt x="317" y="18"/>
                  <a:pt x="317" y="18"/>
                </a:cubicBezTo>
                <a:cubicBezTo>
                  <a:pt x="304" y="6"/>
                  <a:pt x="287" y="0"/>
                  <a:pt x="268" y="0"/>
                </a:cubicBezTo>
                <a:cubicBezTo>
                  <a:pt x="250" y="0"/>
                  <a:pt x="233" y="6"/>
                  <a:pt x="220" y="18"/>
                </a:cubicBezTo>
                <a:cubicBezTo>
                  <a:pt x="3" y="202"/>
                  <a:pt x="3" y="202"/>
                  <a:pt x="3" y="202"/>
                </a:cubicBezTo>
                <a:cubicBezTo>
                  <a:pt x="3" y="202"/>
                  <a:pt x="3" y="202"/>
                  <a:pt x="3" y="202"/>
                </a:cubicBezTo>
                <a:cubicBezTo>
                  <a:pt x="2" y="202"/>
                  <a:pt x="2" y="202"/>
                  <a:pt x="2" y="202"/>
                </a:cubicBezTo>
                <a:cubicBezTo>
                  <a:pt x="2" y="202"/>
                  <a:pt x="2" y="203"/>
                  <a:pt x="2" y="203"/>
                </a:cubicBezTo>
                <a:cubicBezTo>
                  <a:pt x="2" y="203"/>
                  <a:pt x="2" y="203"/>
                  <a:pt x="2" y="203"/>
                </a:cubicBezTo>
                <a:cubicBezTo>
                  <a:pt x="2" y="203"/>
                  <a:pt x="1" y="204"/>
                  <a:pt x="1" y="204"/>
                </a:cubicBezTo>
                <a:cubicBezTo>
                  <a:pt x="1" y="204"/>
                  <a:pt x="1" y="204"/>
                  <a:pt x="1" y="204"/>
                </a:cubicBezTo>
                <a:cubicBezTo>
                  <a:pt x="1" y="205"/>
                  <a:pt x="1" y="205"/>
                  <a:pt x="1" y="205"/>
                </a:cubicBezTo>
                <a:cubicBezTo>
                  <a:pt x="1" y="205"/>
                  <a:pt x="1" y="206"/>
                  <a:pt x="1" y="206"/>
                </a:cubicBezTo>
                <a:cubicBezTo>
                  <a:pt x="1" y="206"/>
                  <a:pt x="1" y="206"/>
                  <a:pt x="1" y="207"/>
                </a:cubicBezTo>
                <a:cubicBezTo>
                  <a:pt x="1" y="207"/>
                  <a:pt x="0" y="207"/>
                  <a:pt x="0" y="207"/>
                </a:cubicBezTo>
                <a:cubicBezTo>
                  <a:pt x="0" y="524"/>
                  <a:pt x="0" y="524"/>
                  <a:pt x="0" y="524"/>
                </a:cubicBezTo>
                <a:cubicBezTo>
                  <a:pt x="0" y="528"/>
                  <a:pt x="4" y="531"/>
                  <a:pt x="7" y="531"/>
                </a:cubicBezTo>
                <a:cubicBezTo>
                  <a:pt x="527" y="531"/>
                  <a:pt x="527" y="531"/>
                  <a:pt x="527" y="531"/>
                </a:cubicBezTo>
                <a:cubicBezTo>
                  <a:pt x="531" y="531"/>
                  <a:pt x="534" y="528"/>
                  <a:pt x="534" y="524"/>
                </a:cubicBezTo>
                <a:cubicBezTo>
                  <a:pt x="534" y="207"/>
                  <a:pt x="534" y="207"/>
                  <a:pt x="534" y="207"/>
                </a:cubicBezTo>
                <a:cubicBezTo>
                  <a:pt x="534" y="207"/>
                  <a:pt x="534" y="207"/>
                  <a:pt x="534" y="207"/>
                </a:cubicBezTo>
                <a:close/>
                <a:moveTo>
                  <a:pt x="520" y="472"/>
                </a:moveTo>
                <a:cubicBezTo>
                  <a:pt x="374" y="347"/>
                  <a:pt x="374" y="347"/>
                  <a:pt x="374" y="347"/>
                </a:cubicBezTo>
                <a:cubicBezTo>
                  <a:pt x="520" y="222"/>
                  <a:pt x="520" y="222"/>
                  <a:pt x="520" y="222"/>
                </a:cubicBezTo>
                <a:lnTo>
                  <a:pt x="520" y="472"/>
                </a:lnTo>
                <a:close/>
                <a:moveTo>
                  <a:pt x="229" y="28"/>
                </a:moveTo>
                <a:cubicBezTo>
                  <a:pt x="240" y="19"/>
                  <a:pt x="254" y="14"/>
                  <a:pt x="268" y="14"/>
                </a:cubicBezTo>
                <a:cubicBezTo>
                  <a:pt x="283" y="14"/>
                  <a:pt x="297" y="19"/>
                  <a:pt x="308" y="28"/>
                </a:cubicBezTo>
                <a:cubicBezTo>
                  <a:pt x="517" y="207"/>
                  <a:pt x="517" y="207"/>
                  <a:pt x="517" y="207"/>
                </a:cubicBezTo>
                <a:cubicBezTo>
                  <a:pt x="363" y="337"/>
                  <a:pt x="363" y="337"/>
                  <a:pt x="363" y="337"/>
                </a:cubicBezTo>
                <a:cubicBezTo>
                  <a:pt x="317" y="298"/>
                  <a:pt x="317" y="298"/>
                  <a:pt x="317" y="298"/>
                </a:cubicBezTo>
                <a:cubicBezTo>
                  <a:pt x="290" y="275"/>
                  <a:pt x="247" y="275"/>
                  <a:pt x="220" y="298"/>
                </a:cubicBezTo>
                <a:cubicBezTo>
                  <a:pt x="172" y="339"/>
                  <a:pt x="172" y="339"/>
                  <a:pt x="172" y="339"/>
                </a:cubicBezTo>
                <a:cubicBezTo>
                  <a:pt x="18" y="207"/>
                  <a:pt x="18" y="207"/>
                  <a:pt x="18" y="207"/>
                </a:cubicBezTo>
                <a:lnTo>
                  <a:pt x="229" y="28"/>
                </a:lnTo>
                <a:close/>
                <a:moveTo>
                  <a:pt x="14" y="222"/>
                </a:moveTo>
                <a:cubicBezTo>
                  <a:pt x="161" y="348"/>
                  <a:pt x="161" y="348"/>
                  <a:pt x="161" y="348"/>
                </a:cubicBezTo>
                <a:cubicBezTo>
                  <a:pt x="14" y="472"/>
                  <a:pt x="14" y="472"/>
                  <a:pt x="14" y="472"/>
                </a:cubicBezTo>
                <a:lnTo>
                  <a:pt x="14" y="222"/>
                </a:lnTo>
                <a:close/>
                <a:moveTo>
                  <a:pt x="14" y="517"/>
                </a:moveTo>
                <a:cubicBezTo>
                  <a:pt x="14" y="491"/>
                  <a:pt x="14" y="491"/>
                  <a:pt x="14" y="491"/>
                </a:cubicBezTo>
                <a:cubicBezTo>
                  <a:pt x="229" y="309"/>
                  <a:pt x="229" y="309"/>
                  <a:pt x="229" y="309"/>
                </a:cubicBezTo>
                <a:cubicBezTo>
                  <a:pt x="251" y="290"/>
                  <a:pt x="286" y="290"/>
                  <a:pt x="308" y="309"/>
                </a:cubicBezTo>
                <a:cubicBezTo>
                  <a:pt x="520" y="491"/>
                  <a:pt x="520" y="491"/>
                  <a:pt x="520" y="491"/>
                </a:cubicBezTo>
                <a:cubicBezTo>
                  <a:pt x="520" y="517"/>
                  <a:pt x="520" y="517"/>
                  <a:pt x="520" y="517"/>
                </a:cubicBezTo>
                <a:lnTo>
                  <a:pt x="14" y="517"/>
                </a:ln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9235" name="Oval 57"/>
          <p:cNvSpPr>
            <a:spLocks noChangeArrowheads="1"/>
          </p:cNvSpPr>
          <p:nvPr/>
        </p:nvSpPr>
        <p:spPr bwMode="auto">
          <a:xfrm>
            <a:off x="1315706" y="1528549"/>
            <a:ext cx="1119124" cy="1119124"/>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9266" name="Freeform 133"/>
          <p:cNvSpPr>
            <a:spLocks noEditPoints="1"/>
          </p:cNvSpPr>
          <p:nvPr/>
        </p:nvSpPr>
        <p:spPr bwMode="auto">
          <a:xfrm>
            <a:off x="1594271" y="1802546"/>
            <a:ext cx="561994" cy="565042"/>
          </a:xfrm>
          <a:custGeom>
            <a:avLst/>
            <a:gdLst>
              <a:gd name="T0" fmla="*/ 534 w 534"/>
              <a:gd name="T1" fmla="*/ 211 h 536"/>
              <a:gd name="T2" fmla="*/ 533 w 534"/>
              <a:gd name="T3" fmla="*/ 209 h 536"/>
              <a:gd name="T4" fmla="*/ 532 w 534"/>
              <a:gd name="T5" fmla="*/ 208 h 536"/>
              <a:gd name="T6" fmla="*/ 532 w 534"/>
              <a:gd name="T7" fmla="*/ 207 h 536"/>
              <a:gd name="T8" fmla="*/ 531 w 534"/>
              <a:gd name="T9" fmla="*/ 207 h 536"/>
              <a:gd name="T10" fmla="*/ 465 w 534"/>
              <a:gd name="T11" fmla="*/ 93 h 536"/>
              <a:gd name="T12" fmla="*/ 391 w 534"/>
              <a:gd name="T13" fmla="*/ 86 h 536"/>
              <a:gd name="T14" fmla="*/ 219 w 534"/>
              <a:gd name="T15" fmla="*/ 23 h 536"/>
              <a:gd name="T16" fmla="*/ 76 w 534"/>
              <a:gd name="T17" fmla="*/ 86 h 536"/>
              <a:gd name="T18" fmla="*/ 69 w 534"/>
              <a:gd name="T19" fmla="*/ 150 h 536"/>
              <a:gd name="T20" fmla="*/ 2 w 534"/>
              <a:gd name="T21" fmla="*/ 207 h 536"/>
              <a:gd name="T22" fmla="*/ 1 w 534"/>
              <a:gd name="T23" fmla="*/ 208 h 536"/>
              <a:gd name="T24" fmla="*/ 1 w 534"/>
              <a:gd name="T25" fmla="*/ 209 h 536"/>
              <a:gd name="T26" fmla="*/ 0 w 534"/>
              <a:gd name="T27" fmla="*/ 210 h 536"/>
              <a:gd name="T28" fmla="*/ 0 w 534"/>
              <a:gd name="T29" fmla="*/ 212 h 536"/>
              <a:gd name="T30" fmla="*/ 0 w 534"/>
              <a:gd name="T31" fmla="*/ 529 h 536"/>
              <a:gd name="T32" fmla="*/ 527 w 534"/>
              <a:gd name="T33" fmla="*/ 536 h 536"/>
              <a:gd name="T34" fmla="*/ 534 w 534"/>
              <a:gd name="T35" fmla="*/ 212 h 536"/>
              <a:gd name="T36" fmla="*/ 520 w 534"/>
              <a:gd name="T37" fmla="*/ 227 h 536"/>
              <a:gd name="T38" fmla="*/ 373 w 534"/>
              <a:gd name="T39" fmla="*/ 352 h 536"/>
              <a:gd name="T40" fmla="*/ 516 w 534"/>
              <a:gd name="T41" fmla="*/ 212 h 536"/>
              <a:gd name="T42" fmla="*/ 465 w 534"/>
              <a:gd name="T43" fmla="*/ 168 h 536"/>
              <a:gd name="T44" fmla="*/ 228 w 534"/>
              <a:gd name="T45" fmla="*/ 33 h 536"/>
              <a:gd name="T46" fmla="*/ 369 w 534"/>
              <a:gd name="T47" fmla="*/ 86 h 536"/>
              <a:gd name="T48" fmla="*/ 228 w 534"/>
              <a:gd name="T49" fmla="*/ 33 h 536"/>
              <a:gd name="T50" fmla="*/ 451 w 534"/>
              <a:gd name="T51" fmla="*/ 267 h 536"/>
              <a:gd name="T52" fmla="*/ 316 w 534"/>
              <a:gd name="T53" fmla="*/ 303 h 536"/>
              <a:gd name="T54" fmla="*/ 171 w 534"/>
              <a:gd name="T55" fmla="*/ 344 h 536"/>
              <a:gd name="T56" fmla="*/ 83 w 534"/>
              <a:gd name="T57" fmla="*/ 100 h 536"/>
              <a:gd name="T58" fmla="*/ 14 w 534"/>
              <a:gd name="T59" fmla="*/ 227 h 536"/>
              <a:gd name="T60" fmla="*/ 14 w 534"/>
              <a:gd name="T61" fmla="*/ 477 h 536"/>
              <a:gd name="T62" fmla="*/ 69 w 534"/>
              <a:gd name="T63" fmla="*/ 256 h 536"/>
              <a:gd name="T64" fmla="*/ 69 w 534"/>
              <a:gd name="T65" fmla="*/ 169 h 536"/>
              <a:gd name="T66" fmla="*/ 14 w 534"/>
              <a:gd name="T67" fmla="*/ 522 h 536"/>
              <a:gd name="T68" fmla="*/ 228 w 534"/>
              <a:gd name="T69" fmla="*/ 314 h 536"/>
              <a:gd name="T70" fmla="*/ 520 w 534"/>
              <a:gd name="T71" fmla="*/ 496 h 536"/>
              <a:gd name="T72" fmla="*/ 14 w 534"/>
              <a:gd name="T73" fmla="*/ 522 h 5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34" h="536">
                <a:moveTo>
                  <a:pt x="534" y="212"/>
                </a:moveTo>
                <a:cubicBezTo>
                  <a:pt x="534" y="211"/>
                  <a:pt x="534" y="211"/>
                  <a:pt x="534" y="211"/>
                </a:cubicBezTo>
                <a:cubicBezTo>
                  <a:pt x="533" y="211"/>
                  <a:pt x="533" y="210"/>
                  <a:pt x="533" y="210"/>
                </a:cubicBezTo>
                <a:cubicBezTo>
                  <a:pt x="533" y="210"/>
                  <a:pt x="533" y="210"/>
                  <a:pt x="533" y="209"/>
                </a:cubicBezTo>
                <a:cubicBezTo>
                  <a:pt x="533" y="209"/>
                  <a:pt x="533" y="209"/>
                  <a:pt x="533" y="209"/>
                </a:cubicBezTo>
                <a:cubicBezTo>
                  <a:pt x="533" y="209"/>
                  <a:pt x="533" y="208"/>
                  <a:pt x="532" y="208"/>
                </a:cubicBezTo>
                <a:cubicBezTo>
                  <a:pt x="532" y="208"/>
                  <a:pt x="532" y="208"/>
                  <a:pt x="532" y="208"/>
                </a:cubicBezTo>
                <a:cubicBezTo>
                  <a:pt x="532" y="208"/>
                  <a:pt x="532" y="207"/>
                  <a:pt x="532" y="207"/>
                </a:cubicBezTo>
                <a:cubicBezTo>
                  <a:pt x="532" y="207"/>
                  <a:pt x="532" y="207"/>
                  <a:pt x="532" y="207"/>
                </a:cubicBezTo>
                <a:cubicBezTo>
                  <a:pt x="531" y="207"/>
                  <a:pt x="531" y="207"/>
                  <a:pt x="531" y="207"/>
                </a:cubicBezTo>
                <a:cubicBezTo>
                  <a:pt x="465" y="150"/>
                  <a:pt x="465" y="150"/>
                  <a:pt x="465" y="150"/>
                </a:cubicBezTo>
                <a:cubicBezTo>
                  <a:pt x="465" y="93"/>
                  <a:pt x="465" y="93"/>
                  <a:pt x="465" y="93"/>
                </a:cubicBezTo>
                <a:cubicBezTo>
                  <a:pt x="465" y="89"/>
                  <a:pt x="461" y="86"/>
                  <a:pt x="458" y="86"/>
                </a:cubicBezTo>
                <a:cubicBezTo>
                  <a:pt x="391" y="86"/>
                  <a:pt x="391" y="86"/>
                  <a:pt x="391" y="86"/>
                </a:cubicBezTo>
                <a:cubicBezTo>
                  <a:pt x="316" y="23"/>
                  <a:pt x="316" y="23"/>
                  <a:pt x="316" y="23"/>
                </a:cubicBezTo>
                <a:cubicBezTo>
                  <a:pt x="289" y="0"/>
                  <a:pt x="246" y="0"/>
                  <a:pt x="219" y="23"/>
                </a:cubicBezTo>
                <a:cubicBezTo>
                  <a:pt x="144" y="86"/>
                  <a:pt x="144" y="86"/>
                  <a:pt x="144" y="86"/>
                </a:cubicBezTo>
                <a:cubicBezTo>
                  <a:pt x="76" y="86"/>
                  <a:pt x="76" y="86"/>
                  <a:pt x="76" y="86"/>
                </a:cubicBezTo>
                <a:cubicBezTo>
                  <a:pt x="72" y="86"/>
                  <a:pt x="69" y="89"/>
                  <a:pt x="69" y="93"/>
                </a:cubicBezTo>
                <a:cubicBezTo>
                  <a:pt x="69" y="150"/>
                  <a:pt x="69" y="150"/>
                  <a:pt x="69" y="150"/>
                </a:cubicBezTo>
                <a:cubicBezTo>
                  <a:pt x="2" y="207"/>
                  <a:pt x="2" y="207"/>
                  <a:pt x="2" y="207"/>
                </a:cubicBezTo>
                <a:cubicBezTo>
                  <a:pt x="2" y="207"/>
                  <a:pt x="2" y="207"/>
                  <a:pt x="2" y="207"/>
                </a:cubicBezTo>
                <a:cubicBezTo>
                  <a:pt x="2" y="207"/>
                  <a:pt x="2" y="207"/>
                  <a:pt x="1" y="207"/>
                </a:cubicBezTo>
                <a:cubicBezTo>
                  <a:pt x="1" y="207"/>
                  <a:pt x="1" y="208"/>
                  <a:pt x="1" y="208"/>
                </a:cubicBezTo>
                <a:cubicBezTo>
                  <a:pt x="1" y="208"/>
                  <a:pt x="1" y="208"/>
                  <a:pt x="1" y="208"/>
                </a:cubicBezTo>
                <a:cubicBezTo>
                  <a:pt x="1" y="208"/>
                  <a:pt x="1" y="209"/>
                  <a:pt x="1" y="209"/>
                </a:cubicBezTo>
                <a:cubicBezTo>
                  <a:pt x="0" y="209"/>
                  <a:pt x="0" y="209"/>
                  <a:pt x="0" y="209"/>
                </a:cubicBezTo>
                <a:cubicBezTo>
                  <a:pt x="0" y="210"/>
                  <a:pt x="0" y="210"/>
                  <a:pt x="0" y="210"/>
                </a:cubicBezTo>
                <a:cubicBezTo>
                  <a:pt x="0" y="210"/>
                  <a:pt x="0" y="211"/>
                  <a:pt x="0" y="211"/>
                </a:cubicBezTo>
                <a:cubicBezTo>
                  <a:pt x="0" y="211"/>
                  <a:pt x="0" y="211"/>
                  <a:pt x="0" y="212"/>
                </a:cubicBezTo>
                <a:cubicBezTo>
                  <a:pt x="0" y="212"/>
                  <a:pt x="0" y="212"/>
                  <a:pt x="0" y="212"/>
                </a:cubicBezTo>
                <a:cubicBezTo>
                  <a:pt x="0" y="529"/>
                  <a:pt x="0" y="529"/>
                  <a:pt x="0" y="529"/>
                </a:cubicBezTo>
                <a:cubicBezTo>
                  <a:pt x="0" y="533"/>
                  <a:pt x="3" y="536"/>
                  <a:pt x="7" y="536"/>
                </a:cubicBezTo>
                <a:cubicBezTo>
                  <a:pt x="527" y="536"/>
                  <a:pt x="527" y="536"/>
                  <a:pt x="527" y="536"/>
                </a:cubicBezTo>
                <a:cubicBezTo>
                  <a:pt x="530" y="536"/>
                  <a:pt x="534" y="533"/>
                  <a:pt x="534" y="529"/>
                </a:cubicBezTo>
                <a:cubicBezTo>
                  <a:pt x="534" y="212"/>
                  <a:pt x="534" y="212"/>
                  <a:pt x="534" y="212"/>
                </a:cubicBezTo>
                <a:cubicBezTo>
                  <a:pt x="534" y="212"/>
                  <a:pt x="534" y="212"/>
                  <a:pt x="534" y="212"/>
                </a:cubicBezTo>
                <a:close/>
                <a:moveTo>
                  <a:pt x="520" y="227"/>
                </a:moveTo>
                <a:cubicBezTo>
                  <a:pt x="520" y="477"/>
                  <a:pt x="520" y="477"/>
                  <a:pt x="520" y="477"/>
                </a:cubicBezTo>
                <a:cubicBezTo>
                  <a:pt x="373" y="352"/>
                  <a:pt x="373" y="352"/>
                  <a:pt x="373" y="352"/>
                </a:cubicBezTo>
                <a:lnTo>
                  <a:pt x="520" y="227"/>
                </a:lnTo>
                <a:close/>
                <a:moveTo>
                  <a:pt x="516" y="212"/>
                </a:moveTo>
                <a:cubicBezTo>
                  <a:pt x="465" y="255"/>
                  <a:pt x="465" y="255"/>
                  <a:pt x="465" y="255"/>
                </a:cubicBezTo>
                <a:cubicBezTo>
                  <a:pt x="465" y="168"/>
                  <a:pt x="465" y="168"/>
                  <a:pt x="465" y="168"/>
                </a:cubicBezTo>
                <a:lnTo>
                  <a:pt x="516" y="212"/>
                </a:lnTo>
                <a:close/>
                <a:moveTo>
                  <a:pt x="228" y="33"/>
                </a:moveTo>
                <a:cubicBezTo>
                  <a:pt x="250" y="15"/>
                  <a:pt x="285" y="15"/>
                  <a:pt x="307" y="33"/>
                </a:cubicBezTo>
                <a:cubicBezTo>
                  <a:pt x="369" y="86"/>
                  <a:pt x="369" y="86"/>
                  <a:pt x="369" y="86"/>
                </a:cubicBezTo>
                <a:cubicBezTo>
                  <a:pt x="166" y="86"/>
                  <a:pt x="166" y="86"/>
                  <a:pt x="166" y="86"/>
                </a:cubicBezTo>
                <a:lnTo>
                  <a:pt x="228" y="33"/>
                </a:lnTo>
                <a:close/>
                <a:moveTo>
                  <a:pt x="451" y="100"/>
                </a:moveTo>
                <a:cubicBezTo>
                  <a:pt x="451" y="267"/>
                  <a:pt x="451" y="267"/>
                  <a:pt x="451" y="267"/>
                </a:cubicBezTo>
                <a:cubicBezTo>
                  <a:pt x="362" y="342"/>
                  <a:pt x="362" y="342"/>
                  <a:pt x="362" y="342"/>
                </a:cubicBezTo>
                <a:cubicBezTo>
                  <a:pt x="316" y="303"/>
                  <a:pt x="316" y="303"/>
                  <a:pt x="316" y="303"/>
                </a:cubicBezTo>
                <a:cubicBezTo>
                  <a:pt x="289" y="280"/>
                  <a:pt x="246" y="280"/>
                  <a:pt x="219" y="303"/>
                </a:cubicBezTo>
                <a:cubicBezTo>
                  <a:pt x="171" y="344"/>
                  <a:pt x="171" y="344"/>
                  <a:pt x="171" y="344"/>
                </a:cubicBezTo>
                <a:cubicBezTo>
                  <a:pt x="83" y="268"/>
                  <a:pt x="83" y="268"/>
                  <a:pt x="83" y="268"/>
                </a:cubicBezTo>
                <a:cubicBezTo>
                  <a:pt x="83" y="100"/>
                  <a:pt x="83" y="100"/>
                  <a:pt x="83" y="100"/>
                </a:cubicBezTo>
                <a:lnTo>
                  <a:pt x="451" y="100"/>
                </a:lnTo>
                <a:close/>
                <a:moveTo>
                  <a:pt x="14" y="227"/>
                </a:moveTo>
                <a:cubicBezTo>
                  <a:pt x="161" y="353"/>
                  <a:pt x="161" y="353"/>
                  <a:pt x="161" y="353"/>
                </a:cubicBezTo>
                <a:cubicBezTo>
                  <a:pt x="14" y="477"/>
                  <a:pt x="14" y="477"/>
                  <a:pt x="14" y="477"/>
                </a:cubicBezTo>
                <a:lnTo>
                  <a:pt x="14" y="227"/>
                </a:lnTo>
                <a:close/>
                <a:moveTo>
                  <a:pt x="69" y="256"/>
                </a:moveTo>
                <a:cubicBezTo>
                  <a:pt x="18" y="212"/>
                  <a:pt x="18" y="212"/>
                  <a:pt x="18" y="212"/>
                </a:cubicBezTo>
                <a:cubicBezTo>
                  <a:pt x="69" y="169"/>
                  <a:pt x="69" y="169"/>
                  <a:pt x="69" y="169"/>
                </a:cubicBezTo>
                <a:lnTo>
                  <a:pt x="69" y="256"/>
                </a:lnTo>
                <a:close/>
                <a:moveTo>
                  <a:pt x="14" y="522"/>
                </a:moveTo>
                <a:cubicBezTo>
                  <a:pt x="14" y="496"/>
                  <a:pt x="14" y="496"/>
                  <a:pt x="14" y="496"/>
                </a:cubicBezTo>
                <a:cubicBezTo>
                  <a:pt x="228" y="314"/>
                  <a:pt x="228" y="314"/>
                  <a:pt x="228" y="314"/>
                </a:cubicBezTo>
                <a:cubicBezTo>
                  <a:pt x="250" y="295"/>
                  <a:pt x="285" y="295"/>
                  <a:pt x="307" y="314"/>
                </a:cubicBezTo>
                <a:cubicBezTo>
                  <a:pt x="520" y="496"/>
                  <a:pt x="520" y="496"/>
                  <a:pt x="520" y="496"/>
                </a:cubicBezTo>
                <a:cubicBezTo>
                  <a:pt x="520" y="522"/>
                  <a:pt x="520" y="522"/>
                  <a:pt x="520" y="522"/>
                </a:cubicBezTo>
                <a:lnTo>
                  <a:pt x="14" y="522"/>
                </a:ln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6163" name="Oval 80"/>
          <p:cNvSpPr>
            <a:spLocks noChangeArrowheads="1"/>
          </p:cNvSpPr>
          <p:nvPr/>
        </p:nvSpPr>
        <p:spPr bwMode="auto">
          <a:xfrm>
            <a:off x="8347593" y="1528549"/>
            <a:ext cx="1119124" cy="1119124"/>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9267" name="Freeform 134"/>
          <p:cNvSpPr>
            <a:spLocks noEditPoints="1"/>
          </p:cNvSpPr>
          <p:nvPr/>
        </p:nvSpPr>
        <p:spPr bwMode="auto">
          <a:xfrm>
            <a:off x="8604542" y="1770621"/>
            <a:ext cx="605228" cy="636198"/>
          </a:xfrm>
          <a:custGeom>
            <a:avLst/>
            <a:gdLst>
              <a:gd name="T0" fmla="*/ 63 w 574"/>
              <a:gd name="T1" fmla="*/ 361 h 605"/>
              <a:gd name="T2" fmla="*/ 56 w 574"/>
              <a:gd name="T3" fmla="*/ 239 h 605"/>
              <a:gd name="T4" fmla="*/ 49 w 574"/>
              <a:gd name="T5" fmla="*/ 361 h 605"/>
              <a:gd name="T6" fmla="*/ 0 w 574"/>
              <a:gd name="T7" fmla="*/ 368 h 605"/>
              <a:gd name="T8" fmla="*/ 7 w 574"/>
              <a:gd name="T9" fmla="*/ 484 h 605"/>
              <a:gd name="T10" fmla="*/ 49 w 574"/>
              <a:gd name="T11" fmla="*/ 598 h 605"/>
              <a:gd name="T12" fmla="*/ 63 w 574"/>
              <a:gd name="T13" fmla="*/ 598 h 605"/>
              <a:gd name="T14" fmla="*/ 105 w 574"/>
              <a:gd name="T15" fmla="*/ 484 h 605"/>
              <a:gd name="T16" fmla="*/ 112 w 574"/>
              <a:gd name="T17" fmla="*/ 368 h 605"/>
              <a:gd name="T18" fmla="*/ 98 w 574"/>
              <a:gd name="T19" fmla="*/ 470 h 605"/>
              <a:gd name="T20" fmla="*/ 14 w 574"/>
              <a:gd name="T21" fmla="*/ 375 h 605"/>
              <a:gd name="T22" fmla="*/ 98 w 574"/>
              <a:gd name="T23" fmla="*/ 470 h 605"/>
              <a:gd name="T24" fmla="*/ 217 w 574"/>
              <a:gd name="T25" fmla="*/ 224 h 605"/>
              <a:gd name="T26" fmla="*/ 210 w 574"/>
              <a:gd name="T27" fmla="*/ 103 h 605"/>
              <a:gd name="T28" fmla="*/ 203 w 574"/>
              <a:gd name="T29" fmla="*/ 224 h 605"/>
              <a:gd name="T30" fmla="*/ 154 w 574"/>
              <a:gd name="T31" fmla="*/ 231 h 605"/>
              <a:gd name="T32" fmla="*/ 161 w 574"/>
              <a:gd name="T33" fmla="*/ 348 h 605"/>
              <a:gd name="T34" fmla="*/ 203 w 574"/>
              <a:gd name="T35" fmla="*/ 462 h 605"/>
              <a:gd name="T36" fmla="*/ 217 w 574"/>
              <a:gd name="T37" fmla="*/ 462 h 605"/>
              <a:gd name="T38" fmla="*/ 259 w 574"/>
              <a:gd name="T39" fmla="*/ 348 h 605"/>
              <a:gd name="T40" fmla="*/ 266 w 574"/>
              <a:gd name="T41" fmla="*/ 231 h 605"/>
              <a:gd name="T42" fmla="*/ 252 w 574"/>
              <a:gd name="T43" fmla="*/ 334 h 605"/>
              <a:gd name="T44" fmla="*/ 168 w 574"/>
              <a:gd name="T45" fmla="*/ 238 h 605"/>
              <a:gd name="T46" fmla="*/ 252 w 574"/>
              <a:gd name="T47" fmla="*/ 334 h 605"/>
              <a:gd name="T48" fmla="*/ 371 w 574"/>
              <a:gd name="T49" fmla="*/ 279 h 605"/>
              <a:gd name="T50" fmla="*/ 364 w 574"/>
              <a:gd name="T51" fmla="*/ 158 h 605"/>
              <a:gd name="T52" fmla="*/ 357 w 574"/>
              <a:gd name="T53" fmla="*/ 279 h 605"/>
              <a:gd name="T54" fmla="*/ 308 w 574"/>
              <a:gd name="T55" fmla="*/ 286 h 605"/>
              <a:gd name="T56" fmla="*/ 315 w 574"/>
              <a:gd name="T57" fmla="*/ 402 h 605"/>
              <a:gd name="T58" fmla="*/ 357 w 574"/>
              <a:gd name="T59" fmla="*/ 516 h 605"/>
              <a:gd name="T60" fmla="*/ 371 w 574"/>
              <a:gd name="T61" fmla="*/ 516 h 605"/>
              <a:gd name="T62" fmla="*/ 413 w 574"/>
              <a:gd name="T63" fmla="*/ 402 h 605"/>
              <a:gd name="T64" fmla="*/ 420 w 574"/>
              <a:gd name="T65" fmla="*/ 286 h 605"/>
              <a:gd name="T66" fmla="*/ 406 w 574"/>
              <a:gd name="T67" fmla="*/ 388 h 605"/>
              <a:gd name="T68" fmla="*/ 322 w 574"/>
              <a:gd name="T69" fmla="*/ 293 h 605"/>
              <a:gd name="T70" fmla="*/ 406 w 574"/>
              <a:gd name="T71" fmla="*/ 388 h 605"/>
              <a:gd name="T72" fmla="*/ 525 w 574"/>
              <a:gd name="T73" fmla="*/ 121 h 605"/>
              <a:gd name="T74" fmla="*/ 518 w 574"/>
              <a:gd name="T75" fmla="*/ 0 h 605"/>
              <a:gd name="T76" fmla="*/ 511 w 574"/>
              <a:gd name="T77" fmla="*/ 121 h 605"/>
              <a:gd name="T78" fmla="*/ 462 w 574"/>
              <a:gd name="T79" fmla="*/ 128 h 605"/>
              <a:gd name="T80" fmla="*/ 469 w 574"/>
              <a:gd name="T81" fmla="*/ 245 h 605"/>
              <a:gd name="T82" fmla="*/ 511 w 574"/>
              <a:gd name="T83" fmla="*/ 359 h 605"/>
              <a:gd name="T84" fmla="*/ 525 w 574"/>
              <a:gd name="T85" fmla="*/ 359 h 605"/>
              <a:gd name="T86" fmla="*/ 567 w 574"/>
              <a:gd name="T87" fmla="*/ 245 h 605"/>
              <a:gd name="T88" fmla="*/ 574 w 574"/>
              <a:gd name="T89" fmla="*/ 128 h 605"/>
              <a:gd name="T90" fmla="*/ 560 w 574"/>
              <a:gd name="T91" fmla="*/ 231 h 605"/>
              <a:gd name="T92" fmla="*/ 476 w 574"/>
              <a:gd name="T93" fmla="*/ 135 h 605"/>
              <a:gd name="T94" fmla="*/ 560 w 574"/>
              <a:gd name="T95" fmla="*/ 231 h 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4" h="605">
                <a:moveTo>
                  <a:pt x="105" y="361"/>
                </a:moveTo>
                <a:cubicBezTo>
                  <a:pt x="63" y="361"/>
                  <a:pt x="63" y="361"/>
                  <a:pt x="63" y="361"/>
                </a:cubicBezTo>
                <a:cubicBezTo>
                  <a:pt x="63" y="246"/>
                  <a:pt x="63" y="246"/>
                  <a:pt x="63" y="246"/>
                </a:cubicBezTo>
                <a:cubicBezTo>
                  <a:pt x="63" y="243"/>
                  <a:pt x="60" y="239"/>
                  <a:pt x="56" y="239"/>
                </a:cubicBezTo>
                <a:cubicBezTo>
                  <a:pt x="52" y="239"/>
                  <a:pt x="49" y="243"/>
                  <a:pt x="49" y="246"/>
                </a:cubicBezTo>
                <a:cubicBezTo>
                  <a:pt x="49" y="361"/>
                  <a:pt x="49" y="361"/>
                  <a:pt x="49" y="361"/>
                </a:cubicBezTo>
                <a:cubicBezTo>
                  <a:pt x="7" y="361"/>
                  <a:pt x="7" y="361"/>
                  <a:pt x="7" y="361"/>
                </a:cubicBezTo>
                <a:cubicBezTo>
                  <a:pt x="3" y="361"/>
                  <a:pt x="0" y="364"/>
                  <a:pt x="0" y="368"/>
                </a:cubicBezTo>
                <a:cubicBezTo>
                  <a:pt x="0" y="477"/>
                  <a:pt x="0" y="477"/>
                  <a:pt x="0" y="477"/>
                </a:cubicBezTo>
                <a:cubicBezTo>
                  <a:pt x="0" y="481"/>
                  <a:pt x="3" y="484"/>
                  <a:pt x="7" y="484"/>
                </a:cubicBezTo>
                <a:cubicBezTo>
                  <a:pt x="49" y="484"/>
                  <a:pt x="49" y="484"/>
                  <a:pt x="49" y="484"/>
                </a:cubicBezTo>
                <a:cubicBezTo>
                  <a:pt x="49" y="598"/>
                  <a:pt x="49" y="598"/>
                  <a:pt x="49" y="598"/>
                </a:cubicBezTo>
                <a:cubicBezTo>
                  <a:pt x="49" y="602"/>
                  <a:pt x="52" y="605"/>
                  <a:pt x="56" y="605"/>
                </a:cubicBezTo>
                <a:cubicBezTo>
                  <a:pt x="60" y="605"/>
                  <a:pt x="63" y="602"/>
                  <a:pt x="63" y="598"/>
                </a:cubicBezTo>
                <a:cubicBezTo>
                  <a:pt x="63" y="484"/>
                  <a:pt x="63" y="484"/>
                  <a:pt x="63" y="484"/>
                </a:cubicBezTo>
                <a:cubicBezTo>
                  <a:pt x="105" y="484"/>
                  <a:pt x="105" y="484"/>
                  <a:pt x="105" y="484"/>
                </a:cubicBezTo>
                <a:cubicBezTo>
                  <a:pt x="109" y="484"/>
                  <a:pt x="112" y="481"/>
                  <a:pt x="112" y="477"/>
                </a:cubicBezTo>
                <a:cubicBezTo>
                  <a:pt x="112" y="368"/>
                  <a:pt x="112" y="368"/>
                  <a:pt x="112" y="368"/>
                </a:cubicBezTo>
                <a:cubicBezTo>
                  <a:pt x="112" y="364"/>
                  <a:pt x="109" y="361"/>
                  <a:pt x="105" y="361"/>
                </a:cubicBezTo>
                <a:close/>
                <a:moveTo>
                  <a:pt x="98" y="470"/>
                </a:moveTo>
                <a:cubicBezTo>
                  <a:pt x="14" y="470"/>
                  <a:pt x="14" y="470"/>
                  <a:pt x="14" y="470"/>
                </a:cubicBezTo>
                <a:cubicBezTo>
                  <a:pt x="14" y="375"/>
                  <a:pt x="14" y="375"/>
                  <a:pt x="14" y="375"/>
                </a:cubicBezTo>
                <a:cubicBezTo>
                  <a:pt x="98" y="375"/>
                  <a:pt x="98" y="375"/>
                  <a:pt x="98" y="375"/>
                </a:cubicBezTo>
                <a:lnTo>
                  <a:pt x="98" y="470"/>
                </a:lnTo>
                <a:close/>
                <a:moveTo>
                  <a:pt x="259" y="224"/>
                </a:moveTo>
                <a:cubicBezTo>
                  <a:pt x="217" y="224"/>
                  <a:pt x="217" y="224"/>
                  <a:pt x="217" y="224"/>
                </a:cubicBezTo>
                <a:cubicBezTo>
                  <a:pt x="217" y="110"/>
                  <a:pt x="217" y="110"/>
                  <a:pt x="217" y="110"/>
                </a:cubicBezTo>
                <a:cubicBezTo>
                  <a:pt x="217" y="106"/>
                  <a:pt x="214" y="103"/>
                  <a:pt x="210" y="103"/>
                </a:cubicBezTo>
                <a:cubicBezTo>
                  <a:pt x="206" y="103"/>
                  <a:pt x="203" y="106"/>
                  <a:pt x="203" y="110"/>
                </a:cubicBezTo>
                <a:cubicBezTo>
                  <a:pt x="203" y="224"/>
                  <a:pt x="203" y="224"/>
                  <a:pt x="203" y="224"/>
                </a:cubicBezTo>
                <a:cubicBezTo>
                  <a:pt x="161" y="224"/>
                  <a:pt x="161" y="224"/>
                  <a:pt x="161" y="224"/>
                </a:cubicBezTo>
                <a:cubicBezTo>
                  <a:pt x="157" y="224"/>
                  <a:pt x="154" y="227"/>
                  <a:pt x="154" y="231"/>
                </a:cubicBezTo>
                <a:cubicBezTo>
                  <a:pt x="154" y="341"/>
                  <a:pt x="154" y="341"/>
                  <a:pt x="154" y="341"/>
                </a:cubicBezTo>
                <a:cubicBezTo>
                  <a:pt x="154" y="344"/>
                  <a:pt x="157" y="348"/>
                  <a:pt x="161" y="348"/>
                </a:cubicBezTo>
                <a:cubicBezTo>
                  <a:pt x="203" y="348"/>
                  <a:pt x="203" y="348"/>
                  <a:pt x="203" y="348"/>
                </a:cubicBezTo>
                <a:cubicBezTo>
                  <a:pt x="203" y="462"/>
                  <a:pt x="203" y="462"/>
                  <a:pt x="203" y="462"/>
                </a:cubicBezTo>
                <a:cubicBezTo>
                  <a:pt x="203" y="466"/>
                  <a:pt x="206" y="469"/>
                  <a:pt x="210" y="469"/>
                </a:cubicBezTo>
                <a:cubicBezTo>
                  <a:pt x="214" y="469"/>
                  <a:pt x="217" y="466"/>
                  <a:pt x="217" y="462"/>
                </a:cubicBezTo>
                <a:cubicBezTo>
                  <a:pt x="217" y="348"/>
                  <a:pt x="217" y="348"/>
                  <a:pt x="217" y="348"/>
                </a:cubicBezTo>
                <a:cubicBezTo>
                  <a:pt x="259" y="348"/>
                  <a:pt x="259" y="348"/>
                  <a:pt x="259" y="348"/>
                </a:cubicBezTo>
                <a:cubicBezTo>
                  <a:pt x="263" y="348"/>
                  <a:pt x="266" y="344"/>
                  <a:pt x="266" y="341"/>
                </a:cubicBezTo>
                <a:cubicBezTo>
                  <a:pt x="266" y="231"/>
                  <a:pt x="266" y="231"/>
                  <a:pt x="266" y="231"/>
                </a:cubicBezTo>
                <a:cubicBezTo>
                  <a:pt x="266" y="227"/>
                  <a:pt x="263" y="224"/>
                  <a:pt x="259" y="224"/>
                </a:cubicBezTo>
                <a:close/>
                <a:moveTo>
                  <a:pt x="252" y="334"/>
                </a:moveTo>
                <a:cubicBezTo>
                  <a:pt x="168" y="334"/>
                  <a:pt x="168" y="334"/>
                  <a:pt x="168" y="334"/>
                </a:cubicBezTo>
                <a:cubicBezTo>
                  <a:pt x="168" y="238"/>
                  <a:pt x="168" y="238"/>
                  <a:pt x="168" y="238"/>
                </a:cubicBezTo>
                <a:cubicBezTo>
                  <a:pt x="252" y="238"/>
                  <a:pt x="252" y="238"/>
                  <a:pt x="252" y="238"/>
                </a:cubicBezTo>
                <a:lnTo>
                  <a:pt x="252" y="334"/>
                </a:lnTo>
                <a:close/>
                <a:moveTo>
                  <a:pt x="413" y="279"/>
                </a:moveTo>
                <a:cubicBezTo>
                  <a:pt x="371" y="279"/>
                  <a:pt x="371" y="279"/>
                  <a:pt x="371" y="279"/>
                </a:cubicBezTo>
                <a:cubicBezTo>
                  <a:pt x="371" y="165"/>
                  <a:pt x="371" y="165"/>
                  <a:pt x="371" y="165"/>
                </a:cubicBezTo>
                <a:cubicBezTo>
                  <a:pt x="371" y="161"/>
                  <a:pt x="368" y="158"/>
                  <a:pt x="364" y="158"/>
                </a:cubicBezTo>
                <a:cubicBezTo>
                  <a:pt x="360" y="158"/>
                  <a:pt x="357" y="161"/>
                  <a:pt x="357" y="165"/>
                </a:cubicBezTo>
                <a:cubicBezTo>
                  <a:pt x="357" y="279"/>
                  <a:pt x="357" y="279"/>
                  <a:pt x="357" y="279"/>
                </a:cubicBezTo>
                <a:cubicBezTo>
                  <a:pt x="315" y="279"/>
                  <a:pt x="315" y="279"/>
                  <a:pt x="315" y="279"/>
                </a:cubicBezTo>
                <a:cubicBezTo>
                  <a:pt x="311" y="279"/>
                  <a:pt x="308" y="282"/>
                  <a:pt x="308" y="286"/>
                </a:cubicBezTo>
                <a:cubicBezTo>
                  <a:pt x="308" y="395"/>
                  <a:pt x="308" y="395"/>
                  <a:pt x="308" y="395"/>
                </a:cubicBezTo>
                <a:cubicBezTo>
                  <a:pt x="308" y="399"/>
                  <a:pt x="311" y="402"/>
                  <a:pt x="315" y="402"/>
                </a:cubicBezTo>
                <a:cubicBezTo>
                  <a:pt x="357" y="402"/>
                  <a:pt x="357" y="402"/>
                  <a:pt x="357" y="402"/>
                </a:cubicBezTo>
                <a:cubicBezTo>
                  <a:pt x="357" y="516"/>
                  <a:pt x="357" y="516"/>
                  <a:pt x="357" y="516"/>
                </a:cubicBezTo>
                <a:cubicBezTo>
                  <a:pt x="357" y="520"/>
                  <a:pt x="360" y="523"/>
                  <a:pt x="364" y="523"/>
                </a:cubicBezTo>
                <a:cubicBezTo>
                  <a:pt x="368" y="523"/>
                  <a:pt x="371" y="520"/>
                  <a:pt x="371" y="516"/>
                </a:cubicBezTo>
                <a:cubicBezTo>
                  <a:pt x="371" y="402"/>
                  <a:pt x="371" y="402"/>
                  <a:pt x="371" y="402"/>
                </a:cubicBezTo>
                <a:cubicBezTo>
                  <a:pt x="413" y="402"/>
                  <a:pt x="413" y="402"/>
                  <a:pt x="413" y="402"/>
                </a:cubicBezTo>
                <a:cubicBezTo>
                  <a:pt x="417" y="402"/>
                  <a:pt x="420" y="399"/>
                  <a:pt x="420" y="395"/>
                </a:cubicBezTo>
                <a:cubicBezTo>
                  <a:pt x="420" y="286"/>
                  <a:pt x="420" y="286"/>
                  <a:pt x="420" y="286"/>
                </a:cubicBezTo>
                <a:cubicBezTo>
                  <a:pt x="420" y="282"/>
                  <a:pt x="417" y="279"/>
                  <a:pt x="413" y="279"/>
                </a:cubicBezTo>
                <a:close/>
                <a:moveTo>
                  <a:pt x="406" y="388"/>
                </a:moveTo>
                <a:cubicBezTo>
                  <a:pt x="322" y="388"/>
                  <a:pt x="322" y="388"/>
                  <a:pt x="322" y="388"/>
                </a:cubicBezTo>
                <a:cubicBezTo>
                  <a:pt x="322" y="293"/>
                  <a:pt x="322" y="293"/>
                  <a:pt x="322" y="293"/>
                </a:cubicBezTo>
                <a:cubicBezTo>
                  <a:pt x="406" y="293"/>
                  <a:pt x="406" y="293"/>
                  <a:pt x="406" y="293"/>
                </a:cubicBezTo>
                <a:lnTo>
                  <a:pt x="406" y="388"/>
                </a:lnTo>
                <a:close/>
                <a:moveTo>
                  <a:pt x="567" y="121"/>
                </a:moveTo>
                <a:cubicBezTo>
                  <a:pt x="525" y="121"/>
                  <a:pt x="525" y="121"/>
                  <a:pt x="525" y="121"/>
                </a:cubicBezTo>
                <a:cubicBezTo>
                  <a:pt x="525" y="7"/>
                  <a:pt x="525" y="7"/>
                  <a:pt x="525" y="7"/>
                </a:cubicBezTo>
                <a:cubicBezTo>
                  <a:pt x="525" y="3"/>
                  <a:pt x="522" y="0"/>
                  <a:pt x="518" y="0"/>
                </a:cubicBezTo>
                <a:cubicBezTo>
                  <a:pt x="514" y="0"/>
                  <a:pt x="511" y="3"/>
                  <a:pt x="511" y="7"/>
                </a:cubicBezTo>
                <a:cubicBezTo>
                  <a:pt x="511" y="121"/>
                  <a:pt x="511" y="121"/>
                  <a:pt x="511" y="121"/>
                </a:cubicBezTo>
                <a:cubicBezTo>
                  <a:pt x="469" y="121"/>
                  <a:pt x="469" y="121"/>
                  <a:pt x="469" y="121"/>
                </a:cubicBezTo>
                <a:cubicBezTo>
                  <a:pt x="465" y="121"/>
                  <a:pt x="462" y="125"/>
                  <a:pt x="462" y="128"/>
                </a:cubicBezTo>
                <a:cubicBezTo>
                  <a:pt x="462" y="238"/>
                  <a:pt x="462" y="238"/>
                  <a:pt x="462" y="238"/>
                </a:cubicBezTo>
                <a:cubicBezTo>
                  <a:pt x="462" y="241"/>
                  <a:pt x="465" y="245"/>
                  <a:pt x="469" y="245"/>
                </a:cubicBezTo>
                <a:cubicBezTo>
                  <a:pt x="511" y="245"/>
                  <a:pt x="511" y="245"/>
                  <a:pt x="511" y="245"/>
                </a:cubicBezTo>
                <a:cubicBezTo>
                  <a:pt x="511" y="359"/>
                  <a:pt x="511" y="359"/>
                  <a:pt x="511" y="359"/>
                </a:cubicBezTo>
                <a:cubicBezTo>
                  <a:pt x="511" y="363"/>
                  <a:pt x="514" y="366"/>
                  <a:pt x="518" y="366"/>
                </a:cubicBezTo>
                <a:cubicBezTo>
                  <a:pt x="522" y="366"/>
                  <a:pt x="525" y="363"/>
                  <a:pt x="525" y="359"/>
                </a:cubicBezTo>
                <a:cubicBezTo>
                  <a:pt x="525" y="245"/>
                  <a:pt x="525" y="245"/>
                  <a:pt x="525" y="245"/>
                </a:cubicBezTo>
                <a:cubicBezTo>
                  <a:pt x="567" y="245"/>
                  <a:pt x="567" y="245"/>
                  <a:pt x="567" y="245"/>
                </a:cubicBezTo>
                <a:cubicBezTo>
                  <a:pt x="571" y="245"/>
                  <a:pt x="574" y="241"/>
                  <a:pt x="574" y="238"/>
                </a:cubicBezTo>
                <a:cubicBezTo>
                  <a:pt x="574" y="128"/>
                  <a:pt x="574" y="128"/>
                  <a:pt x="574" y="128"/>
                </a:cubicBezTo>
                <a:cubicBezTo>
                  <a:pt x="574" y="125"/>
                  <a:pt x="571" y="121"/>
                  <a:pt x="567" y="121"/>
                </a:cubicBezTo>
                <a:close/>
                <a:moveTo>
                  <a:pt x="560" y="231"/>
                </a:moveTo>
                <a:cubicBezTo>
                  <a:pt x="476" y="231"/>
                  <a:pt x="476" y="231"/>
                  <a:pt x="476" y="231"/>
                </a:cubicBezTo>
                <a:cubicBezTo>
                  <a:pt x="476" y="135"/>
                  <a:pt x="476" y="135"/>
                  <a:pt x="476" y="135"/>
                </a:cubicBezTo>
                <a:cubicBezTo>
                  <a:pt x="560" y="135"/>
                  <a:pt x="560" y="135"/>
                  <a:pt x="560" y="135"/>
                </a:cubicBezTo>
                <a:lnTo>
                  <a:pt x="560" y="231"/>
                </a:ln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6157" name="Oval 74"/>
          <p:cNvSpPr>
            <a:spLocks noChangeArrowheads="1"/>
          </p:cNvSpPr>
          <p:nvPr/>
        </p:nvSpPr>
        <p:spPr bwMode="auto">
          <a:xfrm>
            <a:off x="10105564" y="1528549"/>
            <a:ext cx="1119124" cy="1119124"/>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9269" name="Freeform 136"/>
          <p:cNvSpPr>
            <a:spLocks noEditPoints="1"/>
          </p:cNvSpPr>
          <p:nvPr/>
        </p:nvSpPr>
        <p:spPr bwMode="auto">
          <a:xfrm>
            <a:off x="10340593" y="1820495"/>
            <a:ext cx="649068" cy="536450"/>
          </a:xfrm>
          <a:custGeom>
            <a:avLst/>
            <a:gdLst>
              <a:gd name="T0" fmla="*/ 100 w 616"/>
              <a:gd name="T1" fmla="*/ 285 h 509"/>
              <a:gd name="T2" fmla="*/ 323 w 616"/>
              <a:gd name="T3" fmla="*/ 422 h 509"/>
              <a:gd name="T4" fmla="*/ 323 w 616"/>
              <a:gd name="T5" fmla="*/ 278 h 509"/>
              <a:gd name="T6" fmla="*/ 114 w 616"/>
              <a:gd name="T7" fmla="*/ 292 h 509"/>
              <a:gd name="T8" fmla="*/ 612 w 616"/>
              <a:gd name="T9" fmla="*/ 188 h 509"/>
              <a:gd name="T10" fmla="*/ 555 w 616"/>
              <a:gd name="T11" fmla="*/ 4 h 509"/>
              <a:gd name="T12" fmla="*/ 554 w 616"/>
              <a:gd name="T13" fmla="*/ 3 h 509"/>
              <a:gd name="T14" fmla="*/ 553 w 616"/>
              <a:gd name="T15" fmla="*/ 1 h 509"/>
              <a:gd name="T16" fmla="*/ 551 w 616"/>
              <a:gd name="T17" fmla="*/ 1 h 509"/>
              <a:gd name="T18" fmla="*/ 549 w 616"/>
              <a:gd name="T19" fmla="*/ 0 h 509"/>
              <a:gd name="T20" fmla="*/ 308 w 616"/>
              <a:gd name="T21" fmla="*/ 0 h 509"/>
              <a:gd name="T22" fmla="*/ 147 w 616"/>
              <a:gd name="T23" fmla="*/ 0 h 509"/>
              <a:gd name="T24" fmla="*/ 66 w 616"/>
              <a:gd name="T25" fmla="*/ 0 h 509"/>
              <a:gd name="T26" fmla="*/ 64 w 616"/>
              <a:gd name="T27" fmla="*/ 1 h 509"/>
              <a:gd name="T28" fmla="*/ 62 w 616"/>
              <a:gd name="T29" fmla="*/ 2 h 509"/>
              <a:gd name="T30" fmla="*/ 61 w 616"/>
              <a:gd name="T31" fmla="*/ 4 h 509"/>
              <a:gd name="T32" fmla="*/ 60 w 616"/>
              <a:gd name="T33" fmla="*/ 5 h 509"/>
              <a:gd name="T34" fmla="*/ 27 w 616"/>
              <a:gd name="T35" fmla="*/ 242 h 509"/>
              <a:gd name="T36" fmla="*/ 582 w 616"/>
              <a:gd name="T37" fmla="*/ 509 h 509"/>
              <a:gd name="T38" fmla="*/ 606 w 616"/>
              <a:gd name="T39" fmla="*/ 229 h 509"/>
              <a:gd name="T40" fmla="*/ 464 w 616"/>
              <a:gd name="T41" fmla="*/ 232 h 509"/>
              <a:gd name="T42" fmla="*/ 463 w 616"/>
              <a:gd name="T43" fmla="*/ 14 h 509"/>
              <a:gd name="T44" fmla="*/ 391 w 616"/>
              <a:gd name="T45" fmla="*/ 219 h 509"/>
              <a:gd name="T46" fmla="*/ 315 w 616"/>
              <a:gd name="T47" fmla="*/ 14 h 509"/>
              <a:gd name="T48" fmla="*/ 391 w 616"/>
              <a:gd name="T49" fmla="*/ 219 h 509"/>
              <a:gd name="T50" fmla="*/ 257 w 616"/>
              <a:gd name="T51" fmla="*/ 232 h 509"/>
              <a:gd name="T52" fmla="*/ 234 w 616"/>
              <a:gd name="T53" fmla="*/ 14 h 509"/>
              <a:gd name="T54" fmla="*/ 117 w 616"/>
              <a:gd name="T55" fmla="*/ 192 h 509"/>
              <a:gd name="T56" fmla="*/ 202 w 616"/>
              <a:gd name="T57" fmla="*/ 190 h 509"/>
              <a:gd name="T58" fmla="*/ 117 w 616"/>
              <a:gd name="T59" fmla="*/ 192 h 509"/>
              <a:gd name="T60" fmla="*/ 72 w 616"/>
              <a:gd name="T61" fmla="*/ 14 h 509"/>
              <a:gd name="T62" fmla="*/ 48 w 616"/>
              <a:gd name="T63" fmla="*/ 232 h 509"/>
              <a:gd name="T64" fmla="*/ 392 w 616"/>
              <a:gd name="T65" fmla="*/ 495 h 509"/>
              <a:gd name="T66" fmla="*/ 503 w 616"/>
              <a:gd name="T67" fmla="*/ 495 h 509"/>
              <a:gd name="T68" fmla="*/ 517 w 616"/>
              <a:gd name="T69" fmla="*/ 285 h 509"/>
              <a:gd name="T70" fmla="*/ 378 w 616"/>
              <a:gd name="T71" fmla="*/ 285 h 509"/>
              <a:gd name="T72" fmla="*/ 41 w 616"/>
              <a:gd name="T73" fmla="*/ 246 h 509"/>
              <a:gd name="T74" fmla="*/ 113 w 616"/>
              <a:gd name="T75" fmla="*/ 229 h 509"/>
              <a:gd name="T76" fmla="*/ 215 w 616"/>
              <a:gd name="T77" fmla="*/ 229 h 509"/>
              <a:gd name="T78" fmla="*/ 308 w 616"/>
              <a:gd name="T79" fmla="*/ 217 h 509"/>
              <a:gd name="T80" fmla="*/ 410 w 616"/>
              <a:gd name="T81" fmla="*/ 217 h 509"/>
              <a:gd name="T82" fmla="*/ 511 w 616"/>
              <a:gd name="T83" fmla="*/ 217 h 509"/>
              <a:gd name="T84" fmla="*/ 575 w 616"/>
              <a:gd name="T85" fmla="*/ 495 h 509"/>
              <a:gd name="T86" fmla="*/ 513 w 616"/>
              <a:gd name="T87" fmla="*/ 189 h 509"/>
              <a:gd name="T88" fmla="*/ 598 w 616"/>
              <a:gd name="T89" fmla="*/ 192 h 5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16" h="509">
                <a:moveTo>
                  <a:pt x="323" y="278"/>
                </a:moveTo>
                <a:cubicBezTo>
                  <a:pt x="107" y="278"/>
                  <a:pt x="107" y="278"/>
                  <a:pt x="107" y="278"/>
                </a:cubicBezTo>
                <a:cubicBezTo>
                  <a:pt x="104" y="278"/>
                  <a:pt x="100" y="282"/>
                  <a:pt x="100" y="285"/>
                </a:cubicBezTo>
                <a:cubicBezTo>
                  <a:pt x="100" y="415"/>
                  <a:pt x="100" y="415"/>
                  <a:pt x="100" y="415"/>
                </a:cubicBezTo>
                <a:cubicBezTo>
                  <a:pt x="100" y="419"/>
                  <a:pt x="104" y="422"/>
                  <a:pt x="107" y="422"/>
                </a:cubicBezTo>
                <a:cubicBezTo>
                  <a:pt x="323" y="422"/>
                  <a:pt x="323" y="422"/>
                  <a:pt x="323" y="422"/>
                </a:cubicBezTo>
                <a:cubicBezTo>
                  <a:pt x="327" y="422"/>
                  <a:pt x="330" y="419"/>
                  <a:pt x="330" y="415"/>
                </a:cubicBezTo>
                <a:cubicBezTo>
                  <a:pt x="330" y="285"/>
                  <a:pt x="330" y="285"/>
                  <a:pt x="330" y="285"/>
                </a:cubicBezTo>
                <a:cubicBezTo>
                  <a:pt x="330" y="282"/>
                  <a:pt x="327" y="278"/>
                  <a:pt x="323" y="278"/>
                </a:cubicBezTo>
                <a:close/>
                <a:moveTo>
                  <a:pt x="316" y="408"/>
                </a:moveTo>
                <a:cubicBezTo>
                  <a:pt x="114" y="408"/>
                  <a:pt x="114" y="408"/>
                  <a:pt x="114" y="408"/>
                </a:cubicBezTo>
                <a:cubicBezTo>
                  <a:pt x="114" y="292"/>
                  <a:pt x="114" y="292"/>
                  <a:pt x="114" y="292"/>
                </a:cubicBezTo>
                <a:cubicBezTo>
                  <a:pt x="316" y="292"/>
                  <a:pt x="316" y="292"/>
                  <a:pt x="316" y="292"/>
                </a:cubicBezTo>
                <a:lnTo>
                  <a:pt x="316" y="408"/>
                </a:lnTo>
                <a:close/>
                <a:moveTo>
                  <a:pt x="612" y="188"/>
                </a:moveTo>
                <a:cubicBezTo>
                  <a:pt x="556" y="5"/>
                  <a:pt x="556" y="5"/>
                  <a:pt x="556" y="5"/>
                </a:cubicBezTo>
                <a:cubicBezTo>
                  <a:pt x="556" y="5"/>
                  <a:pt x="556" y="5"/>
                  <a:pt x="556" y="5"/>
                </a:cubicBezTo>
                <a:cubicBezTo>
                  <a:pt x="556" y="5"/>
                  <a:pt x="555" y="4"/>
                  <a:pt x="555" y="4"/>
                </a:cubicBezTo>
                <a:cubicBezTo>
                  <a:pt x="555" y="4"/>
                  <a:pt x="555" y="4"/>
                  <a:pt x="555" y="4"/>
                </a:cubicBezTo>
                <a:cubicBezTo>
                  <a:pt x="555" y="3"/>
                  <a:pt x="555" y="3"/>
                  <a:pt x="555" y="3"/>
                </a:cubicBezTo>
                <a:cubicBezTo>
                  <a:pt x="555" y="3"/>
                  <a:pt x="554" y="3"/>
                  <a:pt x="554" y="3"/>
                </a:cubicBezTo>
                <a:cubicBezTo>
                  <a:pt x="554" y="2"/>
                  <a:pt x="554" y="2"/>
                  <a:pt x="554" y="2"/>
                </a:cubicBezTo>
                <a:cubicBezTo>
                  <a:pt x="554" y="2"/>
                  <a:pt x="553" y="2"/>
                  <a:pt x="553" y="2"/>
                </a:cubicBezTo>
                <a:cubicBezTo>
                  <a:pt x="553" y="2"/>
                  <a:pt x="553" y="1"/>
                  <a:pt x="553" y="1"/>
                </a:cubicBezTo>
                <a:cubicBezTo>
                  <a:pt x="552" y="1"/>
                  <a:pt x="552" y="1"/>
                  <a:pt x="552" y="1"/>
                </a:cubicBezTo>
                <a:cubicBezTo>
                  <a:pt x="552" y="1"/>
                  <a:pt x="552" y="1"/>
                  <a:pt x="551" y="1"/>
                </a:cubicBezTo>
                <a:cubicBezTo>
                  <a:pt x="551" y="1"/>
                  <a:pt x="551" y="1"/>
                  <a:pt x="551" y="1"/>
                </a:cubicBezTo>
                <a:cubicBezTo>
                  <a:pt x="551" y="0"/>
                  <a:pt x="550" y="0"/>
                  <a:pt x="550" y="0"/>
                </a:cubicBezTo>
                <a:cubicBezTo>
                  <a:pt x="550" y="0"/>
                  <a:pt x="550" y="0"/>
                  <a:pt x="549" y="0"/>
                </a:cubicBezTo>
                <a:cubicBezTo>
                  <a:pt x="549" y="0"/>
                  <a:pt x="549" y="0"/>
                  <a:pt x="549" y="0"/>
                </a:cubicBezTo>
                <a:cubicBezTo>
                  <a:pt x="469" y="0"/>
                  <a:pt x="469" y="0"/>
                  <a:pt x="469" y="0"/>
                </a:cubicBezTo>
                <a:cubicBezTo>
                  <a:pt x="469" y="0"/>
                  <a:pt x="469" y="0"/>
                  <a:pt x="469" y="0"/>
                </a:cubicBezTo>
                <a:cubicBezTo>
                  <a:pt x="308" y="0"/>
                  <a:pt x="308" y="0"/>
                  <a:pt x="308" y="0"/>
                </a:cubicBezTo>
                <a:cubicBezTo>
                  <a:pt x="308" y="0"/>
                  <a:pt x="308" y="0"/>
                  <a:pt x="308" y="0"/>
                </a:cubicBezTo>
                <a:cubicBezTo>
                  <a:pt x="147" y="0"/>
                  <a:pt x="147" y="0"/>
                  <a:pt x="147" y="0"/>
                </a:cubicBezTo>
                <a:cubicBezTo>
                  <a:pt x="147" y="0"/>
                  <a:pt x="147" y="0"/>
                  <a:pt x="147" y="0"/>
                </a:cubicBezTo>
                <a:cubicBezTo>
                  <a:pt x="67" y="0"/>
                  <a:pt x="67" y="0"/>
                  <a:pt x="67" y="0"/>
                </a:cubicBezTo>
                <a:cubicBezTo>
                  <a:pt x="67" y="0"/>
                  <a:pt x="67" y="0"/>
                  <a:pt x="67" y="0"/>
                </a:cubicBezTo>
                <a:cubicBezTo>
                  <a:pt x="67" y="0"/>
                  <a:pt x="66" y="0"/>
                  <a:pt x="66" y="0"/>
                </a:cubicBezTo>
                <a:cubicBezTo>
                  <a:pt x="66" y="0"/>
                  <a:pt x="66" y="0"/>
                  <a:pt x="65" y="1"/>
                </a:cubicBezTo>
                <a:cubicBezTo>
                  <a:pt x="65" y="1"/>
                  <a:pt x="65" y="1"/>
                  <a:pt x="65" y="1"/>
                </a:cubicBezTo>
                <a:cubicBezTo>
                  <a:pt x="65" y="1"/>
                  <a:pt x="64" y="1"/>
                  <a:pt x="64" y="1"/>
                </a:cubicBezTo>
                <a:cubicBezTo>
                  <a:pt x="64" y="1"/>
                  <a:pt x="64" y="1"/>
                  <a:pt x="64" y="1"/>
                </a:cubicBezTo>
                <a:cubicBezTo>
                  <a:pt x="63" y="1"/>
                  <a:pt x="63" y="2"/>
                  <a:pt x="63" y="2"/>
                </a:cubicBezTo>
                <a:cubicBezTo>
                  <a:pt x="63" y="2"/>
                  <a:pt x="63" y="2"/>
                  <a:pt x="62" y="2"/>
                </a:cubicBezTo>
                <a:cubicBezTo>
                  <a:pt x="62" y="2"/>
                  <a:pt x="62" y="2"/>
                  <a:pt x="62" y="3"/>
                </a:cubicBezTo>
                <a:cubicBezTo>
                  <a:pt x="62" y="3"/>
                  <a:pt x="62" y="3"/>
                  <a:pt x="62" y="3"/>
                </a:cubicBezTo>
                <a:cubicBezTo>
                  <a:pt x="61" y="3"/>
                  <a:pt x="61" y="3"/>
                  <a:pt x="61" y="4"/>
                </a:cubicBezTo>
                <a:cubicBezTo>
                  <a:pt x="61" y="4"/>
                  <a:pt x="61" y="4"/>
                  <a:pt x="61" y="4"/>
                </a:cubicBezTo>
                <a:cubicBezTo>
                  <a:pt x="61" y="4"/>
                  <a:pt x="61" y="5"/>
                  <a:pt x="61" y="5"/>
                </a:cubicBezTo>
                <a:cubicBezTo>
                  <a:pt x="61" y="5"/>
                  <a:pt x="60" y="5"/>
                  <a:pt x="60" y="5"/>
                </a:cubicBezTo>
                <a:cubicBezTo>
                  <a:pt x="5" y="188"/>
                  <a:pt x="5" y="188"/>
                  <a:pt x="5" y="188"/>
                </a:cubicBezTo>
                <a:cubicBezTo>
                  <a:pt x="0" y="203"/>
                  <a:pt x="2" y="218"/>
                  <a:pt x="10" y="229"/>
                </a:cubicBezTo>
                <a:cubicBezTo>
                  <a:pt x="15" y="235"/>
                  <a:pt x="20" y="239"/>
                  <a:pt x="27" y="242"/>
                </a:cubicBezTo>
                <a:cubicBezTo>
                  <a:pt x="27" y="502"/>
                  <a:pt x="27" y="502"/>
                  <a:pt x="27" y="502"/>
                </a:cubicBezTo>
                <a:cubicBezTo>
                  <a:pt x="27" y="506"/>
                  <a:pt x="30" y="509"/>
                  <a:pt x="34" y="509"/>
                </a:cubicBezTo>
                <a:cubicBezTo>
                  <a:pt x="582" y="509"/>
                  <a:pt x="582" y="509"/>
                  <a:pt x="582" y="509"/>
                </a:cubicBezTo>
                <a:cubicBezTo>
                  <a:pt x="586" y="509"/>
                  <a:pt x="589" y="506"/>
                  <a:pt x="589" y="502"/>
                </a:cubicBezTo>
                <a:cubicBezTo>
                  <a:pt x="589" y="242"/>
                  <a:pt x="589" y="242"/>
                  <a:pt x="589" y="242"/>
                </a:cubicBezTo>
                <a:cubicBezTo>
                  <a:pt x="596" y="239"/>
                  <a:pt x="602" y="235"/>
                  <a:pt x="606" y="229"/>
                </a:cubicBezTo>
                <a:cubicBezTo>
                  <a:pt x="614" y="218"/>
                  <a:pt x="616" y="203"/>
                  <a:pt x="612" y="188"/>
                </a:cubicBezTo>
                <a:close/>
                <a:moveTo>
                  <a:pt x="493" y="220"/>
                </a:moveTo>
                <a:cubicBezTo>
                  <a:pt x="486" y="228"/>
                  <a:pt x="476" y="232"/>
                  <a:pt x="464" y="232"/>
                </a:cubicBezTo>
                <a:cubicBezTo>
                  <a:pt x="439" y="232"/>
                  <a:pt x="417" y="213"/>
                  <a:pt x="414" y="190"/>
                </a:cubicBezTo>
                <a:cubicBezTo>
                  <a:pt x="396" y="14"/>
                  <a:pt x="396" y="14"/>
                  <a:pt x="396" y="14"/>
                </a:cubicBezTo>
                <a:cubicBezTo>
                  <a:pt x="463" y="14"/>
                  <a:pt x="463" y="14"/>
                  <a:pt x="463" y="14"/>
                </a:cubicBezTo>
                <a:cubicBezTo>
                  <a:pt x="499" y="192"/>
                  <a:pt x="499" y="192"/>
                  <a:pt x="499" y="192"/>
                </a:cubicBezTo>
                <a:cubicBezTo>
                  <a:pt x="501" y="202"/>
                  <a:pt x="499" y="212"/>
                  <a:pt x="493" y="220"/>
                </a:cubicBezTo>
                <a:close/>
                <a:moveTo>
                  <a:pt x="391" y="219"/>
                </a:moveTo>
                <a:cubicBezTo>
                  <a:pt x="383" y="228"/>
                  <a:pt x="373" y="232"/>
                  <a:pt x="360" y="232"/>
                </a:cubicBezTo>
                <a:cubicBezTo>
                  <a:pt x="336" y="232"/>
                  <a:pt x="315" y="213"/>
                  <a:pt x="315" y="190"/>
                </a:cubicBezTo>
                <a:cubicBezTo>
                  <a:pt x="315" y="14"/>
                  <a:pt x="315" y="14"/>
                  <a:pt x="315" y="14"/>
                </a:cubicBezTo>
                <a:cubicBezTo>
                  <a:pt x="382" y="14"/>
                  <a:pt x="382" y="14"/>
                  <a:pt x="382" y="14"/>
                </a:cubicBezTo>
                <a:cubicBezTo>
                  <a:pt x="400" y="191"/>
                  <a:pt x="400" y="191"/>
                  <a:pt x="400" y="191"/>
                </a:cubicBezTo>
                <a:cubicBezTo>
                  <a:pt x="401" y="201"/>
                  <a:pt x="398" y="211"/>
                  <a:pt x="391" y="219"/>
                </a:cubicBezTo>
                <a:close/>
                <a:moveTo>
                  <a:pt x="301" y="190"/>
                </a:moveTo>
                <a:cubicBezTo>
                  <a:pt x="301" y="201"/>
                  <a:pt x="297" y="212"/>
                  <a:pt x="288" y="220"/>
                </a:cubicBezTo>
                <a:cubicBezTo>
                  <a:pt x="280" y="228"/>
                  <a:pt x="269" y="232"/>
                  <a:pt x="257" y="232"/>
                </a:cubicBezTo>
                <a:cubicBezTo>
                  <a:pt x="244" y="232"/>
                  <a:pt x="233" y="228"/>
                  <a:pt x="226" y="219"/>
                </a:cubicBezTo>
                <a:cubicBezTo>
                  <a:pt x="219" y="211"/>
                  <a:pt x="216" y="201"/>
                  <a:pt x="217" y="191"/>
                </a:cubicBezTo>
                <a:cubicBezTo>
                  <a:pt x="234" y="14"/>
                  <a:pt x="234" y="14"/>
                  <a:pt x="234" y="14"/>
                </a:cubicBezTo>
                <a:cubicBezTo>
                  <a:pt x="301" y="14"/>
                  <a:pt x="301" y="14"/>
                  <a:pt x="301" y="14"/>
                </a:cubicBezTo>
                <a:lnTo>
                  <a:pt x="301" y="190"/>
                </a:lnTo>
                <a:close/>
                <a:moveTo>
                  <a:pt x="117" y="192"/>
                </a:moveTo>
                <a:cubicBezTo>
                  <a:pt x="153" y="14"/>
                  <a:pt x="153" y="14"/>
                  <a:pt x="153" y="14"/>
                </a:cubicBezTo>
                <a:cubicBezTo>
                  <a:pt x="220" y="14"/>
                  <a:pt x="220" y="14"/>
                  <a:pt x="220" y="14"/>
                </a:cubicBezTo>
                <a:cubicBezTo>
                  <a:pt x="202" y="190"/>
                  <a:pt x="202" y="190"/>
                  <a:pt x="202" y="190"/>
                </a:cubicBezTo>
                <a:cubicBezTo>
                  <a:pt x="200" y="213"/>
                  <a:pt x="177" y="232"/>
                  <a:pt x="152" y="232"/>
                </a:cubicBezTo>
                <a:cubicBezTo>
                  <a:pt x="140" y="232"/>
                  <a:pt x="130" y="228"/>
                  <a:pt x="123" y="220"/>
                </a:cubicBezTo>
                <a:cubicBezTo>
                  <a:pt x="117" y="212"/>
                  <a:pt x="115" y="202"/>
                  <a:pt x="117" y="192"/>
                </a:cubicBezTo>
                <a:close/>
                <a:moveTo>
                  <a:pt x="22" y="220"/>
                </a:moveTo>
                <a:cubicBezTo>
                  <a:pt x="16" y="213"/>
                  <a:pt x="15" y="203"/>
                  <a:pt x="18" y="192"/>
                </a:cubicBezTo>
                <a:cubicBezTo>
                  <a:pt x="72" y="14"/>
                  <a:pt x="72" y="14"/>
                  <a:pt x="72" y="14"/>
                </a:cubicBezTo>
                <a:cubicBezTo>
                  <a:pt x="139" y="14"/>
                  <a:pt x="139" y="14"/>
                  <a:pt x="139" y="14"/>
                </a:cubicBezTo>
                <a:cubicBezTo>
                  <a:pt x="103" y="189"/>
                  <a:pt x="103" y="189"/>
                  <a:pt x="103" y="189"/>
                </a:cubicBezTo>
                <a:cubicBezTo>
                  <a:pt x="99" y="212"/>
                  <a:pt x="73" y="232"/>
                  <a:pt x="48" y="232"/>
                </a:cubicBezTo>
                <a:cubicBezTo>
                  <a:pt x="37" y="232"/>
                  <a:pt x="27" y="228"/>
                  <a:pt x="22" y="220"/>
                </a:cubicBezTo>
                <a:close/>
                <a:moveTo>
                  <a:pt x="503" y="495"/>
                </a:moveTo>
                <a:cubicBezTo>
                  <a:pt x="392" y="495"/>
                  <a:pt x="392" y="495"/>
                  <a:pt x="392" y="495"/>
                </a:cubicBezTo>
                <a:cubicBezTo>
                  <a:pt x="392" y="292"/>
                  <a:pt x="392" y="292"/>
                  <a:pt x="392" y="292"/>
                </a:cubicBezTo>
                <a:cubicBezTo>
                  <a:pt x="503" y="292"/>
                  <a:pt x="503" y="292"/>
                  <a:pt x="503" y="292"/>
                </a:cubicBezTo>
                <a:lnTo>
                  <a:pt x="503" y="495"/>
                </a:lnTo>
                <a:close/>
                <a:moveTo>
                  <a:pt x="575" y="495"/>
                </a:moveTo>
                <a:cubicBezTo>
                  <a:pt x="517" y="495"/>
                  <a:pt x="517" y="495"/>
                  <a:pt x="517" y="495"/>
                </a:cubicBezTo>
                <a:cubicBezTo>
                  <a:pt x="517" y="285"/>
                  <a:pt x="517" y="285"/>
                  <a:pt x="517" y="285"/>
                </a:cubicBezTo>
                <a:cubicBezTo>
                  <a:pt x="517" y="282"/>
                  <a:pt x="514" y="278"/>
                  <a:pt x="510" y="278"/>
                </a:cubicBezTo>
                <a:cubicBezTo>
                  <a:pt x="385" y="278"/>
                  <a:pt x="385" y="278"/>
                  <a:pt x="385" y="278"/>
                </a:cubicBezTo>
                <a:cubicBezTo>
                  <a:pt x="381" y="278"/>
                  <a:pt x="378" y="282"/>
                  <a:pt x="378" y="285"/>
                </a:cubicBezTo>
                <a:cubicBezTo>
                  <a:pt x="378" y="495"/>
                  <a:pt x="378" y="495"/>
                  <a:pt x="378" y="495"/>
                </a:cubicBezTo>
                <a:cubicBezTo>
                  <a:pt x="41" y="495"/>
                  <a:pt x="41" y="495"/>
                  <a:pt x="41" y="495"/>
                </a:cubicBezTo>
                <a:cubicBezTo>
                  <a:pt x="41" y="246"/>
                  <a:pt x="41" y="246"/>
                  <a:pt x="41" y="246"/>
                </a:cubicBezTo>
                <a:cubicBezTo>
                  <a:pt x="43" y="246"/>
                  <a:pt x="46" y="246"/>
                  <a:pt x="48" y="246"/>
                </a:cubicBezTo>
                <a:cubicBezTo>
                  <a:pt x="71" y="246"/>
                  <a:pt x="92" y="234"/>
                  <a:pt x="106" y="217"/>
                </a:cubicBezTo>
                <a:cubicBezTo>
                  <a:pt x="107" y="221"/>
                  <a:pt x="110" y="225"/>
                  <a:pt x="113" y="229"/>
                </a:cubicBezTo>
                <a:cubicBezTo>
                  <a:pt x="122" y="240"/>
                  <a:pt x="136" y="246"/>
                  <a:pt x="152" y="246"/>
                </a:cubicBezTo>
                <a:cubicBezTo>
                  <a:pt x="175" y="246"/>
                  <a:pt x="196" y="234"/>
                  <a:pt x="207" y="216"/>
                </a:cubicBezTo>
                <a:cubicBezTo>
                  <a:pt x="209" y="221"/>
                  <a:pt x="212" y="225"/>
                  <a:pt x="215" y="229"/>
                </a:cubicBezTo>
                <a:cubicBezTo>
                  <a:pt x="226" y="240"/>
                  <a:pt x="241" y="246"/>
                  <a:pt x="257" y="246"/>
                </a:cubicBezTo>
                <a:cubicBezTo>
                  <a:pt x="272" y="246"/>
                  <a:pt x="287" y="240"/>
                  <a:pt x="298" y="230"/>
                </a:cubicBezTo>
                <a:cubicBezTo>
                  <a:pt x="302" y="226"/>
                  <a:pt x="306" y="221"/>
                  <a:pt x="308" y="217"/>
                </a:cubicBezTo>
                <a:cubicBezTo>
                  <a:pt x="318" y="234"/>
                  <a:pt x="338" y="246"/>
                  <a:pt x="360" y="246"/>
                </a:cubicBezTo>
                <a:cubicBezTo>
                  <a:pt x="376" y="246"/>
                  <a:pt x="391" y="240"/>
                  <a:pt x="401" y="229"/>
                </a:cubicBezTo>
                <a:cubicBezTo>
                  <a:pt x="405" y="225"/>
                  <a:pt x="407" y="221"/>
                  <a:pt x="410" y="217"/>
                </a:cubicBezTo>
                <a:cubicBezTo>
                  <a:pt x="421" y="234"/>
                  <a:pt x="442" y="246"/>
                  <a:pt x="464" y="246"/>
                </a:cubicBezTo>
                <a:cubicBezTo>
                  <a:pt x="480" y="246"/>
                  <a:pt x="495" y="240"/>
                  <a:pt x="504" y="229"/>
                </a:cubicBezTo>
                <a:cubicBezTo>
                  <a:pt x="507" y="225"/>
                  <a:pt x="509" y="221"/>
                  <a:pt x="511" y="217"/>
                </a:cubicBezTo>
                <a:cubicBezTo>
                  <a:pt x="524" y="234"/>
                  <a:pt x="546" y="246"/>
                  <a:pt x="568" y="246"/>
                </a:cubicBezTo>
                <a:cubicBezTo>
                  <a:pt x="570" y="246"/>
                  <a:pt x="573" y="246"/>
                  <a:pt x="575" y="246"/>
                </a:cubicBezTo>
                <a:lnTo>
                  <a:pt x="575" y="495"/>
                </a:lnTo>
                <a:close/>
                <a:moveTo>
                  <a:pt x="595" y="220"/>
                </a:moveTo>
                <a:cubicBezTo>
                  <a:pt x="589" y="228"/>
                  <a:pt x="579" y="232"/>
                  <a:pt x="568" y="232"/>
                </a:cubicBezTo>
                <a:cubicBezTo>
                  <a:pt x="543" y="232"/>
                  <a:pt x="518" y="212"/>
                  <a:pt x="513" y="189"/>
                </a:cubicBezTo>
                <a:cubicBezTo>
                  <a:pt x="477" y="14"/>
                  <a:pt x="477" y="14"/>
                  <a:pt x="477" y="14"/>
                </a:cubicBezTo>
                <a:cubicBezTo>
                  <a:pt x="544" y="14"/>
                  <a:pt x="544" y="14"/>
                  <a:pt x="544" y="14"/>
                </a:cubicBezTo>
                <a:cubicBezTo>
                  <a:pt x="598" y="192"/>
                  <a:pt x="598" y="192"/>
                  <a:pt x="598" y="192"/>
                </a:cubicBezTo>
                <a:cubicBezTo>
                  <a:pt x="601" y="203"/>
                  <a:pt x="600" y="213"/>
                  <a:pt x="595" y="220"/>
                </a:cubicBez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9247" name="Oval 69"/>
          <p:cNvSpPr>
            <a:spLocks noChangeArrowheads="1"/>
          </p:cNvSpPr>
          <p:nvPr/>
        </p:nvSpPr>
        <p:spPr bwMode="auto">
          <a:xfrm>
            <a:off x="1315706" y="3120088"/>
            <a:ext cx="1119124" cy="1119124"/>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9270" name="Freeform 137"/>
          <p:cNvSpPr>
            <a:spLocks noEditPoints="1"/>
          </p:cNvSpPr>
          <p:nvPr/>
        </p:nvSpPr>
        <p:spPr bwMode="auto">
          <a:xfrm>
            <a:off x="1553171" y="3402302"/>
            <a:ext cx="641761" cy="554696"/>
          </a:xfrm>
          <a:custGeom>
            <a:avLst/>
            <a:gdLst>
              <a:gd name="T0" fmla="*/ 560 w 609"/>
              <a:gd name="T1" fmla="*/ 6 h 527"/>
              <a:gd name="T2" fmla="*/ 483 w 609"/>
              <a:gd name="T3" fmla="*/ 0 h 527"/>
              <a:gd name="T4" fmla="*/ 127 w 609"/>
              <a:gd name="T5" fmla="*/ 0 h 527"/>
              <a:gd name="T6" fmla="*/ 57 w 609"/>
              <a:gd name="T7" fmla="*/ 0 h 527"/>
              <a:gd name="T8" fmla="*/ 1 w 609"/>
              <a:gd name="T9" fmla="*/ 238 h 527"/>
              <a:gd name="T10" fmla="*/ 8 w 609"/>
              <a:gd name="T11" fmla="*/ 247 h 527"/>
              <a:gd name="T12" fmla="*/ 31 w 609"/>
              <a:gd name="T13" fmla="*/ 520 h 527"/>
              <a:gd name="T14" fmla="*/ 400 w 609"/>
              <a:gd name="T15" fmla="*/ 527 h 527"/>
              <a:gd name="T16" fmla="*/ 407 w 609"/>
              <a:gd name="T17" fmla="*/ 314 h 527"/>
              <a:gd name="T18" fmla="*/ 508 w 609"/>
              <a:gd name="T19" fmla="*/ 520 h 527"/>
              <a:gd name="T20" fmla="*/ 572 w 609"/>
              <a:gd name="T21" fmla="*/ 527 h 527"/>
              <a:gd name="T22" fmla="*/ 579 w 609"/>
              <a:gd name="T23" fmla="*/ 247 h 527"/>
              <a:gd name="T24" fmla="*/ 602 w 609"/>
              <a:gd name="T25" fmla="*/ 247 h 527"/>
              <a:gd name="T26" fmla="*/ 609 w 609"/>
              <a:gd name="T27" fmla="*/ 237 h 527"/>
              <a:gd name="T28" fmla="*/ 205 w 609"/>
              <a:gd name="T29" fmla="*/ 14 h 527"/>
              <a:gd name="T30" fmla="*/ 255 w 609"/>
              <a:gd name="T31" fmla="*/ 233 h 527"/>
              <a:gd name="T32" fmla="*/ 100 w 609"/>
              <a:gd name="T33" fmla="*/ 233 h 527"/>
              <a:gd name="T34" fmla="*/ 191 w 609"/>
              <a:gd name="T35" fmla="*/ 14 h 527"/>
              <a:gd name="T36" fmla="*/ 100 w 609"/>
              <a:gd name="T37" fmla="*/ 233 h 527"/>
              <a:gd name="T38" fmla="*/ 334 w 609"/>
              <a:gd name="T39" fmla="*/ 14 h 527"/>
              <a:gd name="T40" fmla="*/ 269 w 609"/>
              <a:gd name="T41" fmla="*/ 233 h 527"/>
              <a:gd name="T42" fmla="*/ 354 w 609"/>
              <a:gd name="T43" fmla="*/ 233 h 527"/>
              <a:gd name="T44" fmla="*/ 405 w 609"/>
              <a:gd name="T45" fmla="*/ 14 h 527"/>
              <a:gd name="T46" fmla="*/ 354 w 609"/>
              <a:gd name="T47" fmla="*/ 233 h 527"/>
              <a:gd name="T48" fmla="*/ 419 w 609"/>
              <a:gd name="T49" fmla="*/ 14 h 527"/>
              <a:gd name="T50" fmla="*/ 510 w 609"/>
              <a:gd name="T51" fmla="*/ 233 h 527"/>
              <a:gd name="T52" fmla="*/ 62 w 609"/>
              <a:gd name="T53" fmla="*/ 14 h 527"/>
              <a:gd name="T54" fmla="*/ 86 w 609"/>
              <a:gd name="T55" fmla="*/ 233 h 527"/>
              <a:gd name="T56" fmla="*/ 62 w 609"/>
              <a:gd name="T57" fmla="*/ 14 h 527"/>
              <a:gd name="T58" fmla="*/ 522 w 609"/>
              <a:gd name="T59" fmla="*/ 513 h 527"/>
              <a:gd name="T60" fmla="*/ 515 w 609"/>
              <a:gd name="T61" fmla="*/ 300 h 527"/>
              <a:gd name="T62" fmla="*/ 393 w 609"/>
              <a:gd name="T63" fmla="*/ 307 h 527"/>
              <a:gd name="T64" fmla="*/ 45 w 609"/>
              <a:gd name="T65" fmla="*/ 513 h 527"/>
              <a:gd name="T66" fmla="*/ 565 w 609"/>
              <a:gd name="T67" fmla="*/ 247 h 527"/>
              <a:gd name="T68" fmla="*/ 524 w 609"/>
              <a:gd name="T69" fmla="*/ 233 h 527"/>
              <a:gd name="T70" fmla="*/ 547 w 609"/>
              <a:gd name="T71" fmla="*/ 14 h 527"/>
              <a:gd name="T72" fmla="*/ 524 w 609"/>
              <a:gd name="T73" fmla="*/ 233 h 527"/>
              <a:gd name="T74" fmla="*/ 92 w 609"/>
              <a:gd name="T75" fmla="*/ 300 h 527"/>
              <a:gd name="T76" fmla="*/ 85 w 609"/>
              <a:gd name="T77" fmla="*/ 460 h 527"/>
              <a:gd name="T78" fmla="*/ 344 w 609"/>
              <a:gd name="T79" fmla="*/ 467 h 527"/>
              <a:gd name="T80" fmla="*/ 351 w 609"/>
              <a:gd name="T81" fmla="*/ 307 h 527"/>
              <a:gd name="T82" fmla="*/ 337 w 609"/>
              <a:gd name="T83" fmla="*/ 453 h 527"/>
              <a:gd name="T84" fmla="*/ 99 w 609"/>
              <a:gd name="T85" fmla="*/ 314 h 527"/>
              <a:gd name="T86" fmla="*/ 337 w 609"/>
              <a:gd name="T87" fmla="*/ 453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09" h="527">
                <a:moveTo>
                  <a:pt x="609" y="237"/>
                </a:moveTo>
                <a:cubicBezTo>
                  <a:pt x="560" y="6"/>
                  <a:pt x="560" y="6"/>
                  <a:pt x="560" y="6"/>
                </a:cubicBezTo>
                <a:cubicBezTo>
                  <a:pt x="559" y="2"/>
                  <a:pt x="556" y="0"/>
                  <a:pt x="553" y="0"/>
                </a:cubicBezTo>
                <a:cubicBezTo>
                  <a:pt x="483" y="0"/>
                  <a:pt x="483" y="0"/>
                  <a:pt x="483" y="0"/>
                </a:cubicBezTo>
                <a:cubicBezTo>
                  <a:pt x="483" y="0"/>
                  <a:pt x="483" y="0"/>
                  <a:pt x="483" y="0"/>
                </a:cubicBezTo>
                <a:cubicBezTo>
                  <a:pt x="127" y="0"/>
                  <a:pt x="127" y="0"/>
                  <a:pt x="127" y="0"/>
                </a:cubicBezTo>
                <a:cubicBezTo>
                  <a:pt x="127" y="0"/>
                  <a:pt x="127" y="0"/>
                  <a:pt x="127" y="0"/>
                </a:cubicBezTo>
                <a:cubicBezTo>
                  <a:pt x="57" y="0"/>
                  <a:pt x="57" y="0"/>
                  <a:pt x="57" y="0"/>
                </a:cubicBezTo>
                <a:cubicBezTo>
                  <a:pt x="53" y="0"/>
                  <a:pt x="51" y="2"/>
                  <a:pt x="50" y="6"/>
                </a:cubicBezTo>
                <a:cubicBezTo>
                  <a:pt x="1" y="238"/>
                  <a:pt x="1" y="238"/>
                  <a:pt x="1" y="238"/>
                </a:cubicBezTo>
                <a:cubicBezTo>
                  <a:pt x="0" y="240"/>
                  <a:pt x="1" y="242"/>
                  <a:pt x="2" y="244"/>
                </a:cubicBezTo>
                <a:cubicBezTo>
                  <a:pt x="3" y="246"/>
                  <a:pt x="5" y="247"/>
                  <a:pt x="8" y="247"/>
                </a:cubicBezTo>
                <a:cubicBezTo>
                  <a:pt x="31" y="247"/>
                  <a:pt x="31" y="247"/>
                  <a:pt x="31" y="247"/>
                </a:cubicBezTo>
                <a:cubicBezTo>
                  <a:pt x="31" y="520"/>
                  <a:pt x="31" y="520"/>
                  <a:pt x="31" y="520"/>
                </a:cubicBezTo>
                <a:cubicBezTo>
                  <a:pt x="31" y="524"/>
                  <a:pt x="34" y="527"/>
                  <a:pt x="38" y="527"/>
                </a:cubicBezTo>
                <a:cubicBezTo>
                  <a:pt x="400" y="527"/>
                  <a:pt x="400" y="527"/>
                  <a:pt x="400" y="527"/>
                </a:cubicBezTo>
                <a:cubicBezTo>
                  <a:pt x="404" y="527"/>
                  <a:pt x="407" y="524"/>
                  <a:pt x="407" y="520"/>
                </a:cubicBezTo>
                <a:cubicBezTo>
                  <a:pt x="407" y="314"/>
                  <a:pt x="407" y="314"/>
                  <a:pt x="407" y="314"/>
                </a:cubicBezTo>
                <a:cubicBezTo>
                  <a:pt x="508" y="314"/>
                  <a:pt x="508" y="314"/>
                  <a:pt x="508" y="314"/>
                </a:cubicBezTo>
                <a:cubicBezTo>
                  <a:pt x="508" y="520"/>
                  <a:pt x="508" y="520"/>
                  <a:pt x="508" y="520"/>
                </a:cubicBezTo>
                <a:cubicBezTo>
                  <a:pt x="508" y="524"/>
                  <a:pt x="511" y="527"/>
                  <a:pt x="515" y="527"/>
                </a:cubicBezTo>
                <a:cubicBezTo>
                  <a:pt x="572" y="527"/>
                  <a:pt x="572" y="527"/>
                  <a:pt x="572" y="527"/>
                </a:cubicBezTo>
                <a:cubicBezTo>
                  <a:pt x="576" y="527"/>
                  <a:pt x="579" y="524"/>
                  <a:pt x="579" y="520"/>
                </a:cubicBezTo>
                <a:cubicBezTo>
                  <a:pt x="579" y="247"/>
                  <a:pt x="579" y="247"/>
                  <a:pt x="579" y="247"/>
                </a:cubicBezTo>
                <a:cubicBezTo>
                  <a:pt x="602" y="247"/>
                  <a:pt x="602" y="247"/>
                  <a:pt x="602" y="247"/>
                </a:cubicBezTo>
                <a:cubicBezTo>
                  <a:pt x="602" y="247"/>
                  <a:pt x="602" y="247"/>
                  <a:pt x="602" y="247"/>
                </a:cubicBezTo>
                <a:cubicBezTo>
                  <a:pt x="606" y="247"/>
                  <a:pt x="609" y="243"/>
                  <a:pt x="609" y="240"/>
                </a:cubicBezTo>
                <a:cubicBezTo>
                  <a:pt x="609" y="239"/>
                  <a:pt x="609" y="238"/>
                  <a:pt x="609" y="237"/>
                </a:cubicBezTo>
                <a:close/>
                <a:moveTo>
                  <a:pt x="185" y="233"/>
                </a:moveTo>
                <a:cubicBezTo>
                  <a:pt x="205" y="14"/>
                  <a:pt x="205" y="14"/>
                  <a:pt x="205" y="14"/>
                </a:cubicBezTo>
                <a:cubicBezTo>
                  <a:pt x="262" y="14"/>
                  <a:pt x="262" y="14"/>
                  <a:pt x="262" y="14"/>
                </a:cubicBezTo>
                <a:cubicBezTo>
                  <a:pt x="255" y="233"/>
                  <a:pt x="255" y="233"/>
                  <a:pt x="255" y="233"/>
                </a:cubicBezTo>
                <a:lnTo>
                  <a:pt x="185" y="233"/>
                </a:lnTo>
                <a:close/>
                <a:moveTo>
                  <a:pt x="100" y="233"/>
                </a:moveTo>
                <a:cubicBezTo>
                  <a:pt x="133" y="14"/>
                  <a:pt x="133" y="14"/>
                  <a:pt x="133" y="14"/>
                </a:cubicBezTo>
                <a:cubicBezTo>
                  <a:pt x="191" y="14"/>
                  <a:pt x="191" y="14"/>
                  <a:pt x="191" y="14"/>
                </a:cubicBezTo>
                <a:cubicBezTo>
                  <a:pt x="171" y="233"/>
                  <a:pt x="171" y="233"/>
                  <a:pt x="171" y="233"/>
                </a:cubicBezTo>
                <a:lnTo>
                  <a:pt x="100" y="233"/>
                </a:lnTo>
                <a:close/>
                <a:moveTo>
                  <a:pt x="276" y="14"/>
                </a:moveTo>
                <a:cubicBezTo>
                  <a:pt x="334" y="14"/>
                  <a:pt x="334" y="14"/>
                  <a:pt x="334" y="14"/>
                </a:cubicBezTo>
                <a:cubicBezTo>
                  <a:pt x="340" y="233"/>
                  <a:pt x="340" y="233"/>
                  <a:pt x="340" y="233"/>
                </a:cubicBezTo>
                <a:cubicBezTo>
                  <a:pt x="269" y="233"/>
                  <a:pt x="269" y="233"/>
                  <a:pt x="269" y="233"/>
                </a:cubicBezTo>
                <a:lnTo>
                  <a:pt x="276" y="14"/>
                </a:lnTo>
                <a:close/>
                <a:moveTo>
                  <a:pt x="354" y="233"/>
                </a:moveTo>
                <a:cubicBezTo>
                  <a:pt x="348" y="14"/>
                  <a:pt x="348" y="14"/>
                  <a:pt x="348" y="14"/>
                </a:cubicBezTo>
                <a:cubicBezTo>
                  <a:pt x="405" y="14"/>
                  <a:pt x="405" y="14"/>
                  <a:pt x="405" y="14"/>
                </a:cubicBezTo>
                <a:cubicBezTo>
                  <a:pt x="425" y="233"/>
                  <a:pt x="425" y="233"/>
                  <a:pt x="425" y="233"/>
                </a:cubicBezTo>
                <a:lnTo>
                  <a:pt x="354" y="233"/>
                </a:lnTo>
                <a:close/>
                <a:moveTo>
                  <a:pt x="439" y="233"/>
                </a:moveTo>
                <a:cubicBezTo>
                  <a:pt x="419" y="14"/>
                  <a:pt x="419" y="14"/>
                  <a:pt x="419" y="14"/>
                </a:cubicBezTo>
                <a:cubicBezTo>
                  <a:pt x="477" y="14"/>
                  <a:pt x="477" y="14"/>
                  <a:pt x="477" y="14"/>
                </a:cubicBezTo>
                <a:cubicBezTo>
                  <a:pt x="510" y="233"/>
                  <a:pt x="510" y="233"/>
                  <a:pt x="510" y="233"/>
                </a:cubicBezTo>
                <a:lnTo>
                  <a:pt x="439" y="233"/>
                </a:lnTo>
                <a:close/>
                <a:moveTo>
                  <a:pt x="62" y="14"/>
                </a:moveTo>
                <a:cubicBezTo>
                  <a:pt x="119" y="14"/>
                  <a:pt x="119" y="14"/>
                  <a:pt x="119" y="14"/>
                </a:cubicBezTo>
                <a:cubicBezTo>
                  <a:pt x="86" y="233"/>
                  <a:pt x="86" y="233"/>
                  <a:pt x="86" y="233"/>
                </a:cubicBezTo>
                <a:cubicBezTo>
                  <a:pt x="16" y="233"/>
                  <a:pt x="16" y="233"/>
                  <a:pt x="16" y="233"/>
                </a:cubicBezTo>
                <a:lnTo>
                  <a:pt x="62" y="14"/>
                </a:lnTo>
                <a:close/>
                <a:moveTo>
                  <a:pt x="565" y="513"/>
                </a:moveTo>
                <a:cubicBezTo>
                  <a:pt x="522" y="513"/>
                  <a:pt x="522" y="513"/>
                  <a:pt x="522" y="513"/>
                </a:cubicBezTo>
                <a:cubicBezTo>
                  <a:pt x="522" y="307"/>
                  <a:pt x="522" y="307"/>
                  <a:pt x="522" y="307"/>
                </a:cubicBezTo>
                <a:cubicBezTo>
                  <a:pt x="522" y="303"/>
                  <a:pt x="519" y="300"/>
                  <a:pt x="515" y="300"/>
                </a:cubicBezTo>
                <a:cubicBezTo>
                  <a:pt x="400" y="300"/>
                  <a:pt x="400" y="300"/>
                  <a:pt x="400" y="300"/>
                </a:cubicBezTo>
                <a:cubicBezTo>
                  <a:pt x="396" y="300"/>
                  <a:pt x="393" y="303"/>
                  <a:pt x="393" y="307"/>
                </a:cubicBezTo>
                <a:cubicBezTo>
                  <a:pt x="393" y="513"/>
                  <a:pt x="393" y="513"/>
                  <a:pt x="393" y="513"/>
                </a:cubicBezTo>
                <a:cubicBezTo>
                  <a:pt x="45" y="513"/>
                  <a:pt x="45" y="513"/>
                  <a:pt x="45" y="513"/>
                </a:cubicBezTo>
                <a:cubicBezTo>
                  <a:pt x="45" y="247"/>
                  <a:pt x="45" y="247"/>
                  <a:pt x="45" y="247"/>
                </a:cubicBezTo>
                <a:cubicBezTo>
                  <a:pt x="565" y="247"/>
                  <a:pt x="565" y="247"/>
                  <a:pt x="565" y="247"/>
                </a:cubicBezTo>
                <a:lnTo>
                  <a:pt x="565" y="513"/>
                </a:lnTo>
                <a:close/>
                <a:moveTo>
                  <a:pt x="524" y="233"/>
                </a:moveTo>
                <a:cubicBezTo>
                  <a:pt x="491" y="14"/>
                  <a:pt x="491" y="14"/>
                  <a:pt x="491" y="14"/>
                </a:cubicBezTo>
                <a:cubicBezTo>
                  <a:pt x="547" y="14"/>
                  <a:pt x="547" y="14"/>
                  <a:pt x="547" y="14"/>
                </a:cubicBezTo>
                <a:cubicBezTo>
                  <a:pt x="594" y="233"/>
                  <a:pt x="594" y="233"/>
                  <a:pt x="594" y="233"/>
                </a:cubicBezTo>
                <a:lnTo>
                  <a:pt x="524" y="233"/>
                </a:lnTo>
                <a:close/>
                <a:moveTo>
                  <a:pt x="344" y="300"/>
                </a:moveTo>
                <a:cubicBezTo>
                  <a:pt x="92" y="300"/>
                  <a:pt x="92" y="300"/>
                  <a:pt x="92" y="300"/>
                </a:cubicBezTo>
                <a:cubicBezTo>
                  <a:pt x="88" y="300"/>
                  <a:pt x="85" y="303"/>
                  <a:pt x="85" y="307"/>
                </a:cubicBezTo>
                <a:cubicBezTo>
                  <a:pt x="85" y="460"/>
                  <a:pt x="85" y="460"/>
                  <a:pt x="85" y="460"/>
                </a:cubicBezTo>
                <a:cubicBezTo>
                  <a:pt x="85" y="464"/>
                  <a:pt x="88" y="467"/>
                  <a:pt x="92" y="467"/>
                </a:cubicBezTo>
                <a:cubicBezTo>
                  <a:pt x="344" y="467"/>
                  <a:pt x="344" y="467"/>
                  <a:pt x="344" y="467"/>
                </a:cubicBezTo>
                <a:cubicBezTo>
                  <a:pt x="348" y="467"/>
                  <a:pt x="351" y="464"/>
                  <a:pt x="351" y="460"/>
                </a:cubicBezTo>
                <a:cubicBezTo>
                  <a:pt x="351" y="307"/>
                  <a:pt x="351" y="307"/>
                  <a:pt x="351" y="307"/>
                </a:cubicBezTo>
                <a:cubicBezTo>
                  <a:pt x="351" y="303"/>
                  <a:pt x="348" y="300"/>
                  <a:pt x="344" y="300"/>
                </a:cubicBezTo>
                <a:close/>
                <a:moveTo>
                  <a:pt x="337" y="453"/>
                </a:moveTo>
                <a:cubicBezTo>
                  <a:pt x="99" y="453"/>
                  <a:pt x="99" y="453"/>
                  <a:pt x="99" y="453"/>
                </a:cubicBezTo>
                <a:cubicBezTo>
                  <a:pt x="99" y="314"/>
                  <a:pt x="99" y="314"/>
                  <a:pt x="99" y="314"/>
                </a:cubicBezTo>
                <a:cubicBezTo>
                  <a:pt x="337" y="314"/>
                  <a:pt x="337" y="314"/>
                  <a:pt x="337" y="314"/>
                </a:cubicBezTo>
                <a:lnTo>
                  <a:pt x="337" y="453"/>
                </a:ln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6152" name="Oval 72"/>
          <p:cNvSpPr>
            <a:spLocks noChangeArrowheads="1"/>
          </p:cNvSpPr>
          <p:nvPr/>
        </p:nvSpPr>
        <p:spPr bwMode="auto">
          <a:xfrm>
            <a:off x="10105564" y="3120088"/>
            <a:ext cx="1119124" cy="1119124"/>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9271" name="Freeform 138"/>
          <p:cNvSpPr>
            <a:spLocks noEditPoints="1"/>
          </p:cNvSpPr>
          <p:nvPr/>
        </p:nvSpPr>
        <p:spPr bwMode="auto">
          <a:xfrm>
            <a:off x="10247889" y="3262566"/>
            <a:ext cx="834477" cy="835385"/>
          </a:xfrm>
          <a:custGeom>
            <a:avLst/>
            <a:gdLst>
              <a:gd name="T0" fmla="*/ 417 w 793"/>
              <a:gd name="T1" fmla="*/ 113 h 792"/>
              <a:gd name="T2" fmla="*/ 793 w 793"/>
              <a:gd name="T3" fmla="*/ 396 h 792"/>
              <a:gd name="T4" fmla="*/ 773 w 793"/>
              <a:gd name="T5" fmla="*/ 273 h 792"/>
              <a:gd name="T6" fmla="*/ 425 w 793"/>
              <a:gd name="T7" fmla="*/ 1 h 792"/>
              <a:gd name="T8" fmla="*/ 369 w 793"/>
              <a:gd name="T9" fmla="*/ 1 h 792"/>
              <a:gd name="T10" fmla="*/ 29 w 793"/>
              <a:gd name="T11" fmla="*/ 251 h 792"/>
              <a:gd name="T12" fmla="*/ 2 w 793"/>
              <a:gd name="T13" fmla="*/ 392 h 792"/>
              <a:gd name="T14" fmla="*/ 105 w 793"/>
              <a:gd name="T15" fmla="*/ 662 h 792"/>
              <a:gd name="T16" fmla="*/ 587 w 793"/>
              <a:gd name="T17" fmla="*/ 647 h 792"/>
              <a:gd name="T18" fmla="*/ 695 w 793"/>
              <a:gd name="T19" fmla="*/ 600 h 792"/>
              <a:gd name="T20" fmla="*/ 233 w 793"/>
              <a:gd name="T21" fmla="*/ 714 h 792"/>
              <a:gd name="T22" fmla="*/ 206 w 793"/>
              <a:gd name="T23" fmla="*/ 634 h 792"/>
              <a:gd name="T24" fmla="*/ 23 w 793"/>
              <a:gd name="T25" fmla="*/ 319 h 792"/>
              <a:gd name="T26" fmla="*/ 16 w 793"/>
              <a:gd name="T27" fmla="*/ 403 h 792"/>
              <a:gd name="T28" fmla="*/ 134 w 793"/>
              <a:gd name="T29" fmla="*/ 425 h 792"/>
              <a:gd name="T30" fmla="*/ 35 w 793"/>
              <a:gd name="T31" fmla="*/ 276 h 792"/>
              <a:gd name="T32" fmla="*/ 273 w 793"/>
              <a:gd name="T33" fmla="*/ 195 h 792"/>
              <a:gd name="T34" fmla="*/ 116 w 793"/>
              <a:gd name="T35" fmla="*/ 374 h 792"/>
              <a:gd name="T36" fmla="*/ 254 w 793"/>
              <a:gd name="T37" fmla="*/ 648 h 792"/>
              <a:gd name="T38" fmla="*/ 226 w 793"/>
              <a:gd name="T39" fmla="*/ 55 h 792"/>
              <a:gd name="T40" fmla="*/ 443 w 793"/>
              <a:gd name="T41" fmla="*/ 17 h 792"/>
              <a:gd name="T42" fmla="*/ 335 w 793"/>
              <a:gd name="T43" fmla="*/ 115 h 792"/>
              <a:gd name="T44" fmla="*/ 764 w 793"/>
              <a:gd name="T45" fmla="*/ 289 h 792"/>
              <a:gd name="T46" fmla="*/ 676 w 793"/>
              <a:gd name="T47" fmla="*/ 524 h 792"/>
              <a:gd name="T48" fmla="*/ 547 w 793"/>
              <a:gd name="T49" fmla="*/ 438 h 792"/>
              <a:gd name="T50" fmla="*/ 477 w 793"/>
              <a:gd name="T51" fmla="*/ 266 h 792"/>
              <a:gd name="T52" fmla="*/ 573 w 793"/>
              <a:gd name="T53" fmla="*/ 295 h 792"/>
              <a:gd name="T54" fmla="*/ 671 w 793"/>
              <a:gd name="T55" fmla="*/ 297 h 792"/>
              <a:gd name="T56" fmla="*/ 567 w 793"/>
              <a:gd name="T57" fmla="*/ 202 h 792"/>
              <a:gd name="T58" fmla="*/ 502 w 793"/>
              <a:gd name="T59" fmla="*/ 240 h 792"/>
              <a:gd name="T60" fmla="*/ 526 w 793"/>
              <a:gd name="T61" fmla="*/ 182 h 792"/>
              <a:gd name="T62" fmla="*/ 728 w 793"/>
              <a:gd name="T63" fmla="*/ 389 h 792"/>
              <a:gd name="T64" fmla="*/ 308 w 793"/>
              <a:gd name="T65" fmla="*/ 612 h 792"/>
              <a:gd name="T66" fmla="*/ 266 w 793"/>
              <a:gd name="T67" fmla="*/ 144 h 792"/>
              <a:gd name="T68" fmla="*/ 292 w 793"/>
              <a:gd name="T69" fmla="*/ 130 h 792"/>
              <a:gd name="T70" fmla="*/ 517 w 793"/>
              <a:gd name="T71" fmla="*/ 123 h 792"/>
              <a:gd name="T72" fmla="*/ 426 w 793"/>
              <a:gd name="T73" fmla="*/ 72 h 792"/>
              <a:gd name="T74" fmla="*/ 461 w 793"/>
              <a:gd name="T75" fmla="*/ 259 h 792"/>
              <a:gd name="T76" fmla="*/ 477 w 793"/>
              <a:gd name="T77" fmla="*/ 153 h 792"/>
              <a:gd name="T78" fmla="*/ 404 w 793"/>
              <a:gd name="T79" fmla="*/ 389 h 792"/>
              <a:gd name="T80" fmla="*/ 390 w 793"/>
              <a:gd name="T81" fmla="*/ 273 h 792"/>
              <a:gd name="T82" fmla="*/ 492 w 793"/>
              <a:gd name="T83" fmla="*/ 168 h 792"/>
              <a:gd name="T84" fmla="*/ 460 w 793"/>
              <a:gd name="T85" fmla="*/ 149 h 792"/>
              <a:gd name="T86" fmla="*/ 523 w 793"/>
              <a:gd name="T87" fmla="*/ 168 h 792"/>
              <a:gd name="T88" fmla="*/ 390 w 793"/>
              <a:gd name="T89" fmla="*/ 130 h 792"/>
              <a:gd name="T90" fmla="*/ 206 w 793"/>
              <a:gd name="T91" fmla="*/ 273 h 792"/>
              <a:gd name="T92" fmla="*/ 154 w 793"/>
              <a:gd name="T93" fmla="*/ 333 h 792"/>
              <a:gd name="T94" fmla="*/ 430 w 793"/>
              <a:gd name="T95" fmla="*/ 403 h 792"/>
              <a:gd name="T96" fmla="*/ 404 w 793"/>
              <a:gd name="T97" fmla="*/ 403 h 792"/>
              <a:gd name="T98" fmla="*/ 550 w 793"/>
              <a:gd name="T99" fmla="*/ 244 h 792"/>
              <a:gd name="T100" fmla="*/ 571 w 793"/>
              <a:gd name="T101" fmla="*/ 255 h 792"/>
              <a:gd name="T102" fmla="*/ 596 w 793"/>
              <a:gd name="T103" fmla="*/ 253 h 792"/>
              <a:gd name="T104" fmla="*/ 661 w 793"/>
              <a:gd name="T105" fmla="*/ 287 h 792"/>
              <a:gd name="T106" fmla="*/ 529 w 793"/>
              <a:gd name="T107" fmla="*/ 96 h 792"/>
              <a:gd name="T108" fmla="*/ 404 w 793"/>
              <a:gd name="T109" fmla="*/ 662 h 792"/>
              <a:gd name="T110" fmla="*/ 556 w 793"/>
              <a:gd name="T111" fmla="*/ 570 h 792"/>
              <a:gd name="T112" fmla="*/ 712 w 793"/>
              <a:gd name="T113" fmla="*/ 533 h 792"/>
              <a:gd name="T114" fmla="*/ 697 w 793"/>
              <a:gd name="T115" fmla="*/ 486 h 792"/>
              <a:gd name="T116" fmla="*/ 222 w 793"/>
              <a:gd name="T117" fmla="*/ 723 h 792"/>
              <a:gd name="T118" fmla="*/ 547 w 793"/>
              <a:gd name="T119" fmla="*/ 662 h 7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93" h="792">
                <a:moveTo>
                  <a:pt x="417" y="113"/>
                </a:moveTo>
                <a:cubicBezTo>
                  <a:pt x="421" y="123"/>
                  <a:pt x="440" y="126"/>
                  <a:pt x="449" y="126"/>
                </a:cubicBezTo>
                <a:cubicBezTo>
                  <a:pt x="449" y="126"/>
                  <a:pt x="449" y="126"/>
                  <a:pt x="449" y="126"/>
                </a:cubicBezTo>
                <a:cubicBezTo>
                  <a:pt x="458" y="126"/>
                  <a:pt x="464" y="124"/>
                  <a:pt x="468" y="119"/>
                </a:cubicBezTo>
                <a:cubicBezTo>
                  <a:pt x="470" y="116"/>
                  <a:pt x="471" y="112"/>
                  <a:pt x="469" y="108"/>
                </a:cubicBezTo>
                <a:cubicBezTo>
                  <a:pt x="466" y="97"/>
                  <a:pt x="458" y="91"/>
                  <a:pt x="446" y="91"/>
                </a:cubicBezTo>
                <a:cubicBezTo>
                  <a:pt x="437" y="91"/>
                  <a:pt x="426" y="95"/>
                  <a:pt x="419" y="101"/>
                </a:cubicBezTo>
                <a:cubicBezTo>
                  <a:pt x="416" y="105"/>
                  <a:pt x="415" y="109"/>
                  <a:pt x="417" y="113"/>
                </a:cubicBezTo>
                <a:close/>
                <a:moveTo>
                  <a:pt x="446" y="105"/>
                </a:moveTo>
                <a:cubicBezTo>
                  <a:pt x="453" y="105"/>
                  <a:pt x="455" y="108"/>
                  <a:pt x="456" y="111"/>
                </a:cubicBezTo>
                <a:cubicBezTo>
                  <a:pt x="455" y="112"/>
                  <a:pt x="453" y="112"/>
                  <a:pt x="449" y="112"/>
                </a:cubicBezTo>
                <a:cubicBezTo>
                  <a:pt x="449" y="112"/>
                  <a:pt x="449" y="112"/>
                  <a:pt x="449" y="112"/>
                </a:cubicBezTo>
                <a:cubicBezTo>
                  <a:pt x="443" y="112"/>
                  <a:pt x="436" y="110"/>
                  <a:pt x="432" y="109"/>
                </a:cubicBezTo>
                <a:cubicBezTo>
                  <a:pt x="436" y="107"/>
                  <a:pt x="441" y="105"/>
                  <a:pt x="446" y="105"/>
                </a:cubicBezTo>
                <a:close/>
                <a:moveTo>
                  <a:pt x="771" y="527"/>
                </a:moveTo>
                <a:cubicBezTo>
                  <a:pt x="785" y="486"/>
                  <a:pt x="793" y="442"/>
                  <a:pt x="793" y="396"/>
                </a:cubicBezTo>
                <a:cubicBezTo>
                  <a:pt x="793" y="371"/>
                  <a:pt x="790" y="346"/>
                  <a:pt x="786" y="321"/>
                </a:cubicBezTo>
                <a:cubicBezTo>
                  <a:pt x="786" y="321"/>
                  <a:pt x="786" y="321"/>
                  <a:pt x="786" y="321"/>
                </a:cubicBezTo>
                <a:cubicBezTo>
                  <a:pt x="786" y="321"/>
                  <a:pt x="786" y="320"/>
                  <a:pt x="786" y="320"/>
                </a:cubicBezTo>
                <a:cubicBezTo>
                  <a:pt x="785" y="315"/>
                  <a:pt x="783" y="310"/>
                  <a:pt x="782" y="305"/>
                </a:cubicBezTo>
                <a:cubicBezTo>
                  <a:pt x="782" y="303"/>
                  <a:pt x="782" y="302"/>
                  <a:pt x="781" y="301"/>
                </a:cubicBezTo>
                <a:cubicBezTo>
                  <a:pt x="780" y="296"/>
                  <a:pt x="779" y="292"/>
                  <a:pt x="778" y="287"/>
                </a:cubicBezTo>
                <a:cubicBezTo>
                  <a:pt x="777" y="285"/>
                  <a:pt x="777" y="283"/>
                  <a:pt x="776" y="281"/>
                </a:cubicBezTo>
                <a:cubicBezTo>
                  <a:pt x="775" y="278"/>
                  <a:pt x="774" y="275"/>
                  <a:pt x="773" y="273"/>
                </a:cubicBezTo>
                <a:cubicBezTo>
                  <a:pt x="772" y="269"/>
                  <a:pt x="771" y="265"/>
                  <a:pt x="769" y="261"/>
                </a:cubicBezTo>
                <a:cubicBezTo>
                  <a:pt x="769" y="260"/>
                  <a:pt x="769" y="259"/>
                  <a:pt x="768" y="258"/>
                </a:cubicBezTo>
                <a:cubicBezTo>
                  <a:pt x="742" y="186"/>
                  <a:pt x="694" y="123"/>
                  <a:pt x="631" y="77"/>
                </a:cubicBezTo>
                <a:cubicBezTo>
                  <a:pt x="631" y="77"/>
                  <a:pt x="630" y="76"/>
                  <a:pt x="630" y="76"/>
                </a:cubicBezTo>
                <a:cubicBezTo>
                  <a:pt x="578" y="38"/>
                  <a:pt x="517" y="13"/>
                  <a:pt x="451" y="4"/>
                </a:cubicBezTo>
                <a:cubicBezTo>
                  <a:pt x="451" y="4"/>
                  <a:pt x="451" y="4"/>
                  <a:pt x="451" y="4"/>
                </a:cubicBezTo>
                <a:cubicBezTo>
                  <a:pt x="450" y="4"/>
                  <a:pt x="450" y="4"/>
                  <a:pt x="450" y="4"/>
                </a:cubicBezTo>
                <a:cubicBezTo>
                  <a:pt x="442" y="3"/>
                  <a:pt x="433" y="2"/>
                  <a:pt x="425" y="1"/>
                </a:cubicBezTo>
                <a:cubicBezTo>
                  <a:pt x="424" y="1"/>
                  <a:pt x="423" y="1"/>
                  <a:pt x="423" y="1"/>
                </a:cubicBezTo>
                <a:cubicBezTo>
                  <a:pt x="419" y="1"/>
                  <a:pt x="416" y="1"/>
                  <a:pt x="412" y="1"/>
                </a:cubicBezTo>
                <a:cubicBezTo>
                  <a:pt x="411" y="1"/>
                  <a:pt x="410" y="1"/>
                  <a:pt x="410" y="1"/>
                </a:cubicBezTo>
                <a:cubicBezTo>
                  <a:pt x="405" y="0"/>
                  <a:pt x="401" y="0"/>
                  <a:pt x="397" y="0"/>
                </a:cubicBezTo>
                <a:cubicBezTo>
                  <a:pt x="394" y="0"/>
                  <a:pt x="390" y="0"/>
                  <a:pt x="387" y="0"/>
                </a:cubicBezTo>
                <a:cubicBezTo>
                  <a:pt x="385" y="1"/>
                  <a:pt x="383" y="1"/>
                  <a:pt x="381" y="1"/>
                </a:cubicBezTo>
                <a:cubicBezTo>
                  <a:pt x="380" y="1"/>
                  <a:pt x="378" y="1"/>
                  <a:pt x="376" y="1"/>
                </a:cubicBezTo>
                <a:cubicBezTo>
                  <a:pt x="374" y="1"/>
                  <a:pt x="371" y="1"/>
                  <a:pt x="369" y="1"/>
                </a:cubicBezTo>
                <a:cubicBezTo>
                  <a:pt x="368" y="1"/>
                  <a:pt x="367" y="1"/>
                  <a:pt x="366" y="2"/>
                </a:cubicBezTo>
                <a:cubicBezTo>
                  <a:pt x="363" y="2"/>
                  <a:pt x="360" y="2"/>
                  <a:pt x="357" y="2"/>
                </a:cubicBezTo>
                <a:cubicBezTo>
                  <a:pt x="357" y="2"/>
                  <a:pt x="357" y="2"/>
                  <a:pt x="357" y="2"/>
                </a:cubicBezTo>
                <a:cubicBezTo>
                  <a:pt x="310" y="7"/>
                  <a:pt x="265" y="20"/>
                  <a:pt x="223" y="41"/>
                </a:cubicBezTo>
                <a:cubicBezTo>
                  <a:pt x="223" y="41"/>
                  <a:pt x="222" y="41"/>
                  <a:pt x="222" y="41"/>
                </a:cubicBezTo>
                <a:cubicBezTo>
                  <a:pt x="206" y="49"/>
                  <a:pt x="190" y="58"/>
                  <a:pt x="175" y="69"/>
                </a:cubicBezTo>
                <a:cubicBezTo>
                  <a:pt x="175" y="69"/>
                  <a:pt x="175" y="69"/>
                  <a:pt x="175" y="69"/>
                </a:cubicBezTo>
                <a:cubicBezTo>
                  <a:pt x="109" y="114"/>
                  <a:pt x="58" y="177"/>
                  <a:pt x="29" y="251"/>
                </a:cubicBezTo>
                <a:cubicBezTo>
                  <a:pt x="29" y="251"/>
                  <a:pt x="29" y="252"/>
                  <a:pt x="28" y="253"/>
                </a:cubicBezTo>
                <a:cubicBezTo>
                  <a:pt x="27" y="258"/>
                  <a:pt x="25" y="262"/>
                  <a:pt x="23" y="267"/>
                </a:cubicBezTo>
                <a:cubicBezTo>
                  <a:pt x="22" y="269"/>
                  <a:pt x="22" y="271"/>
                  <a:pt x="21" y="273"/>
                </a:cubicBezTo>
                <a:cubicBezTo>
                  <a:pt x="20" y="277"/>
                  <a:pt x="19" y="280"/>
                  <a:pt x="18" y="283"/>
                </a:cubicBezTo>
                <a:cubicBezTo>
                  <a:pt x="17" y="286"/>
                  <a:pt x="16" y="289"/>
                  <a:pt x="15" y="292"/>
                </a:cubicBezTo>
                <a:cubicBezTo>
                  <a:pt x="15" y="293"/>
                  <a:pt x="15" y="295"/>
                  <a:pt x="14" y="296"/>
                </a:cubicBezTo>
                <a:cubicBezTo>
                  <a:pt x="14" y="296"/>
                  <a:pt x="14" y="296"/>
                  <a:pt x="14" y="296"/>
                </a:cubicBezTo>
                <a:cubicBezTo>
                  <a:pt x="6" y="327"/>
                  <a:pt x="2" y="359"/>
                  <a:pt x="2" y="392"/>
                </a:cubicBezTo>
                <a:cubicBezTo>
                  <a:pt x="1" y="393"/>
                  <a:pt x="0" y="394"/>
                  <a:pt x="0" y="396"/>
                </a:cubicBezTo>
                <a:cubicBezTo>
                  <a:pt x="0" y="397"/>
                  <a:pt x="1" y="399"/>
                  <a:pt x="2" y="400"/>
                </a:cubicBezTo>
                <a:cubicBezTo>
                  <a:pt x="2" y="444"/>
                  <a:pt x="10" y="486"/>
                  <a:pt x="23" y="525"/>
                </a:cubicBezTo>
                <a:cubicBezTo>
                  <a:pt x="23" y="525"/>
                  <a:pt x="23" y="525"/>
                  <a:pt x="23" y="526"/>
                </a:cubicBezTo>
                <a:cubicBezTo>
                  <a:pt x="23" y="528"/>
                  <a:pt x="24" y="529"/>
                  <a:pt x="25" y="531"/>
                </a:cubicBezTo>
                <a:cubicBezTo>
                  <a:pt x="42" y="577"/>
                  <a:pt x="67" y="619"/>
                  <a:pt x="98" y="655"/>
                </a:cubicBezTo>
                <a:cubicBezTo>
                  <a:pt x="98" y="655"/>
                  <a:pt x="98" y="655"/>
                  <a:pt x="98" y="655"/>
                </a:cubicBezTo>
                <a:cubicBezTo>
                  <a:pt x="98" y="659"/>
                  <a:pt x="101" y="662"/>
                  <a:pt x="105" y="662"/>
                </a:cubicBezTo>
                <a:cubicBezTo>
                  <a:pt x="177" y="742"/>
                  <a:pt x="281" y="792"/>
                  <a:pt x="397" y="792"/>
                </a:cubicBezTo>
                <a:cubicBezTo>
                  <a:pt x="569" y="792"/>
                  <a:pt x="715" y="682"/>
                  <a:pt x="770" y="529"/>
                </a:cubicBezTo>
                <a:cubicBezTo>
                  <a:pt x="770" y="528"/>
                  <a:pt x="771" y="527"/>
                  <a:pt x="771" y="527"/>
                </a:cubicBezTo>
                <a:close/>
                <a:moveTo>
                  <a:pt x="684" y="648"/>
                </a:moveTo>
                <a:cubicBezTo>
                  <a:pt x="553" y="648"/>
                  <a:pt x="553" y="648"/>
                  <a:pt x="553" y="648"/>
                </a:cubicBezTo>
                <a:cubicBezTo>
                  <a:pt x="555" y="643"/>
                  <a:pt x="557" y="637"/>
                  <a:pt x="559" y="632"/>
                </a:cubicBezTo>
                <a:cubicBezTo>
                  <a:pt x="560" y="634"/>
                  <a:pt x="562" y="636"/>
                  <a:pt x="563" y="638"/>
                </a:cubicBezTo>
                <a:cubicBezTo>
                  <a:pt x="569" y="644"/>
                  <a:pt x="577" y="647"/>
                  <a:pt x="587" y="647"/>
                </a:cubicBezTo>
                <a:cubicBezTo>
                  <a:pt x="587" y="647"/>
                  <a:pt x="587" y="647"/>
                  <a:pt x="587" y="647"/>
                </a:cubicBezTo>
                <a:cubicBezTo>
                  <a:pt x="594" y="647"/>
                  <a:pt x="600" y="646"/>
                  <a:pt x="608" y="644"/>
                </a:cubicBezTo>
                <a:cubicBezTo>
                  <a:pt x="661" y="630"/>
                  <a:pt x="680" y="578"/>
                  <a:pt x="689" y="533"/>
                </a:cubicBezTo>
                <a:cubicBezTo>
                  <a:pt x="695" y="533"/>
                  <a:pt x="695" y="533"/>
                  <a:pt x="695" y="533"/>
                </a:cubicBezTo>
                <a:cubicBezTo>
                  <a:pt x="688" y="546"/>
                  <a:pt x="684" y="564"/>
                  <a:pt x="683" y="564"/>
                </a:cubicBezTo>
                <a:cubicBezTo>
                  <a:pt x="679" y="583"/>
                  <a:pt x="681" y="594"/>
                  <a:pt x="689" y="598"/>
                </a:cubicBezTo>
                <a:cubicBezTo>
                  <a:pt x="691" y="599"/>
                  <a:pt x="693" y="600"/>
                  <a:pt x="695" y="600"/>
                </a:cubicBezTo>
                <a:cubicBezTo>
                  <a:pt x="695" y="600"/>
                  <a:pt x="695" y="600"/>
                  <a:pt x="695" y="600"/>
                </a:cubicBezTo>
                <a:cubicBezTo>
                  <a:pt x="713" y="600"/>
                  <a:pt x="723" y="562"/>
                  <a:pt x="725" y="544"/>
                </a:cubicBezTo>
                <a:cubicBezTo>
                  <a:pt x="726" y="540"/>
                  <a:pt x="726" y="536"/>
                  <a:pt x="726" y="533"/>
                </a:cubicBezTo>
                <a:cubicBezTo>
                  <a:pt x="754" y="533"/>
                  <a:pt x="754" y="533"/>
                  <a:pt x="754" y="533"/>
                </a:cubicBezTo>
                <a:cubicBezTo>
                  <a:pt x="737" y="575"/>
                  <a:pt x="713" y="614"/>
                  <a:pt x="684" y="648"/>
                </a:cubicBezTo>
                <a:close/>
                <a:moveTo>
                  <a:pt x="244" y="710"/>
                </a:moveTo>
                <a:cubicBezTo>
                  <a:pt x="248" y="717"/>
                  <a:pt x="248" y="720"/>
                  <a:pt x="248" y="721"/>
                </a:cubicBezTo>
                <a:cubicBezTo>
                  <a:pt x="248" y="721"/>
                  <a:pt x="247" y="721"/>
                  <a:pt x="246" y="721"/>
                </a:cubicBezTo>
                <a:cubicBezTo>
                  <a:pt x="242" y="721"/>
                  <a:pt x="236" y="718"/>
                  <a:pt x="233" y="714"/>
                </a:cubicBezTo>
                <a:cubicBezTo>
                  <a:pt x="224" y="704"/>
                  <a:pt x="221" y="684"/>
                  <a:pt x="221" y="662"/>
                </a:cubicBezTo>
                <a:cubicBezTo>
                  <a:pt x="245" y="662"/>
                  <a:pt x="245" y="662"/>
                  <a:pt x="245" y="662"/>
                </a:cubicBezTo>
                <a:cubicBezTo>
                  <a:pt x="237" y="678"/>
                  <a:pt x="234" y="694"/>
                  <a:pt x="244" y="710"/>
                </a:cubicBezTo>
                <a:close/>
                <a:moveTo>
                  <a:pt x="41" y="533"/>
                </a:moveTo>
                <a:cubicBezTo>
                  <a:pt x="159" y="533"/>
                  <a:pt x="159" y="533"/>
                  <a:pt x="159" y="533"/>
                </a:cubicBezTo>
                <a:cubicBezTo>
                  <a:pt x="166" y="543"/>
                  <a:pt x="176" y="552"/>
                  <a:pt x="185" y="559"/>
                </a:cubicBezTo>
                <a:cubicBezTo>
                  <a:pt x="190" y="564"/>
                  <a:pt x="196" y="569"/>
                  <a:pt x="199" y="573"/>
                </a:cubicBezTo>
                <a:cubicBezTo>
                  <a:pt x="206" y="582"/>
                  <a:pt x="206" y="608"/>
                  <a:pt x="206" y="634"/>
                </a:cubicBezTo>
                <a:cubicBezTo>
                  <a:pt x="206" y="638"/>
                  <a:pt x="206" y="643"/>
                  <a:pt x="206" y="648"/>
                </a:cubicBezTo>
                <a:cubicBezTo>
                  <a:pt x="111" y="648"/>
                  <a:pt x="111" y="648"/>
                  <a:pt x="111" y="648"/>
                </a:cubicBezTo>
                <a:cubicBezTo>
                  <a:pt x="81" y="614"/>
                  <a:pt x="57" y="575"/>
                  <a:pt x="41" y="533"/>
                </a:cubicBezTo>
                <a:close/>
                <a:moveTo>
                  <a:pt x="23" y="319"/>
                </a:moveTo>
                <a:cubicBezTo>
                  <a:pt x="30" y="332"/>
                  <a:pt x="34" y="343"/>
                  <a:pt x="35" y="351"/>
                </a:cubicBezTo>
                <a:cubicBezTo>
                  <a:pt x="38" y="365"/>
                  <a:pt x="55" y="377"/>
                  <a:pt x="74" y="389"/>
                </a:cubicBezTo>
                <a:cubicBezTo>
                  <a:pt x="16" y="389"/>
                  <a:pt x="16" y="389"/>
                  <a:pt x="16" y="389"/>
                </a:cubicBezTo>
                <a:cubicBezTo>
                  <a:pt x="16" y="365"/>
                  <a:pt x="19" y="341"/>
                  <a:pt x="23" y="319"/>
                </a:cubicBezTo>
                <a:close/>
                <a:moveTo>
                  <a:pt x="97" y="403"/>
                </a:moveTo>
                <a:cubicBezTo>
                  <a:pt x="109" y="411"/>
                  <a:pt x="119" y="419"/>
                  <a:pt x="120" y="425"/>
                </a:cubicBezTo>
                <a:cubicBezTo>
                  <a:pt x="120" y="443"/>
                  <a:pt x="136" y="444"/>
                  <a:pt x="144" y="444"/>
                </a:cubicBezTo>
                <a:cubicBezTo>
                  <a:pt x="146" y="444"/>
                  <a:pt x="149" y="444"/>
                  <a:pt x="151" y="444"/>
                </a:cubicBezTo>
                <a:cubicBezTo>
                  <a:pt x="151" y="445"/>
                  <a:pt x="151" y="447"/>
                  <a:pt x="150" y="450"/>
                </a:cubicBezTo>
                <a:cubicBezTo>
                  <a:pt x="140" y="480"/>
                  <a:pt x="142" y="502"/>
                  <a:pt x="150" y="519"/>
                </a:cubicBezTo>
                <a:cubicBezTo>
                  <a:pt x="36" y="519"/>
                  <a:pt x="36" y="519"/>
                  <a:pt x="36" y="519"/>
                </a:cubicBezTo>
                <a:cubicBezTo>
                  <a:pt x="23" y="482"/>
                  <a:pt x="16" y="443"/>
                  <a:pt x="16" y="403"/>
                </a:cubicBezTo>
                <a:lnTo>
                  <a:pt x="97" y="403"/>
                </a:lnTo>
                <a:close/>
                <a:moveTo>
                  <a:pt x="220" y="634"/>
                </a:moveTo>
                <a:cubicBezTo>
                  <a:pt x="220" y="603"/>
                  <a:pt x="220" y="577"/>
                  <a:pt x="210" y="564"/>
                </a:cubicBezTo>
                <a:cubicBezTo>
                  <a:pt x="206" y="559"/>
                  <a:pt x="200" y="554"/>
                  <a:pt x="194" y="549"/>
                </a:cubicBezTo>
                <a:cubicBezTo>
                  <a:pt x="171" y="529"/>
                  <a:pt x="146" y="507"/>
                  <a:pt x="163" y="454"/>
                </a:cubicBezTo>
                <a:cubicBezTo>
                  <a:pt x="165" y="449"/>
                  <a:pt x="167" y="442"/>
                  <a:pt x="162" y="436"/>
                </a:cubicBezTo>
                <a:cubicBezTo>
                  <a:pt x="158" y="430"/>
                  <a:pt x="150" y="430"/>
                  <a:pt x="144" y="430"/>
                </a:cubicBezTo>
                <a:cubicBezTo>
                  <a:pt x="134" y="429"/>
                  <a:pt x="134" y="428"/>
                  <a:pt x="134" y="425"/>
                </a:cubicBezTo>
                <a:cubicBezTo>
                  <a:pt x="133" y="412"/>
                  <a:pt x="120" y="401"/>
                  <a:pt x="103" y="390"/>
                </a:cubicBezTo>
                <a:cubicBezTo>
                  <a:pt x="103" y="390"/>
                  <a:pt x="103" y="390"/>
                  <a:pt x="103" y="390"/>
                </a:cubicBezTo>
                <a:cubicBezTo>
                  <a:pt x="98" y="387"/>
                  <a:pt x="94" y="384"/>
                  <a:pt x="89" y="382"/>
                </a:cubicBezTo>
                <a:cubicBezTo>
                  <a:pt x="72" y="371"/>
                  <a:pt x="51" y="358"/>
                  <a:pt x="49" y="349"/>
                </a:cubicBezTo>
                <a:cubicBezTo>
                  <a:pt x="47" y="336"/>
                  <a:pt x="40" y="319"/>
                  <a:pt x="29" y="297"/>
                </a:cubicBezTo>
                <a:cubicBezTo>
                  <a:pt x="29" y="296"/>
                  <a:pt x="29" y="295"/>
                  <a:pt x="30" y="293"/>
                </a:cubicBezTo>
                <a:cubicBezTo>
                  <a:pt x="30" y="291"/>
                  <a:pt x="31" y="288"/>
                  <a:pt x="32" y="285"/>
                </a:cubicBezTo>
                <a:cubicBezTo>
                  <a:pt x="33" y="282"/>
                  <a:pt x="34" y="279"/>
                  <a:pt x="35" y="276"/>
                </a:cubicBezTo>
                <a:cubicBezTo>
                  <a:pt x="36" y="274"/>
                  <a:pt x="36" y="273"/>
                  <a:pt x="37" y="271"/>
                </a:cubicBezTo>
                <a:cubicBezTo>
                  <a:pt x="38" y="266"/>
                  <a:pt x="40" y="262"/>
                  <a:pt x="42" y="257"/>
                </a:cubicBezTo>
                <a:cubicBezTo>
                  <a:pt x="42" y="257"/>
                  <a:pt x="42" y="256"/>
                  <a:pt x="42" y="256"/>
                </a:cubicBezTo>
                <a:cubicBezTo>
                  <a:pt x="70" y="186"/>
                  <a:pt x="118" y="126"/>
                  <a:pt x="178" y="84"/>
                </a:cubicBezTo>
                <a:cubicBezTo>
                  <a:pt x="208" y="107"/>
                  <a:pt x="230" y="127"/>
                  <a:pt x="246" y="144"/>
                </a:cubicBezTo>
                <a:cubicBezTo>
                  <a:pt x="246" y="144"/>
                  <a:pt x="247" y="144"/>
                  <a:pt x="247" y="144"/>
                </a:cubicBezTo>
                <a:cubicBezTo>
                  <a:pt x="271" y="168"/>
                  <a:pt x="281" y="184"/>
                  <a:pt x="279" y="191"/>
                </a:cubicBezTo>
                <a:cubicBezTo>
                  <a:pt x="279" y="193"/>
                  <a:pt x="276" y="194"/>
                  <a:pt x="273" y="195"/>
                </a:cubicBezTo>
                <a:cubicBezTo>
                  <a:pt x="212" y="206"/>
                  <a:pt x="173" y="230"/>
                  <a:pt x="158" y="263"/>
                </a:cubicBezTo>
                <a:cubicBezTo>
                  <a:pt x="150" y="280"/>
                  <a:pt x="152" y="297"/>
                  <a:pt x="154" y="309"/>
                </a:cubicBezTo>
                <a:cubicBezTo>
                  <a:pt x="154" y="312"/>
                  <a:pt x="155" y="317"/>
                  <a:pt x="154" y="319"/>
                </a:cubicBezTo>
                <a:cubicBezTo>
                  <a:pt x="153" y="319"/>
                  <a:pt x="152" y="319"/>
                  <a:pt x="150" y="311"/>
                </a:cubicBezTo>
                <a:cubicBezTo>
                  <a:pt x="148" y="300"/>
                  <a:pt x="143" y="282"/>
                  <a:pt x="117" y="282"/>
                </a:cubicBezTo>
                <a:cubicBezTo>
                  <a:pt x="83" y="282"/>
                  <a:pt x="71" y="310"/>
                  <a:pt x="71" y="334"/>
                </a:cubicBezTo>
                <a:cubicBezTo>
                  <a:pt x="71" y="344"/>
                  <a:pt x="75" y="354"/>
                  <a:pt x="83" y="361"/>
                </a:cubicBezTo>
                <a:cubicBezTo>
                  <a:pt x="91" y="369"/>
                  <a:pt x="103" y="374"/>
                  <a:pt x="116" y="374"/>
                </a:cubicBezTo>
                <a:cubicBezTo>
                  <a:pt x="124" y="374"/>
                  <a:pt x="127" y="384"/>
                  <a:pt x="131" y="399"/>
                </a:cubicBezTo>
                <a:cubicBezTo>
                  <a:pt x="134" y="411"/>
                  <a:pt x="138" y="424"/>
                  <a:pt x="150" y="424"/>
                </a:cubicBezTo>
                <a:cubicBezTo>
                  <a:pt x="154" y="424"/>
                  <a:pt x="160" y="422"/>
                  <a:pt x="168" y="421"/>
                </a:cubicBezTo>
                <a:cubicBezTo>
                  <a:pt x="179" y="418"/>
                  <a:pt x="192" y="415"/>
                  <a:pt x="207" y="415"/>
                </a:cubicBezTo>
                <a:cubicBezTo>
                  <a:pt x="219" y="415"/>
                  <a:pt x="229" y="417"/>
                  <a:pt x="239" y="422"/>
                </a:cubicBezTo>
                <a:cubicBezTo>
                  <a:pt x="290" y="444"/>
                  <a:pt x="370" y="494"/>
                  <a:pt x="351" y="539"/>
                </a:cubicBezTo>
                <a:cubicBezTo>
                  <a:pt x="342" y="559"/>
                  <a:pt x="320" y="581"/>
                  <a:pt x="298" y="602"/>
                </a:cubicBezTo>
                <a:cubicBezTo>
                  <a:pt x="282" y="617"/>
                  <a:pt x="266" y="633"/>
                  <a:pt x="254" y="648"/>
                </a:cubicBezTo>
                <a:cubicBezTo>
                  <a:pt x="220" y="648"/>
                  <a:pt x="220" y="648"/>
                  <a:pt x="220" y="648"/>
                </a:cubicBezTo>
                <a:cubicBezTo>
                  <a:pt x="220" y="643"/>
                  <a:pt x="220" y="638"/>
                  <a:pt x="220" y="634"/>
                </a:cubicBezTo>
                <a:close/>
                <a:moveTo>
                  <a:pt x="226" y="55"/>
                </a:moveTo>
                <a:cubicBezTo>
                  <a:pt x="261" y="68"/>
                  <a:pt x="262" y="75"/>
                  <a:pt x="262" y="75"/>
                </a:cubicBezTo>
                <a:cubicBezTo>
                  <a:pt x="262" y="80"/>
                  <a:pt x="264" y="87"/>
                  <a:pt x="267" y="94"/>
                </a:cubicBezTo>
                <a:cubicBezTo>
                  <a:pt x="261" y="104"/>
                  <a:pt x="255" y="115"/>
                  <a:pt x="249" y="127"/>
                </a:cubicBezTo>
                <a:cubicBezTo>
                  <a:pt x="234" y="112"/>
                  <a:pt x="214" y="94"/>
                  <a:pt x="190" y="75"/>
                </a:cubicBezTo>
                <a:cubicBezTo>
                  <a:pt x="202" y="68"/>
                  <a:pt x="214" y="61"/>
                  <a:pt x="226" y="55"/>
                </a:cubicBezTo>
                <a:close/>
                <a:moveTo>
                  <a:pt x="397" y="14"/>
                </a:moveTo>
                <a:cubicBezTo>
                  <a:pt x="401" y="14"/>
                  <a:pt x="405" y="14"/>
                  <a:pt x="408" y="14"/>
                </a:cubicBezTo>
                <a:cubicBezTo>
                  <a:pt x="409" y="15"/>
                  <a:pt x="410" y="15"/>
                  <a:pt x="411" y="15"/>
                </a:cubicBezTo>
                <a:cubicBezTo>
                  <a:pt x="414" y="15"/>
                  <a:pt x="417" y="15"/>
                  <a:pt x="419" y="15"/>
                </a:cubicBezTo>
                <a:cubicBezTo>
                  <a:pt x="420" y="15"/>
                  <a:pt x="421" y="15"/>
                  <a:pt x="422" y="15"/>
                </a:cubicBezTo>
                <a:cubicBezTo>
                  <a:pt x="425" y="15"/>
                  <a:pt x="428" y="16"/>
                  <a:pt x="431" y="16"/>
                </a:cubicBezTo>
                <a:cubicBezTo>
                  <a:pt x="432" y="16"/>
                  <a:pt x="432" y="16"/>
                  <a:pt x="433" y="16"/>
                </a:cubicBezTo>
                <a:cubicBezTo>
                  <a:pt x="436" y="16"/>
                  <a:pt x="439" y="17"/>
                  <a:pt x="443" y="17"/>
                </a:cubicBezTo>
                <a:cubicBezTo>
                  <a:pt x="443" y="17"/>
                  <a:pt x="443" y="17"/>
                  <a:pt x="444" y="17"/>
                </a:cubicBezTo>
                <a:cubicBezTo>
                  <a:pt x="444" y="19"/>
                  <a:pt x="444" y="20"/>
                  <a:pt x="444" y="21"/>
                </a:cubicBezTo>
                <a:cubicBezTo>
                  <a:pt x="444" y="21"/>
                  <a:pt x="444" y="21"/>
                  <a:pt x="444" y="21"/>
                </a:cubicBezTo>
                <a:cubicBezTo>
                  <a:pt x="443" y="25"/>
                  <a:pt x="442" y="27"/>
                  <a:pt x="441" y="27"/>
                </a:cubicBezTo>
                <a:cubicBezTo>
                  <a:pt x="432" y="31"/>
                  <a:pt x="413" y="40"/>
                  <a:pt x="412" y="71"/>
                </a:cubicBezTo>
                <a:cubicBezTo>
                  <a:pt x="411" y="84"/>
                  <a:pt x="399" y="87"/>
                  <a:pt x="378" y="91"/>
                </a:cubicBezTo>
                <a:cubicBezTo>
                  <a:pt x="371" y="92"/>
                  <a:pt x="364" y="93"/>
                  <a:pt x="358" y="95"/>
                </a:cubicBezTo>
                <a:cubicBezTo>
                  <a:pt x="345" y="99"/>
                  <a:pt x="340" y="108"/>
                  <a:pt x="335" y="115"/>
                </a:cubicBezTo>
                <a:cubicBezTo>
                  <a:pt x="331" y="122"/>
                  <a:pt x="328" y="127"/>
                  <a:pt x="319" y="127"/>
                </a:cubicBezTo>
                <a:cubicBezTo>
                  <a:pt x="318" y="127"/>
                  <a:pt x="318" y="127"/>
                  <a:pt x="318" y="127"/>
                </a:cubicBezTo>
                <a:cubicBezTo>
                  <a:pt x="318" y="127"/>
                  <a:pt x="318" y="127"/>
                  <a:pt x="318" y="127"/>
                </a:cubicBezTo>
                <a:cubicBezTo>
                  <a:pt x="299" y="127"/>
                  <a:pt x="276" y="90"/>
                  <a:pt x="276" y="75"/>
                </a:cubicBezTo>
                <a:cubicBezTo>
                  <a:pt x="276" y="68"/>
                  <a:pt x="272" y="59"/>
                  <a:pt x="244" y="47"/>
                </a:cubicBezTo>
                <a:cubicBezTo>
                  <a:pt x="291" y="26"/>
                  <a:pt x="343" y="14"/>
                  <a:pt x="397" y="14"/>
                </a:cubicBezTo>
                <a:close/>
                <a:moveTo>
                  <a:pt x="761" y="281"/>
                </a:moveTo>
                <a:cubicBezTo>
                  <a:pt x="762" y="283"/>
                  <a:pt x="763" y="286"/>
                  <a:pt x="764" y="289"/>
                </a:cubicBezTo>
                <a:cubicBezTo>
                  <a:pt x="765" y="293"/>
                  <a:pt x="766" y="297"/>
                  <a:pt x="767" y="301"/>
                </a:cubicBezTo>
                <a:cubicBezTo>
                  <a:pt x="767" y="302"/>
                  <a:pt x="767" y="303"/>
                  <a:pt x="768" y="304"/>
                </a:cubicBezTo>
                <a:cubicBezTo>
                  <a:pt x="769" y="309"/>
                  <a:pt x="770" y="314"/>
                  <a:pt x="771" y="318"/>
                </a:cubicBezTo>
                <a:cubicBezTo>
                  <a:pt x="771" y="319"/>
                  <a:pt x="771" y="319"/>
                  <a:pt x="771" y="319"/>
                </a:cubicBezTo>
                <a:cubicBezTo>
                  <a:pt x="709" y="355"/>
                  <a:pt x="688" y="454"/>
                  <a:pt x="683" y="484"/>
                </a:cubicBezTo>
                <a:cubicBezTo>
                  <a:pt x="682" y="488"/>
                  <a:pt x="681" y="492"/>
                  <a:pt x="681" y="497"/>
                </a:cubicBezTo>
                <a:cubicBezTo>
                  <a:pt x="679" y="505"/>
                  <a:pt x="678" y="514"/>
                  <a:pt x="676" y="524"/>
                </a:cubicBezTo>
                <a:cubicBezTo>
                  <a:pt x="676" y="524"/>
                  <a:pt x="676" y="524"/>
                  <a:pt x="676" y="524"/>
                </a:cubicBezTo>
                <a:cubicBezTo>
                  <a:pt x="668" y="567"/>
                  <a:pt x="652" y="618"/>
                  <a:pt x="605" y="631"/>
                </a:cubicBezTo>
                <a:cubicBezTo>
                  <a:pt x="598" y="632"/>
                  <a:pt x="592" y="633"/>
                  <a:pt x="587" y="633"/>
                </a:cubicBezTo>
                <a:cubicBezTo>
                  <a:pt x="587" y="633"/>
                  <a:pt x="587" y="633"/>
                  <a:pt x="587" y="633"/>
                </a:cubicBezTo>
                <a:cubicBezTo>
                  <a:pt x="581" y="633"/>
                  <a:pt x="577" y="632"/>
                  <a:pt x="574" y="629"/>
                </a:cubicBezTo>
                <a:cubicBezTo>
                  <a:pt x="567" y="621"/>
                  <a:pt x="568" y="604"/>
                  <a:pt x="569" y="589"/>
                </a:cubicBezTo>
                <a:cubicBezTo>
                  <a:pt x="570" y="582"/>
                  <a:pt x="570" y="576"/>
                  <a:pt x="570" y="570"/>
                </a:cubicBezTo>
                <a:cubicBezTo>
                  <a:pt x="570" y="565"/>
                  <a:pt x="570" y="560"/>
                  <a:pt x="570" y="554"/>
                </a:cubicBezTo>
                <a:cubicBezTo>
                  <a:pt x="569" y="517"/>
                  <a:pt x="569" y="463"/>
                  <a:pt x="547" y="438"/>
                </a:cubicBezTo>
                <a:cubicBezTo>
                  <a:pt x="541" y="431"/>
                  <a:pt x="533" y="428"/>
                  <a:pt x="524" y="428"/>
                </a:cubicBezTo>
                <a:cubicBezTo>
                  <a:pt x="517" y="428"/>
                  <a:pt x="511" y="429"/>
                  <a:pt x="504" y="431"/>
                </a:cubicBezTo>
                <a:cubicBezTo>
                  <a:pt x="498" y="433"/>
                  <a:pt x="491" y="435"/>
                  <a:pt x="485" y="435"/>
                </a:cubicBezTo>
                <a:cubicBezTo>
                  <a:pt x="478" y="435"/>
                  <a:pt x="469" y="433"/>
                  <a:pt x="458" y="420"/>
                </a:cubicBezTo>
                <a:cubicBezTo>
                  <a:pt x="437" y="395"/>
                  <a:pt x="429" y="370"/>
                  <a:pt x="432" y="345"/>
                </a:cubicBezTo>
                <a:cubicBezTo>
                  <a:pt x="438" y="305"/>
                  <a:pt x="474" y="279"/>
                  <a:pt x="474" y="279"/>
                </a:cubicBezTo>
                <a:cubicBezTo>
                  <a:pt x="477" y="278"/>
                  <a:pt x="478" y="275"/>
                  <a:pt x="478" y="273"/>
                </a:cubicBezTo>
                <a:cubicBezTo>
                  <a:pt x="477" y="272"/>
                  <a:pt x="477" y="269"/>
                  <a:pt x="477" y="266"/>
                </a:cubicBezTo>
                <a:cubicBezTo>
                  <a:pt x="477" y="266"/>
                  <a:pt x="477" y="266"/>
                  <a:pt x="477" y="266"/>
                </a:cubicBezTo>
                <a:cubicBezTo>
                  <a:pt x="478" y="266"/>
                  <a:pt x="493" y="268"/>
                  <a:pt x="506" y="268"/>
                </a:cubicBezTo>
                <a:cubicBezTo>
                  <a:pt x="506" y="268"/>
                  <a:pt x="506" y="268"/>
                  <a:pt x="506" y="268"/>
                </a:cubicBezTo>
                <a:cubicBezTo>
                  <a:pt x="514" y="268"/>
                  <a:pt x="520" y="267"/>
                  <a:pt x="524" y="265"/>
                </a:cubicBezTo>
                <a:cubicBezTo>
                  <a:pt x="529" y="262"/>
                  <a:pt x="542" y="258"/>
                  <a:pt x="550" y="258"/>
                </a:cubicBezTo>
                <a:cubicBezTo>
                  <a:pt x="552" y="258"/>
                  <a:pt x="553" y="258"/>
                  <a:pt x="554" y="258"/>
                </a:cubicBezTo>
                <a:cubicBezTo>
                  <a:pt x="554" y="259"/>
                  <a:pt x="553" y="261"/>
                  <a:pt x="553" y="263"/>
                </a:cubicBezTo>
                <a:cubicBezTo>
                  <a:pt x="552" y="271"/>
                  <a:pt x="549" y="288"/>
                  <a:pt x="573" y="295"/>
                </a:cubicBezTo>
                <a:cubicBezTo>
                  <a:pt x="577" y="296"/>
                  <a:pt x="580" y="297"/>
                  <a:pt x="583" y="297"/>
                </a:cubicBezTo>
                <a:cubicBezTo>
                  <a:pt x="583" y="297"/>
                  <a:pt x="583" y="297"/>
                  <a:pt x="583" y="297"/>
                </a:cubicBezTo>
                <a:cubicBezTo>
                  <a:pt x="587" y="298"/>
                  <a:pt x="590" y="298"/>
                  <a:pt x="594" y="298"/>
                </a:cubicBezTo>
                <a:cubicBezTo>
                  <a:pt x="601" y="298"/>
                  <a:pt x="607" y="297"/>
                  <a:pt x="612" y="296"/>
                </a:cubicBezTo>
                <a:cubicBezTo>
                  <a:pt x="616" y="295"/>
                  <a:pt x="620" y="294"/>
                  <a:pt x="624" y="294"/>
                </a:cubicBezTo>
                <a:cubicBezTo>
                  <a:pt x="627" y="295"/>
                  <a:pt x="631" y="296"/>
                  <a:pt x="636" y="297"/>
                </a:cubicBezTo>
                <a:cubicBezTo>
                  <a:pt x="643" y="299"/>
                  <a:pt x="651" y="302"/>
                  <a:pt x="658" y="302"/>
                </a:cubicBezTo>
                <a:cubicBezTo>
                  <a:pt x="664" y="302"/>
                  <a:pt x="668" y="300"/>
                  <a:pt x="671" y="297"/>
                </a:cubicBezTo>
                <a:cubicBezTo>
                  <a:pt x="675" y="293"/>
                  <a:pt x="676" y="288"/>
                  <a:pt x="676" y="281"/>
                </a:cubicBezTo>
                <a:cubicBezTo>
                  <a:pt x="675" y="260"/>
                  <a:pt x="658" y="258"/>
                  <a:pt x="648" y="256"/>
                </a:cubicBezTo>
                <a:cubicBezTo>
                  <a:pt x="643" y="255"/>
                  <a:pt x="638" y="255"/>
                  <a:pt x="636" y="253"/>
                </a:cubicBezTo>
                <a:cubicBezTo>
                  <a:pt x="633" y="249"/>
                  <a:pt x="630" y="247"/>
                  <a:pt x="626" y="247"/>
                </a:cubicBezTo>
                <a:cubicBezTo>
                  <a:pt x="620" y="247"/>
                  <a:pt x="617" y="252"/>
                  <a:pt x="614" y="256"/>
                </a:cubicBezTo>
                <a:cubicBezTo>
                  <a:pt x="612" y="253"/>
                  <a:pt x="610" y="249"/>
                  <a:pt x="608" y="246"/>
                </a:cubicBezTo>
                <a:cubicBezTo>
                  <a:pt x="594" y="223"/>
                  <a:pt x="582" y="204"/>
                  <a:pt x="568" y="203"/>
                </a:cubicBezTo>
                <a:cubicBezTo>
                  <a:pt x="568" y="203"/>
                  <a:pt x="567" y="202"/>
                  <a:pt x="567" y="202"/>
                </a:cubicBezTo>
                <a:cubicBezTo>
                  <a:pt x="563" y="202"/>
                  <a:pt x="560" y="204"/>
                  <a:pt x="558" y="207"/>
                </a:cubicBezTo>
                <a:cubicBezTo>
                  <a:pt x="556" y="210"/>
                  <a:pt x="556" y="214"/>
                  <a:pt x="557" y="218"/>
                </a:cubicBezTo>
                <a:cubicBezTo>
                  <a:pt x="554" y="216"/>
                  <a:pt x="551" y="215"/>
                  <a:pt x="547" y="215"/>
                </a:cubicBezTo>
                <a:cubicBezTo>
                  <a:pt x="541" y="214"/>
                  <a:pt x="536" y="214"/>
                  <a:pt x="533" y="214"/>
                </a:cubicBezTo>
                <a:cubicBezTo>
                  <a:pt x="526" y="214"/>
                  <a:pt x="522" y="215"/>
                  <a:pt x="516" y="217"/>
                </a:cubicBezTo>
                <a:cubicBezTo>
                  <a:pt x="513" y="218"/>
                  <a:pt x="513" y="218"/>
                  <a:pt x="513" y="218"/>
                </a:cubicBezTo>
                <a:cubicBezTo>
                  <a:pt x="501" y="221"/>
                  <a:pt x="502" y="230"/>
                  <a:pt x="502" y="234"/>
                </a:cubicBezTo>
                <a:cubicBezTo>
                  <a:pt x="503" y="236"/>
                  <a:pt x="503" y="237"/>
                  <a:pt x="502" y="240"/>
                </a:cubicBezTo>
                <a:cubicBezTo>
                  <a:pt x="501" y="242"/>
                  <a:pt x="494" y="244"/>
                  <a:pt x="490" y="245"/>
                </a:cubicBezTo>
                <a:cubicBezTo>
                  <a:pt x="484" y="246"/>
                  <a:pt x="477" y="248"/>
                  <a:pt x="473" y="253"/>
                </a:cubicBezTo>
                <a:cubicBezTo>
                  <a:pt x="472" y="249"/>
                  <a:pt x="471" y="246"/>
                  <a:pt x="469" y="244"/>
                </a:cubicBezTo>
                <a:cubicBezTo>
                  <a:pt x="469" y="242"/>
                  <a:pt x="470" y="239"/>
                  <a:pt x="473" y="235"/>
                </a:cubicBezTo>
                <a:cubicBezTo>
                  <a:pt x="477" y="231"/>
                  <a:pt x="481" y="229"/>
                  <a:pt x="484" y="229"/>
                </a:cubicBezTo>
                <a:cubicBezTo>
                  <a:pt x="492" y="229"/>
                  <a:pt x="498" y="223"/>
                  <a:pt x="499" y="216"/>
                </a:cubicBezTo>
                <a:cubicBezTo>
                  <a:pt x="499" y="209"/>
                  <a:pt x="495" y="201"/>
                  <a:pt x="486" y="198"/>
                </a:cubicBezTo>
                <a:cubicBezTo>
                  <a:pt x="495" y="192"/>
                  <a:pt x="511" y="184"/>
                  <a:pt x="526" y="182"/>
                </a:cubicBezTo>
                <a:cubicBezTo>
                  <a:pt x="535" y="180"/>
                  <a:pt x="541" y="176"/>
                  <a:pt x="545" y="169"/>
                </a:cubicBezTo>
                <a:cubicBezTo>
                  <a:pt x="551" y="156"/>
                  <a:pt x="541" y="136"/>
                  <a:pt x="529" y="116"/>
                </a:cubicBezTo>
                <a:cubicBezTo>
                  <a:pt x="528" y="114"/>
                  <a:pt x="528" y="114"/>
                  <a:pt x="528" y="113"/>
                </a:cubicBezTo>
                <a:cubicBezTo>
                  <a:pt x="531" y="108"/>
                  <a:pt x="547" y="99"/>
                  <a:pt x="625" y="90"/>
                </a:cubicBezTo>
                <a:cubicBezTo>
                  <a:pt x="686" y="135"/>
                  <a:pt x="733" y="199"/>
                  <a:pt x="759" y="273"/>
                </a:cubicBezTo>
                <a:cubicBezTo>
                  <a:pt x="759" y="276"/>
                  <a:pt x="760" y="278"/>
                  <a:pt x="761" y="281"/>
                </a:cubicBezTo>
                <a:close/>
                <a:moveTo>
                  <a:pt x="779" y="389"/>
                </a:moveTo>
                <a:cubicBezTo>
                  <a:pt x="728" y="389"/>
                  <a:pt x="728" y="389"/>
                  <a:pt x="728" y="389"/>
                </a:cubicBezTo>
                <a:cubicBezTo>
                  <a:pt x="741" y="364"/>
                  <a:pt x="756" y="345"/>
                  <a:pt x="774" y="334"/>
                </a:cubicBezTo>
                <a:cubicBezTo>
                  <a:pt x="777" y="352"/>
                  <a:pt x="779" y="370"/>
                  <a:pt x="779" y="389"/>
                </a:cubicBezTo>
                <a:close/>
                <a:moveTo>
                  <a:pt x="364" y="544"/>
                </a:moveTo>
                <a:cubicBezTo>
                  <a:pt x="366" y="540"/>
                  <a:pt x="367" y="536"/>
                  <a:pt x="367" y="533"/>
                </a:cubicBezTo>
                <a:cubicBezTo>
                  <a:pt x="390" y="533"/>
                  <a:pt x="390" y="533"/>
                  <a:pt x="390" y="533"/>
                </a:cubicBezTo>
                <a:cubicBezTo>
                  <a:pt x="390" y="648"/>
                  <a:pt x="390" y="648"/>
                  <a:pt x="390" y="648"/>
                </a:cubicBezTo>
                <a:cubicBezTo>
                  <a:pt x="272" y="648"/>
                  <a:pt x="272" y="648"/>
                  <a:pt x="272" y="648"/>
                </a:cubicBezTo>
                <a:cubicBezTo>
                  <a:pt x="282" y="636"/>
                  <a:pt x="295" y="624"/>
                  <a:pt x="308" y="612"/>
                </a:cubicBezTo>
                <a:cubicBezTo>
                  <a:pt x="331" y="590"/>
                  <a:pt x="354" y="567"/>
                  <a:pt x="364" y="544"/>
                </a:cubicBezTo>
                <a:close/>
                <a:moveTo>
                  <a:pt x="368" y="519"/>
                </a:moveTo>
                <a:cubicBezTo>
                  <a:pt x="360" y="462"/>
                  <a:pt x="258" y="415"/>
                  <a:pt x="245" y="409"/>
                </a:cubicBezTo>
                <a:cubicBezTo>
                  <a:pt x="239" y="406"/>
                  <a:pt x="232" y="404"/>
                  <a:pt x="225" y="403"/>
                </a:cubicBezTo>
                <a:cubicBezTo>
                  <a:pt x="390" y="403"/>
                  <a:pt x="390" y="403"/>
                  <a:pt x="390" y="403"/>
                </a:cubicBezTo>
                <a:cubicBezTo>
                  <a:pt x="390" y="519"/>
                  <a:pt x="390" y="519"/>
                  <a:pt x="390" y="519"/>
                </a:cubicBezTo>
                <a:lnTo>
                  <a:pt x="368" y="519"/>
                </a:lnTo>
                <a:close/>
                <a:moveTo>
                  <a:pt x="266" y="144"/>
                </a:moveTo>
                <a:cubicBezTo>
                  <a:pt x="390" y="144"/>
                  <a:pt x="390" y="144"/>
                  <a:pt x="390" y="144"/>
                </a:cubicBezTo>
                <a:cubicBezTo>
                  <a:pt x="390" y="259"/>
                  <a:pt x="390" y="259"/>
                  <a:pt x="390" y="259"/>
                </a:cubicBezTo>
                <a:cubicBezTo>
                  <a:pt x="222" y="259"/>
                  <a:pt x="222" y="259"/>
                  <a:pt x="222" y="259"/>
                </a:cubicBezTo>
                <a:cubicBezTo>
                  <a:pt x="225" y="246"/>
                  <a:pt x="228" y="233"/>
                  <a:pt x="231" y="221"/>
                </a:cubicBezTo>
                <a:cubicBezTo>
                  <a:pt x="244" y="216"/>
                  <a:pt x="259" y="212"/>
                  <a:pt x="276" y="208"/>
                </a:cubicBezTo>
                <a:cubicBezTo>
                  <a:pt x="288" y="206"/>
                  <a:pt x="292" y="200"/>
                  <a:pt x="293" y="195"/>
                </a:cubicBezTo>
                <a:cubicBezTo>
                  <a:pt x="296" y="183"/>
                  <a:pt x="287" y="167"/>
                  <a:pt x="266" y="144"/>
                </a:cubicBezTo>
                <a:close/>
                <a:moveTo>
                  <a:pt x="292" y="130"/>
                </a:moveTo>
                <a:cubicBezTo>
                  <a:pt x="263" y="130"/>
                  <a:pt x="263" y="130"/>
                  <a:pt x="263" y="130"/>
                </a:cubicBezTo>
                <a:cubicBezTo>
                  <a:pt x="267" y="123"/>
                  <a:pt x="271" y="115"/>
                  <a:pt x="274" y="109"/>
                </a:cubicBezTo>
                <a:cubicBezTo>
                  <a:pt x="279" y="116"/>
                  <a:pt x="285" y="124"/>
                  <a:pt x="292" y="130"/>
                </a:cubicBezTo>
                <a:close/>
                <a:moveTo>
                  <a:pt x="447" y="40"/>
                </a:moveTo>
                <a:cubicBezTo>
                  <a:pt x="450" y="38"/>
                  <a:pt x="453" y="36"/>
                  <a:pt x="454" y="33"/>
                </a:cubicBezTo>
                <a:cubicBezTo>
                  <a:pt x="477" y="48"/>
                  <a:pt x="499" y="72"/>
                  <a:pt x="518" y="104"/>
                </a:cubicBezTo>
                <a:cubicBezTo>
                  <a:pt x="517" y="105"/>
                  <a:pt x="516" y="106"/>
                  <a:pt x="516" y="107"/>
                </a:cubicBezTo>
                <a:cubicBezTo>
                  <a:pt x="514" y="111"/>
                  <a:pt x="513" y="116"/>
                  <a:pt x="517" y="123"/>
                </a:cubicBezTo>
                <a:cubicBezTo>
                  <a:pt x="518" y="125"/>
                  <a:pt x="519" y="127"/>
                  <a:pt x="520" y="130"/>
                </a:cubicBezTo>
                <a:cubicBezTo>
                  <a:pt x="496" y="130"/>
                  <a:pt x="496" y="130"/>
                  <a:pt x="496" y="130"/>
                </a:cubicBezTo>
                <a:cubicBezTo>
                  <a:pt x="492" y="129"/>
                  <a:pt x="488" y="128"/>
                  <a:pt x="483" y="127"/>
                </a:cubicBezTo>
                <a:cubicBezTo>
                  <a:pt x="482" y="127"/>
                  <a:pt x="482" y="127"/>
                  <a:pt x="481" y="127"/>
                </a:cubicBezTo>
                <a:cubicBezTo>
                  <a:pt x="477" y="127"/>
                  <a:pt x="475" y="128"/>
                  <a:pt x="473" y="130"/>
                </a:cubicBezTo>
                <a:cubicBezTo>
                  <a:pt x="404" y="130"/>
                  <a:pt x="404" y="130"/>
                  <a:pt x="404" y="130"/>
                </a:cubicBezTo>
                <a:cubicBezTo>
                  <a:pt x="404" y="99"/>
                  <a:pt x="404" y="99"/>
                  <a:pt x="404" y="99"/>
                </a:cubicBezTo>
                <a:cubicBezTo>
                  <a:pt x="416" y="94"/>
                  <a:pt x="425" y="87"/>
                  <a:pt x="426" y="72"/>
                </a:cubicBezTo>
                <a:cubicBezTo>
                  <a:pt x="426" y="49"/>
                  <a:pt x="438" y="44"/>
                  <a:pt x="447" y="40"/>
                </a:cubicBezTo>
                <a:close/>
                <a:moveTo>
                  <a:pt x="477" y="210"/>
                </a:moveTo>
                <a:cubicBezTo>
                  <a:pt x="482" y="211"/>
                  <a:pt x="484" y="212"/>
                  <a:pt x="484" y="213"/>
                </a:cubicBezTo>
                <a:cubicBezTo>
                  <a:pt x="485" y="214"/>
                  <a:pt x="485" y="214"/>
                  <a:pt x="485" y="214"/>
                </a:cubicBezTo>
                <a:cubicBezTo>
                  <a:pt x="485" y="215"/>
                  <a:pt x="485" y="215"/>
                  <a:pt x="484" y="215"/>
                </a:cubicBezTo>
                <a:cubicBezTo>
                  <a:pt x="473" y="215"/>
                  <a:pt x="462" y="225"/>
                  <a:pt x="457" y="234"/>
                </a:cubicBezTo>
                <a:cubicBezTo>
                  <a:pt x="453" y="244"/>
                  <a:pt x="455" y="249"/>
                  <a:pt x="458" y="252"/>
                </a:cubicBezTo>
                <a:cubicBezTo>
                  <a:pt x="459" y="253"/>
                  <a:pt x="460" y="256"/>
                  <a:pt x="461" y="259"/>
                </a:cubicBezTo>
                <a:cubicBezTo>
                  <a:pt x="404" y="259"/>
                  <a:pt x="404" y="259"/>
                  <a:pt x="404" y="259"/>
                </a:cubicBezTo>
                <a:cubicBezTo>
                  <a:pt x="404" y="144"/>
                  <a:pt x="404" y="144"/>
                  <a:pt x="404" y="144"/>
                </a:cubicBezTo>
                <a:cubicBezTo>
                  <a:pt x="447" y="144"/>
                  <a:pt x="447" y="144"/>
                  <a:pt x="447" y="144"/>
                </a:cubicBezTo>
                <a:cubicBezTo>
                  <a:pt x="445" y="147"/>
                  <a:pt x="444" y="151"/>
                  <a:pt x="444" y="154"/>
                </a:cubicBezTo>
                <a:cubicBezTo>
                  <a:pt x="443" y="165"/>
                  <a:pt x="448" y="174"/>
                  <a:pt x="457" y="176"/>
                </a:cubicBezTo>
                <a:cubicBezTo>
                  <a:pt x="458" y="176"/>
                  <a:pt x="459" y="176"/>
                  <a:pt x="460" y="176"/>
                </a:cubicBezTo>
                <a:cubicBezTo>
                  <a:pt x="468" y="176"/>
                  <a:pt x="475" y="170"/>
                  <a:pt x="476" y="160"/>
                </a:cubicBezTo>
                <a:cubicBezTo>
                  <a:pt x="477" y="158"/>
                  <a:pt x="477" y="155"/>
                  <a:pt x="477" y="153"/>
                </a:cubicBezTo>
                <a:cubicBezTo>
                  <a:pt x="478" y="155"/>
                  <a:pt x="480" y="156"/>
                  <a:pt x="482" y="158"/>
                </a:cubicBezTo>
                <a:cubicBezTo>
                  <a:pt x="482" y="159"/>
                  <a:pt x="481" y="159"/>
                  <a:pt x="481" y="160"/>
                </a:cubicBezTo>
                <a:cubicBezTo>
                  <a:pt x="476" y="167"/>
                  <a:pt x="470" y="176"/>
                  <a:pt x="474" y="183"/>
                </a:cubicBezTo>
                <a:cubicBezTo>
                  <a:pt x="475" y="184"/>
                  <a:pt x="476" y="185"/>
                  <a:pt x="478" y="187"/>
                </a:cubicBezTo>
                <a:cubicBezTo>
                  <a:pt x="471" y="191"/>
                  <a:pt x="467" y="196"/>
                  <a:pt x="467" y="201"/>
                </a:cubicBezTo>
                <a:cubicBezTo>
                  <a:pt x="467" y="202"/>
                  <a:pt x="468" y="209"/>
                  <a:pt x="477" y="210"/>
                </a:cubicBezTo>
                <a:close/>
                <a:moveTo>
                  <a:pt x="424" y="389"/>
                </a:moveTo>
                <a:cubicBezTo>
                  <a:pt x="404" y="389"/>
                  <a:pt x="404" y="389"/>
                  <a:pt x="404" y="389"/>
                </a:cubicBezTo>
                <a:cubicBezTo>
                  <a:pt x="404" y="273"/>
                  <a:pt x="404" y="273"/>
                  <a:pt x="404" y="273"/>
                </a:cubicBezTo>
                <a:cubicBezTo>
                  <a:pt x="459" y="273"/>
                  <a:pt x="459" y="273"/>
                  <a:pt x="459" y="273"/>
                </a:cubicBezTo>
                <a:cubicBezTo>
                  <a:pt x="447" y="284"/>
                  <a:pt x="423" y="308"/>
                  <a:pt x="418" y="343"/>
                </a:cubicBezTo>
                <a:cubicBezTo>
                  <a:pt x="416" y="358"/>
                  <a:pt x="418" y="374"/>
                  <a:pt x="424" y="389"/>
                </a:cubicBezTo>
                <a:close/>
                <a:moveTo>
                  <a:pt x="390" y="389"/>
                </a:moveTo>
                <a:cubicBezTo>
                  <a:pt x="210" y="389"/>
                  <a:pt x="210" y="389"/>
                  <a:pt x="210" y="389"/>
                </a:cubicBezTo>
                <a:cubicBezTo>
                  <a:pt x="210" y="350"/>
                  <a:pt x="214" y="311"/>
                  <a:pt x="220" y="273"/>
                </a:cubicBezTo>
                <a:cubicBezTo>
                  <a:pt x="390" y="273"/>
                  <a:pt x="390" y="273"/>
                  <a:pt x="390" y="273"/>
                </a:cubicBezTo>
                <a:lnTo>
                  <a:pt x="390" y="389"/>
                </a:lnTo>
                <a:close/>
                <a:moveTo>
                  <a:pt x="494" y="144"/>
                </a:moveTo>
                <a:cubicBezTo>
                  <a:pt x="493" y="145"/>
                  <a:pt x="493" y="146"/>
                  <a:pt x="493" y="147"/>
                </a:cubicBezTo>
                <a:cubicBezTo>
                  <a:pt x="492" y="147"/>
                  <a:pt x="492" y="147"/>
                  <a:pt x="491" y="147"/>
                </a:cubicBezTo>
                <a:cubicBezTo>
                  <a:pt x="490" y="147"/>
                  <a:pt x="489" y="145"/>
                  <a:pt x="487" y="144"/>
                </a:cubicBezTo>
                <a:lnTo>
                  <a:pt x="494" y="144"/>
                </a:lnTo>
                <a:close/>
                <a:moveTo>
                  <a:pt x="488" y="175"/>
                </a:moveTo>
                <a:cubicBezTo>
                  <a:pt x="489" y="172"/>
                  <a:pt x="491" y="170"/>
                  <a:pt x="492" y="168"/>
                </a:cubicBezTo>
                <a:cubicBezTo>
                  <a:pt x="493" y="167"/>
                  <a:pt x="494" y="166"/>
                  <a:pt x="494" y="165"/>
                </a:cubicBezTo>
                <a:cubicBezTo>
                  <a:pt x="496" y="168"/>
                  <a:pt x="498" y="170"/>
                  <a:pt x="500" y="172"/>
                </a:cubicBezTo>
                <a:cubicBezTo>
                  <a:pt x="498" y="173"/>
                  <a:pt x="494" y="174"/>
                  <a:pt x="488" y="175"/>
                </a:cubicBezTo>
                <a:close/>
                <a:moveTo>
                  <a:pt x="463" y="158"/>
                </a:moveTo>
                <a:cubicBezTo>
                  <a:pt x="462" y="160"/>
                  <a:pt x="461" y="162"/>
                  <a:pt x="460" y="162"/>
                </a:cubicBezTo>
                <a:cubicBezTo>
                  <a:pt x="460" y="162"/>
                  <a:pt x="460" y="162"/>
                  <a:pt x="460" y="162"/>
                </a:cubicBezTo>
                <a:cubicBezTo>
                  <a:pt x="459" y="162"/>
                  <a:pt x="458" y="160"/>
                  <a:pt x="458" y="159"/>
                </a:cubicBezTo>
                <a:cubicBezTo>
                  <a:pt x="457" y="154"/>
                  <a:pt x="459" y="149"/>
                  <a:pt x="460" y="149"/>
                </a:cubicBezTo>
                <a:cubicBezTo>
                  <a:pt x="462" y="149"/>
                  <a:pt x="463" y="153"/>
                  <a:pt x="463" y="158"/>
                </a:cubicBezTo>
                <a:close/>
                <a:moveTo>
                  <a:pt x="516" y="170"/>
                </a:moveTo>
                <a:cubicBezTo>
                  <a:pt x="515" y="165"/>
                  <a:pt x="512" y="161"/>
                  <a:pt x="508" y="160"/>
                </a:cubicBezTo>
                <a:cubicBezTo>
                  <a:pt x="506" y="158"/>
                  <a:pt x="506" y="152"/>
                  <a:pt x="507" y="150"/>
                </a:cubicBezTo>
                <a:cubicBezTo>
                  <a:pt x="508" y="148"/>
                  <a:pt x="509" y="146"/>
                  <a:pt x="509" y="144"/>
                </a:cubicBezTo>
                <a:cubicBezTo>
                  <a:pt x="528" y="144"/>
                  <a:pt x="528" y="144"/>
                  <a:pt x="528" y="144"/>
                </a:cubicBezTo>
                <a:cubicBezTo>
                  <a:pt x="531" y="152"/>
                  <a:pt x="534" y="159"/>
                  <a:pt x="532" y="164"/>
                </a:cubicBezTo>
                <a:cubicBezTo>
                  <a:pt x="531" y="166"/>
                  <a:pt x="528" y="167"/>
                  <a:pt x="523" y="168"/>
                </a:cubicBezTo>
                <a:cubicBezTo>
                  <a:pt x="521" y="168"/>
                  <a:pt x="519" y="169"/>
                  <a:pt x="516" y="170"/>
                </a:cubicBezTo>
                <a:close/>
                <a:moveTo>
                  <a:pt x="390" y="130"/>
                </a:moveTo>
                <a:cubicBezTo>
                  <a:pt x="342" y="130"/>
                  <a:pt x="342" y="130"/>
                  <a:pt x="342" y="130"/>
                </a:cubicBezTo>
                <a:cubicBezTo>
                  <a:pt x="344" y="127"/>
                  <a:pt x="346" y="125"/>
                  <a:pt x="347" y="122"/>
                </a:cubicBezTo>
                <a:cubicBezTo>
                  <a:pt x="351" y="116"/>
                  <a:pt x="354" y="111"/>
                  <a:pt x="362" y="108"/>
                </a:cubicBezTo>
                <a:cubicBezTo>
                  <a:pt x="367" y="107"/>
                  <a:pt x="374" y="105"/>
                  <a:pt x="380" y="104"/>
                </a:cubicBezTo>
                <a:cubicBezTo>
                  <a:pt x="383" y="104"/>
                  <a:pt x="387" y="103"/>
                  <a:pt x="390" y="103"/>
                </a:cubicBezTo>
                <a:lnTo>
                  <a:pt x="390" y="130"/>
                </a:lnTo>
                <a:close/>
                <a:moveTo>
                  <a:pt x="208" y="259"/>
                </a:moveTo>
                <a:cubicBezTo>
                  <a:pt x="176" y="259"/>
                  <a:pt x="176" y="259"/>
                  <a:pt x="176" y="259"/>
                </a:cubicBezTo>
                <a:cubicBezTo>
                  <a:pt x="184" y="247"/>
                  <a:pt x="197" y="237"/>
                  <a:pt x="215" y="228"/>
                </a:cubicBezTo>
                <a:cubicBezTo>
                  <a:pt x="212" y="238"/>
                  <a:pt x="210" y="249"/>
                  <a:pt x="208" y="259"/>
                </a:cubicBezTo>
                <a:close/>
                <a:moveTo>
                  <a:pt x="165" y="328"/>
                </a:moveTo>
                <a:cubicBezTo>
                  <a:pt x="170" y="323"/>
                  <a:pt x="169" y="316"/>
                  <a:pt x="167" y="307"/>
                </a:cubicBezTo>
                <a:cubicBezTo>
                  <a:pt x="166" y="297"/>
                  <a:pt x="165" y="286"/>
                  <a:pt x="169" y="273"/>
                </a:cubicBezTo>
                <a:cubicBezTo>
                  <a:pt x="206" y="273"/>
                  <a:pt x="206" y="273"/>
                  <a:pt x="206" y="273"/>
                </a:cubicBezTo>
                <a:cubicBezTo>
                  <a:pt x="200" y="311"/>
                  <a:pt x="196" y="350"/>
                  <a:pt x="196" y="389"/>
                </a:cubicBezTo>
                <a:cubicBezTo>
                  <a:pt x="143" y="389"/>
                  <a:pt x="143" y="389"/>
                  <a:pt x="143" y="389"/>
                </a:cubicBezTo>
                <a:cubicBezTo>
                  <a:pt x="139" y="375"/>
                  <a:pt x="133" y="360"/>
                  <a:pt x="116" y="360"/>
                </a:cubicBezTo>
                <a:cubicBezTo>
                  <a:pt x="107" y="360"/>
                  <a:pt x="98" y="357"/>
                  <a:pt x="92" y="351"/>
                </a:cubicBezTo>
                <a:cubicBezTo>
                  <a:pt x="89" y="348"/>
                  <a:pt x="85" y="342"/>
                  <a:pt x="85" y="335"/>
                </a:cubicBezTo>
                <a:cubicBezTo>
                  <a:pt x="85" y="325"/>
                  <a:pt x="88" y="296"/>
                  <a:pt x="117" y="296"/>
                </a:cubicBezTo>
                <a:cubicBezTo>
                  <a:pt x="132" y="296"/>
                  <a:pt x="134" y="303"/>
                  <a:pt x="137" y="314"/>
                </a:cubicBezTo>
                <a:cubicBezTo>
                  <a:pt x="139" y="321"/>
                  <a:pt x="142" y="333"/>
                  <a:pt x="154" y="333"/>
                </a:cubicBezTo>
                <a:cubicBezTo>
                  <a:pt x="159" y="333"/>
                  <a:pt x="162" y="331"/>
                  <a:pt x="165" y="328"/>
                </a:cubicBezTo>
                <a:close/>
                <a:moveTo>
                  <a:pt x="186" y="403"/>
                </a:moveTo>
                <a:cubicBezTo>
                  <a:pt x="178" y="404"/>
                  <a:pt x="171" y="406"/>
                  <a:pt x="165" y="407"/>
                </a:cubicBezTo>
                <a:cubicBezTo>
                  <a:pt x="159" y="409"/>
                  <a:pt x="153" y="410"/>
                  <a:pt x="150" y="410"/>
                </a:cubicBezTo>
                <a:cubicBezTo>
                  <a:pt x="149" y="409"/>
                  <a:pt x="148" y="406"/>
                  <a:pt x="147" y="403"/>
                </a:cubicBezTo>
                <a:lnTo>
                  <a:pt x="186" y="403"/>
                </a:lnTo>
                <a:close/>
                <a:moveTo>
                  <a:pt x="404" y="403"/>
                </a:moveTo>
                <a:cubicBezTo>
                  <a:pt x="430" y="403"/>
                  <a:pt x="430" y="403"/>
                  <a:pt x="430" y="403"/>
                </a:cubicBezTo>
                <a:cubicBezTo>
                  <a:pt x="434" y="412"/>
                  <a:pt x="440" y="420"/>
                  <a:pt x="447" y="429"/>
                </a:cubicBezTo>
                <a:cubicBezTo>
                  <a:pt x="458" y="442"/>
                  <a:pt x="470" y="449"/>
                  <a:pt x="485" y="449"/>
                </a:cubicBezTo>
                <a:cubicBezTo>
                  <a:pt x="493" y="449"/>
                  <a:pt x="501" y="446"/>
                  <a:pt x="508" y="445"/>
                </a:cubicBezTo>
                <a:cubicBezTo>
                  <a:pt x="514" y="443"/>
                  <a:pt x="519" y="442"/>
                  <a:pt x="524" y="442"/>
                </a:cubicBezTo>
                <a:cubicBezTo>
                  <a:pt x="529" y="442"/>
                  <a:pt x="533" y="443"/>
                  <a:pt x="537" y="448"/>
                </a:cubicBezTo>
                <a:cubicBezTo>
                  <a:pt x="549" y="462"/>
                  <a:pt x="553" y="491"/>
                  <a:pt x="555" y="519"/>
                </a:cubicBezTo>
                <a:cubicBezTo>
                  <a:pt x="404" y="519"/>
                  <a:pt x="404" y="519"/>
                  <a:pt x="404" y="519"/>
                </a:cubicBezTo>
                <a:lnTo>
                  <a:pt x="404" y="403"/>
                </a:lnTo>
                <a:close/>
                <a:moveTo>
                  <a:pt x="516" y="232"/>
                </a:moveTo>
                <a:cubicBezTo>
                  <a:pt x="516" y="232"/>
                  <a:pt x="516" y="231"/>
                  <a:pt x="516" y="231"/>
                </a:cubicBezTo>
                <a:cubicBezTo>
                  <a:pt x="516" y="231"/>
                  <a:pt x="517" y="231"/>
                  <a:pt x="517" y="231"/>
                </a:cubicBezTo>
                <a:cubicBezTo>
                  <a:pt x="520" y="230"/>
                  <a:pt x="520" y="230"/>
                  <a:pt x="520" y="230"/>
                </a:cubicBezTo>
                <a:cubicBezTo>
                  <a:pt x="529" y="227"/>
                  <a:pt x="530" y="227"/>
                  <a:pt x="546" y="228"/>
                </a:cubicBezTo>
                <a:cubicBezTo>
                  <a:pt x="552" y="229"/>
                  <a:pt x="555" y="234"/>
                  <a:pt x="559" y="241"/>
                </a:cubicBezTo>
                <a:cubicBezTo>
                  <a:pt x="560" y="243"/>
                  <a:pt x="561" y="245"/>
                  <a:pt x="562" y="247"/>
                </a:cubicBezTo>
                <a:cubicBezTo>
                  <a:pt x="559" y="245"/>
                  <a:pt x="555" y="244"/>
                  <a:pt x="550" y="244"/>
                </a:cubicBezTo>
                <a:cubicBezTo>
                  <a:pt x="539" y="244"/>
                  <a:pt x="523" y="249"/>
                  <a:pt x="517" y="253"/>
                </a:cubicBezTo>
                <a:cubicBezTo>
                  <a:pt x="517" y="253"/>
                  <a:pt x="515" y="254"/>
                  <a:pt x="506" y="254"/>
                </a:cubicBezTo>
                <a:cubicBezTo>
                  <a:pt x="506" y="254"/>
                  <a:pt x="506" y="254"/>
                  <a:pt x="506" y="254"/>
                </a:cubicBezTo>
                <a:cubicBezTo>
                  <a:pt x="505" y="254"/>
                  <a:pt x="505" y="254"/>
                  <a:pt x="505" y="254"/>
                </a:cubicBezTo>
                <a:cubicBezTo>
                  <a:pt x="509" y="252"/>
                  <a:pt x="512" y="250"/>
                  <a:pt x="514" y="246"/>
                </a:cubicBezTo>
                <a:cubicBezTo>
                  <a:pt x="517" y="240"/>
                  <a:pt x="517" y="235"/>
                  <a:pt x="516" y="232"/>
                </a:cubicBezTo>
                <a:close/>
                <a:moveTo>
                  <a:pt x="567" y="252"/>
                </a:moveTo>
                <a:cubicBezTo>
                  <a:pt x="568" y="254"/>
                  <a:pt x="569" y="255"/>
                  <a:pt x="571" y="255"/>
                </a:cubicBezTo>
                <a:cubicBezTo>
                  <a:pt x="573" y="264"/>
                  <a:pt x="574" y="272"/>
                  <a:pt x="576" y="281"/>
                </a:cubicBezTo>
                <a:cubicBezTo>
                  <a:pt x="565" y="278"/>
                  <a:pt x="566" y="273"/>
                  <a:pt x="567" y="265"/>
                </a:cubicBezTo>
                <a:cubicBezTo>
                  <a:pt x="568" y="261"/>
                  <a:pt x="568" y="256"/>
                  <a:pt x="567" y="252"/>
                </a:cubicBezTo>
                <a:close/>
                <a:moveTo>
                  <a:pt x="590" y="284"/>
                </a:moveTo>
                <a:cubicBezTo>
                  <a:pt x="589" y="273"/>
                  <a:pt x="587" y="262"/>
                  <a:pt x="585" y="251"/>
                </a:cubicBezTo>
                <a:cubicBezTo>
                  <a:pt x="587" y="245"/>
                  <a:pt x="583" y="239"/>
                  <a:pt x="578" y="228"/>
                </a:cubicBezTo>
                <a:cubicBezTo>
                  <a:pt x="577" y="226"/>
                  <a:pt x="575" y="224"/>
                  <a:pt x="574" y="221"/>
                </a:cubicBezTo>
                <a:cubicBezTo>
                  <a:pt x="582" y="229"/>
                  <a:pt x="591" y="245"/>
                  <a:pt x="596" y="253"/>
                </a:cubicBezTo>
                <a:cubicBezTo>
                  <a:pt x="601" y="261"/>
                  <a:pt x="604" y="266"/>
                  <a:pt x="607" y="269"/>
                </a:cubicBezTo>
                <a:cubicBezTo>
                  <a:pt x="609" y="272"/>
                  <a:pt x="612" y="272"/>
                  <a:pt x="614" y="272"/>
                </a:cubicBezTo>
                <a:cubicBezTo>
                  <a:pt x="614" y="272"/>
                  <a:pt x="614" y="272"/>
                  <a:pt x="614" y="272"/>
                </a:cubicBezTo>
                <a:cubicBezTo>
                  <a:pt x="620" y="272"/>
                  <a:pt x="623" y="267"/>
                  <a:pt x="625" y="264"/>
                </a:cubicBezTo>
                <a:cubicBezTo>
                  <a:pt x="626" y="263"/>
                  <a:pt x="626" y="263"/>
                  <a:pt x="626" y="262"/>
                </a:cubicBezTo>
                <a:cubicBezTo>
                  <a:pt x="632" y="268"/>
                  <a:pt x="639" y="269"/>
                  <a:pt x="646" y="270"/>
                </a:cubicBezTo>
                <a:cubicBezTo>
                  <a:pt x="658" y="272"/>
                  <a:pt x="662" y="273"/>
                  <a:pt x="662" y="282"/>
                </a:cubicBezTo>
                <a:cubicBezTo>
                  <a:pt x="662" y="285"/>
                  <a:pt x="662" y="286"/>
                  <a:pt x="661" y="287"/>
                </a:cubicBezTo>
                <a:cubicBezTo>
                  <a:pt x="661" y="288"/>
                  <a:pt x="660" y="288"/>
                  <a:pt x="658" y="288"/>
                </a:cubicBezTo>
                <a:cubicBezTo>
                  <a:pt x="653" y="288"/>
                  <a:pt x="646" y="286"/>
                  <a:pt x="640" y="284"/>
                </a:cubicBezTo>
                <a:cubicBezTo>
                  <a:pt x="635" y="282"/>
                  <a:pt x="630" y="281"/>
                  <a:pt x="626" y="280"/>
                </a:cubicBezTo>
                <a:cubicBezTo>
                  <a:pt x="625" y="280"/>
                  <a:pt x="623" y="280"/>
                  <a:pt x="622" y="280"/>
                </a:cubicBezTo>
                <a:cubicBezTo>
                  <a:pt x="617" y="280"/>
                  <a:pt x="612" y="281"/>
                  <a:pt x="608" y="282"/>
                </a:cubicBezTo>
                <a:cubicBezTo>
                  <a:pt x="604" y="283"/>
                  <a:pt x="599" y="284"/>
                  <a:pt x="594" y="284"/>
                </a:cubicBezTo>
                <a:cubicBezTo>
                  <a:pt x="593" y="284"/>
                  <a:pt x="592" y="284"/>
                  <a:pt x="590" y="284"/>
                </a:cubicBezTo>
                <a:close/>
                <a:moveTo>
                  <a:pt x="529" y="96"/>
                </a:moveTo>
                <a:cubicBezTo>
                  <a:pt x="509" y="62"/>
                  <a:pt x="485" y="35"/>
                  <a:pt x="460" y="19"/>
                </a:cubicBezTo>
                <a:cubicBezTo>
                  <a:pt x="514" y="28"/>
                  <a:pt x="564" y="49"/>
                  <a:pt x="608" y="78"/>
                </a:cubicBezTo>
                <a:cubicBezTo>
                  <a:pt x="568" y="83"/>
                  <a:pt x="543" y="88"/>
                  <a:pt x="529" y="96"/>
                </a:cubicBezTo>
                <a:close/>
                <a:moveTo>
                  <a:pt x="390" y="662"/>
                </a:moveTo>
                <a:cubicBezTo>
                  <a:pt x="390" y="777"/>
                  <a:pt x="390" y="777"/>
                  <a:pt x="390" y="777"/>
                </a:cubicBezTo>
                <a:cubicBezTo>
                  <a:pt x="343" y="774"/>
                  <a:pt x="297" y="732"/>
                  <a:pt x="263" y="662"/>
                </a:cubicBezTo>
                <a:lnTo>
                  <a:pt x="390" y="662"/>
                </a:lnTo>
                <a:close/>
                <a:moveTo>
                  <a:pt x="404" y="662"/>
                </a:moveTo>
                <a:cubicBezTo>
                  <a:pt x="531" y="662"/>
                  <a:pt x="531" y="662"/>
                  <a:pt x="531" y="662"/>
                </a:cubicBezTo>
                <a:cubicBezTo>
                  <a:pt x="498" y="732"/>
                  <a:pt x="453" y="774"/>
                  <a:pt x="404" y="777"/>
                </a:cubicBezTo>
                <a:lnTo>
                  <a:pt x="404" y="662"/>
                </a:lnTo>
                <a:close/>
                <a:moveTo>
                  <a:pt x="404" y="648"/>
                </a:moveTo>
                <a:cubicBezTo>
                  <a:pt x="404" y="533"/>
                  <a:pt x="404" y="533"/>
                  <a:pt x="404" y="533"/>
                </a:cubicBezTo>
                <a:cubicBezTo>
                  <a:pt x="555" y="533"/>
                  <a:pt x="555" y="533"/>
                  <a:pt x="555" y="533"/>
                </a:cubicBezTo>
                <a:cubicBezTo>
                  <a:pt x="555" y="540"/>
                  <a:pt x="556" y="547"/>
                  <a:pt x="556" y="554"/>
                </a:cubicBezTo>
                <a:cubicBezTo>
                  <a:pt x="556" y="560"/>
                  <a:pt x="556" y="566"/>
                  <a:pt x="556" y="570"/>
                </a:cubicBezTo>
                <a:cubicBezTo>
                  <a:pt x="556" y="575"/>
                  <a:pt x="556" y="582"/>
                  <a:pt x="555" y="588"/>
                </a:cubicBezTo>
                <a:cubicBezTo>
                  <a:pt x="555" y="593"/>
                  <a:pt x="554" y="598"/>
                  <a:pt x="554" y="603"/>
                </a:cubicBezTo>
                <a:cubicBezTo>
                  <a:pt x="549" y="619"/>
                  <a:pt x="544" y="634"/>
                  <a:pt x="538" y="648"/>
                </a:cubicBezTo>
                <a:lnTo>
                  <a:pt x="404" y="648"/>
                </a:lnTo>
                <a:close/>
                <a:moveTo>
                  <a:pt x="704" y="572"/>
                </a:moveTo>
                <a:cubicBezTo>
                  <a:pt x="700" y="580"/>
                  <a:pt x="697" y="584"/>
                  <a:pt x="695" y="585"/>
                </a:cubicBezTo>
                <a:cubicBezTo>
                  <a:pt x="695" y="582"/>
                  <a:pt x="695" y="574"/>
                  <a:pt x="699" y="561"/>
                </a:cubicBezTo>
                <a:cubicBezTo>
                  <a:pt x="703" y="547"/>
                  <a:pt x="708" y="537"/>
                  <a:pt x="712" y="533"/>
                </a:cubicBezTo>
                <a:cubicBezTo>
                  <a:pt x="712" y="540"/>
                  <a:pt x="710" y="557"/>
                  <a:pt x="704" y="572"/>
                </a:cubicBezTo>
                <a:close/>
                <a:moveTo>
                  <a:pt x="720" y="519"/>
                </a:moveTo>
                <a:cubicBezTo>
                  <a:pt x="719" y="518"/>
                  <a:pt x="718" y="517"/>
                  <a:pt x="716" y="517"/>
                </a:cubicBezTo>
                <a:cubicBezTo>
                  <a:pt x="715" y="517"/>
                  <a:pt x="715" y="517"/>
                  <a:pt x="714" y="517"/>
                </a:cubicBezTo>
                <a:cubicBezTo>
                  <a:pt x="711" y="517"/>
                  <a:pt x="709" y="517"/>
                  <a:pt x="707" y="519"/>
                </a:cubicBezTo>
                <a:cubicBezTo>
                  <a:pt x="691" y="519"/>
                  <a:pt x="691" y="519"/>
                  <a:pt x="691" y="519"/>
                </a:cubicBezTo>
                <a:cubicBezTo>
                  <a:pt x="693" y="512"/>
                  <a:pt x="694" y="505"/>
                  <a:pt x="695" y="499"/>
                </a:cubicBezTo>
                <a:cubicBezTo>
                  <a:pt x="695" y="494"/>
                  <a:pt x="696" y="490"/>
                  <a:pt x="697" y="486"/>
                </a:cubicBezTo>
                <a:cubicBezTo>
                  <a:pt x="699" y="473"/>
                  <a:pt x="706" y="438"/>
                  <a:pt x="721" y="404"/>
                </a:cubicBezTo>
                <a:cubicBezTo>
                  <a:pt x="721" y="404"/>
                  <a:pt x="721" y="403"/>
                  <a:pt x="721" y="403"/>
                </a:cubicBezTo>
                <a:cubicBezTo>
                  <a:pt x="779" y="403"/>
                  <a:pt x="779" y="403"/>
                  <a:pt x="779" y="403"/>
                </a:cubicBezTo>
                <a:cubicBezTo>
                  <a:pt x="778" y="443"/>
                  <a:pt x="771" y="482"/>
                  <a:pt x="759" y="519"/>
                </a:cubicBezTo>
                <a:lnTo>
                  <a:pt x="720" y="519"/>
                </a:lnTo>
                <a:close/>
                <a:moveTo>
                  <a:pt x="124" y="662"/>
                </a:moveTo>
                <a:cubicBezTo>
                  <a:pt x="207" y="662"/>
                  <a:pt x="207" y="662"/>
                  <a:pt x="207" y="662"/>
                </a:cubicBezTo>
                <a:cubicBezTo>
                  <a:pt x="207" y="687"/>
                  <a:pt x="210" y="710"/>
                  <a:pt x="222" y="723"/>
                </a:cubicBezTo>
                <a:cubicBezTo>
                  <a:pt x="228" y="730"/>
                  <a:pt x="237" y="735"/>
                  <a:pt x="246" y="735"/>
                </a:cubicBezTo>
                <a:cubicBezTo>
                  <a:pt x="252" y="735"/>
                  <a:pt x="257" y="732"/>
                  <a:pt x="260" y="728"/>
                </a:cubicBezTo>
                <a:cubicBezTo>
                  <a:pt x="263" y="722"/>
                  <a:pt x="262" y="713"/>
                  <a:pt x="256" y="703"/>
                </a:cubicBezTo>
                <a:cubicBezTo>
                  <a:pt x="251" y="695"/>
                  <a:pt x="251" y="685"/>
                  <a:pt x="254" y="676"/>
                </a:cubicBezTo>
                <a:cubicBezTo>
                  <a:pt x="277" y="721"/>
                  <a:pt x="304" y="753"/>
                  <a:pt x="334" y="772"/>
                </a:cubicBezTo>
                <a:cubicBezTo>
                  <a:pt x="253" y="759"/>
                  <a:pt x="179" y="719"/>
                  <a:pt x="124" y="662"/>
                </a:cubicBezTo>
                <a:close/>
                <a:moveTo>
                  <a:pt x="460" y="773"/>
                </a:moveTo>
                <a:cubicBezTo>
                  <a:pt x="493" y="751"/>
                  <a:pt x="523" y="714"/>
                  <a:pt x="547" y="662"/>
                </a:cubicBezTo>
                <a:cubicBezTo>
                  <a:pt x="671" y="662"/>
                  <a:pt x="671" y="662"/>
                  <a:pt x="671" y="662"/>
                </a:cubicBezTo>
                <a:cubicBezTo>
                  <a:pt x="615" y="719"/>
                  <a:pt x="542" y="759"/>
                  <a:pt x="460" y="773"/>
                </a:cubicBez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6156" name="Oval 73"/>
          <p:cNvSpPr>
            <a:spLocks noChangeArrowheads="1"/>
          </p:cNvSpPr>
          <p:nvPr/>
        </p:nvSpPr>
        <p:spPr bwMode="auto">
          <a:xfrm>
            <a:off x="8347593" y="3120088"/>
            <a:ext cx="1119124" cy="1119124"/>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9272" name="Freeform 139"/>
          <p:cNvSpPr>
            <a:spLocks noEditPoints="1"/>
          </p:cNvSpPr>
          <p:nvPr/>
        </p:nvSpPr>
        <p:spPr bwMode="auto">
          <a:xfrm>
            <a:off x="8491132" y="3261958"/>
            <a:ext cx="832045" cy="835385"/>
          </a:xfrm>
          <a:custGeom>
            <a:avLst/>
            <a:gdLst>
              <a:gd name="T0" fmla="*/ 440 w 791"/>
              <a:gd name="T1" fmla="*/ 319 h 792"/>
              <a:gd name="T2" fmla="*/ 459 w 791"/>
              <a:gd name="T3" fmla="*/ 356 h 792"/>
              <a:gd name="T4" fmla="*/ 427 w 791"/>
              <a:gd name="T5" fmla="*/ 310 h 792"/>
              <a:gd name="T6" fmla="*/ 768 w 791"/>
              <a:gd name="T7" fmla="*/ 263 h 792"/>
              <a:gd name="T8" fmla="*/ 0 w 791"/>
              <a:gd name="T9" fmla="*/ 396 h 792"/>
              <a:gd name="T10" fmla="*/ 6 w 791"/>
              <a:gd name="T11" fmla="*/ 464 h 792"/>
              <a:gd name="T12" fmla="*/ 20 w 791"/>
              <a:gd name="T13" fmla="*/ 521 h 792"/>
              <a:gd name="T14" fmla="*/ 691 w 791"/>
              <a:gd name="T15" fmla="*/ 658 h 792"/>
              <a:gd name="T16" fmla="*/ 551 w 791"/>
              <a:gd name="T17" fmla="*/ 648 h 792"/>
              <a:gd name="T18" fmla="*/ 649 w 791"/>
              <a:gd name="T19" fmla="*/ 637 h 792"/>
              <a:gd name="T20" fmla="*/ 220 w 791"/>
              <a:gd name="T21" fmla="*/ 533 h 792"/>
              <a:gd name="T22" fmla="*/ 61 w 791"/>
              <a:gd name="T23" fmla="*/ 426 h 792"/>
              <a:gd name="T24" fmla="*/ 110 w 791"/>
              <a:gd name="T25" fmla="*/ 246 h 792"/>
              <a:gd name="T26" fmla="*/ 51 w 791"/>
              <a:gd name="T27" fmla="*/ 389 h 792"/>
              <a:gd name="T28" fmla="*/ 183 w 791"/>
              <a:gd name="T29" fmla="*/ 374 h 792"/>
              <a:gd name="T30" fmla="*/ 255 w 791"/>
              <a:gd name="T31" fmla="*/ 317 h 792"/>
              <a:gd name="T32" fmla="*/ 388 w 791"/>
              <a:gd name="T33" fmla="*/ 476 h 792"/>
              <a:gd name="T34" fmla="*/ 388 w 791"/>
              <a:gd name="T35" fmla="*/ 370 h 792"/>
              <a:gd name="T36" fmla="*/ 383 w 791"/>
              <a:gd name="T37" fmla="*/ 446 h 792"/>
              <a:gd name="T38" fmla="*/ 529 w 791"/>
              <a:gd name="T39" fmla="*/ 130 h 792"/>
              <a:gd name="T40" fmla="*/ 504 w 791"/>
              <a:gd name="T41" fmla="*/ 86 h 792"/>
              <a:gd name="T42" fmla="*/ 591 w 791"/>
              <a:gd name="T43" fmla="*/ 491 h 792"/>
              <a:gd name="T44" fmla="*/ 757 w 791"/>
              <a:gd name="T45" fmla="*/ 519 h 792"/>
              <a:gd name="T46" fmla="*/ 475 w 791"/>
              <a:gd name="T47" fmla="*/ 601 h 792"/>
              <a:gd name="T48" fmla="*/ 403 w 791"/>
              <a:gd name="T49" fmla="*/ 554 h 792"/>
              <a:gd name="T50" fmla="*/ 538 w 791"/>
              <a:gd name="T51" fmla="*/ 536 h 792"/>
              <a:gd name="T52" fmla="*/ 402 w 791"/>
              <a:gd name="T53" fmla="*/ 392 h 792"/>
              <a:gd name="T54" fmla="*/ 399 w 791"/>
              <a:gd name="T55" fmla="*/ 382 h 792"/>
              <a:gd name="T56" fmla="*/ 551 w 791"/>
              <a:gd name="T57" fmla="*/ 425 h 792"/>
              <a:gd name="T58" fmla="*/ 566 w 791"/>
              <a:gd name="T59" fmla="*/ 476 h 792"/>
              <a:gd name="T60" fmla="*/ 513 w 791"/>
              <a:gd name="T61" fmla="*/ 500 h 792"/>
              <a:gd name="T62" fmla="*/ 571 w 791"/>
              <a:gd name="T63" fmla="*/ 463 h 792"/>
              <a:gd name="T64" fmla="*/ 578 w 791"/>
              <a:gd name="T65" fmla="*/ 460 h 792"/>
              <a:gd name="T66" fmla="*/ 757 w 791"/>
              <a:gd name="T67" fmla="*/ 273 h 792"/>
              <a:gd name="T68" fmla="*/ 509 w 791"/>
              <a:gd name="T69" fmla="*/ 192 h 792"/>
              <a:gd name="T70" fmla="*/ 503 w 791"/>
              <a:gd name="T71" fmla="*/ 145 h 792"/>
              <a:gd name="T72" fmla="*/ 475 w 791"/>
              <a:gd name="T73" fmla="*/ 194 h 792"/>
              <a:gd name="T74" fmla="*/ 468 w 791"/>
              <a:gd name="T75" fmla="*/ 211 h 792"/>
              <a:gd name="T76" fmla="*/ 523 w 791"/>
              <a:gd name="T77" fmla="*/ 166 h 792"/>
              <a:gd name="T78" fmla="*/ 445 w 791"/>
              <a:gd name="T79" fmla="*/ 239 h 792"/>
              <a:gd name="T80" fmla="*/ 464 w 791"/>
              <a:gd name="T81" fmla="*/ 212 h 792"/>
              <a:gd name="T82" fmla="*/ 583 w 791"/>
              <a:gd name="T83" fmla="*/ 389 h 792"/>
              <a:gd name="T84" fmla="*/ 261 w 791"/>
              <a:gd name="T85" fmla="*/ 662 h 792"/>
              <a:gd name="T86" fmla="*/ 525 w 791"/>
              <a:gd name="T87" fmla="*/ 672 h 792"/>
              <a:gd name="T88" fmla="*/ 409 w 791"/>
              <a:gd name="T89" fmla="*/ 631 h 792"/>
              <a:gd name="T90" fmla="*/ 536 w 791"/>
              <a:gd name="T91" fmla="*/ 648 h 792"/>
              <a:gd name="T92" fmla="*/ 413 w 791"/>
              <a:gd name="T93" fmla="*/ 15 h 792"/>
              <a:gd name="T94" fmla="*/ 484 w 791"/>
              <a:gd name="T95" fmla="*/ 25 h 792"/>
              <a:gd name="T96" fmla="*/ 545 w 791"/>
              <a:gd name="T97" fmla="*/ 83 h 792"/>
              <a:gd name="T98" fmla="*/ 486 w 791"/>
              <a:gd name="T99" fmla="*/ 142 h 792"/>
              <a:gd name="T100" fmla="*/ 418 w 791"/>
              <a:gd name="T101" fmla="*/ 202 h 792"/>
              <a:gd name="T102" fmla="*/ 344 w 791"/>
              <a:gd name="T103" fmla="*/ 315 h 792"/>
              <a:gd name="T104" fmla="*/ 277 w 791"/>
              <a:gd name="T105" fmla="*/ 392 h 792"/>
              <a:gd name="T106" fmla="*/ 169 w 791"/>
              <a:gd name="T107" fmla="*/ 338 h 792"/>
              <a:gd name="T108" fmla="*/ 94 w 791"/>
              <a:gd name="T109" fmla="*/ 272 h 792"/>
              <a:gd name="T110" fmla="*/ 64 w 791"/>
              <a:gd name="T111" fmla="*/ 497 h 792"/>
              <a:gd name="T112" fmla="*/ 33 w 791"/>
              <a:gd name="T113" fmla="*/ 468 h 792"/>
              <a:gd name="T114" fmla="*/ 30 w 791"/>
              <a:gd name="T115" fmla="*/ 505 h 792"/>
              <a:gd name="T116" fmla="*/ 15 w 791"/>
              <a:gd name="T117" fmla="*/ 433 h 792"/>
              <a:gd name="T118" fmla="*/ 252 w 791"/>
              <a:gd name="T119" fmla="*/ 674 h 792"/>
              <a:gd name="T120" fmla="*/ 605 w 791"/>
              <a:gd name="T121" fmla="*/ 662 h 792"/>
              <a:gd name="T122" fmla="*/ 669 w 791"/>
              <a:gd name="T123" fmla="*/ 662 h 7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91" h="792">
                <a:moveTo>
                  <a:pt x="421" y="339"/>
                </a:moveTo>
                <a:cubicBezTo>
                  <a:pt x="426" y="344"/>
                  <a:pt x="427" y="345"/>
                  <a:pt x="426" y="347"/>
                </a:cubicBezTo>
                <a:cubicBezTo>
                  <a:pt x="424" y="353"/>
                  <a:pt x="425" y="358"/>
                  <a:pt x="428" y="362"/>
                </a:cubicBezTo>
                <a:cubicBezTo>
                  <a:pt x="432" y="367"/>
                  <a:pt x="440" y="370"/>
                  <a:pt x="451" y="370"/>
                </a:cubicBezTo>
                <a:cubicBezTo>
                  <a:pt x="454" y="370"/>
                  <a:pt x="457" y="370"/>
                  <a:pt x="460" y="370"/>
                </a:cubicBezTo>
                <a:cubicBezTo>
                  <a:pt x="467" y="369"/>
                  <a:pt x="472" y="365"/>
                  <a:pt x="473" y="359"/>
                </a:cubicBezTo>
                <a:cubicBezTo>
                  <a:pt x="475" y="345"/>
                  <a:pt x="454" y="325"/>
                  <a:pt x="441" y="320"/>
                </a:cubicBezTo>
                <a:cubicBezTo>
                  <a:pt x="440" y="319"/>
                  <a:pt x="440" y="319"/>
                  <a:pt x="440" y="319"/>
                </a:cubicBezTo>
                <a:cubicBezTo>
                  <a:pt x="439" y="318"/>
                  <a:pt x="440" y="315"/>
                  <a:pt x="441" y="313"/>
                </a:cubicBezTo>
                <a:cubicBezTo>
                  <a:pt x="442" y="308"/>
                  <a:pt x="445" y="298"/>
                  <a:pt x="436" y="292"/>
                </a:cubicBezTo>
                <a:cubicBezTo>
                  <a:pt x="428" y="287"/>
                  <a:pt x="421" y="288"/>
                  <a:pt x="416" y="295"/>
                </a:cubicBezTo>
                <a:cubicBezTo>
                  <a:pt x="410" y="302"/>
                  <a:pt x="410" y="316"/>
                  <a:pt x="413" y="325"/>
                </a:cubicBezTo>
                <a:cubicBezTo>
                  <a:pt x="415" y="331"/>
                  <a:pt x="418" y="335"/>
                  <a:pt x="421" y="339"/>
                </a:cubicBezTo>
                <a:close/>
                <a:moveTo>
                  <a:pt x="436" y="333"/>
                </a:moveTo>
                <a:cubicBezTo>
                  <a:pt x="446" y="336"/>
                  <a:pt x="458" y="350"/>
                  <a:pt x="459" y="356"/>
                </a:cubicBezTo>
                <a:cubicBezTo>
                  <a:pt x="459" y="356"/>
                  <a:pt x="459" y="356"/>
                  <a:pt x="459" y="356"/>
                </a:cubicBezTo>
                <a:cubicBezTo>
                  <a:pt x="456" y="356"/>
                  <a:pt x="454" y="356"/>
                  <a:pt x="451" y="356"/>
                </a:cubicBezTo>
                <a:cubicBezTo>
                  <a:pt x="443" y="356"/>
                  <a:pt x="440" y="355"/>
                  <a:pt x="439" y="354"/>
                </a:cubicBezTo>
                <a:cubicBezTo>
                  <a:pt x="439" y="353"/>
                  <a:pt x="439" y="352"/>
                  <a:pt x="439" y="352"/>
                </a:cubicBezTo>
                <a:cubicBezTo>
                  <a:pt x="442" y="343"/>
                  <a:pt x="438" y="337"/>
                  <a:pt x="434" y="332"/>
                </a:cubicBezTo>
                <a:cubicBezTo>
                  <a:pt x="435" y="332"/>
                  <a:pt x="436" y="333"/>
                  <a:pt x="436" y="333"/>
                </a:cubicBezTo>
                <a:close/>
                <a:moveTo>
                  <a:pt x="427" y="303"/>
                </a:moveTo>
                <a:cubicBezTo>
                  <a:pt x="427" y="303"/>
                  <a:pt x="428" y="304"/>
                  <a:pt x="428" y="304"/>
                </a:cubicBezTo>
                <a:cubicBezTo>
                  <a:pt x="428" y="305"/>
                  <a:pt x="428" y="308"/>
                  <a:pt x="427" y="310"/>
                </a:cubicBezTo>
                <a:cubicBezTo>
                  <a:pt x="427" y="312"/>
                  <a:pt x="426" y="315"/>
                  <a:pt x="426" y="319"/>
                </a:cubicBezTo>
                <a:cubicBezTo>
                  <a:pt x="424" y="313"/>
                  <a:pt x="426" y="305"/>
                  <a:pt x="427" y="303"/>
                </a:cubicBezTo>
                <a:close/>
                <a:moveTo>
                  <a:pt x="691" y="658"/>
                </a:moveTo>
                <a:cubicBezTo>
                  <a:pt x="724" y="621"/>
                  <a:pt x="751" y="577"/>
                  <a:pt x="768" y="529"/>
                </a:cubicBezTo>
                <a:cubicBezTo>
                  <a:pt x="768" y="528"/>
                  <a:pt x="769" y="528"/>
                  <a:pt x="769" y="527"/>
                </a:cubicBezTo>
                <a:cubicBezTo>
                  <a:pt x="783" y="486"/>
                  <a:pt x="791" y="442"/>
                  <a:pt x="791" y="396"/>
                </a:cubicBezTo>
                <a:cubicBezTo>
                  <a:pt x="791" y="350"/>
                  <a:pt x="783" y="306"/>
                  <a:pt x="769" y="265"/>
                </a:cubicBezTo>
                <a:cubicBezTo>
                  <a:pt x="769" y="264"/>
                  <a:pt x="768" y="264"/>
                  <a:pt x="768" y="263"/>
                </a:cubicBezTo>
                <a:cubicBezTo>
                  <a:pt x="751" y="215"/>
                  <a:pt x="724" y="171"/>
                  <a:pt x="691" y="133"/>
                </a:cubicBezTo>
                <a:cubicBezTo>
                  <a:pt x="691" y="133"/>
                  <a:pt x="690" y="132"/>
                  <a:pt x="689" y="131"/>
                </a:cubicBezTo>
                <a:cubicBezTo>
                  <a:pt x="651" y="89"/>
                  <a:pt x="604" y="55"/>
                  <a:pt x="551" y="32"/>
                </a:cubicBezTo>
                <a:cubicBezTo>
                  <a:pt x="551" y="32"/>
                  <a:pt x="550" y="32"/>
                  <a:pt x="550" y="32"/>
                </a:cubicBezTo>
                <a:cubicBezTo>
                  <a:pt x="504" y="12"/>
                  <a:pt x="456" y="2"/>
                  <a:pt x="406" y="0"/>
                </a:cubicBezTo>
                <a:cubicBezTo>
                  <a:pt x="406" y="0"/>
                  <a:pt x="406" y="0"/>
                  <a:pt x="406" y="0"/>
                </a:cubicBezTo>
                <a:cubicBezTo>
                  <a:pt x="402" y="0"/>
                  <a:pt x="399" y="0"/>
                  <a:pt x="395" y="0"/>
                </a:cubicBezTo>
                <a:cubicBezTo>
                  <a:pt x="177" y="0"/>
                  <a:pt x="0" y="178"/>
                  <a:pt x="0" y="396"/>
                </a:cubicBezTo>
                <a:cubicBezTo>
                  <a:pt x="0" y="400"/>
                  <a:pt x="0" y="404"/>
                  <a:pt x="0" y="408"/>
                </a:cubicBezTo>
                <a:cubicBezTo>
                  <a:pt x="0" y="409"/>
                  <a:pt x="0" y="411"/>
                  <a:pt x="0" y="412"/>
                </a:cubicBezTo>
                <a:cubicBezTo>
                  <a:pt x="0" y="415"/>
                  <a:pt x="0" y="418"/>
                  <a:pt x="0" y="421"/>
                </a:cubicBezTo>
                <a:cubicBezTo>
                  <a:pt x="1" y="422"/>
                  <a:pt x="1" y="423"/>
                  <a:pt x="1" y="424"/>
                </a:cubicBezTo>
                <a:cubicBezTo>
                  <a:pt x="1" y="433"/>
                  <a:pt x="2" y="441"/>
                  <a:pt x="3" y="449"/>
                </a:cubicBezTo>
                <a:cubicBezTo>
                  <a:pt x="3" y="450"/>
                  <a:pt x="3" y="451"/>
                  <a:pt x="4" y="451"/>
                </a:cubicBezTo>
                <a:cubicBezTo>
                  <a:pt x="4" y="455"/>
                  <a:pt x="5" y="459"/>
                  <a:pt x="5" y="462"/>
                </a:cubicBezTo>
                <a:cubicBezTo>
                  <a:pt x="5" y="463"/>
                  <a:pt x="5" y="463"/>
                  <a:pt x="6" y="464"/>
                </a:cubicBezTo>
                <a:cubicBezTo>
                  <a:pt x="6" y="468"/>
                  <a:pt x="7" y="472"/>
                  <a:pt x="8" y="476"/>
                </a:cubicBezTo>
                <a:cubicBezTo>
                  <a:pt x="8" y="477"/>
                  <a:pt x="8" y="477"/>
                  <a:pt x="8" y="477"/>
                </a:cubicBezTo>
                <a:cubicBezTo>
                  <a:pt x="9" y="481"/>
                  <a:pt x="10" y="485"/>
                  <a:pt x="10" y="488"/>
                </a:cubicBezTo>
                <a:cubicBezTo>
                  <a:pt x="11" y="489"/>
                  <a:pt x="11" y="491"/>
                  <a:pt x="11" y="492"/>
                </a:cubicBezTo>
                <a:cubicBezTo>
                  <a:pt x="12" y="494"/>
                  <a:pt x="13" y="497"/>
                  <a:pt x="14" y="500"/>
                </a:cubicBezTo>
                <a:cubicBezTo>
                  <a:pt x="14" y="501"/>
                  <a:pt x="14" y="503"/>
                  <a:pt x="15" y="504"/>
                </a:cubicBezTo>
                <a:cubicBezTo>
                  <a:pt x="16" y="507"/>
                  <a:pt x="17" y="511"/>
                  <a:pt x="18" y="514"/>
                </a:cubicBezTo>
                <a:cubicBezTo>
                  <a:pt x="18" y="516"/>
                  <a:pt x="19" y="518"/>
                  <a:pt x="20" y="521"/>
                </a:cubicBezTo>
                <a:cubicBezTo>
                  <a:pt x="20" y="522"/>
                  <a:pt x="21" y="523"/>
                  <a:pt x="21" y="524"/>
                </a:cubicBezTo>
                <a:cubicBezTo>
                  <a:pt x="30" y="551"/>
                  <a:pt x="42" y="577"/>
                  <a:pt x="57" y="601"/>
                </a:cubicBezTo>
                <a:cubicBezTo>
                  <a:pt x="57" y="602"/>
                  <a:pt x="58" y="602"/>
                  <a:pt x="58" y="602"/>
                </a:cubicBezTo>
                <a:cubicBezTo>
                  <a:pt x="70" y="622"/>
                  <a:pt x="84" y="641"/>
                  <a:pt x="100" y="659"/>
                </a:cubicBezTo>
                <a:cubicBezTo>
                  <a:pt x="100" y="659"/>
                  <a:pt x="101" y="660"/>
                  <a:pt x="102" y="661"/>
                </a:cubicBezTo>
                <a:cubicBezTo>
                  <a:pt x="174" y="741"/>
                  <a:pt x="279" y="792"/>
                  <a:pt x="395" y="792"/>
                </a:cubicBezTo>
                <a:cubicBezTo>
                  <a:pt x="512" y="792"/>
                  <a:pt x="617" y="741"/>
                  <a:pt x="689" y="661"/>
                </a:cubicBezTo>
                <a:cubicBezTo>
                  <a:pt x="690" y="660"/>
                  <a:pt x="691" y="659"/>
                  <a:pt x="691" y="658"/>
                </a:cubicBezTo>
                <a:close/>
                <a:moveTo>
                  <a:pt x="652" y="610"/>
                </a:moveTo>
                <a:cubicBezTo>
                  <a:pt x="649" y="606"/>
                  <a:pt x="644" y="604"/>
                  <a:pt x="639" y="606"/>
                </a:cubicBezTo>
                <a:cubicBezTo>
                  <a:pt x="635" y="609"/>
                  <a:pt x="634" y="613"/>
                  <a:pt x="632" y="618"/>
                </a:cubicBezTo>
                <a:cubicBezTo>
                  <a:pt x="632" y="620"/>
                  <a:pt x="631" y="623"/>
                  <a:pt x="630" y="626"/>
                </a:cubicBezTo>
                <a:cubicBezTo>
                  <a:pt x="628" y="629"/>
                  <a:pt x="626" y="633"/>
                  <a:pt x="624" y="637"/>
                </a:cubicBezTo>
                <a:cubicBezTo>
                  <a:pt x="622" y="642"/>
                  <a:pt x="620" y="645"/>
                  <a:pt x="620" y="647"/>
                </a:cubicBezTo>
                <a:cubicBezTo>
                  <a:pt x="620" y="648"/>
                  <a:pt x="620" y="648"/>
                  <a:pt x="620" y="648"/>
                </a:cubicBezTo>
                <a:cubicBezTo>
                  <a:pt x="551" y="648"/>
                  <a:pt x="551" y="648"/>
                  <a:pt x="551" y="648"/>
                </a:cubicBezTo>
                <a:cubicBezTo>
                  <a:pt x="551" y="646"/>
                  <a:pt x="552" y="645"/>
                  <a:pt x="553" y="643"/>
                </a:cubicBezTo>
                <a:cubicBezTo>
                  <a:pt x="563" y="639"/>
                  <a:pt x="573" y="632"/>
                  <a:pt x="581" y="622"/>
                </a:cubicBezTo>
                <a:cubicBezTo>
                  <a:pt x="593" y="609"/>
                  <a:pt x="598" y="593"/>
                  <a:pt x="596" y="579"/>
                </a:cubicBezTo>
                <a:cubicBezTo>
                  <a:pt x="594" y="569"/>
                  <a:pt x="590" y="550"/>
                  <a:pt x="585" y="533"/>
                </a:cubicBezTo>
                <a:cubicBezTo>
                  <a:pt x="752" y="533"/>
                  <a:pt x="752" y="533"/>
                  <a:pt x="752" y="533"/>
                </a:cubicBezTo>
                <a:cubicBezTo>
                  <a:pt x="735" y="575"/>
                  <a:pt x="711" y="614"/>
                  <a:pt x="682" y="648"/>
                </a:cubicBezTo>
                <a:cubicBezTo>
                  <a:pt x="640" y="648"/>
                  <a:pt x="640" y="648"/>
                  <a:pt x="640" y="648"/>
                </a:cubicBezTo>
                <a:cubicBezTo>
                  <a:pt x="644" y="644"/>
                  <a:pt x="648" y="639"/>
                  <a:pt x="649" y="637"/>
                </a:cubicBezTo>
                <a:cubicBezTo>
                  <a:pt x="653" y="632"/>
                  <a:pt x="655" y="617"/>
                  <a:pt x="652" y="610"/>
                </a:cubicBezTo>
                <a:close/>
                <a:moveTo>
                  <a:pt x="69" y="594"/>
                </a:moveTo>
                <a:cubicBezTo>
                  <a:pt x="61" y="570"/>
                  <a:pt x="54" y="550"/>
                  <a:pt x="49" y="533"/>
                </a:cubicBezTo>
                <a:cubicBezTo>
                  <a:pt x="206" y="533"/>
                  <a:pt x="206" y="533"/>
                  <a:pt x="206" y="533"/>
                </a:cubicBezTo>
                <a:cubicBezTo>
                  <a:pt x="214" y="574"/>
                  <a:pt x="225" y="613"/>
                  <a:pt x="240" y="648"/>
                </a:cubicBezTo>
                <a:cubicBezTo>
                  <a:pt x="109" y="648"/>
                  <a:pt x="109" y="648"/>
                  <a:pt x="109" y="648"/>
                </a:cubicBezTo>
                <a:cubicBezTo>
                  <a:pt x="94" y="631"/>
                  <a:pt x="81" y="613"/>
                  <a:pt x="69" y="594"/>
                </a:cubicBezTo>
                <a:close/>
                <a:moveTo>
                  <a:pt x="220" y="533"/>
                </a:moveTo>
                <a:cubicBezTo>
                  <a:pt x="388" y="533"/>
                  <a:pt x="388" y="533"/>
                  <a:pt x="388" y="533"/>
                </a:cubicBezTo>
                <a:cubicBezTo>
                  <a:pt x="388" y="545"/>
                  <a:pt x="388" y="545"/>
                  <a:pt x="388" y="545"/>
                </a:cubicBezTo>
                <a:cubicBezTo>
                  <a:pt x="378" y="549"/>
                  <a:pt x="369" y="555"/>
                  <a:pt x="371" y="567"/>
                </a:cubicBezTo>
                <a:cubicBezTo>
                  <a:pt x="377" y="608"/>
                  <a:pt x="384" y="621"/>
                  <a:pt x="388" y="626"/>
                </a:cubicBezTo>
                <a:cubicBezTo>
                  <a:pt x="388" y="648"/>
                  <a:pt x="388" y="648"/>
                  <a:pt x="388" y="648"/>
                </a:cubicBezTo>
                <a:cubicBezTo>
                  <a:pt x="255" y="648"/>
                  <a:pt x="255" y="648"/>
                  <a:pt x="255" y="648"/>
                </a:cubicBezTo>
                <a:cubicBezTo>
                  <a:pt x="240" y="614"/>
                  <a:pt x="228" y="575"/>
                  <a:pt x="220" y="533"/>
                </a:cubicBezTo>
                <a:close/>
                <a:moveTo>
                  <a:pt x="61" y="426"/>
                </a:moveTo>
                <a:cubicBezTo>
                  <a:pt x="64" y="439"/>
                  <a:pt x="68" y="461"/>
                  <a:pt x="66" y="475"/>
                </a:cubicBezTo>
                <a:cubicBezTo>
                  <a:pt x="65" y="481"/>
                  <a:pt x="64" y="483"/>
                  <a:pt x="64" y="483"/>
                </a:cubicBezTo>
                <a:cubicBezTo>
                  <a:pt x="58" y="478"/>
                  <a:pt x="58" y="445"/>
                  <a:pt x="61" y="426"/>
                </a:cubicBezTo>
                <a:close/>
                <a:moveTo>
                  <a:pt x="51" y="389"/>
                </a:moveTo>
                <a:cubicBezTo>
                  <a:pt x="54" y="382"/>
                  <a:pt x="58" y="374"/>
                  <a:pt x="61" y="366"/>
                </a:cubicBezTo>
                <a:cubicBezTo>
                  <a:pt x="89" y="303"/>
                  <a:pt x="106" y="280"/>
                  <a:pt x="107" y="279"/>
                </a:cubicBezTo>
                <a:cubicBezTo>
                  <a:pt x="107" y="278"/>
                  <a:pt x="108" y="277"/>
                  <a:pt x="108" y="276"/>
                </a:cubicBezTo>
                <a:cubicBezTo>
                  <a:pt x="108" y="275"/>
                  <a:pt x="109" y="260"/>
                  <a:pt x="110" y="246"/>
                </a:cubicBezTo>
                <a:cubicBezTo>
                  <a:pt x="119" y="249"/>
                  <a:pt x="128" y="251"/>
                  <a:pt x="134" y="251"/>
                </a:cubicBezTo>
                <a:cubicBezTo>
                  <a:pt x="140" y="264"/>
                  <a:pt x="142" y="269"/>
                  <a:pt x="144" y="271"/>
                </a:cubicBezTo>
                <a:cubicBezTo>
                  <a:pt x="144" y="273"/>
                  <a:pt x="145" y="277"/>
                  <a:pt x="145" y="281"/>
                </a:cubicBezTo>
                <a:cubicBezTo>
                  <a:pt x="152" y="337"/>
                  <a:pt x="157" y="354"/>
                  <a:pt x="168" y="354"/>
                </a:cubicBezTo>
                <a:cubicBezTo>
                  <a:pt x="170" y="354"/>
                  <a:pt x="172" y="353"/>
                  <a:pt x="173" y="352"/>
                </a:cubicBezTo>
                <a:cubicBezTo>
                  <a:pt x="169" y="362"/>
                  <a:pt x="168" y="376"/>
                  <a:pt x="170" y="385"/>
                </a:cubicBezTo>
                <a:cubicBezTo>
                  <a:pt x="170" y="386"/>
                  <a:pt x="171" y="388"/>
                  <a:pt x="171" y="389"/>
                </a:cubicBezTo>
                <a:lnTo>
                  <a:pt x="51" y="389"/>
                </a:lnTo>
                <a:close/>
                <a:moveTo>
                  <a:pt x="195" y="348"/>
                </a:moveTo>
                <a:cubicBezTo>
                  <a:pt x="193" y="344"/>
                  <a:pt x="190" y="341"/>
                  <a:pt x="186" y="341"/>
                </a:cubicBezTo>
                <a:cubicBezTo>
                  <a:pt x="185" y="341"/>
                  <a:pt x="184" y="341"/>
                  <a:pt x="183" y="341"/>
                </a:cubicBezTo>
                <a:cubicBezTo>
                  <a:pt x="187" y="335"/>
                  <a:pt x="189" y="328"/>
                  <a:pt x="191" y="321"/>
                </a:cubicBezTo>
                <a:cubicBezTo>
                  <a:pt x="192" y="315"/>
                  <a:pt x="194" y="310"/>
                  <a:pt x="196" y="305"/>
                </a:cubicBezTo>
                <a:cubicBezTo>
                  <a:pt x="196" y="304"/>
                  <a:pt x="198" y="302"/>
                  <a:pt x="200" y="299"/>
                </a:cubicBezTo>
                <a:cubicBezTo>
                  <a:pt x="198" y="315"/>
                  <a:pt x="196" y="331"/>
                  <a:pt x="195" y="348"/>
                </a:cubicBezTo>
                <a:close/>
                <a:moveTo>
                  <a:pt x="183" y="374"/>
                </a:moveTo>
                <a:cubicBezTo>
                  <a:pt x="183" y="369"/>
                  <a:pt x="184" y="363"/>
                  <a:pt x="185" y="360"/>
                </a:cubicBezTo>
                <a:cubicBezTo>
                  <a:pt x="187" y="368"/>
                  <a:pt x="187" y="380"/>
                  <a:pt x="184" y="384"/>
                </a:cubicBezTo>
                <a:cubicBezTo>
                  <a:pt x="184" y="383"/>
                  <a:pt x="183" y="380"/>
                  <a:pt x="183" y="374"/>
                </a:cubicBezTo>
                <a:close/>
                <a:moveTo>
                  <a:pt x="216" y="287"/>
                </a:moveTo>
                <a:cubicBezTo>
                  <a:pt x="228" y="279"/>
                  <a:pt x="242" y="272"/>
                  <a:pt x="250" y="272"/>
                </a:cubicBezTo>
                <a:cubicBezTo>
                  <a:pt x="251" y="272"/>
                  <a:pt x="252" y="272"/>
                  <a:pt x="252" y="272"/>
                </a:cubicBezTo>
                <a:cubicBezTo>
                  <a:pt x="257" y="273"/>
                  <a:pt x="257" y="293"/>
                  <a:pt x="254" y="311"/>
                </a:cubicBezTo>
                <a:cubicBezTo>
                  <a:pt x="253" y="313"/>
                  <a:pt x="254" y="316"/>
                  <a:pt x="255" y="317"/>
                </a:cubicBezTo>
                <a:cubicBezTo>
                  <a:pt x="256" y="319"/>
                  <a:pt x="258" y="320"/>
                  <a:pt x="260" y="320"/>
                </a:cubicBezTo>
                <a:cubicBezTo>
                  <a:pt x="261" y="320"/>
                  <a:pt x="283" y="321"/>
                  <a:pt x="288" y="338"/>
                </a:cubicBezTo>
                <a:cubicBezTo>
                  <a:pt x="290" y="344"/>
                  <a:pt x="289" y="345"/>
                  <a:pt x="283" y="350"/>
                </a:cubicBezTo>
                <a:cubicBezTo>
                  <a:pt x="276" y="356"/>
                  <a:pt x="265" y="365"/>
                  <a:pt x="263" y="389"/>
                </a:cubicBezTo>
                <a:cubicBezTo>
                  <a:pt x="208" y="389"/>
                  <a:pt x="208" y="389"/>
                  <a:pt x="208" y="389"/>
                </a:cubicBezTo>
                <a:cubicBezTo>
                  <a:pt x="208" y="354"/>
                  <a:pt x="211" y="320"/>
                  <a:pt x="216" y="287"/>
                </a:cubicBezTo>
                <a:close/>
                <a:moveTo>
                  <a:pt x="264" y="403"/>
                </a:moveTo>
                <a:cubicBezTo>
                  <a:pt x="274" y="439"/>
                  <a:pt x="335" y="462"/>
                  <a:pt x="388" y="476"/>
                </a:cubicBezTo>
                <a:cubicBezTo>
                  <a:pt x="388" y="519"/>
                  <a:pt x="388" y="519"/>
                  <a:pt x="388" y="519"/>
                </a:cubicBezTo>
                <a:cubicBezTo>
                  <a:pt x="218" y="519"/>
                  <a:pt x="218" y="519"/>
                  <a:pt x="218" y="519"/>
                </a:cubicBezTo>
                <a:cubicBezTo>
                  <a:pt x="212" y="482"/>
                  <a:pt x="208" y="443"/>
                  <a:pt x="208" y="403"/>
                </a:cubicBezTo>
                <a:lnTo>
                  <a:pt x="264" y="403"/>
                </a:lnTo>
                <a:close/>
                <a:moveTo>
                  <a:pt x="358" y="299"/>
                </a:moveTo>
                <a:cubicBezTo>
                  <a:pt x="357" y="285"/>
                  <a:pt x="357" y="285"/>
                  <a:pt x="367" y="284"/>
                </a:cubicBezTo>
                <a:cubicBezTo>
                  <a:pt x="373" y="283"/>
                  <a:pt x="381" y="282"/>
                  <a:pt x="388" y="279"/>
                </a:cubicBezTo>
                <a:cubicBezTo>
                  <a:pt x="388" y="370"/>
                  <a:pt x="388" y="370"/>
                  <a:pt x="388" y="370"/>
                </a:cubicBezTo>
                <a:cubicBezTo>
                  <a:pt x="372" y="374"/>
                  <a:pt x="354" y="388"/>
                  <a:pt x="354" y="388"/>
                </a:cubicBezTo>
                <a:cubicBezTo>
                  <a:pt x="351" y="390"/>
                  <a:pt x="350" y="393"/>
                  <a:pt x="351" y="396"/>
                </a:cubicBezTo>
                <a:cubicBezTo>
                  <a:pt x="355" y="406"/>
                  <a:pt x="368" y="439"/>
                  <a:pt x="386" y="440"/>
                </a:cubicBezTo>
                <a:cubicBezTo>
                  <a:pt x="386" y="440"/>
                  <a:pt x="386" y="440"/>
                  <a:pt x="387" y="440"/>
                </a:cubicBezTo>
                <a:cubicBezTo>
                  <a:pt x="387" y="440"/>
                  <a:pt x="387" y="440"/>
                  <a:pt x="387" y="440"/>
                </a:cubicBezTo>
                <a:cubicBezTo>
                  <a:pt x="387" y="440"/>
                  <a:pt x="388" y="440"/>
                  <a:pt x="388" y="440"/>
                </a:cubicBezTo>
                <a:cubicBezTo>
                  <a:pt x="388" y="450"/>
                  <a:pt x="388" y="450"/>
                  <a:pt x="388" y="450"/>
                </a:cubicBezTo>
                <a:cubicBezTo>
                  <a:pt x="387" y="449"/>
                  <a:pt x="385" y="448"/>
                  <a:pt x="383" y="446"/>
                </a:cubicBezTo>
                <a:cubicBezTo>
                  <a:pt x="363" y="432"/>
                  <a:pt x="328" y="407"/>
                  <a:pt x="322" y="391"/>
                </a:cubicBezTo>
                <a:cubicBezTo>
                  <a:pt x="315" y="371"/>
                  <a:pt x="315" y="357"/>
                  <a:pt x="316" y="352"/>
                </a:cubicBezTo>
                <a:cubicBezTo>
                  <a:pt x="317" y="353"/>
                  <a:pt x="319" y="355"/>
                  <a:pt x="323" y="359"/>
                </a:cubicBezTo>
                <a:cubicBezTo>
                  <a:pt x="329" y="366"/>
                  <a:pt x="334" y="369"/>
                  <a:pt x="340" y="369"/>
                </a:cubicBezTo>
                <a:cubicBezTo>
                  <a:pt x="358" y="369"/>
                  <a:pt x="358" y="339"/>
                  <a:pt x="358" y="315"/>
                </a:cubicBezTo>
                <a:cubicBezTo>
                  <a:pt x="359" y="309"/>
                  <a:pt x="358" y="304"/>
                  <a:pt x="358" y="299"/>
                </a:cubicBezTo>
                <a:close/>
                <a:moveTo>
                  <a:pt x="504" y="86"/>
                </a:moveTo>
                <a:cubicBezTo>
                  <a:pt x="513" y="99"/>
                  <a:pt x="522" y="114"/>
                  <a:pt x="529" y="130"/>
                </a:cubicBezTo>
                <a:cubicBezTo>
                  <a:pt x="517" y="130"/>
                  <a:pt x="517" y="130"/>
                  <a:pt x="517" y="130"/>
                </a:cubicBezTo>
                <a:cubicBezTo>
                  <a:pt x="515" y="126"/>
                  <a:pt x="514" y="122"/>
                  <a:pt x="513" y="120"/>
                </a:cubicBezTo>
                <a:cubicBezTo>
                  <a:pt x="506" y="105"/>
                  <a:pt x="502" y="102"/>
                  <a:pt x="498" y="102"/>
                </a:cubicBezTo>
                <a:cubicBezTo>
                  <a:pt x="494" y="102"/>
                  <a:pt x="491" y="105"/>
                  <a:pt x="491" y="109"/>
                </a:cubicBezTo>
                <a:cubicBezTo>
                  <a:pt x="491" y="110"/>
                  <a:pt x="491" y="112"/>
                  <a:pt x="492" y="113"/>
                </a:cubicBezTo>
                <a:cubicBezTo>
                  <a:pt x="489" y="110"/>
                  <a:pt x="486" y="107"/>
                  <a:pt x="482" y="104"/>
                </a:cubicBezTo>
                <a:cubicBezTo>
                  <a:pt x="476" y="100"/>
                  <a:pt x="475" y="97"/>
                  <a:pt x="475" y="96"/>
                </a:cubicBezTo>
                <a:cubicBezTo>
                  <a:pt x="476" y="93"/>
                  <a:pt x="484" y="88"/>
                  <a:pt x="504" y="86"/>
                </a:cubicBezTo>
                <a:close/>
                <a:moveTo>
                  <a:pt x="752" y="259"/>
                </a:moveTo>
                <a:cubicBezTo>
                  <a:pt x="584" y="259"/>
                  <a:pt x="584" y="259"/>
                  <a:pt x="584" y="259"/>
                </a:cubicBezTo>
                <a:cubicBezTo>
                  <a:pt x="576" y="218"/>
                  <a:pt x="565" y="178"/>
                  <a:pt x="551" y="144"/>
                </a:cubicBezTo>
                <a:cubicBezTo>
                  <a:pt x="682" y="144"/>
                  <a:pt x="682" y="144"/>
                  <a:pt x="682" y="144"/>
                </a:cubicBezTo>
                <a:cubicBezTo>
                  <a:pt x="711" y="178"/>
                  <a:pt x="735" y="217"/>
                  <a:pt x="752" y="259"/>
                </a:cubicBezTo>
                <a:close/>
                <a:moveTo>
                  <a:pt x="757" y="519"/>
                </a:moveTo>
                <a:cubicBezTo>
                  <a:pt x="587" y="519"/>
                  <a:pt x="587" y="519"/>
                  <a:pt x="587" y="519"/>
                </a:cubicBezTo>
                <a:cubicBezTo>
                  <a:pt x="588" y="509"/>
                  <a:pt x="590" y="500"/>
                  <a:pt x="591" y="491"/>
                </a:cubicBezTo>
                <a:cubicBezTo>
                  <a:pt x="594" y="492"/>
                  <a:pt x="596" y="493"/>
                  <a:pt x="599" y="493"/>
                </a:cubicBezTo>
                <a:cubicBezTo>
                  <a:pt x="599" y="493"/>
                  <a:pt x="599" y="493"/>
                  <a:pt x="599" y="493"/>
                </a:cubicBezTo>
                <a:cubicBezTo>
                  <a:pt x="604" y="493"/>
                  <a:pt x="608" y="490"/>
                  <a:pt x="610" y="485"/>
                </a:cubicBezTo>
                <a:cubicBezTo>
                  <a:pt x="613" y="475"/>
                  <a:pt x="604" y="469"/>
                  <a:pt x="599" y="467"/>
                </a:cubicBezTo>
                <a:cubicBezTo>
                  <a:pt x="597" y="465"/>
                  <a:pt x="595" y="464"/>
                  <a:pt x="594" y="463"/>
                </a:cubicBezTo>
                <a:cubicBezTo>
                  <a:pt x="595" y="443"/>
                  <a:pt x="596" y="423"/>
                  <a:pt x="597" y="403"/>
                </a:cubicBezTo>
                <a:cubicBezTo>
                  <a:pt x="777" y="403"/>
                  <a:pt x="777" y="403"/>
                  <a:pt x="777" y="403"/>
                </a:cubicBezTo>
                <a:cubicBezTo>
                  <a:pt x="776" y="443"/>
                  <a:pt x="769" y="482"/>
                  <a:pt x="757" y="519"/>
                </a:cubicBezTo>
                <a:close/>
                <a:moveTo>
                  <a:pt x="552" y="628"/>
                </a:moveTo>
                <a:cubicBezTo>
                  <a:pt x="552" y="628"/>
                  <a:pt x="552" y="628"/>
                  <a:pt x="551" y="628"/>
                </a:cubicBezTo>
                <a:cubicBezTo>
                  <a:pt x="548" y="626"/>
                  <a:pt x="544" y="628"/>
                  <a:pt x="542" y="632"/>
                </a:cubicBezTo>
                <a:cubicBezTo>
                  <a:pt x="542" y="632"/>
                  <a:pt x="542" y="632"/>
                  <a:pt x="542" y="632"/>
                </a:cubicBezTo>
                <a:cubicBezTo>
                  <a:pt x="538" y="633"/>
                  <a:pt x="534" y="634"/>
                  <a:pt x="530" y="633"/>
                </a:cubicBezTo>
                <a:cubicBezTo>
                  <a:pt x="514" y="633"/>
                  <a:pt x="506" y="623"/>
                  <a:pt x="499" y="615"/>
                </a:cubicBezTo>
                <a:cubicBezTo>
                  <a:pt x="493" y="608"/>
                  <a:pt x="487" y="601"/>
                  <a:pt x="479" y="601"/>
                </a:cubicBezTo>
                <a:cubicBezTo>
                  <a:pt x="477" y="601"/>
                  <a:pt x="476" y="601"/>
                  <a:pt x="475" y="601"/>
                </a:cubicBezTo>
                <a:cubicBezTo>
                  <a:pt x="471" y="602"/>
                  <a:pt x="466" y="604"/>
                  <a:pt x="460" y="606"/>
                </a:cubicBezTo>
                <a:cubicBezTo>
                  <a:pt x="446" y="610"/>
                  <a:pt x="427" y="617"/>
                  <a:pt x="409" y="617"/>
                </a:cubicBezTo>
                <a:cubicBezTo>
                  <a:pt x="405" y="617"/>
                  <a:pt x="401" y="616"/>
                  <a:pt x="398" y="616"/>
                </a:cubicBezTo>
                <a:cubicBezTo>
                  <a:pt x="395" y="612"/>
                  <a:pt x="390" y="596"/>
                  <a:pt x="384" y="565"/>
                </a:cubicBezTo>
                <a:cubicBezTo>
                  <a:pt x="384" y="562"/>
                  <a:pt x="387" y="560"/>
                  <a:pt x="393" y="558"/>
                </a:cubicBezTo>
                <a:cubicBezTo>
                  <a:pt x="394" y="558"/>
                  <a:pt x="394" y="558"/>
                  <a:pt x="395" y="558"/>
                </a:cubicBezTo>
                <a:cubicBezTo>
                  <a:pt x="398" y="558"/>
                  <a:pt x="400" y="557"/>
                  <a:pt x="401" y="555"/>
                </a:cubicBezTo>
                <a:cubicBezTo>
                  <a:pt x="402" y="555"/>
                  <a:pt x="403" y="555"/>
                  <a:pt x="403" y="554"/>
                </a:cubicBezTo>
                <a:cubicBezTo>
                  <a:pt x="415" y="550"/>
                  <a:pt x="429" y="546"/>
                  <a:pt x="438" y="535"/>
                </a:cubicBezTo>
                <a:cubicBezTo>
                  <a:pt x="452" y="518"/>
                  <a:pt x="466" y="500"/>
                  <a:pt x="483" y="496"/>
                </a:cubicBezTo>
                <a:cubicBezTo>
                  <a:pt x="484" y="496"/>
                  <a:pt x="486" y="496"/>
                  <a:pt x="487" y="496"/>
                </a:cubicBezTo>
                <a:cubicBezTo>
                  <a:pt x="496" y="496"/>
                  <a:pt x="500" y="505"/>
                  <a:pt x="500" y="506"/>
                </a:cubicBezTo>
                <a:cubicBezTo>
                  <a:pt x="500" y="507"/>
                  <a:pt x="501" y="508"/>
                  <a:pt x="502" y="509"/>
                </a:cubicBezTo>
                <a:cubicBezTo>
                  <a:pt x="504" y="511"/>
                  <a:pt x="524" y="530"/>
                  <a:pt x="534" y="535"/>
                </a:cubicBezTo>
                <a:cubicBezTo>
                  <a:pt x="535" y="536"/>
                  <a:pt x="537" y="536"/>
                  <a:pt x="538" y="536"/>
                </a:cubicBezTo>
                <a:cubicBezTo>
                  <a:pt x="538" y="536"/>
                  <a:pt x="538" y="536"/>
                  <a:pt x="538" y="536"/>
                </a:cubicBezTo>
                <a:cubicBezTo>
                  <a:pt x="548" y="536"/>
                  <a:pt x="550" y="525"/>
                  <a:pt x="552" y="513"/>
                </a:cubicBezTo>
                <a:cubicBezTo>
                  <a:pt x="552" y="508"/>
                  <a:pt x="554" y="501"/>
                  <a:pt x="555" y="497"/>
                </a:cubicBezTo>
                <a:cubicBezTo>
                  <a:pt x="563" y="507"/>
                  <a:pt x="577" y="552"/>
                  <a:pt x="582" y="582"/>
                </a:cubicBezTo>
                <a:cubicBezTo>
                  <a:pt x="584" y="591"/>
                  <a:pt x="579" y="603"/>
                  <a:pt x="570" y="613"/>
                </a:cubicBezTo>
                <a:cubicBezTo>
                  <a:pt x="565" y="620"/>
                  <a:pt x="559" y="625"/>
                  <a:pt x="552" y="628"/>
                </a:cubicBezTo>
                <a:close/>
                <a:moveTo>
                  <a:pt x="399" y="382"/>
                </a:moveTo>
                <a:cubicBezTo>
                  <a:pt x="401" y="382"/>
                  <a:pt x="402" y="382"/>
                  <a:pt x="402" y="386"/>
                </a:cubicBezTo>
                <a:cubicBezTo>
                  <a:pt x="402" y="388"/>
                  <a:pt x="402" y="390"/>
                  <a:pt x="402" y="392"/>
                </a:cubicBezTo>
                <a:cubicBezTo>
                  <a:pt x="401" y="393"/>
                  <a:pt x="400" y="394"/>
                  <a:pt x="400" y="396"/>
                </a:cubicBezTo>
                <a:cubicBezTo>
                  <a:pt x="400" y="397"/>
                  <a:pt x="400" y="398"/>
                  <a:pt x="401" y="399"/>
                </a:cubicBezTo>
                <a:cubicBezTo>
                  <a:pt x="399" y="410"/>
                  <a:pt x="396" y="419"/>
                  <a:pt x="392" y="424"/>
                </a:cubicBezTo>
                <a:cubicBezTo>
                  <a:pt x="389" y="426"/>
                  <a:pt x="387" y="426"/>
                  <a:pt x="387" y="426"/>
                </a:cubicBezTo>
                <a:cubicBezTo>
                  <a:pt x="387" y="426"/>
                  <a:pt x="387" y="426"/>
                  <a:pt x="387" y="426"/>
                </a:cubicBezTo>
                <a:cubicBezTo>
                  <a:pt x="386" y="426"/>
                  <a:pt x="386" y="426"/>
                  <a:pt x="386" y="426"/>
                </a:cubicBezTo>
                <a:cubicBezTo>
                  <a:pt x="382" y="426"/>
                  <a:pt x="373" y="412"/>
                  <a:pt x="366" y="396"/>
                </a:cubicBezTo>
                <a:cubicBezTo>
                  <a:pt x="375" y="390"/>
                  <a:pt x="390" y="382"/>
                  <a:pt x="399" y="382"/>
                </a:cubicBezTo>
                <a:close/>
                <a:moveTo>
                  <a:pt x="402" y="478"/>
                </a:moveTo>
                <a:cubicBezTo>
                  <a:pt x="407" y="478"/>
                  <a:pt x="408" y="474"/>
                  <a:pt x="409" y="473"/>
                </a:cubicBezTo>
                <a:cubicBezTo>
                  <a:pt x="410" y="469"/>
                  <a:pt x="408" y="466"/>
                  <a:pt x="402" y="461"/>
                </a:cubicBezTo>
                <a:cubicBezTo>
                  <a:pt x="402" y="433"/>
                  <a:pt x="402" y="433"/>
                  <a:pt x="402" y="433"/>
                </a:cubicBezTo>
                <a:cubicBezTo>
                  <a:pt x="408" y="426"/>
                  <a:pt x="412" y="416"/>
                  <a:pt x="414" y="403"/>
                </a:cubicBezTo>
                <a:cubicBezTo>
                  <a:pt x="583" y="403"/>
                  <a:pt x="583" y="403"/>
                  <a:pt x="583" y="403"/>
                </a:cubicBezTo>
                <a:cubicBezTo>
                  <a:pt x="582" y="415"/>
                  <a:pt x="582" y="428"/>
                  <a:pt x="581" y="440"/>
                </a:cubicBezTo>
                <a:cubicBezTo>
                  <a:pt x="574" y="433"/>
                  <a:pt x="563" y="429"/>
                  <a:pt x="551" y="425"/>
                </a:cubicBezTo>
                <a:cubicBezTo>
                  <a:pt x="530" y="417"/>
                  <a:pt x="499" y="410"/>
                  <a:pt x="491" y="408"/>
                </a:cubicBezTo>
                <a:cubicBezTo>
                  <a:pt x="490" y="408"/>
                  <a:pt x="489" y="408"/>
                  <a:pt x="489" y="408"/>
                </a:cubicBezTo>
                <a:cubicBezTo>
                  <a:pt x="485" y="408"/>
                  <a:pt x="481" y="410"/>
                  <a:pt x="480" y="414"/>
                </a:cubicBezTo>
                <a:cubicBezTo>
                  <a:pt x="477" y="427"/>
                  <a:pt x="513" y="450"/>
                  <a:pt x="513" y="451"/>
                </a:cubicBezTo>
                <a:cubicBezTo>
                  <a:pt x="519" y="454"/>
                  <a:pt x="519" y="458"/>
                  <a:pt x="519" y="463"/>
                </a:cubicBezTo>
                <a:cubicBezTo>
                  <a:pt x="520" y="468"/>
                  <a:pt x="520" y="478"/>
                  <a:pt x="532" y="479"/>
                </a:cubicBezTo>
                <a:cubicBezTo>
                  <a:pt x="538" y="479"/>
                  <a:pt x="544" y="478"/>
                  <a:pt x="550" y="477"/>
                </a:cubicBezTo>
                <a:cubicBezTo>
                  <a:pt x="556" y="476"/>
                  <a:pt x="562" y="475"/>
                  <a:pt x="566" y="476"/>
                </a:cubicBezTo>
                <a:cubicBezTo>
                  <a:pt x="569" y="477"/>
                  <a:pt x="573" y="480"/>
                  <a:pt x="577" y="483"/>
                </a:cubicBezTo>
                <a:cubicBezTo>
                  <a:pt x="578" y="483"/>
                  <a:pt x="578" y="483"/>
                  <a:pt x="578" y="483"/>
                </a:cubicBezTo>
                <a:cubicBezTo>
                  <a:pt x="577" y="490"/>
                  <a:pt x="576" y="497"/>
                  <a:pt x="575" y="505"/>
                </a:cubicBezTo>
                <a:cubicBezTo>
                  <a:pt x="567" y="486"/>
                  <a:pt x="561" y="482"/>
                  <a:pt x="556" y="482"/>
                </a:cubicBezTo>
                <a:cubicBezTo>
                  <a:pt x="556" y="482"/>
                  <a:pt x="555" y="482"/>
                  <a:pt x="555" y="482"/>
                </a:cubicBezTo>
                <a:cubicBezTo>
                  <a:pt x="543" y="482"/>
                  <a:pt x="540" y="497"/>
                  <a:pt x="538" y="510"/>
                </a:cubicBezTo>
                <a:cubicBezTo>
                  <a:pt x="537" y="513"/>
                  <a:pt x="537" y="517"/>
                  <a:pt x="536" y="520"/>
                </a:cubicBezTo>
                <a:cubicBezTo>
                  <a:pt x="529" y="515"/>
                  <a:pt x="518" y="505"/>
                  <a:pt x="513" y="500"/>
                </a:cubicBezTo>
                <a:cubicBezTo>
                  <a:pt x="510" y="495"/>
                  <a:pt x="503" y="482"/>
                  <a:pt x="487" y="482"/>
                </a:cubicBezTo>
                <a:cubicBezTo>
                  <a:pt x="485" y="482"/>
                  <a:pt x="483" y="482"/>
                  <a:pt x="480" y="483"/>
                </a:cubicBezTo>
                <a:cubicBezTo>
                  <a:pt x="462" y="486"/>
                  <a:pt x="447" y="502"/>
                  <a:pt x="433" y="519"/>
                </a:cubicBezTo>
                <a:cubicBezTo>
                  <a:pt x="433" y="519"/>
                  <a:pt x="433" y="519"/>
                  <a:pt x="432" y="519"/>
                </a:cubicBezTo>
                <a:cubicBezTo>
                  <a:pt x="402" y="519"/>
                  <a:pt x="402" y="519"/>
                  <a:pt x="402" y="519"/>
                </a:cubicBezTo>
                <a:lnTo>
                  <a:pt x="402" y="478"/>
                </a:lnTo>
                <a:close/>
                <a:moveTo>
                  <a:pt x="580" y="467"/>
                </a:moveTo>
                <a:cubicBezTo>
                  <a:pt x="576" y="466"/>
                  <a:pt x="573" y="464"/>
                  <a:pt x="571" y="463"/>
                </a:cubicBezTo>
                <a:cubicBezTo>
                  <a:pt x="568" y="462"/>
                  <a:pt x="565" y="461"/>
                  <a:pt x="561" y="461"/>
                </a:cubicBezTo>
                <a:cubicBezTo>
                  <a:pt x="556" y="461"/>
                  <a:pt x="552" y="462"/>
                  <a:pt x="547" y="463"/>
                </a:cubicBezTo>
                <a:cubicBezTo>
                  <a:pt x="542" y="464"/>
                  <a:pt x="538" y="465"/>
                  <a:pt x="534" y="465"/>
                </a:cubicBezTo>
                <a:cubicBezTo>
                  <a:pt x="534" y="464"/>
                  <a:pt x="533" y="463"/>
                  <a:pt x="533" y="462"/>
                </a:cubicBezTo>
                <a:cubicBezTo>
                  <a:pt x="533" y="456"/>
                  <a:pt x="532" y="446"/>
                  <a:pt x="521" y="439"/>
                </a:cubicBezTo>
                <a:cubicBezTo>
                  <a:pt x="515" y="435"/>
                  <a:pt x="508" y="430"/>
                  <a:pt x="503" y="425"/>
                </a:cubicBezTo>
                <a:cubicBezTo>
                  <a:pt x="515" y="428"/>
                  <a:pt x="533" y="432"/>
                  <a:pt x="546" y="438"/>
                </a:cubicBezTo>
                <a:cubicBezTo>
                  <a:pt x="569" y="446"/>
                  <a:pt x="577" y="452"/>
                  <a:pt x="578" y="460"/>
                </a:cubicBezTo>
                <a:cubicBezTo>
                  <a:pt x="578" y="463"/>
                  <a:pt x="579" y="465"/>
                  <a:pt x="580" y="467"/>
                </a:cubicBezTo>
                <a:close/>
                <a:moveTo>
                  <a:pt x="420" y="533"/>
                </a:moveTo>
                <a:cubicBezTo>
                  <a:pt x="415" y="536"/>
                  <a:pt x="408" y="538"/>
                  <a:pt x="402" y="540"/>
                </a:cubicBezTo>
                <a:cubicBezTo>
                  <a:pt x="402" y="533"/>
                  <a:pt x="402" y="533"/>
                  <a:pt x="402" y="533"/>
                </a:cubicBezTo>
                <a:lnTo>
                  <a:pt x="420" y="533"/>
                </a:lnTo>
                <a:close/>
                <a:moveTo>
                  <a:pt x="597" y="389"/>
                </a:moveTo>
                <a:cubicBezTo>
                  <a:pt x="596" y="349"/>
                  <a:pt x="593" y="310"/>
                  <a:pt x="587" y="273"/>
                </a:cubicBezTo>
                <a:cubicBezTo>
                  <a:pt x="757" y="273"/>
                  <a:pt x="757" y="273"/>
                  <a:pt x="757" y="273"/>
                </a:cubicBezTo>
                <a:cubicBezTo>
                  <a:pt x="769" y="310"/>
                  <a:pt x="776" y="349"/>
                  <a:pt x="777" y="389"/>
                </a:cubicBezTo>
                <a:lnTo>
                  <a:pt x="597" y="389"/>
                </a:lnTo>
                <a:close/>
                <a:moveTo>
                  <a:pt x="539" y="119"/>
                </a:moveTo>
                <a:cubicBezTo>
                  <a:pt x="534" y="107"/>
                  <a:pt x="527" y="96"/>
                  <a:pt x="520" y="85"/>
                </a:cubicBezTo>
                <a:cubicBezTo>
                  <a:pt x="526" y="85"/>
                  <a:pt x="530" y="87"/>
                  <a:pt x="532" y="90"/>
                </a:cubicBezTo>
                <a:cubicBezTo>
                  <a:pt x="539" y="97"/>
                  <a:pt x="540" y="111"/>
                  <a:pt x="539" y="119"/>
                </a:cubicBezTo>
                <a:close/>
                <a:moveTo>
                  <a:pt x="506" y="193"/>
                </a:moveTo>
                <a:cubicBezTo>
                  <a:pt x="507" y="193"/>
                  <a:pt x="508" y="193"/>
                  <a:pt x="509" y="192"/>
                </a:cubicBezTo>
                <a:cubicBezTo>
                  <a:pt x="508" y="193"/>
                  <a:pt x="507" y="193"/>
                  <a:pt x="506" y="194"/>
                </a:cubicBezTo>
                <a:lnTo>
                  <a:pt x="506" y="193"/>
                </a:lnTo>
                <a:close/>
                <a:moveTo>
                  <a:pt x="500" y="146"/>
                </a:moveTo>
                <a:cubicBezTo>
                  <a:pt x="502" y="138"/>
                  <a:pt x="502" y="125"/>
                  <a:pt x="493" y="114"/>
                </a:cubicBezTo>
                <a:cubicBezTo>
                  <a:pt x="493" y="115"/>
                  <a:pt x="494" y="115"/>
                  <a:pt x="494" y="115"/>
                </a:cubicBezTo>
                <a:cubicBezTo>
                  <a:pt x="497" y="119"/>
                  <a:pt x="504" y="135"/>
                  <a:pt x="506" y="140"/>
                </a:cubicBezTo>
                <a:cubicBezTo>
                  <a:pt x="505" y="141"/>
                  <a:pt x="505" y="141"/>
                  <a:pt x="505" y="141"/>
                </a:cubicBezTo>
                <a:cubicBezTo>
                  <a:pt x="504" y="142"/>
                  <a:pt x="504" y="144"/>
                  <a:pt x="503" y="145"/>
                </a:cubicBezTo>
                <a:cubicBezTo>
                  <a:pt x="503" y="146"/>
                  <a:pt x="503" y="147"/>
                  <a:pt x="503" y="148"/>
                </a:cubicBezTo>
                <a:cubicBezTo>
                  <a:pt x="501" y="149"/>
                  <a:pt x="498" y="151"/>
                  <a:pt x="497" y="155"/>
                </a:cubicBezTo>
                <a:cubicBezTo>
                  <a:pt x="495" y="160"/>
                  <a:pt x="498" y="167"/>
                  <a:pt x="504" y="174"/>
                </a:cubicBezTo>
                <a:cubicBezTo>
                  <a:pt x="505" y="175"/>
                  <a:pt x="505" y="176"/>
                  <a:pt x="505" y="177"/>
                </a:cubicBezTo>
                <a:cubicBezTo>
                  <a:pt x="505" y="177"/>
                  <a:pt x="504" y="179"/>
                  <a:pt x="500" y="181"/>
                </a:cubicBezTo>
                <a:cubicBezTo>
                  <a:pt x="499" y="181"/>
                  <a:pt x="498" y="182"/>
                  <a:pt x="497" y="182"/>
                </a:cubicBezTo>
                <a:cubicBezTo>
                  <a:pt x="495" y="184"/>
                  <a:pt x="485" y="190"/>
                  <a:pt x="481" y="191"/>
                </a:cubicBezTo>
                <a:cubicBezTo>
                  <a:pt x="479" y="191"/>
                  <a:pt x="477" y="193"/>
                  <a:pt x="475" y="194"/>
                </a:cubicBezTo>
                <a:cubicBezTo>
                  <a:pt x="473" y="185"/>
                  <a:pt x="466" y="176"/>
                  <a:pt x="461" y="171"/>
                </a:cubicBezTo>
                <a:cubicBezTo>
                  <a:pt x="460" y="170"/>
                  <a:pt x="458" y="168"/>
                  <a:pt x="459" y="166"/>
                </a:cubicBezTo>
                <a:cubicBezTo>
                  <a:pt x="460" y="164"/>
                  <a:pt x="463" y="162"/>
                  <a:pt x="468" y="162"/>
                </a:cubicBezTo>
                <a:cubicBezTo>
                  <a:pt x="470" y="162"/>
                  <a:pt x="472" y="162"/>
                  <a:pt x="473" y="162"/>
                </a:cubicBezTo>
                <a:cubicBezTo>
                  <a:pt x="485" y="165"/>
                  <a:pt x="496" y="158"/>
                  <a:pt x="500" y="146"/>
                </a:cubicBezTo>
                <a:close/>
                <a:moveTo>
                  <a:pt x="464" y="212"/>
                </a:moveTo>
                <a:cubicBezTo>
                  <a:pt x="464" y="212"/>
                  <a:pt x="465" y="212"/>
                  <a:pt x="465" y="212"/>
                </a:cubicBezTo>
                <a:cubicBezTo>
                  <a:pt x="466" y="212"/>
                  <a:pt x="467" y="212"/>
                  <a:pt x="468" y="211"/>
                </a:cubicBezTo>
                <a:cubicBezTo>
                  <a:pt x="468" y="213"/>
                  <a:pt x="468" y="216"/>
                  <a:pt x="469" y="217"/>
                </a:cubicBezTo>
                <a:cubicBezTo>
                  <a:pt x="471" y="223"/>
                  <a:pt x="475" y="224"/>
                  <a:pt x="477" y="225"/>
                </a:cubicBezTo>
                <a:cubicBezTo>
                  <a:pt x="477" y="225"/>
                  <a:pt x="477" y="225"/>
                  <a:pt x="478" y="225"/>
                </a:cubicBezTo>
                <a:cubicBezTo>
                  <a:pt x="484" y="225"/>
                  <a:pt x="488" y="218"/>
                  <a:pt x="492" y="212"/>
                </a:cubicBezTo>
                <a:cubicBezTo>
                  <a:pt x="494" y="209"/>
                  <a:pt x="494" y="209"/>
                  <a:pt x="500" y="208"/>
                </a:cubicBezTo>
                <a:cubicBezTo>
                  <a:pt x="502" y="208"/>
                  <a:pt x="504" y="208"/>
                  <a:pt x="507" y="208"/>
                </a:cubicBezTo>
                <a:cubicBezTo>
                  <a:pt x="523" y="205"/>
                  <a:pt x="529" y="187"/>
                  <a:pt x="527" y="178"/>
                </a:cubicBezTo>
                <a:cubicBezTo>
                  <a:pt x="527" y="174"/>
                  <a:pt x="525" y="170"/>
                  <a:pt x="523" y="166"/>
                </a:cubicBezTo>
                <a:cubicBezTo>
                  <a:pt x="529" y="165"/>
                  <a:pt x="535" y="164"/>
                  <a:pt x="537" y="157"/>
                </a:cubicBezTo>
                <a:cubicBezTo>
                  <a:pt x="537" y="155"/>
                  <a:pt x="537" y="152"/>
                  <a:pt x="535" y="150"/>
                </a:cubicBezTo>
                <a:cubicBezTo>
                  <a:pt x="534" y="148"/>
                  <a:pt x="530" y="145"/>
                  <a:pt x="527" y="144"/>
                </a:cubicBezTo>
                <a:cubicBezTo>
                  <a:pt x="536" y="144"/>
                  <a:pt x="536" y="144"/>
                  <a:pt x="536" y="144"/>
                </a:cubicBezTo>
                <a:cubicBezTo>
                  <a:pt x="550" y="178"/>
                  <a:pt x="562" y="217"/>
                  <a:pt x="570" y="259"/>
                </a:cubicBezTo>
                <a:cubicBezTo>
                  <a:pt x="453" y="259"/>
                  <a:pt x="453" y="259"/>
                  <a:pt x="453" y="259"/>
                </a:cubicBezTo>
                <a:cubicBezTo>
                  <a:pt x="455" y="257"/>
                  <a:pt x="455" y="255"/>
                  <a:pt x="455" y="252"/>
                </a:cubicBezTo>
                <a:cubicBezTo>
                  <a:pt x="456" y="245"/>
                  <a:pt x="452" y="240"/>
                  <a:pt x="445" y="239"/>
                </a:cubicBezTo>
                <a:cubicBezTo>
                  <a:pt x="444" y="239"/>
                  <a:pt x="444" y="239"/>
                  <a:pt x="444" y="239"/>
                </a:cubicBezTo>
                <a:cubicBezTo>
                  <a:pt x="442" y="239"/>
                  <a:pt x="441" y="239"/>
                  <a:pt x="440" y="239"/>
                </a:cubicBezTo>
                <a:cubicBezTo>
                  <a:pt x="448" y="224"/>
                  <a:pt x="438" y="208"/>
                  <a:pt x="430" y="194"/>
                </a:cubicBezTo>
                <a:cubicBezTo>
                  <a:pt x="426" y="189"/>
                  <a:pt x="421" y="181"/>
                  <a:pt x="422" y="179"/>
                </a:cubicBezTo>
                <a:cubicBezTo>
                  <a:pt x="422" y="179"/>
                  <a:pt x="422" y="178"/>
                  <a:pt x="424" y="178"/>
                </a:cubicBezTo>
                <a:cubicBezTo>
                  <a:pt x="425" y="177"/>
                  <a:pt x="427" y="177"/>
                  <a:pt x="428" y="177"/>
                </a:cubicBezTo>
                <a:cubicBezTo>
                  <a:pt x="435" y="177"/>
                  <a:pt x="440" y="185"/>
                  <a:pt x="446" y="196"/>
                </a:cubicBezTo>
                <a:cubicBezTo>
                  <a:pt x="451" y="204"/>
                  <a:pt x="455" y="212"/>
                  <a:pt x="464" y="212"/>
                </a:cubicBezTo>
                <a:close/>
                <a:moveTo>
                  <a:pt x="429" y="259"/>
                </a:moveTo>
                <a:cubicBezTo>
                  <a:pt x="424" y="259"/>
                  <a:pt x="424" y="259"/>
                  <a:pt x="424" y="259"/>
                </a:cubicBezTo>
                <a:cubicBezTo>
                  <a:pt x="426" y="258"/>
                  <a:pt x="427" y="256"/>
                  <a:pt x="429" y="255"/>
                </a:cubicBezTo>
                <a:cubicBezTo>
                  <a:pt x="429" y="256"/>
                  <a:pt x="429" y="256"/>
                  <a:pt x="429" y="257"/>
                </a:cubicBezTo>
                <a:cubicBezTo>
                  <a:pt x="429" y="258"/>
                  <a:pt x="429" y="259"/>
                  <a:pt x="429" y="259"/>
                </a:cubicBezTo>
                <a:close/>
                <a:moveTo>
                  <a:pt x="403" y="273"/>
                </a:moveTo>
                <a:cubicBezTo>
                  <a:pt x="573" y="273"/>
                  <a:pt x="573" y="273"/>
                  <a:pt x="573" y="273"/>
                </a:cubicBezTo>
                <a:cubicBezTo>
                  <a:pt x="579" y="310"/>
                  <a:pt x="582" y="349"/>
                  <a:pt x="583" y="389"/>
                </a:cubicBezTo>
                <a:cubicBezTo>
                  <a:pt x="416" y="389"/>
                  <a:pt x="416" y="389"/>
                  <a:pt x="416" y="389"/>
                </a:cubicBezTo>
                <a:cubicBezTo>
                  <a:pt x="416" y="388"/>
                  <a:pt x="416" y="387"/>
                  <a:pt x="416" y="386"/>
                </a:cubicBezTo>
                <a:cubicBezTo>
                  <a:pt x="416" y="376"/>
                  <a:pt x="411" y="370"/>
                  <a:pt x="402" y="368"/>
                </a:cubicBezTo>
                <a:cubicBezTo>
                  <a:pt x="402" y="274"/>
                  <a:pt x="402" y="274"/>
                  <a:pt x="402" y="274"/>
                </a:cubicBezTo>
                <a:cubicBezTo>
                  <a:pt x="402" y="274"/>
                  <a:pt x="402" y="273"/>
                  <a:pt x="403" y="273"/>
                </a:cubicBezTo>
                <a:close/>
                <a:moveTo>
                  <a:pt x="388" y="662"/>
                </a:moveTo>
                <a:cubicBezTo>
                  <a:pt x="388" y="777"/>
                  <a:pt x="388" y="777"/>
                  <a:pt x="388" y="777"/>
                </a:cubicBezTo>
                <a:cubicBezTo>
                  <a:pt x="339" y="774"/>
                  <a:pt x="294" y="730"/>
                  <a:pt x="261" y="662"/>
                </a:cubicBezTo>
                <a:lnTo>
                  <a:pt x="388" y="662"/>
                </a:lnTo>
                <a:close/>
                <a:moveTo>
                  <a:pt x="402" y="662"/>
                </a:moveTo>
                <a:cubicBezTo>
                  <a:pt x="502" y="662"/>
                  <a:pt x="502" y="662"/>
                  <a:pt x="502" y="662"/>
                </a:cubicBezTo>
                <a:cubicBezTo>
                  <a:pt x="499" y="668"/>
                  <a:pt x="501" y="677"/>
                  <a:pt x="503" y="682"/>
                </a:cubicBezTo>
                <a:cubicBezTo>
                  <a:pt x="506" y="689"/>
                  <a:pt x="508" y="693"/>
                  <a:pt x="512" y="694"/>
                </a:cubicBezTo>
                <a:cubicBezTo>
                  <a:pt x="481" y="745"/>
                  <a:pt x="443" y="774"/>
                  <a:pt x="402" y="777"/>
                </a:cubicBezTo>
                <a:lnTo>
                  <a:pt x="402" y="662"/>
                </a:lnTo>
                <a:close/>
                <a:moveTo>
                  <a:pt x="525" y="672"/>
                </a:moveTo>
                <a:cubicBezTo>
                  <a:pt x="522" y="674"/>
                  <a:pt x="518" y="677"/>
                  <a:pt x="517" y="678"/>
                </a:cubicBezTo>
                <a:cubicBezTo>
                  <a:pt x="516" y="676"/>
                  <a:pt x="515" y="672"/>
                  <a:pt x="514" y="670"/>
                </a:cubicBezTo>
                <a:cubicBezTo>
                  <a:pt x="516" y="670"/>
                  <a:pt x="518" y="670"/>
                  <a:pt x="521" y="670"/>
                </a:cubicBezTo>
                <a:cubicBezTo>
                  <a:pt x="523" y="670"/>
                  <a:pt x="524" y="670"/>
                  <a:pt x="525" y="670"/>
                </a:cubicBezTo>
                <a:cubicBezTo>
                  <a:pt x="525" y="670"/>
                  <a:pt x="525" y="671"/>
                  <a:pt x="525" y="672"/>
                </a:cubicBezTo>
                <a:close/>
                <a:moveTo>
                  <a:pt x="402" y="648"/>
                </a:moveTo>
                <a:cubicBezTo>
                  <a:pt x="402" y="630"/>
                  <a:pt x="402" y="630"/>
                  <a:pt x="402" y="630"/>
                </a:cubicBezTo>
                <a:cubicBezTo>
                  <a:pt x="404" y="631"/>
                  <a:pt x="406" y="631"/>
                  <a:pt x="409" y="631"/>
                </a:cubicBezTo>
                <a:cubicBezTo>
                  <a:pt x="429" y="631"/>
                  <a:pt x="450" y="624"/>
                  <a:pt x="465" y="619"/>
                </a:cubicBezTo>
                <a:cubicBezTo>
                  <a:pt x="470" y="617"/>
                  <a:pt x="475" y="616"/>
                  <a:pt x="478" y="615"/>
                </a:cubicBezTo>
                <a:cubicBezTo>
                  <a:pt x="478" y="615"/>
                  <a:pt x="478" y="615"/>
                  <a:pt x="479" y="615"/>
                </a:cubicBezTo>
                <a:cubicBezTo>
                  <a:pt x="481" y="615"/>
                  <a:pt x="485" y="619"/>
                  <a:pt x="488" y="624"/>
                </a:cubicBezTo>
                <a:cubicBezTo>
                  <a:pt x="496" y="633"/>
                  <a:pt x="507" y="646"/>
                  <a:pt x="529" y="647"/>
                </a:cubicBezTo>
                <a:cubicBezTo>
                  <a:pt x="530" y="647"/>
                  <a:pt x="531" y="647"/>
                  <a:pt x="532" y="647"/>
                </a:cubicBezTo>
                <a:cubicBezTo>
                  <a:pt x="533" y="647"/>
                  <a:pt x="535" y="647"/>
                  <a:pt x="536" y="647"/>
                </a:cubicBezTo>
                <a:cubicBezTo>
                  <a:pt x="536" y="648"/>
                  <a:pt x="536" y="648"/>
                  <a:pt x="536" y="648"/>
                </a:cubicBezTo>
                <a:lnTo>
                  <a:pt x="402" y="648"/>
                </a:lnTo>
                <a:close/>
                <a:moveTo>
                  <a:pt x="669" y="130"/>
                </a:moveTo>
                <a:cubicBezTo>
                  <a:pt x="553" y="130"/>
                  <a:pt x="553" y="130"/>
                  <a:pt x="553" y="130"/>
                </a:cubicBezTo>
                <a:cubicBezTo>
                  <a:pt x="554" y="128"/>
                  <a:pt x="555" y="126"/>
                  <a:pt x="556" y="124"/>
                </a:cubicBezTo>
                <a:cubicBezTo>
                  <a:pt x="560" y="112"/>
                  <a:pt x="560" y="87"/>
                  <a:pt x="556" y="50"/>
                </a:cubicBezTo>
                <a:cubicBezTo>
                  <a:pt x="598" y="69"/>
                  <a:pt x="636" y="97"/>
                  <a:pt x="669" y="130"/>
                </a:cubicBezTo>
                <a:close/>
                <a:moveTo>
                  <a:pt x="395" y="14"/>
                </a:moveTo>
                <a:cubicBezTo>
                  <a:pt x="401" y="14"/>
                  <a:pt x="407" y="14"/>
                  <a:pt x="413" y="15"/>
                </a:cubicBezTo>
                <a:cubicBezTo>
                  <a:pt x="414" y="15"/>
                  <a:pt x="414" y="15"/>
                  <a:pt x="415" y="15"/>
                </a:cubicBezTo>
                <a:cubicBezTo>
                  <a:pt x="420" y="15"/>
                  <a:pt x="425" y="15"/>
                  <a:pt x="431" y="16"/>
                </a:cubicBezTo>
                <a:cubicBezTo>
                  <a:pt x="432" y="16"/>
                  <a:pt x="433" y="16"/>
                  <a:pt x="434" y="16"/>
                </a:cubicBezTo>
                <a:cubicBezTo>
                  <a:pt x="439" y="17"/>
                  <a:pt x="443" y="17"/>
                  <a:pt x="448" y="18"/>
                </a:cubicBezTo>
                <a:cubicBezTo>
                  <a:pt x="450" y="18"/>
                  <a:pt x="452" y="18"/>
                  <a:pt x="453" y="19"/>
                </a:cubicBezTo>
                <a:cubicBezTo>
                  <a:pt x="457" y="19"/>
                  <a:pt x="462" y="20"/>
                  <a:pt x="466" y="21"/>
                </a:cubicBezTo>
                <a:cubicBezTo>
                  <a:pt x="468" y="21"/>
                  <a:pt x="470" y="22"/>
                  <a:pt x="472" y="22"/>
                </a:cubicBezTo>
                <a:cubicBezTo>
                  <a:pt x="476" y="23"/>
                  <a:pt x="480" y="24"/>
                  <a:pt x="484" y="25"/>
                </a:cubicBezTo>
                <a:cubicBezTo>
                  <a:pt x="486" y="25"/>
                  <a:pt x="489" y="26"/>
                  <a:pt x="492" y="27"/>
                </a:cubicBezTo>
                <a:cubicBezTo>
                  <a:pt x="495" y="28"/>
                  <a:pt x="498" y="28"/>
                  <a:pt x="501" y="29"/>
                </a:cubicBezTo>
                <a:cubicBezTo>
                  <a:pt x="505" y="30"/>
                  <a:pt x="508" y="31"/>
                  <a:pt x="511" y="32"/>
                </a:cubicBezTo>
                <a:cubicBezTo>
                  <a:pt x="514" y="33"/>
                  <a:pt x="516" y="34"/>
                  <a:pt x="519" y="35"/>
                </a:cubicBezTo>
                <a:cubicBezTo>
                  <a:pt x="523" y="36"/>
                  <a:pt x="527" y="38"/>
                  <a:pt x="531" y="39"/>
                </a:cubicBezTo>
                <a:cubicBezTo>
                  <a:pt x="532" y="40"/>
                  <a:pt x="534" y="40"/>
                  <a:pt x="536" y="41"/>
                </a:cubicBezTo>
                <a:cubicBezTo>
                  <a:pt x="538" y="42"/>
                  <a:pt x="539" y="43"/>
                  <a:pt x="541" y="43"/>
                </a:cubicBezTo>
                <a:cubicBezTo>
                  <a:pt x="543" y="58"/>
                  <a:pt x="544" y="71"/>
                  <a:pt x="545" y="83"/>
                </a:cubicBezTo>
                <a:cubicBezTo>
                  <a:pt x="544" y="82"/>
                  <a:pt x="543" y="81"/>
                  <a:pt x="542" y="80"/>
                </a:cubicBezTo>
                <a:cubicBezTo>
                  <a:pt x="537" y="74"/>
                  <a:pt x="529" y="71"/>
                  <a:pt x="520" y="71"/>
                </a:cubicBezTo>
                <a:cubicBezTo>
                  <a:pt x="519" y="71"/>
                  <a:pt x="519" y="71"/>
                  <a:pt x="519" y="71"/>
                </a:cubicBezTo>
                <a:cubicBezTo>
                  <a:pt x="516" y="71"/>
                  <a:pt x="512" y="71"/>
                  <a:pt x="508" y="72"/>
                </a:cubicBezTo>
                <a:cubicBezTo>
                  <a:pt x="507" y="72"/>
                  <a:pt x="507" y="72"/>
                  <a:pt x="507" y="72"/>
                </a:cubicBezTo>
                <a:cubicBezTo>
                  <a:pt x="490" y="73"/>
                  <a:pt x="466" y="78"/>
                  <a:pt x="462" y="92"/>
                </a:cubicBezTo>
                <a:cubicBezTo>
                  <a:pt x="460" y="97"/>
                  <a:pt x="461" y="106"/>
                  <a:pt x="474" y="116"/>
                </a:cubicBezTo>
                <a:cubicBezTo>
                  <a:pt x="487" y="124"/>
                  <a:pt x="488" y="135"/>
                  <a:pt x="486" y="142"/>
                </a:cubicBezTo>
                <a:cubicBezTo>
                  <a:pt x="486" y="143"/>
                  <a:pt x="484" y="149"/>
                  <a:pt x="478" y="149"/>
                </a:cubicBezTo>
                <a:cubicBezTo>
                  <a:pt x="477" y="149"/>
                  <a:pt x="477" y="149"/>
                  <a:pt x="476" y="149"/>
                </a:cubicBezTo>
                <a:cubicBezTo>
                  <a:pt x="462" y="146"/>
                  <a:pt x="450" y="151"/>
                  <a:pt x="446" y="161"/>
                </a:cubicBezTo>
                <a:cubicBezTo>
                  <a:pt x="445" y="164"/>
                  <a:pt x="444" y="167"/>
                  <a:pt x="445" y="170"/>
                </a:cubicBezTo>
                <a:cubicBezTo>
                  <a:pt x="440" y="166"/>
                  <a:pt x="435" y="163"/>
                  <a:pt x="428" y="163"/>
                </a:cubicBezTo>
                <a:cubicBezTo>
                  <a:pt x="425" y="163"/>
                  <a:pt x="423" y="163"/>
                  <a:pt x="420" y="164"/>
                </a:cubicBezTo>
                <a:cubicBezTo>
                  <a:pt x="414" y="166"/>
                  <a:pt x="410" y="169"/>
                  <a:pt x="409" y="173"/>
                </a:cubicBezTo>
                <a:cubicBezTo>
                  <a:pt x="405" y="182"/>
                  <a:pt x="411" y="191"/>
                  <a:pt x="418" y="202"/>
                </a:cubicBezTo>
                <a:cubicBezTo>
                  <a:pt x="425" y="213"/>
                  <a:pt x="432" y="225"/>
                  <a:pt x="428" y="234"/>
                </a:cubicBezTo>
                <a:cubicBezTo>
                  <a:pt x="421" y="245"/>
                  <a:pt x="410" y="254"/>
                  <a:pt x="398" y="260"/>
                </a:cubicBezTo>
                <a:cubicBezTo>
                  <a:pt x="398" y="260"/>
                  <a:pt x="398" y="260"/>
                  <a:pt x="398" y="260"/>
                </a:cubicBezTo>
                <a:cubicBezTo>
                  <a:pt x="396" y="261"/>
                  <a:pt x="395" y="262"/>
                  <a:pt x="393" y="262"/>
                </a:cubicBezTo>
                <a:cubicBezTo>
                  <a:pt x="393" y="263"/>
                  <a:pt x="392" y="263"/>
                  <a:pt x="392" y="263"/>
                </a:cubicBezTo>
                <a:cubicBezTo>
                  <a:pt x="383" y="267"/>
                  <a:pt x="373" y="269"/>
                  <a:pt x="365" y="270"/>
                </a:cubicBezTo>
                <a:cubicBezTo>
                  <a:pt x="341" y="273"/>
                  <a:pt x="343" y="287"/>
                  <a:pt x="344" y="300"/>
                </a:cubicBezTo>
                <a:cubicBezTo>
                  <a:pt x="344" y="305"/>
                  <a:pt x="345" y="309"/>
                  <a:pt x="344" y="315"/>
                </a:cubicBezTo>
                <a:cubicBezTo>
                  <a:pt x="344" y="338"/>
                  <a:pt x="343" y="352"/>
                  <a:pt x="340" y="355"/>
                </a:cubicBezTo>
                <a:cubicBezTo>
                  <a:pt x="339" y="355"/>
                  <a:pt x="337" y="354"/>
                  <a:pt x="333" y="349"/>
                </a:cubicBezTo>
                <a:cubicBezTo>
                  <a:pt x="326" y="341"/>
                  <a:pt x="320" y="338"/>
                  <a:pt x="314" y="338"/>
                </a:cubicBezTo>
                <a:cubicBezTo>
                  <a:pt x="310" y="338"/>
                  <a:pt x="307" y="339"/>
                  <a:pt x="305" y="343"/>
                </a:cubicBezTo>
                <a:cubicBezTo>
                  <a:pt x="296" y="355"/>
                  <a:pt x="307" y="389"/>
                  <a:pt x="309" y="395"/>
                </a:cubicBezTo>
                <a:cubicBezTo>
                  <a:pt x="316" y="416"/>
                  <a:pt x="350" y="440"/>
                  <a:pt x="375" y="458"/>
                </a:cubicBezTo>
                <a:cubicBezTo>
                  <a:pt x="376" y="458"/>
                  <a:pt x="376" y="458"/>
                  <a:pt x="376" y="458"/>
                </a:cubicBezTo>
                <a:cubicBezTo>
                  <a:pt x="312" y="440"/>
                  <a:pt x="276" y="416"/>
                  <a:pt x="277" y="392"/>
                </a:cubicBezTo>
                <a:cubicBezTo>
                  <a:pt x="278" y="373"/>
                  <a:pt x="285" y="367"/>
                  <a:pt x="292" y="361"/>
                </a:cubicBezTo>
                <a:cubicBezTo>
                  <a:pt x="298" y="356"/>
                  <a:pt x="306" y="349"/>
                  <a:pt x="302" y="334"/>
                </a:cubicBezTo>
                <a:cubicBezTo>
                  <a:pt x="296" y="315"/>
                  <a:pt x="279" y="309"/>
                  <a:pt x="269" y="307"/>
                </a:cubicBezTo>
                <a:cubicBezTo>
                  <a:pt x="275" y="267"/>
                  <a:pt x="261" y="260"/>
                  <a:pt x="256" y="258"/>
                </a:cubicBezTo>
                <a:cubicBezTo>
                  <a:pt x="254" y="258"/>
                  <a:pt x="252" y="258"/>
                  <a:pt x="250" y="258"/>
                </a:cubicBezTo>
                <a:cubicBezTo>
                  <a:pt x="230" y="258"/>
                  <a:pt x="190" y="284"/>
                  <a:pt x="183" y="299"/>
                </a:cubicBezTo>
                <a:cubicBezTo>
                  <a:pt x="180" y="305"/>
                  <a:pt x="179" y="311"/>
                  <a:pt x="177" y="317"/>
                </a:cubicBezTo>
                <a:cubicBezTo>
                  <a:pt x="175" y="325"/>
                  <a:pt x="173" y="333"/>
                  <a:pt x="169" y="338"/>
                </a:cubicBezTo>
                <a:cubicBezTo>
                  <a:pt x="166" y="330"/>
                  <a:pt x="163" y="310"/>
                  <a:pt x="159" y="279"/>
                </a:cubicBezTo>
                <a:cubicBezTo>
                  <a:pt x="157" y="267"/>
                  <a:pt x="157" y="266"/>
                  <a:pt x="156" y="264"/>
                </a:cubicBezTo>
                <a:cubicBezTo>
                  <a:pt x="155" y="262"/>
                  <a:pt x="149" y="251"/>
                  <a:pt x="144" y="242"/>
                </a:cubicBezTo>
                <a:cubicBezTo>
                  <a:pt x="143" y="240"/>
                  <a:pt x="141" y="238"/>
                  <a:pt x="139" y="238"/>
                </a:cubicBezTo>
                <a:cubicBezTo>
                  <a:pt x="133" y="237"/>
                  <a:pt x="115" y="234"/>
                  <a:pt x="107" y="229"/>
                </a:cubicBezTo>
                <a:cubicBezTo>
                  <a:pt x="104" y="228"/>
                  <a:pt x="102" y="227"/>
                  <a:pt x="99" y="229"/>
                </a:cubicBezTo>
                <a:cubicBezTo>
                  <a:pt x="97" y="230"/>
                  <a:pt x="96" y="232"/>
                  <a:pt x="96" y="235"/>
                </a:cubicBezTo>
                <a:cubicBezTo>
                  <a:pt x="96" y="248"/>
                  <a:pt x="95" y="266"/>
                  <a:pt x="94" y="272"/>
                </a:cubicBezTo>
                <a:cubicBezTo>
                  <a:pt x="90" y="279"/>
                  <a:pt x="73" y="304"/>
                  <a:pt x="48" y="360"/>
                </a:cubicBezTo>
                <a:cubicBezTo>
                  <a:pt x="39" y="383"/>
                  <a:pt x="34" y="415"/>
                  <a:pt x="33" y="450"/>
                </a:cubicBezTo>
                <a:cubicBezTo>
                  <a:pt x="34" y="435"/>
                  <a:pt x="39" y="420"/>
                  <a:pt x="46" y="402"/>
                </a:cubicBezTo>
                <a:cubicBezTo>
                  <a:pt x="47" y="403"/>
                  <a:pt x="48" y="403"/>
                  <a:pt x="50" y="403"/>
                </a:cubicBezTo>
                <a:cubicBezTo>
                  <a:pt x="54" y="403"/>
                  <a:pt x="54" y="403"/>
                  <a:pt x="54" y="403"/>
                </a:cubicBezTo>
                <a:cubicBezTo>
                  <a:pt x="51" y="406"/>
                  <a:pt x="48" y="412"/>
                  <a:pt x="46" y="429"/>
                </a:cubicBezTo>
                <a:cubicBezTo>
                  <a:pt x="45" y="443"/>
                  <a:pt x="44" y="458"/>
                  <a:pt x="46" y="469"/>
                </a:cubicBezTo>
                <a:cubicBezTo>
                  <a:pt x="48" y="488"/>
                  <a:pt x="54" y="497"/>
                  <a:pt x="64" y="497"/>
                </a:cubicBezTo>
                <a:cubicBezTo>
                  <a:pt x="64" y="497"/>
                  <a:pt x="64" y="497"/>
                  <a:pt x="65" y="497"/>
                </a:cubicBezTo>
                <a:cubicBezTo>
                  <a:pt x="76" y="496"/>
                  <a:pt x="81" y="483"/>
                  <a:pt x="80" y="459"/>
                </a:cubicBezTo>
                <a:cubicBezTo>
                  <a:pt x="80" y="459"/>
                  <a:pt x="77" y="413"/>
                  <a:pt x="65" y="403"/>
                </a:cubicBezTo>
                <a:cubicBezTo>
                  <a:pt x="194" y="403"/>
                  <a:pt x="194" y="403"/>
                  <a:pt x="194" y="403"/>
                </a:cubicBezTo>
                <a:cubicBezTo>
                  <a:pt x="194" y="443"/>
                  <a:pt x="198" y="482"/>
                  <a:pt x="204" y="519"/>
                </a:cubicBezTo>
                <a:cubicBezTo>
                  <a:pt x="46" y="519"/>
                  <a:pt x="46" y="519"/>
                  <a:pt x="46" y="519"/>
                </a:cubicBezTo>
                <a:cubicBezTo>
                  <a:pt x="45" y="519"/>
                  <a:pt x="45" y="519"/>
                  <a:pt x="44" y="519"/>
                </a:cubicBezTo>
                <a:cubicBezTo>
                  <a:pt x="38" y="498"/>
                  <a:pt x="35" y="482"/>
                  <a:pt x="33" y="468"/>
                </a:cubicBezTo>
                <a:cubicBezTo>
                  <a:pt x="34" y="487"/>
                  <a:pt x="36" y="506"/>
                  <a:pt x="39" y="526"/>
                </a:cubicBezTo>
                <a:cubicBezTo>
                  <a:pt x="39" y="526"/>
                  <a:pt x="39" y="526"/>
                  <a:pt x="39" y="526"/>
                </a:cubicBezTo>
                <a:cubicBezTo>
                  <a:pt x="39" y="526"/>
                  <a:pt x="39" y="527"/>
                  <a:pt x="39" y="527"/>
                </a:cubicBezTo>
                <a:cubicBezTo>
                  <a:pt x="39" y="530"/>
                  <a:pt x="40" y="533"/>
                  <a:pt x="40" y="536"/>
                </a:cubicBezTo>
                <a:cubicBezTo>
                  <a:pt x="40" y="535"/>
                  <a:pt x="39" y="533"/>
                  <a:pt x="39" y="532"/>
                </a:cubicBezTo>
                <a:cubicBezTo>
                  <a:pt x="38" y="529"/>
                  <a:pt x="37" y="526"/>
                  <a:pt x="36" y="523"/>
                </a:cubicBezTo>
                <a:cubicBezTo>
                  <a:pt x="35" y="521"/>
                  <a:pt x="34" y="520"/>
                  <a:pt x="34" y="518"/>
                </a:cubicBezTo>
                <a:cubicBezTo>
                  <a:pt x="32" y="513"/>
                  <a:pt x="31" y="509"/>
                  <a:pt x="30" y="505"/>
                </a:cubicBezTo>
                <a:cubicBezTo>
                  <a:pt x="29" y="504"/>
                  <a:pt x="29" y="503"/>
                  <a:pt x="28" y="501"/>
                </a:cubicBezTo>
                <a:cubicBezTo>
                  <a:pt x="27" y="496"/>
                  <a:pt x="26" y="492"/>
                  <a:pt x="25" y="487"/>
                </a:cubicBezTo>
                <a:cubicBezTo>
                  <a:pt x="24" y="486"/>
                  <a:pt x="24" y="485"/>
                  <a:pt x="24" y="484"/>
                </a:cubicBezTo>
                <a:cubicBezTo>
                  <a:pt x="23" y="479"/>
                  <a:pt x="22" y="474"/>
                  <a:pt x="21" y="469"/>
                </a:cubicBezTo>
                <a:cubicBezTo>
                  <a:pt x="21" y="468"/>
                  <a:pt x="20" y="467"/>
                  <a:pt x="20" y="467"/>
                </a:cubicBezTo>
                <a:cubicBezTo>
                  <a:pt x="19" y="461"/>
                  <a:pt x="18" y="456"/>
                  <a:pt x="18" y="451"/>
                </a:cubicBezTo>
                <a:cubicBezTo>
                  <a:pt x="18" y="450"/>
                  <a:pt x="17" y="450"/>
                  <a:pt x="17" y="449"/>
                </a:cubicBezTo>
                <a:cubicBezTo>
                  <a:pt x="17" y="444"/>
                  <a:pt x="16" y="438"/>
                  <a:pt x="15" y="433"/>
                </a:cubicBezTo>
                <a:cubicBezTo>
                  <a:pt x="15" y="432"/>
                  <a:pt x="15" y="432"/>
                  <a:pt x="15" y="431"/>
                </a:cubicBezTo>
                <a:cubicBezTo>
                  <a:pt x="15" y="426"/>
                  <a:pt x="14" y="420"/>
                  <a:pt x="14" y="414"/>
                </a:cubicBezTo>
                <a:cubicBezTo>
                  <a:pt x="14" y="414"/>
                  <a:pt x="14" y="414"/>
                  <a:pt x="14" y="413"/>
                </a:cubicBezTo>
                <a:cubicBezTo>
                  <a:pt x="14" y="407"/>
                  <a:pt x="14" y="402"/>
                  <a:pt x="14" y="396"/>
                </a:cubicBezTo>
                <a:cubicBezTo>
                  <a:pt x="14" y="186"/>
                  <a:pt x="185" y="14"/>
                  <a:pt x="395" y="14"/>
                </a:cubicBezTo>
                <a:close/>
                <a:moveTo>
                  <a:pt x="122" y="662"/>
                </a:moveTo>
                <a:cubicBezTo>
                  <a:pt x="246" y="662"/>
                  <a:pt x="246" y="662"/>
                  <a:pt x="246" y="662"/>
                </a:cubicBezTo>
                <a:cubicBezTo>
                  <a:pt x="248" y="666"/>
                  <a:pt x="250" y="670"/>
                  <a:pt x="252" y="674"/>
                </a:cubicBezTo>
                <a:cubicBezTo>
                  <a:pt x="275" y="720"/>
                  <a:pt x="302" y="753"/>
                  <a:pt x="333" y="772"/>
                </a:cubicBezTo>
                <a:cubicBezTo>
                  <a:pt x="251" y="759"/>
                  <a:pt x="178" y="719"/>
                  <a:pt x="122" y="662"/>
                </a:cubicBezTo>
                <a:close/>
                <a:moveTo>
                  <a:pt x="458" y="772"/>
                </a:moveTo>
                <a:cubicBezTo>
                  <a:pt x="487" y="754"/>
                  <a:pt x="514" y="723"/>
                  <a:pt x="536" y="680"/>
                </a:cubicBezTo>
                <a:cubicBezTo>
                  <a:pt x="541" y="676"/>
                  <a:pt x="544" y="671"/>
                  <a:pt x="543" y="667"/>
                </a:cubicBezTo>
                <a:cubicBezTo>
                  <a:pt x="543" y="666"/>
                  <a:pt x="543" y="666"/>
                  <a:pt x="543" y="666"/>
                </a:cubicBezTo>
                <a:cubicBezTo>
                  <a:pt x="544" y="664"/>
                  <a:pt x="544" y="663"/>
                  <a:pt x="545" y="662"/>
                </a:cubicBezTo>
                <a:cubicBezTo>
                  <a:pt x="605" y="662"/>
                  <a:pt x="605" y="662"/>
                  <a:pt x="605" y="662"/>
                </a:cubicBezTo>
                <a:cubicBezTo>
                  <a:pt x="603" y="663"/>
                  <a:pt x="600" y="665"/>
                  <a:pt x="597" y="667"/>
                </a:cubicBezTo>
                <a:cubicBezTo>
                  <a:pt x="594" y="669"/>
                  <a:pt x="592" y="670"/>
                  <a:pt x="589" y="672"/>
                </a:cubicBezTo>
                <a:cubicBezTo>
                  <a:pt x="585" y="674"/>
                  <a:pt x="585" y="674"/>
                  <a:pt x="585" y="674"/>
                </a:cubicBezTo>
                <a:cubicBezTo>
                  <a:pt x="570" y="684"/>
                  <a:pt x="561" y="689"/>
                  <a:pt x="565" y="697"/>
                </a:cubicBezTo>
                <a:cubicBezTo>
                  <a:pt x="566" y="700"/>
                  <a:pt x="570" y="702"/>
                  <a:pt x="574" y="702"/>
                </a:cubicBezTo>
                <a:cubicBezTo>
                  <a:pt x="585" y="702"/>
                  <a:pt x="613" y="684"/>
                  <a:pt x="619" y="673"/>
                </a:cubicBezTo>
                <a:cubicBezTo>
                  <a:pt x="622" y="668"/>
                  <a:pt x="621" y="664"/>
                  <a:pt x="619" y="662"/>
                </a:cubicBezTo>
                <a:cubicBezTo>
                  <a:pt x="669" y="662"/>
                  <a:pt x="669" y="662"/>
                  <a:pt x="669" y="662"/>
                </a:cubicBezTo>
                <a:cubicBezTo>
                  <a:pt x="613" y="719"/>
                  <a:pt x="540" y="759"/>
                  <a:pt x="458" y="772"/>
                </a:cubicBez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9244" name="Oval 66"/>
          <p:cNvSpPr>
            <a:spLocks noChangeArrowheads="1"/>
          </p:cNvSpPr>
          <p:nvPr/>
        </p:nvSpPr>
        <p:spPr bwMode="auto">
          <a:xfrm>
            <a:off x="6589621" y="3120088"/>
            <a:ext cx="1119124" cy="1119124"/>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9273" name="Freeform 140"/>
          <p:cNvSpPr>
            <a:spLocks noEditPoints="1"/>
          </p:cNvSpPr>
          <p:nvPr/>
        </p:nvSpPr>
        <p:spPr bwMode="auto">
          <a:xfrm>
            <a:off x="6733160" y="3262566"/>
            <a:ext cx="832045" cy="835385"/>
          </a:xfrm>
          <a:custGeom>
            <a:avLst/>
            <a:gdLst>
              <a:gd name="T0" fmla="*/ 418 w 791"/>
              <a:gd name="T1" fmla="*/ 262 h 792"/>
              <a:gd name="T2" fmla="*/ 402 w 791"/>
              <a:gd name="T3" fmla="*/ 292 h 792"/>
              <a:gd name="T4" fmla="*/ 527 w 791"/>
              <a:gd name="T5" fmla="*/ 280 h 792"/>
              <a:gd name="T6" fmla="*/ 370 w 791"/>
              <a:gd name="T7" fmla="*/ 236 h 792"/>
              <a:gd name="T8" fmla="*/ 453 w 791"/>
              <a:gd name="T9" fmla="*/ 288 h 792"/>
              <a:gd name="T10" fmla="*/ 494 w 791"/>
              <a:gd name="T11" fmla="*/ 281 h 792"/>
              <a:gd name="T12" fmla="*/ 757 w 791"/>
              <a:gd name="T13" fmla="*/ 235 h 792"/>
              <a:gd name="T14" fmla="*/ 467 w 791"/>
              <a:gd name="T15" fmla="*/ 7 h 792"/>
              <a:gd name="T16" fmla="*/ 395 w 791"/>
              <a:gd name="T17" fmla="*/ 0 h 792"/>
              <a:gd name="T18" fmla="*/ 225 w 791"/>
              <a:gd name="T19" fmla="*/ 39 h 792"/>
              <a:gd name="T20" fmla="*/ 15 w 791"/>
              <a:gd name="T21" fmla="*/ 285 h 792"/>
              <a:gd name="T22" fmla="*/ 2 w 791"/>
              <a:gd name="T23" fmla="*/ 350 h 792"/>
              <a:gd name="T24" fmla="*/ 0 w 791"/>
              <a:gd name="T25" fmla="*/ 419 h 792"/>
              <a:gd name="T26" fmla="*/ 167 w 791"/>
              <a:gd name="T27" fmla="*/ 719 h 792"/>
              <a:gd name="T28" fmla="*/ 71 w 791"/>
              <a:gd name="T29" fmla="*/ 597 h 792"/>
              <a:gd name="T30" fmla="*/ 14 w 791"/>
              <a:gd name="T31" fmla="*/ 382 h 792"/>
              <a:gd name="T32" fmla="*/ 18 w 791"/>
              <a:gd name="T33" fmla="*/ 336 h 792"/>
              <a:gd name="T34" fmla="*/ 122 w 791"/>
              <a:gd name="T35" fmla="*/ 524 h 792"/>
              <a:gd name="T36" fmla="*/ 117 w 791"/>
              <a:gd name="T37" fmla="*/ 177 h 792"/>
              <a:gd name="T38" fmla="*/ 101 w 791"/>
              <a:gd name="T39" fmla="*/ 153 h 792"/>
              <a:gd name="T40" fmla="*/ 198 w 791"/>
              <a:gd name="T41" fmla="*/ 69 h 792"/>
              <a:gd name="T42" fmla="*/ 248 w 791"/>
              <a:gd name="T43" fmla="*/ 68 h 792"/>
              <a:gd name="T44" fmla="*/ 221 w 791"/>
              <a:gd name="T45" fmla="*/ 77 h 792"/>
              <a:gd name="T46" fmla="*/ 443 w 791"/>
              <a:gd name="T47" fmla="*/ 17 h 792"/>
              <a:gd name="T48" fmla="*/ 300 w 791"/>
              <a:gd name="T49" fmla="*/ 86 h 792"/>
              <a:gd name="T50" fmla="*/ 263 w 791"/>
              <a:gd name="T51" fmla="*/ 64 h 792"/>
              <a:gd name="T52" fmla="*/ 757 w 791"/>
              <a:gd name="T53" fmla="*/ 519 h 792"/>
              <a:gd name="T54" fmla="*/ 732 w 791"/>
              <a:gd name="T55" fmla="*/ 273 h 792"/>
              <a:gd name="T56" fmla="*/ 725 w 791"/>
              <a:gd name="T57" fmla="*/ 259 h 792"/>
              <a:gd name="T58" fmla="*/ 642 w 791"/>
              <a:gd name="T59" fmla="*/ 315 h 792"/>
              <a:gd name="T60" fmla="*/ 602 w 791"/>
              <a:gd name="T61" fmla="*/ 392 h 792"/>
              <a:gd name="T62" fmla="*/ 591 w 791"/>
              <a:gd name="T63" fmla="*/ 419 h 792"/>
              <a:gd name="T64" fmla="*/ 454 w 791"/>
              <a:gd name="T65" fmla="*/ 677 h 792"/>
              <a:gd name="T66" fmla="*/ 323 w 791"/>
              <a:gd name="T67" fmla="*/ 460 h 792"/>
              <a:gd name="T68" fmla="*/ 310 w 791"/>
              <a:gd name="T69" fmla="*/ 240 h 792"/>
              <a:gd name="T70" fmla="*/ 434 w 791"/>
              <a:gd name="T71" fmla="*/ 180 h 792"/>
              <a:gd name="T72" fmla="*/ 400 w 791"/>
              <a:gd name="T73" fmla="*/ 104 h 792"/>
              <a:gd name="T74" fmla="*/ 79 w 791"/>
              <a:gd name="T75" fmla="*/ 444 h 792"/>
              <a:gd name="T76" fmla="*/ 322 w 791"/>
              <a:gd name="T77" fmla="*/ 97 h 792"/>
              <a:gd name="T78" fmla="*/ 305 w 791"/>
              <a:gd name="T79" fmla="*/ 115 h 792"/>
              <a:gd name="T80" fmla="*/ 479 w 791"/>
              <a:gd name="T81" fmla="*/ 76 h 792"/>
              <a:gd name="T82" fmla="*/ 327 w 791"/>
              <a:gd name="T83" fmla="*/ 122 h 792"/>
              <a:gd name="T84" fmla="*/ 381 w 791"/>
              <a:gd name="T85" fmla="*/ 164 h 792"/>
              <a:gd name="T86" fmla="*/ 337 w 791"/>
              <a:gd name="T87" fmla="*/ 189 h 792"/>
              <a:gd name="T88" fmla="*/ 255 w 791"/>
              <a:gd name="T89" fmla="*/ 144 h 792"/>
              <a:gd name="T90" fmla="*/ 360 w 791"/>
              <a:gd name="T91" fmla="*/ 168 h 792"/>
              <a:gd name="T92" fmla="*/ 330 w 791"/>
              <a:gd name="T93" fmla="*/ 176 h 792"/>
              <a:gd name="T94" fmla="*/ 229 w 791"/>
              <a:gd name="T95" fmla="*/ 389 h 792"/>
              <a:gd name="T96" fmla="*/ 325 w 791"/>
              <a:gd name="T97" fmla="*/ 474 h 792"/>
              <a:gd name="T98" fmla="*/ 402 w 791"/>
              <a:gd name="T99" fmla="*/ 567 h 792"/>
              <a:gd name="T100" fmla="*/ 423 w 791"/>
              <a:gd name="T101" fmla="*/ 165 h 792"/>
              <a:gd name="T102" fmla="*/ 240 w 791"/>
              <a:gd name="T103" fmla="*/ 648 h 792"/>
              <a:gd name="T104" fmla="*/ 220 w 791"/>
              <a:gd name="T105" fmla="*/ 533 h 792"/>
              <a:gd name="T106" fmla="*/ 458 w 791"/>
              <a:gd name="T107" fmla="*/ 691 h 792"/>
              <a:gd name="T108" fmla="*/ 536 w 791"/>
              <a:gd name="T109" fmla="*/ 648 h 792"/>
              <a:gd name="T110" fmla="*/ 570 w 791"/>
              <a:gd name="T111" fmla="*/ 592 h 792"/>
              <a:gd name="T112" fmla="*/ 669 w 791"/>
              <a:gd name="T113" fmla="*/ 662 h 7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91" h="792">
                <a:moveTo>
                  <a:pt x="495" y="267"/>
                </a:moveTo>
                <a:cubicBezTo>
                  <a:pt x="495" y="267"/>
                  <a:pt x="495" y="267"/>
                  <a:pt x="494" y="267"/>
                </a:cubicBezTo>
                <a:cubicBezTo>
                  <a:pt x="489" y="267"/>
                  <a:pt x="472" y="265"/>
                  <a:pt x="463" y="264"/>
                </a:cubicBezTo>
                <a:cubicBezTo>
                  <a:pt x="453" y="252"/>
                  <a:pt x="430" y="223"/>
                  <a:pt x="413" y="223"/>
                </a:cubicBezTo>
                <a:cubicBezTo>
                  <a:pt x="413" y="223"/>
                  <a:pt x="412" y="223"/>
                  <a:pt x="411" y="223"/>
                </a:cubicBezTo>
                <a:cubicBezTo>
                  <a:pt x="404" y="224"/>
                  <a:pt x="402" y="228"/>
                  <a:pt x="402" y="230"/>
                </a:cubicBezTo>
                <a:cubicBezTo>
                  <a:pt x="400" y="238"/>
                  <a:pt x="407" y="244"/>
                  <a:pt x="417" y="252"/>
                </a:cubicBezTo>
                <a:cubicBezTo>
                  <a:pt x="419" y="254"/>
                  <a:pt x="422" y="256"/>
                  <a:pt x="424" y="258"/>
                </a:cubicBezTo>
                <a:cubicBezTo>
                  <a:pt x="423" y="259"/>
                  <a:pt x="420" y="261"/>
                  <a:pt x="418" y="262"/>
                </a:cubicBezTo>
                <a:cubicBezTo>
                  <a:pt x="413" y="249"/>
                  <a:pt x="392" y="233"/>
                  <a:pt x="379" y="224"/>
                </a:cubicBezTo>
                <a:cubicBezTo>
                  <a:pt x="376" y="223"/>
                  <a:pt x="373" y="222"/>
                  <a:pt x="370" y="222"/>
                </a:cubicBezTo>
                <a:cubicBezTo>
                  <a:pt x="351" y="222"/>
                  <a:pt x="330" y="258"/>
                  <a:pt x="324" y="269"/>
                </a:cubicBezTo>
                <a:cubicBezTo>
                  <a:pt x="323" y="270"/>
                  <a:pt x="323" y="272"/>
                  <a:pt x="323" y="273"/>
                </a:cubicBezTo>
                <a:cubicBezTo>
                  <a:pt x="323" y="278"/>
                  <a:pt x="327" y="290"/>
                  <a:pt x="346" y="290"/>
                </a:cubicBezTo>
                <a:cubicBezTo>
                  <a:pt x="361" y="290"/>
                  <a:pt x="381" y="283"/>
                  <a:pt x="391" y="279"/>
                </a:cubicBezTo>
                <a:cubicBezTo>
                  <a:pt x="391" y="279"/>
                  <a:pt x="391" y="279"/>
                  <a:pt x="391" y="279"/>
                </a:cubicBezTo>
                <a:cubicBezTo>
                  <a:pt x="391" y="279"/>
                  <a:pt x="392" y="279"/>
                  <a:pt x="392" y="279"/>
                </a:cubicBezTo>
                <a:cubicBezTo>
                  <a:pt x="394" y="279"/>
                  <a:pt x="399" y="287"/>
                  <a:pt x="402" y="292"/>
                </a:cubicBezTo>
                <a:cubicBezTo>
                  <a:pt x="407" y="301"/>
                  <a:pt x="412" y="310"/>
                  <a:pt x="421" y="315"/>
                </a:cubicBezTo>
                <a:cubicBezTo>
                  <a:pt x="424" y="317"/>
                  <a:pt x="428" y="318"/>
                  <a:pt x="432" y="318"/>
                </a:cubicBezTo>
                <a:cubicBezTo>
                  <a:pt x="432" y="318"/>
                  <a:pt x="432" y="318"/>
                  <a:pt x="432" y="318"/>
                </a:cubicBezTo>
                <a:cubicBezTo>
                  <a:pt x="445" y="318"/>
                  <a:pt x="455" y="308"/>
                  <a:pt x="463" y="299"/>
                </a:cubicBezTo>
                <a:cubicBezTo>
                  <a:pt x="465" y="300"/>
                  <a:pt x="468" y="301"/>
                  <a:pt x="471" y="302"/>
                </a:cubicBezTo>
                <a:cubicBezTo>
                  <a:pt x="480" y="306"/>
                  <a:pt x="492" y="310"/>
                  <a:pt x="503" y="310"/>
                </a:cubicBezTo>
                <a:cubicBezTo>
                  <a:pt x="503" y="310"/>
                  <a:pt x="503" y="310"/>
                  <a:pt x="503" y="310"/>
                </a:cubicBezTo>
                <a:cubicBezTo>
                  <a:pt x="514" y="310"/>
                  <a:pt x="521" y="305"/>
                  <a:pt x="524" y="300"/>
                </a:cubicBezTo>
                <a:cubicBezTo>
                  <a:pt x="531" y="291"/>
                  <a:pt x="529" y="284"/>
                  <a:pt x="527" y="280"/>
                </a:cubicBezTo>
                <a:cubicBezTo>
                  <a:pt x="521" y="267"/>
                  <a:pt x="498" y="266"/>
                  <a:pt x="497" y="266"/>
                </a:cubicBezTo>
                <a:cubicBezTo>
                  <a:pt x="496" y="266"/>
                  <a:pt x="495" y="267"/>
                  <a:pt x="495" y="267"/>
                </a:cubicBezTo>
                <a:close/>
                <a:moveTo>
                  <a:pt x="403" y="269"/>
                </a:moveTo>
                <a:cubicBezTo>
                  <a:pt x="400" y="267"/>
                  <a:pt x="396" y="265"/>
                  <a:pt x="392" y="265"/>
                </a:cubicBezTo>
                <a:cubicBezTo>
                  <a:pt x="390" y="265"/>
                  <a:pt x="388" y="265"/>
                  <a:pt x="387" y="266"/>
                </a:cubicBezTo>
                <a:cubicBezTo>
                  <a:pt x="386" y="266"/>
                  <a:pt x="386" y="266"/>
                  <a:pt x="386" y="266"/>
                </a:cubicBezTo>
                <a:cubicBezTo>
                  <a:pt x="377" y="269"/>
                  <a:pt x="358" y="276"/>
                  <a:pt x="346" y="276"/>
                </a:cubicBezTo>
                <a:cubicBezTo>
                  <a:pt x="340" y="276"/>
                  <a:pt x="338" y="274"/>
                  <a:pt x="337" y="273"/>
                </a:cubicBezTo>
                <a:cubicBezTo>
                  <a:pt x="348" y="255"/>
                  <a:pt x="363" y="236"/>
                  <a:pt x="370" y="236"/>
                </a:cubicBezTo>
                <a:cubicBezTo>
                  <a:pt x="370" y="236"/>
                  <a:pt x="371" y="236"/>
                  <a:pt x="371" y="236"/>
                </a:cubicBezTo>
                <a:cubicBezTo>
                  <a:pt x="391" y="250"/>
                  <a:pt x="403" y="262"/>
                  <a:pt x="405" y="267"/>
                </a:cubicBezTo>
                <a:cubicBezTo>
                  <a:pt x="404" y="268"/>
                  <a:pt x="404" y="268"/>
                  <a:pt x="403" y="269"/>
                </a:cubicBezTo>
                <a:close/>
                <a:moveTo>
                  <a:pt x="515" y="286"/>
                </a:moveTo>
                <a:cubicBezTo>
                  <a:pt x="515" y="287"/>
                  <a:pt x="515" y="289"/>
                  <a:pt x="513" y="292"/>
                </a:cubicBezTo>
                <a:cubicBezTo>
                  <a:pt x="511" y="294"/>
                  <a:pt x="509" y="296"/>
                  <a:pt x="503" y="296"/>
                </a:cubicBezTo>
                <a:cubicBezTo>
                  <a:pt x="494" y="296"/>
                  <a:pt x="484" y="292"/>
                  <a:pt x="476" y="289"/>
                </a:cubicBezTo>
                <a:cubicBezTo>
                  <a:pt x="469" y="286"/>
                  <a:pt x="465" y="285"/>
                  <a:pt x="461" y="285"/>
                </a:cubicBezTo>
                <a:cubicBezTo>
                  <a:pt x="456" y="285"/>
                  <a:pt x="454" y="287"/>
                  <a:pt x="453" y="288"/>
                </a:cubicBezTo>
                <a:cubicBezTo>
                  <a:pt x="446" y="298"/>
                  <a:pt x="438" y="304"/>
                  <a:pt x="432" y="304"/>
                </a:cubicBezTo>
                <a:cubicBezTo>
                  <a:pt x="431" y="304"/>
                  <a:pt x="429" y="304"/>
                  <a:pt x="428" y="303"/>
                </a:cubicBezTo>
                <a:cubicBezTo>
                  <a:pt x="422" y="300"/>
                  <a:pt x="418" y="292"/>
                  <a:pt x="414" y="285"/>
                </a:cubicBezTo>
                <a:cubicBezTo>
                  <a:pt x="413" y="284"/>
                  <a:pt x="412" y="282"/>
                  <a:pt x="411" y="281"/>
                </a:cubicBezTo>
                <a:cubicBezTo>
                  <a:pt x="418" y="279"/>
                  <a:pt x="432" y="271"/>
                  <a:pt x="436" y="266"/>
                </a:cubicBezTo>
                <a:cubicBezTo>
                  <a:pt x="438" y="263"/>
                  <a:pt x="440" y="261"/>
                  <a:pt x="439" y="258"/>
                </a:cubicBezTo>
                <a:cubicBezTo>
                  <a:pt x="444" y="263"/>
                  <a:pt x="449" y="269"/>
                  <a:pt x="453" y="275"/>
                </a:cubicBezTo>
                <a:cubicBezTo>
                  <a:pt x="454" y="276"/>
                  <a:pt x="456" y="277"/>
                  <a:pt x="458" y="278"/>
                </a:cubicBezTo>
                <a:cubicBezTo>
                  <a:pt x="459" y="278"/>
                  <a:pt x="487" y="281"/>
                  <a:pt x="494" y="281"/>
                </a:cubicBezTo>
                <a:cubicBezTo>
                  <a:pt x="496" y="281"/>
                  <a:pt x="496" y="281"/>
                  <a:pt x="497" y="280"/>
                </a:cubicBezTo>
                <a:cubicBezTo>
                  <a:pt x="497" y="280"/>
                  <a:pt x="497" y="280"/>
                  <a:pt x="497" y="280"/>
                </a:cubicBezTo>
                <a:cubicBezTo>
                  <a:pt x="504" y="280"/>
                  <a:pt x="513" y="283"/>
                  <a:pt x="515" y="286"/>
                </a:cubicBezTo>
                <a:close/>
                <a:moveTo>
                  <a:pt x="691" y="658"/>
                </a:moveTo>
                <a:cubicBezTo>
                  <a:pt x="724" y="621"/>
                  <a:pt x="751" y="577"/>
                  <a:pt x="768" y="529"/>
                </a:cubicBezTo>
                <a:cubicBezTo>
                  <a:pt x="768" y="528"/>
                  <a:pt x="769" y="527"/>
                  <a:pt x="769" y="527"/>
                </a:cubicBezTo>
                <a:cubicBezTo>
                  <a:pt x="783" y="486"/>
                  <a:pt x="791" y="442"/>
                  <a:pt x="791" y="396"/>
                </a:cubicBezTo>
                <a:cubicBezTo>
                  <a:pt x="791" y="339"/>
                  <a:pt x="779" y="285"/>
                  <a:pt x="757" y="236"/>
                </a:cubicBezTo>
                <a:cubicBezTo>
                  <a:pt x="757" y="236"/>
                  <a:pt x="757" y="235"/>
                  <a:pt x="757" y="235"/>
                </a:cubicBezTo>
                <a:cubicBezTo>
                  <a:pt x="709" y="128"/>
                  <a:pt x="616" y="48"/>
                  <a:pt x="505" y="16"/>
                </a:cubicBezTo>
                <a:cubicBezTo>
                  <a:pt x="504" y="16"/>
                  <a:pt x="504" y="15"/>
                  <a:pt x="503" y="15"/>
                </a:cubicBezTo>
                <a:cubicBezTo>
                  <a:pt x="501" y="15"/>
                  <a:pt x="498" y="14"/>
                  <a:pt x="496" y="13"/>
                </a:cubicBezTo>
                <a:cubicBezTo>
                  <a:pt x="495" y="13"/>
                  <a:pt x="494" y="13"/>
                  <a:pt x="493" y="12"/>
                </a:cubicBezTo>
                <a:cubicBezTo>
                  <a:pt x="490" y="12"/>
                  <a:pt x="488" y="11"/>
                  <a:pt x="486" y="11"/>
                </a:cubicBezTo>
                <a:cubicBezTo>
                  <a:pt x="484" y="10"/>
                  <a:pt x="483" y="10"/>
                  <a:pt x="482" y="10"/>
                </a:cubicBezTo>
                <a:cubicBezTo>
                  <a:pt x="480" y="10"/>
                  <a:pt x="479" y="9"/>
                  <a:pt x="477" y="9"/>
                </a:cubicBezTo>
                <a:cubicBezTo>
                  <a:pt x="477" y="9"/>
                  <a:pt x="477" y="9"/>
                  <a:pt x="477" y="9"/>
                </a:cubicBezTo>
                <a:cubicBezTo>
                  <a:pt x="474" y="8"/>
                  <a:pt x="471" y="8"/>
                  <a:pt x="467" y="7"/>
                </a:cubicBezTo>
                <a:cubicBezTo>
                  <a:pt x="467" y="7"/>
                  <a:pt x="467" y="7"/>
                  <a:pt x="467" y="7"/>
                </a:cubicBezTo>
                <a:cubicBezTo>
                  <a:pt x="467" y="7"/>
                  <a:pt x="466" y="7"/>
                  <a:pt x="466" y="7"/>
                </a:cubicBezTo>
                <a:cubicBezTo>
                  <a:pt x="461" y="6"/>
                  <a:pt x="456" y="5"/>
                  <a:pt x="451" y="4"/>
                </a:cubicBezTo>
                <a:cubicBezTo>
                  <a:pt x="450" y="4"/>
                  <a:pt x="449" y="4"/>
                  <a:pt x="448" y="4"/>
                </a:cubicBezTo>
                <a:cubicBezTo>
                  <a:pt x="443" y="3"/>
                  <a:pt x="438" y="3"/>
                  <a:pt x="432" y="2"/>
                </a:cubicBezTo>
                <a:cubicBezTo>
                  <a:pt x="432" y="2"/>
                  <a:pt x="431" y="2"/>
                  <a:pt x="430" y="2"/>
                </a:cubicBezTo>
                <a:cubicBezTo>
                  <a:pt x="425" y="1"/>
                  <a:pt x="419" y="1"/>
                  <a:pt x="414" y="1"/>
                </a:cubicBezTo>
                <a:cubicBezTo>
                  <a:pt x="413" y="1"/>
                  <a:pt x="413" y="1"/>
                  <a:pt x="412" y="1"/>
                </a:cubicBezTo>
                <a:cubicBezTo>
                  <a:pt x="407" y="0"/>
                  <a:pt x="401" y="0"/>
                  <a:pt x="395" y="0"/>
                </a:cubicBezTo>
                <a:cubicBezTo>
                  <a:pt x="392" y="0"/>
                  <a:pt x="388" y="0"/>
                  <a:pt x="385" y="0"/>
                </a:cubicBezTo>
                <a:cubicBezTo>
                  <a:pt x="383" y="1"/>
                  <a:pt x="381" y="1"/>
                  <a:pt x="379" y="1"/>
                </a:cubicBezTo>
                <a:cubicBezTo>
                  <a:pt x="378" y="1"/>
                  <a:pt x="376" y="1"/>
                  <a:pt x="374" y="1"/>
                </a:cubicBezTo>
                <a:cubicBezTo>
                  <a:pt x="372" y="1"/>
                  <a:pt x="369" y="1"/>
                  <a:pt x="367" y="1"/>
                </a:cubicBezTo>
                <a:cubicBezTo>
                  <a:pt x="366" y="1"/>
                  <a:pt x="365" y="1"/>
                  <a:pt x="364" y="2"/>
                </a:cubicBezTo>
                <a:cubicBezTo>
                  <a:pt x="361" y="2"/>
                  <a:pt x="358" y="2"/>
                  <a:pt x="355" y="2"/>
                </a:cubicBezTo>
                <a:cubicBezTo>
                  <a:pt x="355" y="2"/>
                  <a:pt x="355" y="2"/>
                  <a:pt x="355" y="2"/>
                </a:cubicBezTo>
                <a:cubicBezTo>
                  <a:pt x="310" y="7"/>
                  <a:pt x="267" y="19"/>
                  <a:pt x="226" y="38"/>
                </a:cubicBezTo>
                <a:cubicBezTo>
                  <a:pt x="226" y="38"/>
                  <a:pt x="226" y="39"/>
                  <a:pt x="225" y="39"/>
                </a:cubicBezTo>
                <a:cubicBezTo>
                  <a:pt x="215" y="44"/>
                  <a:pt x="205" y="49"/>
                  <a:pt x="195" y="55"/>
                </a:cubicBezTo>
                <a:cubicBezTo>
                  <a:pt x="195" y="55"/>
                  <a:pt x="195" y="55"/>
                  <a:pt x="194" y="55"/>
                </a:cubicBezTo>
                <a:cubicBezTo>
                  <a:pt x="140" y="87"/>
                  <a:pt x="93" y="133"/>
                  <a:pt x="59" y="187"/>
                </a:cubicBezTo>
                <a:cubicBezTo>
                  <a:pt x="59" y="187"/>
                  <a:pt x="59" y="187"/>
                  <a:pt x="59" y="188"/>
                </a:cubicBezTo>
                <a:cubicBezTo>
                  <a:pt x="44" y="211"/>
                  <a:pt x="32" y="237"/>
                  <a:pt x="23" y="263"/>
                </a:cubicBezTo>
                <a:cubicBezTo>
                  <a:pt x="22" y="264"/>
                  <a:pt x="22" y="264"/>
                  <a:pt x="22" y="265"/>
                </a:cubicBezTo>
                <a:cubicBezTo>
                  <a:pt x="20" y="270"/>
                  <a:pt x="19" y="275"/>
                  <a:pt x="17" y="280"/>
                </a:cubicBezTo>
                <a:cubicBezTo>
                  <a:pt x="17" y="280"/>
                  <a:pt x="17" y="280"/>
                  <a:pt x="17" y="280"/>
                </a:cubicBezTo>
                <a:cubicBezTo>
                  <a:pt x="16" y="282"/>
                  <a:pt x="16" y="284"/>
                  <a:pt x="15" y="285"/>
                </a:cubicBezTo>
                <a:cubicBezTo>
                  <a:pt x="15" y="287"/>
                  <a:pt x="15" y="288"/>
                  <a:pt x="14" y="290"/>
                </a:cubicBezTo>
                <a:cubicBezTo>
                  <a:pt x="13" y="292"/>
                  <a:pt x="13" y="294"/>
                  <a:pt x="12" y="297"/>
                </a:cubicBezTo>
                <a:cubicBezTo>
                  <a:pt x="11" y="300"/>
                  <a:pt x="11" y="303"/>
                  <a:pt x="10" y="307"/>
                </a:cubicBezTo>
                <a:cubicBezTo>
                  <a:pt x="9" y="309"/>
                  <a:pt x="9" y="310"/>
                  <a:pt x="9" y="312"/>
                </a:cubicBezTo>
                <a:cubicBezTo>
                  <a:pt x="8" y="315"/>
                  <a:pt x="8" y="317"/>
                  <a:pt x="7" y="320"/>
                </a:cubicBezTo>
                <a:cubicBezTo>
                  <a:pt x="7" y="321"/>
                  <a:pt x="6" y="323"/>
                  <a:pt x="6" y="325"/>
                </a:cubicBezTo>
                <a:cubicBezTo>
                  <a:pt x="5" y="328"/>
                  <a:pt x="5" y="332"/>
                  <a:pt x="4" y="336"/>
                </a:cubicBezTo>
                <a:cubicBezTo>
                  <a:pt x="4" y="337"/>
                  <a:pt x="4" y="338"/>
                  <a:pt x="4" y="340"/>
                </a:cubicBezTo>
                <a:cubicBezTo>
                  <a:pt x="3" y="343"/>
                  <a:pt x="3" y="346"/>
                  <a:pt x="2" y="350"/>
                </a:cubicBezTo>
                <a:cubicBezTo>
                  <a:pt x="2" y="351"/>
                  <a:pt x="2" y="352"/>
                  <a:pt x="2" y="353"/>
                </a:cubicBezTo>
                <a:cubicBezTo>
                  <a:pt x="1" y="358"/>
                  <a:pt x="1" y="362"/>
                  <a:pt x="1" y="366"/>
                </a:cubicBezTo>
                <a:cubicBezTo>
                  <a:pt x="1" y="367"/>
                  <a:pt x="1" y="367"/>
                  <a:pt x="1" y="368"/>
                </a:cubicBezTo>
                <a:cubicBezTo>
                  <a:pt x="0" y="372"/>
                  <a:pt x="0" y="375"/>
                  <a:pt x="0" y="379"/>
                </a:cubicBezTo>
                <a:cubicBezTo>
                  <a:pt x="0" y="380"/>
                  <a:pt x="0" y="382"/>
                  <a:pt x="0" y="383"/>
                </a:cubicBezTo>
                <a:cubicBezTo>
                  <a:pt x="0" y="387"/>
                  <a:pt x="0" y="392"/>
                  <a:pt x="0" y="396"/>
                </a:cubicBezTo>
                <a:cubicBezTo>
                  <a:pt x="0" y="400"/>
                  <a:pt x="0" y="404"/>
                  <a:pt x="0" y="407"/>
                </a:cubicBezTo>
                <a:cubicBezTo>
                  <a:pt x="0" y="408"/>
                  <a:pt x="0" y="409"/>
                  <a:pt x="0" y="410"/>
                </a:cubicBezTo>
                <a:cubicBezTo>
                  <a:pt x="0" y="413"/>
                  <a:pt x="0" y="416"/>
                  <a:pt x="0" y="419"/>
                </a:cubicBezTo>
                <a:cubicBezTo>
                  <a:pt x="0" y="420"/>
                  <a:pt x="0" y="420"/>
                  <a:pt x="0" y="421"/>
                </a:cubicBezTo>
                <a:cubicBezTo>
                  <a:pt x="1" y="425"/>
                  <a:pt x="1" y="428"/>
                  <a:pt x="1" y="431"/>
                </a:cubicBezTo>
                <a:cubicBezTo>
                  <a:pt x="1" y="432"/>
                  <a:pt x="1" y="432"/>
                  <a:pt x="1" y="432"/>
                </a:cubicBezTo>
                <a:cubicBezTo>
                  <a:pt x="7" y="492"/>
                  <a:pt x="26" y="548"/>
                  <a:pt x="55" y="598"/>
                </a:cubicBezTo>
                <a:cubicBezTo>
                  <a:pt x="55" y="598"/>
                  <a:pt x="55" y="598"/>
                  <a:pt x="55" y="598"/>
                </a:cubicBezTo>
                <a:cubicBezTo>
                  <a:pt x="57" y="601"/>
                  <a:pt x="59" y="604"/>
                  <a:pt x="60" y="606"/>
                </a:cubicBezTo>
                <a:cubicBezTo>
                  <a:pt x="61" y="607"/>
                  <a:pt x="61" y="608"/>
                  <a:pt x="62" y="609"/>
                </a:cubicBezTo>
                <a:cubicBezTo>
                  <a:pt x="63" y="610"/>
                  <a:pt x="64" y="611"/>
                  <a:pt x="64" y="613"/>
                </a:cubicBezTo>
                <a:cubicBezTo>
                  <a:pt x="91" y="654"/>
                  <a:pt x="126" y="690"/>
                  <a:pt x="167" y="719"/>
                </a:cubicBezTo>
                <a:cubicBezTo>
                  <a:pt x="167" y="719"/>
                  <a:pt x="167" y="719"/>
                  <a:pt x="168" y="719"/>
                </a:cubicBezTo>
                <a:cubicBezTo>
                  <a:pt x="232" y="765"/>
                  <a:pt x="311" y="792"/>
                  <a:pt x="395" y="792"/>
                </a:cubicBezTo>
                <a:cubicBezTo>
                  <a:pt x="512" y="792"/>
                  <a:pt x="616" y="741"/>
                  <a:pt x="689" y="661"/>
                </a:cubicBezTo>
                <a:cubicBezTo>
                  <a:pt x="690" y="660"/>
                  <a:pt x="691" y="659"/>
                  <a:pt x="691" y="658"/>
                </a:cubicBezTo>
                <a:close/>
                <a:moveTo>
                  <a:pt x="79" y="610"/>
                </a:moveTo>
                <a:cubicBezTo>
                  <a:pt x="79" y="610"/>
                  <a:pt x="79" y="609"/>
                  <a:pt x="79" y="609"/>
                </a:cubicBezTo>
                <a:cubicBezTo>
                  <a:pt x="77" y="607"/>
                  <a:pt x="76" y="605"/>
                  <a:pt x="75" y="604"/>
                </a:cubicBezTo>
                <a:cubicBezTo>
                  <a:pt x="74" y="602"/>
                  <a:pt x="73" y="601"/>
                  <a:pt x="73" y="600"/>
                </a:cubicBezTo>
                <a:cubicBezTo>
                  <a:pt x="72" y="599"/>
                  <a:pt x="71" y="598"/>
                  <a:pt x="71" y="597"/>
                </a:cubicBezTo>
                <a:cubicBezTo>
                  <a:pt x="69" y="594"/>
                  <a:pt x="68" y="592"/>
                  <a:pt x="67" y="590"/>
                </a:cubicBezTo>
                <a:cubicBezTo>
                  <a:pt x="67" y="590"/>
                  <a:pt x="66" y="589"/>
                  <a:pt x="66" y="589"/>
                </a:cubicBezTo>
                <a:cubicBezTo>
                  <a:pt x="36" y="537"/>
                  <a:pt x="18" y="478"/>
                  <a:pt x="14" y="417"/>
                </a:cubicBezTo>
                <a:cubicBezTo>
                  <a:pt x="14" y="417"/>
                  <a:pt x="14" y="417"/>
                  <a:pt x="14" y="417"/>
                </a:cubicBezTo>
                <a:cubicBezTo>
                  <a:pt x="14" y="414"/>
                  <a:pt x="14" y="411"/>
                  <a:pt x="14" y="407"/>
                </a:cubicBezTo>
                <a:cubicBezTo>
                  <a:pt x="14" y="407"/>
                  <a:pt x="14" y="407"/>
                  <a:pt x="14" y="406"/>
                </a:cubicBezTo>
                <a:cubicBezTo>
                  <a:pt x="14" y="403"/>
                  <a:pt x="14" y="399"/>
                  <a:pt x="14" y="396"/>
                </a:cubicBezTo>
                <a:cubicBezTo>
                  <a:pt x="14" y="393"/>
                  <a:pt x="14" y="389"/>
                  <a:pt x="14" y="386"/>
                </a:cubicBezTo>
                <a:cubicBezTo>
                  <a:pt x="14" y="385"/>
                  <a:pt x="14" y="384"/>
                  <a:pt x="14" y="382"/>
                </a:cubicBezTo>
                <a:cubicBezTo>
                  <a:pt x="14" y="380"/>
                  <a:pt x="14" y="378"/>
                  <a:pt x="14" y="376"/>
                </a:cubicBezTo>
                <a:cubicBezTo>
                  <a:pt x="14" y="374"/>
                  <a:pt x="14" y="373"/>
                  <a:pt x="14" y="371"/>
                </a:cubicBezTo>
                <a:cubicBezTo>
                  <a:pt x="15" y="370"/>
                  <a:pt x="15" y="368"/>
                  <a:pt x="15" y="366"/>
                </a:cubicBezTo>
                <a:cubicBezTo>
                  <a:pt x="15" y="364"/>
                  <a:pt x="15" y="362"/>
                  <a:pt x="15" y="361"/>
                </a:cubicBezTo>
                <a:cubicBezTo>
                  <a:pt x="15" y="359"/>
                  <a:pt x="16" y="357"/>
                  <a:pt x="16" y="356"/>
                </a:cubicBezTo>
                <a:cubicBezTo>
                  <a:pt x="16" y="354"/>
                  <a:pt x="16" y="352"/>
                  <a:pt x="16" y="351"/>
                </a:cubicBezTo>
                <a:cubicBezTo>
                  <a:pt x="17" y="349"/>
                  <a:pt x="17" y="347"/>
                  <a:pt x="17" y="346"/>
                </a:cubicBezTo>
                <a:cubicBezTo>
                  <a:pt x="17" y="344"/>
                  <a:pt x="17" y="342"/>
                  <a:pt x="18" y="340"/>
                </a:cubicBezTo>
                <a:cubicBezTo>
                  <a:pt x="18" y="339"/>
                  <a:pt x="18" y="338"/>
                  <a:pt x="18" y="336"/>
                </a:cubicBezTo>
                <a:cubicBezTo>
                  <a:pt x="19" y="334"/>
                  <a:pt x="19" y="332"/>
                  <a:pt x="19" y="330"/>
                </a:cubicBezTo>
                <a:cubicBezTo>
                  <a:pt x="19" y="329"/>
                  <a:pt x="20" y="328"/>
                  <a:pt x="20" y="327"/>
                </a:cubicBezTo>
                <a:cubicBezTo>
                  <a:pt x="20" y="325"/>
                  <a:pt x="21" y="322"/>
                  <a:pt x="21" y="320"/>
                </a:cubicBezTo>
                <a:cubicBezTo>
                  <a:pt x="21" y="319"/>
                  <a:pt x="22" y="319"/>
                  <a:pt x="22" y="318"/>
                </a:cubicBezTo>
                <a:cubicBezTo>
                  <a:pt x="22" y="316"/>
                  <a:pt x="22" y="315"/>
                  <a:pt x="23" y="313"/>
                </a:cubicBezTo>
                <a:cubicBezTo>
                  <a:pt x="34" y="366"/>
                  <a:pt x="49" y="425"/>
                  <a:pt x="67" y="452"/>
                </a:cubicBezTo>
                <a:cubicBezTo>
                  <a:pt x="85" y="479"/>
                  <a:pt x="102" y="487"/>
                  <a:pt x="113" y="492"/>
                </a:cubicBezTo>
                <a:cubicBezTo>
                  <a:pt x="123" y="497"/>
                  <a:pt x="125" y="498"/>
                  <a:pt x="124" y="509"/>
                </a:cubicBezTo>
                <a:cubicBezTo>
                  <a:pt x="124" y="513"/>
                  <a:pt x="123" y="518"/>
                  <a:pt x="122" y="524"/>
                </a:cubicBezTo>
                <a:cubicBezTo>
                  <a:pt x="122" y="524"/>
                  <a:pt x="122" y="524"/>
                  <a:pt x="122" y="524"/>
                </a:cubicBezTo>
                <a:cubicBezTo>
                  <a:pt x="121" y="525"/>
                  <a:pt x="121" y="527"/>
                  <a:pt x="121" y="528"/>
                </a:cubicBezTo>
                <a:cubicBezTo>
                  <a:pt x="115" y="555"/>
                  <a:pt x="107" y="595"/>
                  <a:pt x="129" y="652"/>
                </a:cubicBezTo>
                <a:cubicBezTo>
                  <a:pt x="129" y="653"/>
                  <a:pt x="129" y="654"/>
                  <a:pt x="129" y="655"/>
                </a:cubicBezTo>
                <a:cubicBezTo>
                  <a:pt x="129" y="658"/>
                  <a:pt x="131" y="661"/>
                  <a:pt x="133" y="662"/>
                </a:cubicBezTo>
                <a:cubicBezTo>
                  <a:pt x="136" y="668"/>
                  <a:pt x="139" y="675"/>
                  <a:pt x="143" y="682"/>
                </a:cubicBezTo>
                <a:cubicBezTo>
                  <a:pt x="119" y="661"/>
                  <a:pt x="98" y="637"/>
                  <a:pt x="79" y="610"/>
                </a:cubicBezTo>
                <a:close/>
                <a:moveTo>
                  <a:pt x="70" y="196"/>
                </a:moveTo>
                <a:cubicBezTo>
                  <a:pt x="90" y="190"/>
                  <a:pt x="105" y="184"/>
                  <a:pt x="117" y="177"/>
                </a:cubicBezTo>
                <a:cubicBezTo>
                  <a:pt x="124" y="172"/>
                  <a:pt x="133" y="168"/>
                  <a:pt x="142" y="164"/>
                </a:cubicBezTo>
                <a:cubicBezTo>
                  <a:pt x="155" y="158"/>
                  <a:pt x="168" y="152"/>
                  <a:pt x="180" y="144"/>
                </a:cubicBezTo>
                <a:cubicBezTo>
                  <a:pt x="181" y="144"/>
                  <a:pt x="181" y="144"/>
                  <a:pt x="182" y="144"/>
                </a:cubicBezTo>
                <a:cubicBezTo>
                  <a:pt x="240" y="144"/>
                  <a:pt x="240" y="144"/>
                  <a:pt x="240" y="144"/>
                </a:cubicBezTo>
                <a:cubicBezTo>
                  <a:pt x="225" y="178"/>
                  <a:pt x="214" y="218"/>
                  <a:pt x="206" y="259"/>
                </a:cubicBezTo>
                <a:cubicBezTo>
                  <a:pt x="39" y="259"/>
                  <a:pt x="39" y="259"/>
                  <a:pt x="39" y="259"/>
                </a:cubicBezTo>
                <a:cubicBezTo>
                  <a:pt x="47" y="237"/>
                  <a:pt x="58" y="216"/>
                  <a:pt x="70" y="196"/>
                </a:cubicBezTo>
                <a:close/>
                <a:moveTo>
                  <a:pt x="101" y="154"/>
                </a:moveTo>
                <a:cubicBezTo>
                  <a:pt x="101" y="154"/>
                  <a:pt x="101" y="153"/>
                  <a:pt x="101" y="153"/>
                </a:cubicBezTo>
                <a:cubicBezTo>
                  <a:pt x="105" y="149"/>
                  <a:pt x="109" y="144"/>
                  <a:pt x="112" y="140"/>
                </a:cubicBezTo>
                <a:cubicBezTo>
                  <a:pt x="113" y="140"/>
                  <a:pt x="113" y="139"/>
                  <a:pt x="114" y="139"/>
                </a:cubicBezTo>
                <a:cubicBezTo>
                  <a:pt x="117" y="135"/>
                  <a:pt x="121" y="130"/>
                  <a:pt x="125" y="126"/>
                </a:cubicBezTo>
                <a:cubicBezTo>
                  <a:pt x="126" y="126"/>
                  <a:pt x="126" y="126"/>
                  <a:pt x="126" y="126"/>
                </a:cubicBezTo>
                <a:cubicBezTo>
                  <a:pt x="141" y="111"/>
                  <a:pt x="157" y="97"/>
                  <a:pt x="174" y="85"/>
                </a:cubicBezTo>
                <a:cubicBezTo>
                  <a:pt x="174" y="85"/>
                  <a:pt x="174" y="85"/>
                  <a:pt x="175" y="85"/>
                </a:cubicBezTo>
                <a:cubicBezTo>
                  <a:pt x="179" y="81"/>
                  <a:pt x="184" y="78"/>
                  <a:pt x="189" y="75"/>
                </a:cubicBezTo>
                <a:cubicBezTo>
                  <a:pt x="189" y="75"/>
                  <a:pt x="190" y="74"/>
                  <a:pt x="190" y="74"/>
                </a:cubicBezTo>
                <a:cubicBezTo>
                  <a:pt x="193" y="72"/>
                  <a:pt x="196" y="71"/>
                  <a:pt x="198" y="69"/>
                </a:cubicBezTo>
                <a:cubicBezTo>
                  <a:pt x="203" y="73"/>
                  <a:pt x="206" y="77"/>
                  <a:pt x="208" y="81"/>
                </a:cubicBezTo>
                <a:cubicBezTo>
                  <a:pt x="209" y="87"/>
                  <a:pt x="207" y="94"/>
                  <a:pt x="201" y="103"/>
                </a:cubicBezTo>
                <a:cubicBezTo>
                  <a:pt x="183" y="130"/>
                  <a:pt x="159" y="141"/>
                  <a:pt x="137" y="151"/>
                </a:cubicBezTo>
                <a:cubicBezTo>
                  <a:pt x="127" y="155"/>
                  <a:pt x="118" y="160"/>
                  <a:pt x="109" y="165"/>
                </a:cubicBezTo>
                <a:cubicBezTo>
                  <a:pt x="103" y="169"/>
                  <a:pt x="93" y="173"/>
                  <a:pt x="83" y="177"/>
                </a:cubicBezTo>
                <a:cubicBezTo>
                  <a:pt x="88" y="169"/>
                  <a:pt x="94" y="161"/>
                  <a:pt x="101" y="154"/>
                </a:cubicBezTo>
                <a:close/>
                <a:moveTo>
                  <a:pt x="229" y="52"/>
                </a:moveTo>
                <a:cubicBezTo>
                  <a:pt x="244" y="59"/>
                  <a:pt x="249" y="64"/>
                  <a:pt x="249" y="66"/>
                </a:cubicBezTo>
                <a:cubicBezTo>
                  <a:pt x="249" y="66"/>
                  <a:pt x="249" y="67"/>
                  <a:pt x="248" y="68"/>
                </a:cubicBezTo>
                <a:cubicBezTo>
                  <a:pt x="236" y="77"/>
                  <a:pt x="215" y="101"/>
                  <a:pt x="220" y="116"/>
                </a:cubicBezTo>
                <a:cubicBezTo>
                  <a:pt x="221" y="119"/>
                  <a:pt x="224" y="125"/>
                  <a:pt x="234" y="125"/>
                </a:cubicBezTo>
                <a:cubicBezTo>
                  <a:pt x="234" y="125"/>
                  <a:pt x="234" y="125"/>
                  <a:pt x="234" y="125"/>
                </a:cubicBezTo>
                <a:cubicBezTo>
                  <a:pt x="235" y="125"/>
                  <a:pt x="235" y="125"/>
                  <a:pt x="236" y="125"/>
                </a:cubicBezTo>
                <a:cubicBezTo>
                  <a:pt x="241" y="125"/>
                  <a:pt x="245" y="124"/>
                  <a:pt x="250" y="122"/>
                </a:cubicBezTo>
                <a:cubicBezTo>
                  <a:pt x="248" y="125"/>
                  <a:pt x="247" y="127"/>
                  <a:pt x="246" y="130"/>
                </a:cubicBezTo>
                <a:cubicBezTo>
                  <a:pt x="197" y="130"/>
                  <a:pt x="197" y="130"/>
                  <a:pt x="197" y="130"/>
                </a:cubicBezTo>
                <a:cubicBezTo>
                  <a:pt x="202" y="124"/>
                  <a:pt x="208" y="118"/>
                  <a:pt x="213" y="111"/>
                </a:cubicBezTo>
                <a:cubicBezTo>
                  <a:pt x="221" y="99"/>
                  <a:pt x="224" y="87"/>
                  <a:pt x="221" y="77"/>
                </a:cubicBezTo>
                <a:cubicBezTo>
                  <a:pt x="220" y="72"/>
                  <a:pt x="216" y="66"/>
                  <a:pt x="211" y="62"/>
                </a:cubicBezTo>
                <a:cubicBezTo>
                  <a:pt x="217" y="58"/>
                  <a:pt x="223" y="55"/>
                  <a:pt x="229" y="52"/>
                </a:cubicBezTo>
                <a:close/>
                <a:moveTo>
                  <a:pt x="395" y="14"/>
                </a:moveTo>
                <a:cubicBezTo>
                  <a:pt x="400" y="14"/>
                  <a:pt x="405" y="14"/>
                  <a:pt x="410" y="15"/>
                </a:cubicBezTo>
                <a:cubicBezTo>
                  <a:pt x="411" y="15"/>
                  <a:pt x="412" y="15"/>
                  <a:pt x="412" y="15"/>
                </a:cubicBezTo>
                <a:cubicBezTo>
                  <a:pt x="417" y="15"/>
                  <a:pt x="422" y="15"/>
                  <a:pt x="427" y="16"/>
                </a:cubicBezTo>
                <a:cubicBezTo>
                  <a:pt x="427" y="16"/>
                  <a:pt x="428" y="16"/>
                  <a:pt x="429" y="16"/>
                </a:cubicBezTo>
                <a:cubicBezTo>
                  <a:pt x="433" y="16"/>
                  <a:pt x="438" y="17"/>
                  <a:pt x="443" y="17"/>
                </a:cubicBezTo>
                <a:cubicBezTo>
                  <a:pt x="443" y="17"/>
                  <a:pt x="443" y="17"/>
                  <a:pt x="443" y="17"/>
                </a:cubicBezTo>
                <a:cubicBezTo>
                  <a:pt x="448" y="18"/>
                  <a:pt x="453" y="19"/>
                  <a:pt x="457" y="19"/>
                </a:cubicBezTo>
                <a:cubicBezTo>
                  <a:pt x="458" y="19"/>
                  <a:pt x="459" y="20"/>
                  <a:pt x="459" y="20"/>
                </a:cubicBezTo>
                <a:cubicBezTo>
                  <a:pt x="459" y="20"/>
                  <a:pt x="459" y="20"/>
                  <a:pt x="459" y="21"/>
                </a:cubicBezTo>
                <a:cubicBezTo>
                  <a:pt x="455" y="27"/>
                  <a:pt x="445" y="32"/>
                  <a:pt x="436" y="35"/>
                </a:cubicBezTo>
                <a:cubicBezTo>
                  <a:pt x="427" y="37"/>
                  <a:pt x="412" y="41"/>
                  <a:pt x="391" y="54"/>
                </a:cubicBezTo>
                <a:cubicBezTo>
                  <a:pt x="391" y="54"/>
                  <a:pt x="391" y="54"/>
                  <a:pt x="391" y="54"/>
                </a:cubicBezTo>
                <a:cubicBezTo>
                  <a:pt x="386" y="57"/>
                  <a:pt x="381" y="61"/>
                  <a:pt x="376" y="65"/>
                </a:cubicBezTo>
                <a:cubicBezTo>
                  <a:pt x="358" y="78"/>
                  <a:pt x="340" y="81"/>
                  <a:pt x="320" y="83"/>
                </a:cubicBezTo>
                <a:cubicBezTo>
                  <a:pt x="314" y="84"/>
                  <a:pt x="307" y="85"/>
                  <a:pt x="300" y="86"/>
                </a:cubicBezTo>
                <a:cubicBezTo>
                  <a:pt x="288" y="89"/>
                  <a:pt x="277" y="94"/>
                  <a:pt x="266" y="100"/>
                </a:cubicBezTo>
                <a:cubicBezTo>
                  <a:pt x="265" y="100"/>
                  <a:pt x="263" y="101"/>
                  <a:pt x="261" y="102"/>
                </a:cubicBezTo>
                <a:cubicBezTo>
                  <a:pt x="261" y="102"/>
                  <a:pt x="261" y="102"/>
                  <a:pt x="261" y="102"/>
                </a:cubicBezTo>
                <a:cubicBezTo>
                  <a:pt x="252" y="106"/>
                  <a:pt x="244" y="110"/>
                  <a:pt x="235" y="111"/>
                </a:cubicBezTo>
                <a:cubicBezTo>
                  <a:pt x="235" y="111"/>
                  <a:pt x="234" y="111"/>
                  <a:pt x="234" y="111"/>
                </a:cubicBezTo>
                <a:cubicBezTo>
                  <a:pt x="234" y="111"/>
                  <a:pt x="234" y="111"/>
                  <a:pt x="234" y="111"/>
                </a:cubicBezTo>
                <a:cubicBezTo>
                  <a:pt x="234" y="111"/>
                  <a:pt x="233" y="111"/>
                  <a:pt x="233" y="111"/>
                </a:cubicBezTo>
                <a:cubicBezTo>
                  <a:pt x="233" y="106"/>
                  <a:pt x="243" y="89"/>
                  <a:pt x="256" y="79"/>
                </a:cubicBezTo>
                <a:cubicBezTo>
                  <a:pt x="263" y="74"/>
                  <a:pt x="263" y="68"/>
                  <a:pt x="263" y="64"/>
                </a:cubicBezTo>
                <a:cubicBezTo>
                  <a:pt x="263" y="62"/>
                  <a:pt x="262" y="54"/>
                  <a:pt x="246" y="45"/>
                </a:cubicBezTo>
                <a:cubicBezTo>
                  <a:pt x="292" y="25"/>
                  <a:pt x="342" y="14"/>
                  <a:pt x="395" y="14"/>
                </a:cubicBezTo>
                <a:close/>
                <a:moveTo>
                  <a:pt x="757" y="519"/>
                </a:moveTo>
                <a:cubicBezTo>
                  <a:pt x="583" y="519"/>
                  <a:pt x="583" y="519"/>
                  <a:pt x="583" y="519"/>
                </a:cubicBezTo>
                <a:cubicBezTo>
                  <a:pt x="586" y="510"/>
                  <a:pt x="590" y="502"/>
                  <a:pt x="596" y="495"/>
                </a:cubicBezTo>
                <a:cubicBezTo>
                  <a:pt x="611" y="476"/>
                  <a:pt x="637" y="413"/>
                  <a:pt x="632" y="403"/>
                </a:cubicBezTo>
                <a:cubicBezTo>
                  <a:pt x="632" y="403"/>
                  <a:pt x="632" y="403"/>
                  <a:pt x="632" y="403"/>
                </a:cubicBezTo>
                <a:cubicBezTo>
                  <a:pt x="777" y="403"/>
                  <a:pt x="777" y="403"/>
                  <a:pt x="777" y="403"/>
                </a:cubicBezTo>
                <a:cubicBezTo>
                  <a:pt x="776" y="443"/>
                  <a:pt x="769" y="482"/>
                  <a:pt x="757" y="519"/>
                </a:cubicBezTo>
                <a:close/>
                <a:moveTo>
                  <a:pt x="652" y="328"/>
                </a:moveTo>
                <a:cubicBezTo>
                  <a:pt x="652" y="321"/>
                  <a:pt x="660" y="316"/>
                  <a:pt x="665" y="314"/>
                </a:cubicBezTo>
                <a:cubicBezTo>
                  <a:pt x="673" y="332"/>
                  <a:pt x="692" y="376"/>
                  <a:pt x="707" y="389"/>
                </a:cubicBezTo>
                <a:cubicBezTo>
                  <a:pt x="621" y="389"/>
                  <a:pt x="621" y="389"/>
                  <a:pt x="621" y="389"/>
                </a:cubicBezTo>
                <a:cubicBezTo>
                  <a:pt x="636" y="369"/>
                  <a:pt x="654" y="342"/>
                  <a:pt x="652" y="328"/>
                </a:cubicBezTo>
                <a:close/>
                <a:moveTo>
                  <a:pt x="730" y="389"/>
                </a:moveTo>
                <a:cubicBezTo>
                  <a:pt x="735" y="382"/>
                  <a:pt x="734" y="369"/>
                  <a:pt x="733" y="365"/>
                </a:cubicBezTo>
                <a:cubicBezTo>
                  <a:pt x="727" y="329"/>
                  <a:pt x="724" y="286"/>
                  <a:pt x="729" y="278"/>
                </a:cubicBezTo>
                <a:cubicBezTo>
                  <a:pt x="730" y="276"/>
                  <a:pt x="731" y="275"/>
                  <a:pt x="732" y="273"/>
                </a:cubicBezTo>
                <a:cubicBezTo>
                  <a:pt x="757" y="273"/>
                  <a:pt x="757" y="273"/>
                  <a:pt x="757" y="273"/>
                </a:cubicBezTo>
                <a:cubicBezTo>
                  <a:pt x="769" y="310"/>
                  <a:pt x="776" y="349"/>
                  <a:pt x="777" y="389"/>
                </a:cubicBezTo>
                <a:lnTo>
                  <a:pt x="730" y="389"/>
                </a:lnTo>
                <a:close/>
                <a:moveTo>
                  <a:pt x="752" y="259"/>
                </a:moveTo>
                <a:cubicBezTo>
                  <a:pt x="742" y="259"/>
                  <a:pt x="742" y="259"/>
                  <a:pt x="742" y="259"/>
                </a:cubicBezTo>
                <a:cubicBezTo>
                  <a:pt x="744" y="257"/>
                  <a:pt x="746" y="254"/>
                  <a:pt x="749" y="252"/>
                </a:cubicBezTo>
                <a:cubicBezTo>
                  <a:pt x="750" y="254"/>
                  <a:pt x="751" y="257"/>
                  <a:pt x="752" y="259"/>
                </a:cubicBezTo>
                <a:close/>
                <a:moveTo>
                  <a:pt x="742" y="237"/>
                </a:moveTo>
                <a:cubicBezTo>
                  <a:pt x="736" y="244"/>
                  <a:pt x="730" y="252"/>
                  <a:pt x="725" y="259"/>
                </a:cubicBezTo>
                <a:cubicBezTo>
                  <a:pt x="723" y="259"/>
                  <a:pt x="723" y="259"/>
                  <a:pt x="723" y="259"/>
                </a:cubicBezTo>
                <a:cubicBezTo>
                  <a:pt x="719" y="259"/>
                  <a:pt x="716" y="263"/>
                  <a:pt x="716" y="266"/>
                </a:cubicBezTo>
                <a:cubicBezTo>
                  <a:pt x="716" y="268"/>
                  <a:pt x="716" y="269"/>
                  <a:pt x="717" y="270"/>
                </a:cubicBezTo>
                <a:cubicBezTo>
                  <a:pt x="706" y="287"/>
                  <a:pt x="717" y="354"/>
                  <a:pt x="719" y="367"/>
                </a:cubicBezTo>
                <a:cubicBezTo>
                  <a:pt x="720" y="372"/>
                  <a:pt x="720" y="378"/>
                  <a:pt x="719" y="380"/>
                </a:cubicBezTo>
                <a:cubicBezTo>
                  <a:pt x="719" y="380"/>
                  <a:pt x="718" y="380"/>
                  <a:pt x="718" y="379"/>
                </a:cubicBezTo>
                <a:cubicBezTo>
                  <a:pt x="708" y="373"/>
                  <a:pt x="687" y="331"/>
                  <a:pt x="676" y="302"/>
                </a:cubicBezTo>
                <a:cubicBezTo>
                  <a:pt x="674" y="299"/>
                  <a:pt x="671" y="297"/>
                  <a:pt x="667" y="298"/>
                </a:cubicBezTo>
                <a:cubicBezTo>
                  <a:pt x="659" y="300"/>
                  <a:pt x="647" y="306"/>
                  <a:pt x="642" y="315"/>
                </a:cubicBezTo>
                <a:cubicBezTo>
                  <a:pt x="629" y="320"/>
                  <a:pt x="629" y="320"/>
                  <a:pt x="629" y="320"/>
                </a:cubicBezTo>
                <a:cubicBezTo>
                  <a:pt x="584" y="300"/>
                  <a:pt x="584" y="300"/>
                  <a:pt x="584" y="300"/>
                </a:cubicBezTo>
                <a:cubicBezTo>
                  <a:pt x="581" y="299"/>
                  <a:pt x="577" y="300"/>
                  <a:pt x="575" y="304"/>
                </a:cubicBezTo>
                <a:cubicBezTo>
                  <a:pt x="573" y="307"/>
                  <a:pt x="575" y="312"/>
                  <a:pt x="579" y="313"/>
                </a:cubicBezTo>
                <a:cubicBezTo>
                  <a:pt x="626" y="334"/>
                  <a:pt x="626" y="334"/>
                  <a:pt x="626" y="334"/>
                </a:cubicBezTo>
                <a:cubicBezTo>
                  <a:pt x="627" y="334"/>
                  <a:pt x="628" y="334"/>
                  <a:pt x="629" y="334"/>
                </a:cubicBezTo>
                <a:cubicBezTo>
                  <a:pt x="630" y="334"/>
                  <a:pt x="630" y="334"/>
                  <a:pt x="631" y="334"/>
                </a:cubicBezTo>
                <a:cubicBezTo>
                  <a:pt x="638" y="331"/>
                  <a:pt x="638" y="331"/>
                  <a:pt x="638" y="331"/>
                </a:cubicBezTo>
                <a:cubicBezTo>
                  <a:pt x="637" y="342"/>
                  <a:pt x="619" y="368"/>
                  <a:pt x="602" y="392"/>
                </a:cubicBezTo>
                <a:cubicBezTo>
                  <a:pt x="602" y="392"/>
                  <a:pt x="602" y="392"/>
                  <a:pt x="601" y="392"/>
                </a:cubicBezTo>
                <a:cubicBezTo>
                  <a:pt x="600" y="394"/>
                  <a:pt x="598" y="397"/>
                  <a:pt x="596" y="399"/>
                </a:cubicBezTo>
                <a:cubicBezTo>
                  <a:pt x="595" y="400"/>
                  <a:pt x="594" y="402"/>
                  <a:pt x="595" y="404"/>
                </a:cubicBezTo>
                <a:cubicBezTo>
                  <a:pt x="592" y="405"/>
                  <a:pt x="589" y="405"/>
                  <a:pt x="587" y="403"/>
                </a:cubicBezTo>
                <a:cubicBezTo>
                  <a:pt x="579" y="394"/>
                  <a:pt x="528" y="328"/>
                  <a:pt x="528" y="328"/>
                </a:cubicBezTo>
                <a:cubicBezTo>
                  <a:pt x="526" y="325"/>
                  <a:pt x="521" y="324"/>
                  <a:pt x="518" y="327"/>
                </a:cubicBezTo>
                <a:cubicBezTo>
                  <a:pt x="515" y="329"/>
                  <a:pt x="515" y="333"/>
                  <a:pt x="517" y="336"/>
                </a:cubicBezTo>
                <a:cubicBezTo>
                  <a:pt x="519" y="339"/>
                  <a:pt x="568" y="402"/>
                  <a:pt x="577" y="412"/>
                </a:cubicBezTo>
                <a:cubicBezTo>
                  <a:pt x="581" y="417"/>
                  <a:pt x="586" y="419"/>
                  <a:pt x="591" y="419"/>
                </a:cubicBezTo>
                <a:cubicBezTo>
                  <a:pt x="597" y="419"/>
                  <a:pt x="604" y="416"/>
                  <a:pt x="610" y="412"/>
                </a:cubicBezTo>
                <a:cubicBezTo>
                  <a:pt x="612" y="413"/>
                  <a:pt x="615" y="413"/>
                  <a:pt x="618" y="414"/>
                </a:cubicBezTo>
                <a:cubicBezTo>
                  <a:pt x="613" y="430"/>
                  <a:pt x="599" y="468"/>
                  <a:pt x="585" y="486"/>
                </a:cubicBezTo>
                <a:cubicBezTo>
                  <a:pt x="564" y="513"/>
                  <a:pt x="558" y="546"/>
                  <a:pt x="568" y="568"/>
                </a:cubicBezTo>
                <a:cubicBezTo>
                  <a:pt x="569" y="570"/>
                  <a:pt x="569" y="571"/>
                  <a:pt x="569" y="573"/>
                </a:cubicBezTo>
                <a:cubicBezTo>
                  <a:pt x="566" y="580"/>
                  <a:pt x="554" y="586"/>
                  <a:pt x="548" y="588"/>
                </a:cubicBezTo>
                <a:cubicBezTo>
                  <a:pt x="546" y="589"/>
                  <a:pt x="545" y="590"/>
                  <a:pt x="544" y="591"/>
                </a:cubicBezTo>
                <a:cubicBezTo>
                  <a:pt x="540" y="598"/>
                  <a:pt x="526" y="620"/>
                  <a:pt x="525" y="631"/>
                </a:cubicBezTo>
                <a:cubicBezTo>
                  <a:pt x="520" y="639"/>
                  <a:pt x="472" y="672"/>
                  <a:pt x="454" y="677"/>
                </a:cubicBezTo>
                <a:cubicBezTo>
                  <a:pt x="444" y="680"/>
                  <a:pt x="441" y="675"/>
                  <a:pt x="432" y="657"/>
                </a:cubicBezTo>
                <a:cubicBezTo>
                  <a:pt x="430" y="654"/>
                  <a:pt x="429" y="650"/>
                  <a:pt x="427" y="647"/>
                </a:cubicBezTo>
                <a:cubicBezTo>
                  <a:pt x="413" y="621"/>
                  <a:pt x="409" y="599"/>
                  <a:pt x="416" y="589"/>
                </a:cubicBezTo>
                <a:cubicBezTo>
                  <a:pt x="428" y="574"/>
                  <a:pt x="414" y="558"/>
                  <a:pt x="403" y="546"/>
                </a:cubicBezTo>
                <a:cubicBezTo>
                  <a:pt x="400" y="542"/>
                  <a:pt x="397" y="539"/>
                  <a:pt x="395" y="536"/>
                </a:cubicBezTo>
                <a:cubicBezTo>
                  <a:pt x="392" y="532"/>
                  <a:pt x="392" y="529"/>
                  <a:pt x="394" y="522"/>
                </a:cubicBezTo>
                <a:cubicBezTo>
                  <a:pt x="395" y="513"/>
                  <a:pt x="397" y="501"/>
                  <a:pt x="391" y="481"/>
                </a:cubicBezTo>
                <a:cubicBezTo>
                  <a:pt x="384" y="461"/>
                  <a:pt x="366" y="459"/>
                  <a:pt x="351" y="459"/>
                </a:cubicBezTo>
                <a:cubicBezTo>
                  <a:pt x="342" y="459"/>
                  <a:pt x="333" y="459"/>
                  <a:pt x="323" y="460"/>
                </a:cubicBezTo>
                <a:cubicBezTo>
                  <a:pt x="312" y="461"/>
                  <a:pt x="299" y="463"/>
                  <a:pt x="285" y="463"/>
                </a:cubicBezTo>
                <a:cubicBezTo>
                  <a:pt x="280" y="463"/>
                  <a:pt x="276" y="463"/>
                  <a:pt x="271" y="462"/>
                </a:cubicBezTo>
                <a:cubicBezTo>
                  <a:pt x="262" y="462"/>
                  <a:pt x="255" y="458"/>
                  <a:pt x="250" y="451"/>
                </a:cubicBezTo>
                <a:cubicBezTo>
                  <a:pt x="237" y="433"/>
                  <a:pt x="238" y="393"/>
                  <a:pt x="252" y="342"/>
                </a:cubicBezTo>
                <a:cubicBezTo>
                  <a:pt x="259" y="318"/>
                  <a:pt x="297" y="295"/>
                  <a:pt x="312" y="288"/>
                </a:cubicBezTo>
                <a:cubicBezTo>
                  <a:pt x="313" y="288"/>
                  <a:pt x="314" y="287"/>
                  <a:pt x="315" y="285"/>
                </a:cubicBezTo>
                <a:cubicBezTo>
                  <a:pt x="319" y="278"/>
                  <a:pt x="318" y="272"/>
                  <a:pt x="316" y="269"/>
                </a:cubicBezTo>
                <a:cubicBezTo>
                  <a:pt x="313" y="262"/>
                  <a:pt x="308" y="259"/>
                  <a:pt x="303" y="257"/>
                </a:cubicBezTo>
                <a:cubicBezTo>
                  <a:pt x="303" y="251"/>
                  <a:pt x="305" y="242"/>
                  <a:pt x="310" y="240"/>
                </a:cubicBezTo>
                <a:cubicBezTo>
                  <a:pt x="315" y="238"/>
                  <a:pt x="322" y="237"/>
                  <a:pt x="327" y="237"/>
                </a:cubicBezTo>
                <a:cubicBezTo>
                  <a:pt x="336" y="236"/>
                  <a:pt x="342" y="236"/>
                  <a:pt x="345" y="231"/>
                </a:cubicBezTo>
                <a:cubicBezTo>
                  <a:pt x="346" y="229"/>
                  <a:pt x="347" y="225"/>
                  <a:pt x="344" y="221"/>
                </a:cubicBezTo>
                <a:cubicBezTo>
                  <a:pt x="344" y="220"/>
                  <a:pt x="343" y="216"/>
                  <a:pt x="346" y="212"/>
                </a:cubicBezTo>
                <a:cubicBezTo>
                  <a:pt x="348" y="208"/>
                  <a:pt x="352" y="206"/>
                  <a:pt x="356" y="207"/>
                </a:cubicBezTo>
                <a:cubicBezTo>
                  <a:pt x="358" y="207"/>
                  <a:pt x="359" y="207"/>
                  <a:pt x="361" y="207"/>
                </a:cubicBezTo>
                <a:cubicBezTo>
                  <a:pt x="376" y="207"/>
                  <a:pt x="385" y="194"/>
                  <a:pt x="388" y="188"/>
                </a:cubicBezTo>
                <a:cubicBezTo>
                  <a:pt x="395" y="186"/>
                  <a:pt x="412" y="179"/>
                  <a:pt x="426" y="179"/>
                </a:cubicBezTo>
                <a:cubicBezTo>
                  <a:pt x="429" y="179"/>
                  <a:pt x="432" y="179"/>
                  <a:pt x="434" y="180"/>
                </a:cubicBezTo>
                <a:cubicBezTo>
                  <a:pt x="441" y="181"/>
                  <a:pt x="446" y="180"/>
                  <a:pt x="448" y="175"/>
                </a:cubicBezTo>
                <a:cubicBezTo>
                  <a:pt x="452" y="167"/>
                  <a:pt x="445" y="150"/>
                  <a:pt x="426" y="125"/>
                </a:cubicBezTo>
                <a:cubicBezTo>
                  <a:pt x="425" y="123"/>
                  <a:pt x="422" y="122"/>
                  <a:pt x="419" y="122"/>
                </a:cubicBezTo>
                <a:cubicBezTo>
                  <a:pt x="416" y="123"/>
                  <a:pt x="414" y="125"/>
                  <a:pt x="414" y="128"/>
                </a:cubicBezTo>
                <a:cubicBezTo>
                  <a:pt x="410" y="159"/>
                  <a:pt x="410" y="159"/>
                  <a:pt x="410" y="159"/>
                </a:cubicBezTo>
                <a:cubicBezTo>
                  <a:pt x="400" y="155"/>
                  <a:pt x="385" y="149"/>
                  <a:pt x="381" y="139"/>
                </a:cubicBezTo>
                <a:cubicBezTo>
                  <a:pt x="379" y="135"/>
                  <a:pt x="381" y="129"/>
                  <a:pt x="386" y="121"/>
                </a:cubicBezTo>
                <a:cubicBezTo>
                  <a:pt x="390" y="115"/>
                  <a:pt x="394" y="110"/>
                  <a:pt x="399" y="105"/>
                </a:cubicBezTo>
                <a:cubicBezTo>
                  <a:pt x="400" y="105"/>
                  <a:pt x="400" y="105"/>
                  <a:pt x="400" y="104"/>
                </a:cubicBezTo>
                <a:cubicBezTo>
                  <a:pt x="412" y="94"/>
                  <a:pt x="425" y="87"/>
                  <a:pt x="431" y="87"/>
                </a:cubicBezTo>
                <a:cubicBezTo>
                  <a:pt x="431" y="87"/>
                  <a:pt x="431" y="87"/>
                  <a:pt x="431" y="87"/>
                </a:cubicBezTo>
                <a:cubicBezTo>
                  <a:pt x="435" y="87"/>
                  <a:pt x="440" y="90"/>
                  <a:pt x="445" y="92"/>
                </a:cubicBezTo>
                <a:cubicBezTo>
                  <a:pt x="451" y="95"/>
                  <a:pt x="458" y="99"/>
                  <a:pt x="466" y="99"/>
                </a:cubicBezTo>
                <a:cubicBezTo>
                  <a:pt x="475" y="99"/>
                  <a:pt x="483" y="94"/>
                  <a:pt x="490" y="85"/>
                </a:cubicBezTo>
                <a:cubicBezTo>
                  <a:pt x="505" y="66"/>
                  <a:pt x="497" y="42"/>
                  <a:pt x="490" y="26"/>
                </a:cubicBezTo>
                <a:cubicBezTo>
                  <a:pt x="602" y="55"/>
                  <a:pt x="695" y="134"/>
                  <a:pt x="742" y="237"/>
                </a:cubicBezTo>
                <a:close/>
                <a:moveTo>
                  <a:pt x="119" y="480"/>
                </a:moveTo>
                <a:cubicBezTo>
                  <a:pt x="109" y="475"/>
                  <a:pt x="95" y="468"/>
                  <a:pt x="79" y="444"/>
                </a:cubicBezTo>
                <a:cubicBezTo>
                  <a:pt x="73" y="435"/>
                  <a:pt x="67" y="421"/>
                  <a:pt x="61" y="403"/>
                </a:cubicBezTo>
                <a:cubicBezTo>
                  <a:pt x="194" y="403"/>
                  <a:pt x="194" y="403"/>
                  <a:pt x="194" y="403"/>
                </a:cubicBezTo>
                <a:cubicBezTo>
                  <a:pt x="194" y="443"/>
                  <a:pt x="198" y="482"/>
                  <a:pt x="204" y="519"/>
                </a:cubicBezTo>
                <a:cubicBezTo>
                  <a:pt x="137" y="519"/>
                  <a:pt x="137" y="519"/>
                  <a:pt x="137" y="519"/>
                </a:cubicBezTo>
                <a:cubicBezTo>
                  <a:pt x="138" y="516"/>
                  <a:pt x="138" y="513"/>
                  <a:pt x="138" y="510"/>
                </a:cubicBezTo>
                <a:cubicBezTo>
                  <a:pt x="139" y="490"/>
                  <a:pt x="129" y="485"/>
                  <a:pt x="119" y="480"/>
                </a:cubicBezTo>
                <a:close/>
                <a:moveTo>
                  <a:pt x="273" y="112"/>
                </a:moveTo>
                <a:cubicBezTo>
                  <a:pt x="282" y="107"/>
                  <a:pt x="292" y="102"/>
                  <a:pt x="303" y="100"/>
                </a:cubicBezTo>
                <a:cubicBezTo>
                  <a:pt x="309" y="99"/>
                  <a:pt x="316" y="98"/>
                  <a:pt x="322" y="97"/>
                </a:cubicBezTo>
                <a:cubicBezTo>
                  <a:pt x="341" y="94"/>
                  <a:pt x="363" y="92"/>
                  <a:pt x="384" y="76"/>
                </a:cubicBezTo>
                <a:cubicBezTo>
                  <a:pt x="386" y="75"/>
                  <a:pt x="387" y="74"/>
                  <a:pt x="388" y="73"/>
                </a:cubicBezTo>
                <a:cubicBezTo>
                  <a:pt x="388" y="97"/>
                  <a:pt x="388" y="97"/>
                  <a:pt x="388" y="97"/>
                </a:cubicBezTo>
                <a:cubicBezTo>
                  <a:pt x="383" y="102"/>
                  <a:pt x="378" y="108"/>
                  <a:pt x="374" y="113"/>
                </a:cubicBezTo>
                <a:cubicBezTo>
                  <a:pt x="370" y="120"/>
                  <a:pt x="368" y="125"/>
                  <a:pt x="367" y="130"/>
                </a:cubicBezTo>
                <a:cubicBezTo>
                  <a:pt x="342" y="130"/>
                  <a:pt x="342" y="130"/>
                  <a:pt x="342" y="130"/>
                </a:cubicBezTo>
                <a:cubicBezTo>
                  <a:pt x="343" y="127"/>
                  <a:pt x="344" y="124"/>
                  <a:pt x="343" y="120"/>
                </a:cubicBezTo>
                <a:cubicBezTo>
                  <a:pt x="341" y="112"/>
                  <a:pt x="334" y="107"/>
                  <a:pt x="325" y="107"/>
                </a:cubicBezTo>
                <a:cubicBezTo>
                  <a:pt x="318" y="107"/>
                  <a:pt x="310" y="110"/>
                  <a:pt x="305" y="115"/>
                </a:cubicBezTo>
                <a:cubicBezTo>
                  <a:pt x="302" y="118"/>
                  <a:pt x="301" y="122"/>
                  <a:pt x="302" y="125"/>
                </a:cubicBezTo>
                <a:cubicBezTo>
                  <a:pt x="303" y="127"/>
                  <a:pt x="304" y="129"/>
                  <a:pt x="306" y="130"/>
                </a:cubicBezTo>
                <a:cubicBezTo>
                  <a:pt x="261" y="130"/>
                  <a:pt x="261" y="130"/>
                  <a:pt x="261" y="130"/>
                </a:cubicBezTo>
                <a:cubicBezTo>
                  <a:pt x="264" y="124"/>
                  <a:pt x="267" y="119"/>
                  <a:pt x="270" y="113"/>
                </a:cubicBezTo>
                <a:cubicBezTo>
                  <a:pt x="271" y="113"/>
                  <a:pt x="272" y="112"/>
                  <a:pt x="273" y="112"/>
                </a:cubicBezTo>
                <a:close/>
                <a:moveTo>
                  <a:pt x="440" y="48"/>
                </a:moveTo>
                <a:cubicBezTo>
                  <a:pt x="451" y="45"/>
                  <a:pt x="465" y="38"/>
                  <a:pt x="471" y="27"/>
                </a:cubicBezTo>
                <a:cubicBezTo>
                  <a:pt x="472" y="26"/>
                  <a:pt x="472" y="25"/>
                  <a:pt x="473" y="24"/>
                </a:cubicBezTo>
                <a:cubicBezTo>
                  <a:pt x="479" y="34"/>
                  <a:pt x="492" y="60"/>
                  <a:pt x="479" y="76"/>
                </a:cubicBezTo>
                <a:cubicBezTo>
                  <a:pt x="473" y="84"/>
                  <a:pt x="469" y="85"/>
                  <a:pt x="466" y="85"/>
                </a:cubicBezTo>
                <a:cubicBezTo>
                  <a:pt x="461" y="85"/>
                  <a:pt x="456" y="82"/>
                  <a:pt x="451" y="80"/>
                </a:cubicBezTo>
                <a:cubicBezTo>
                  <a:pt x="445" y="76"/>
                  <a:pt x="439" y="73"/>
                  <a:pt x="432" y="73"/>
                </a:cubicBezTo>
                <a:cubicBezTo>
                  <a:pt x="424" y="72"/>
                  <a:pt x="413" y="77"/>
                  <a:pt x="402" y="85"/>
                </a:cubicBezTo>
                <a:cubicBezTo>
                  <a:pt x="402" y="64"/>
                  <a:pt x="402" y="64"/>
                  <a:pt x="402" y="64"/>
                </a:cubicBezTo>
                <a:cubicBezTo>
                  <a:pt x="419" y="54"/>
                  <a:pt x="432" y="50"/>
                  <a:pt x="440" y="48"/>
                </a:cubicBezTo>
                <a:close/>
                <a:moveTo>
                  <a:pt x="322" y="122"/>
                </a:moveTo>
                <a:cubicBezTo>
                  <a:pt x="325" y="121"/>
                  <a:pt x="327" y="121"/>
                  <a:pt x="328" y="122"/>
                </a:cubicBezTo>
                <a:cubicBezTo>
                  <a:pt x="328" y="122"/>
                  <a:pt x="327" y="122"/>
                  <a:pt x="327" y="122"/>
                </a:cubicBezTo>
                <a:cubicBezTo>
                  <a:pt x="325" y="122"/>
                  <a:pt x="324" y="122"/>
                  <a:pt x="322" y="122"/>
                </a:cubicBezTo>
                <a:close/>
                <a:moveTo>
                  <a:pt x="368" y="144"/>
                </a:moveTo>
                <a:cubicBezTo>
                  <a:pt x="368" y="144"/>
                  <a:pt x="368" y="145"/>
                  <a:pt x="368" y="145"/>
                </a:cubicBezTo>
                <a:cubicBezTo>
                  <a:pt x="374" y="157"/>
                  <a:pt x="387" y="165"/>
                  <a:pt x="398" y="170"/>
                </a:cubicBezTo>
                <a:cubicBezTo>
                  <a:pt x="388" y="173"/>
                  <a:pt x="381" y="176"/>
                  <a:pt x="380" y="176"/>
                </a:cubicBezTo>
                <a:cubicBezTo>
                  <a:pt x="379" y="177"/>
                  <a:pt x="378" y="178"/>
                  <a:pt x="377" y="180"/>
                </a:cubicBezTo>
                <a:cubicBezTo>
                  <a:pt x="376" y="179"/>
                  <a:pt x="375" y="178"/>
                  <a:pt x="374" y="178"/>
                </a:cubicBezTo>
                <a:cubicBezTo>
                  <a:pt x="375" y="177"/>
                  <a:pt x="375" y="175"/>
                  <a:pt x="376" y="174"/>
                </a:cubicBezTo>
                <a:cubicBezTo>
                  <a:pt x="382" y="171"/>
                  <a:pt x="381" y="166"/>
                  <a:pt x="381" y="164"/>
                </a:cubicBezTo>
                <a:cubicBezTo>
                  <a:pt x="379" y="157"/>
                  <a:pt x="370" y="155"/>
                  <a:pt x="356" y="153"/>
                </a:cubicBezTo>
                <a:cubicBezTo>
                  <a:pt x="356" y="153"/>
                  <a:pt x="355" y="153"/>
                  <a:pt x="354" y="153"/>
                </a:cubicBezTo>
                <a:cubicBezTo>
                  <a:pt x="346" y="153"/>
                  <a:pt x="342" y="158"/>
                  <a:pt x="342" y="163"/>
                </a:cubicBezTo>
                <a:cubicBezTo>
                  <a:pt x="340" y="161"/>
                  <a:pt x="338" y="160"/>
                  <a:pt x="336" y="159"/>
                </a:cubicBezTo>
                <a:cubicBezTo>
                  <a:pt x="335" y="159"/>
                  <a:pt x="333" y="159"/>
                  <a:pt x="332" y="159"/>
                </a:cubicBezTo>
                <a:cubicBezTo>
                  <a:pt x="321" y="159"/>
                  <a:pt x="312" y="170"/>
                  <a:pt x="311" y="179"/>
                </a:cubicBezTo>
                <a:cubicBezTo>
                  <a:pt x="311" y="186"/>
                  <a:pt x="315" y="192"/>
                  <a:pt x="323" y="193"/>
                </a:cubicBezTo>
                <a:cubicBezTo>
                  <a:pt x="323" y="193"/>
                  <a:pt x="324" y="193"/>
                  <a:pt x="325" y="193"/>
                </a:cubicBezTo>
                <a:cubicBezTo>
                  <a:pt x="330" y="193"/>
                  <a:pt x="334" y="192"/>
                  <a:pt x="337" y="189"/>
                </a:cubicBezTo>
                <a:cubicBezTo>
                  <a:pt x="336" y="191"/>
                  <a:pt x="335" y="194"/>
                  <a:pt x="336" y="196"/>
                </a:cubicBezTo>
                <a:cubicBezTo>
                  <a:pt x="337" y="197"/>
                  <a:pt x="337" y="198"/>
                  <a:pt x="338" y="199"/>
                </a:cubicBezTo>
                <a:cubicBezTo>
                  <a:pt x="336" y="201"/>
                  <a:pt x="335" y="203"/>
                  <a:pt x="333" y="205"/>
                </a:cubicBezTo>
                <a:cubicBezTo>
                  <a:pt x="330" y="210"/>
                  <a:pt x="329" y="217"/>
                  <a:pt x="330" y="223"/>
                </a:cubicBezTo>
                <a:cubicBezTo>
                  <a:pt x="329" y="223"/>
                  <a:pt x="327" y="223"/>
                  <a:pt x="326" y="223"/>
                </a:cubicBezTo>
                <a:cubicBezTo>
                  <a:pt x="320" y="224"/>
                  <a:pt x="311" y="224"/>
                  <a:pt x="305" y="227"/>
                </a:cubicBezTo>
                <a:cubicBezTo>
                  <a:pt x="291" y="232"/>
                  <a:pt x="289" y="249"/>
                  <a:pt x="289" y="259"/>
                </a:cubicBezTo>
                <a:cubicBezTo>
                  <a:pt x="220" y="259"/>
                  <a:pt x="220" y="259"/>
                  <a:pt x="220" y="259"/>
                </a:cubicBezTo>
                <a:cubicBezTo>
                  <a:pt x="228" y="217"/>
                  <a:pt x="240" y="178"/>
                  <a:pt x="255" y="144"/>
                </a:cubicBezTo>
                <a:lnTo>
                  <a:pt x="368" y="144"/>
                </a:lnTo>
                <a:close/>
                <a:moveTo>
                  <a:pt x="346" y="175"/>
                </a:moveTo>
                <a:cubicBezTo>
                  <a:pt x="346" y="175"/>
                  <a:pt x="346" y="174"/>
                  <a:pt x="346" y="174"/>
                </a:cubicBezTo>
                <a:cubicBezTo>
                  <a:pt x="346" y="175"/>
                  <a:pt x="347" y="176"/>
                  <a:pt x="348" y="177"/>
                </a:cubicBezTo>
                <a:cubicBezTo>
                  <a:pt x="348" y="177"/>
                  <a:pt x="348" y="177"/>
                  <a:pt x="348" y="177"/>
                </a:cubicBezTo>
                <a:cubicBezTo>
                  <a:pt x="347" y="178"/>
                  <a:pt x="345" y="180"/>
                  <a:pt x="344" y="181"/>
                </a:cubicBezTo>
                <a:cubicBezTo>
                  <a:pt x="345" y="179"/>
                  <a:pt x="345" y="177"/>
                  <a:pt x="346" y="175"/>
                </a:cubicBezTo>
                <a:close/>
                <a:moveTo>
                  <a:pt x="363" y="169"/>
                </a:moveTo>
                <a:cubicBezTo>
                  <a:pt x="362" y="168"/>
                  <a:pt x="361" y="168"/>
                  <a:pt x="360" y="168"/>
                </a:cubicBezTo>
                <a:cubicBezTo>
                  <a:pt x="360" y="168"/>
                  <a:pt x="360" y="168"/>
                  <a:pt x="359" y="168"/>
                </a:cubicBezTo>
                <a:cubicBezTo>
                  <a:pt x="361" y="168"/>
                  <a:pt x="362" y="168"/>
                  <a:pt x="363" y="168"/>
                </a:cubicBezTo>
                <a:cubicBezTo>
                  <a:pt x="363" y="169"/>
                  <a:pt x="363" y="169"/>
                  <a:pt x="363" y="169"/>
                </a:cubicBezTo>
                <a:close/>
                <a:moveTo>
                  <a:pt x="361" y="184"/>
                </a:moveTo>
                <a:cubicBezTo>
                  <a:pt x="362" y="185"/>
                  <a:pt x="362" y="186"/>
                  <a:pt x="363" y="187"/>
                </a:cubicBezTo>
                <a:cubicBezTo>
                  <a:pt x="361" y="187"/>
                  <a:pt x="360" y="187"/>
                  <a:pt x="357" y="188"/>
                </a:cubicBezTo>
                <a:cubicBezTo>
                  <a:pt x="359" y="187"/>
                  <a:pt x="360" y="185"/>
                  <a:pt x="361" y="184"/>
                </a:cubicBezTo>
                <a:close/>
                <a:moveTo>
                  <a:pt x="332" y="173"/>
                </a:moveTo>
                <a:cubicBezTo>
                  <a:pt x="332" y="174"/>
                  <a:pt x="331" y="175"/>
                  <a:pt x="330" y="176"/>
                </a:cubicBezTo>
                <a:cubicBezTo>
                  <a:pt x="329" y="177"/>
                  <a:pt x="328" y="179"/>
                  <a:pt x="326" y="179"/>
                </a:cubicBezTo>
                <a:cubicBezTo>
                  <a:pt x="326" y="178"/>
                  <a:pt x="327" y="177"/>
                  <a:pt x="328" y="175"/>
                </a:cubicBezTo>
                <a:cubicBezTo>
                  <a:pt x="329" y="174"/>
                  <a:pt x="331" y="173"/>
                  <a:pt x="332" y="173"/>
                </a:cubicBezTo>
                <a:close/>
                <a:moveTo>
                  <a:pt x="297" y="273"/>
                </a:moveTo>
                <a:cubicBezTo>
                  <a:pt x="298" y="273"/>
                  <a:pt x="300" y="273"/>
                  <a:pt x="301" y="272"/>
                </a:cubicBezTo>
                <a:cubicBezTo>
                  <a:pt x="302" y="272"/>
                  <a:pt x="303" y="273"/>
                  <a:pt x="303" y="274"/>
                </a:cubicBezTo>
                <a:cubicBezTo>
                  <a:pt x="303" y="275"/>
                  <a:pt x="304" y="275"/>
                  <a:pt x="303" y="277"/>
                </a:cubicBezTo>
                <a:cubicBezTo>
                  <a:pt x="292" y="283"/>
                  <a:pt x="247" y="307"/>
                  <a:pt x="239" y="338"/>
                </a:cubicBezTo>
                <a:cubicBezTo>
                  <a:pt x="234" y="354"/>
                  <a:pt x="231" y="372"/>
                  <a:pt x="229" y="389"/>
                </a:cubicBezTo>
                <a:cubicBezTo>
                  <a:pt x="208" y="389"/>
                  <a:pt x="208" y="389"/>
                  <a:pt x="208" y="389"/>
                </a:cubicBezTo>
                <a:cubicBezTo>
                  <a:pt x="208" y="349"/>
                  <a:pt x="212" y="310"/>
                  <a:pt x="218" y="273"/>
                </a:cubicBezTo>
                <a:lnTo>
                  <a:pt x="297" y="273"/>
                </a:lnTo>
                <a:close/>
                <a:moveTo>
                  <a:pt x="208" y="403"/>
                </a:moveTo>
                <a:cubicBezTo>
                  <a:pt x="227" y="403"/>
                  <a:pt x="227" y="403"/>
                  <a:pt x="227" y="403"/>
                </a:cubicBezTo>
                <a:cubicBezTo>
                  <a:pt x="226" y="425"/>
                  <a:pt x="229" y="445"/>
                  <a:pt x="239" y="459"/>
                </a:cubicBezTo>
                <a:cubicBezTo>
                  <a:pt x="246" y="469"/>
                  <a:pt x="257" y="475"/>
                  <a:pt x="270" y="476"/>
                </a:cubicBezTo>
                <a:cubicBezTo>
                  <a:pt x="275" y="477"/>
                  <a:pt x="280" y="477"/>
                  <a:pt x="285" y="477"/>
                </a:cubicBezTo>
                <a:cubicBezTo>
                  <a:pt x="299" y="477"/>
                  <a:pt x="313" y="475"/>
                  <a:pt x="325" y="474"/>
                </a:cubicBezTo>
                <a:cubicBezTo>
                  <a:pt x="334" y="473"/>
                  <a:pt x="343" y="473"/>
                  <a:pt x="351" y="473"/>
                </a:cubicBezTo>
                <a:cubicBezTo>
                  <a:pt x="369" y="473"/>
                  <a:pt x="374" y="478"/>
                  <a:pt x="377" y="486"/>
                </a:cubicBezTo>
                <a:cubicBezTo>
                  <a:pt x="383" y="501"/>
                  <a:pt x="381" y="510"/>
                  <a:pt x="380" y="519"/>
                </a:cubicBezTo>
                <a:cubicBezTo>
                  <a:pt x="218" y="519"/>
                  <a:pt x="218" y="519"/>
                  <a:pt x="218" y="519"/>
                </a:cubicBezTo>
                <a:cubicBezTo>
                  <a:pt x="212" y="482"/>
                  <a:pt x="208" y="443"/>
                  <a:pt x="208" y="403"/>
                </a:cubicBezTo>
                <a:close/>
                <a:moveTo>
                  <a:pt x="402" y="567"/>
                </a:moveTo>
                <a:cubicBezTo>
                  <a:pt x="406" y="573"/>
                  <a:pt x="408" y="577"/>
                  <a:pt x="405" y="581"/>
                </a:cubicBezTo>
                <a:cubicBezTo>
                  <a:pt x="404" y="582"/>
                  <a:pt x="403" y="584"/>
                  <a:pt x="402" y="586"/>
                </a:cubicBezTo>
                <a:lnTo>
                  <a:pt x="402" y="567"/>
                </a:lnTo>
                <a:close/>
                <a:moveTo>
                  <a:pt x="402" y="623"/>
                </a:moveTo>
                <a:cubicBezTo>
                  <a:pt x="405" y="633"/>
                  <a:pt x="409" y="641"/>
                  <a:pt x="412" y="648"/>
                </a:cubicBezTo>
                <a:cubicBezTo>
                  <a:pt x="402" y="648"/>
                  <a:pt x="402" y="648"/>
                  <a:pt x="402" y="648"/>
                </a:cubicBezTo>
                <a:lnTo>
                  <a:pt x="402" y="623"/>
                </a:lnTo>
                <a:close/>
                <a:moveTo>
                  <a:pt x="423" y="165"/>
                </a:moveTo>
                <a:cubicBezTo>
                  <a:pt x="425" y="149"/>
                  <a:pt x="425" y="149"/>
                  <a:pt x="425" y="149"/>
                </a:cubicBezTo>
                <a:cubicBezTo>
                  <a:pt x="429" y="155"/>
                  <a:pt x="433" y="162"/>
                  <a:pt x="434" y="166"/>
                </a:cubicBezTo>
                <a:cubicBezTo>
                  <a:pt x="432" y="165"/>
                  <a:pt x="429" y="165"/>
                  <a:pt x="426" y="165"/>
                </a:cubicBezTo>
                <a:cubicBezTo>
                  <a:pt x="425" y="165"/>
                  <a:pt x="424" y="165"/>
                  <a:pt x="423" y="165"/>
                </a:cubicBezTo>
                <a:close/>
                <a:moveTo>
                  <a:pt x="204" y="273"/>
                </a:moveTo>
                <a:cubicBezTo>
                  <a:pt x="198" y="310"/>
                  <a:pt x="194" y="349"/>
                  <a:pt x="194" y="389"/>
                </a:cubicBezTo>
                <a:cubicBezTo>
                  <a:pt x="56" y="389"/>
                  <a:pt x="56" y="389"/>
                  <a:pt x="56" y="389"/>
                </a:cubicBezTo>
                <a:cubicBezTo>
                  <a:pt x="48" y="361"/>
                  <a:pt x="39" y="325"/>
                  <a:pt x="31" y="282"/>
                </a:cubicBezTo>
                <a:cubicBezTo>
                  <a:pt x="32" y="279"/>
                  <a:pt x="33" y="276"/>
                  <a:pt x="34" y="273"/>
                </a:cubicBezTo>
                <a:lnTo>
                  <a:pt x="204" y="273"/>
                </a:lnTo>
                <a:close/>
                <a:moveTo>
                  <a:pt x="134" y="533"/>
                </a:moveTo>
                <a:cubicBezTo>
                  <a:pt x="206" y="533"/>
                  <a:pt x="206" y="533"/>
                  <a:pt x="206" y="533"/>
                </a:cubicBezTo>
                <a:cubicBezTo>
                  <a:pt x="214" y="574"/>
                  <a:pt x="225" y="613"/>
                  <a:pt x="240" y="648"/>
                </a:cubicBezTo>
                <a:cubicBezTo>
                  <a:pt x="143" y="648"/>
                  <a:pt x="143" y="648"/>
                  <a:pt x="143" y="648"/>
                </a:cubicBezTo>
                <a:cubicBezTo>
                  <a:pt x="122" y="595"/>
                  <a:pt x="129" y="558"/>
                  <a:pt x="134" y="533"/>
                </a:cubicBezTo>
                <a:close/>
                <a:moveTo>
                  <a:pt x="220" y="533"/>
                </a:moveTo>
                <a:cubicBezTo>
                  <a:pt x="379" y="533"/>
                  <a:pt x="379" y="533"/>
                  <a:pt x="379" y="533"/>
                </a:cubicBezTo>
                <a:cubicBezTo>
                  <a:pt x="379" y="536"/>
                  <a:pt x="380" y="540"/>
                  <a:pt x="383" y="544"/>
                </a:cubicBezTo>
                <a:cubicBezTo>
                  <a:pt x="385" y="546"/>
                  <a:pt x="386" y="548"/>
                  <a:pt x="388" y="550"/>
                </a:cubicBezTo>
                <a:cubicBezTo>
                  <a:pt x="388" y="648"/>
                  <a:pt x="388" y="648"/>
                  <a:pt x="388" y="648"/>
                </a:cubicBezTo>
                <a:cubicBezTo>
                  <a:pt x="255" y="648"/>
                  <a:pt x="255" y="648"/>
                  <a:pt x="255" y="648"/>
                </a:cubicBezTo>
                <a:cubicBezTo>
                  <a:pt x="240" y="614"/>
                  <a:pt x="228" y="575"/>
                  <a:pt x="220" y="533"/>
                </a:cubicBezTo>
                <a:close/>
                <a:moveTo>
                  <a:pt x="388" y="662"/>
                </a:moveTo>
                <a:cubicBezTo>
                  <a:pt x="388" y="777"/>
                  <a:pt x="388" y="777"/>
                  <a:pt x="388" y="777"/>
                </a:cubicBezTo>
                <a:cubicBezTo>
                  <a:pt x="339" y="774"/>
                  <a:pt x="294" y="730"/>
                  <a:pt x="261" y="662"/>
                </a:cubicBezTo>
                <a:lnTo>
                  <a:pt x="388" y="662"/>
                </a:lnTo>
                <a:close/>
                <a:moveTo>
                  <a:pt x="402" y="662"/>
                </a:moveTo>
                <a:cubicBezTo>
                  <a:pt x="419" y="662"/>
                  <a:pt x="419" y="662"/>
                  <a:pt x="419" y="662"/>
                </a:cubicBezTo>
                <a:cubicBezTo>
                  <a:pt x="419" y="662"/>
                  <a:pt x="419" y="663"/>
                  <a:pt x="419" y="663"/>
                </a:cubicBezTo>
                <a:cubicBezTo>
                  <a:pt x="427" y="678"/>
                  <a:pt x="433" y="692"/>
                  <a:pt x="449" y="692"/>
                </a:cubicBezTo>
                <a:cubicBezTo>
                  <a:pt x="452" y="692"/>
                  <a:pt x="455" y="691"/>
                  <a:pt x="458" y="691"/>
                </a:cubicBezTo>
                <a:cubicBezTo>
                  <a:pt x="470" y="687"/>
                  <a:pt x="491" y="675"/>
                  <a:pt x="505" y="665"/>
                </a:cubicBezTo>
                <a:cubicBezTo>
                  <a:pt x="506" y="664"/>
                  <a:pt x="508" y="663"/>
                  <a:pt x="509" y="662"/>
                </a:cubicBezTo>
                <a:cubicBezTo>
                  <a:pt x="529" y="662"/>
                  <a:pt x="529" y="662"/>
                  <a:pt x="529" y="662"/>
                </a:cubicBezTo>
                <a:cubicBezTo>
                  <a:pt x="496" y="732"/>
                  <a:pt x="450" y="774"/>
                  <a:pt x="402" y="777"/>
                </a:cubicBezTo>
                <a:lnTo>
                  <a:pt x="402" y="662"/>
                </a:lnTo>
                <a:close/>
                <a:moveTo>
                  <a:pt x="528" y="648"/>
                </a:moveTo>
                <a:cubicBezTo>
                  <a:pt x="539" y="638"/>
                  <a:pt x="539" y="634"/>
                  <a:pt x="539" y="632"/>
                </a:cubicBezTo>
                <a:cubicBezTo>
                  <a:pt x="539" y="628"/>
                  <a:pt x="545" y="617"/>
                  <a:pt x="552" y="605"/>
                </a:cubicBezTo>
                <a:cubicBezTo>
                  <a:pt x="547" y="621"/>
                  <a:pt x="541" y="635"/>
                  <a:pt x="536" y="648"/>
                </a:cubicBezTo>
                <a:lnTo>
                  <a:pt x="528" y="648"/>
                </a:lnTo>
                <a:close/>
                <a:moveTo>
                  <a:pt x="570" y="592"/>
                </a:moveTo>
                <a:cubicBezTo>
                  <a:pt x="575" y="588"/>
                  <a:pt x="579" y="584"/>
                  <a:pt x="582" y="579"/>
                </a:cubicBezTo>
                <a:cubicBezTo>
                  <a:pt x="584" y="573"/>
                  <a:pt x="584" y="567"/>
                  <a:pt x="581" y="561"/>
                </a:cubicBezTo>
                <a:cubicBezTo>
                  <a:pt x="577" y="554"/>
                  <a:pt x="576" y="544"/>
                  <a:pt x="579" y="533"/>
                </a:cubicBezTo>
                <a:cubicBezTo>
                  <a:pt x="752" y="533"/>
                  <a:pt x="752" y="533"/>
                  <a:pt x="752" y="533"/>
                </a:cubicBezTo>
                <a:cubicBezTo>
                  <a:pt x="735" y="575"/>
                  <a:pt x="711" y="614"/>
                  <a:pt x="682" y="648"/>
                </a:cubicBezTo>
                <a:cubicBezTo>
                  <a:pt x="551" y="648"/>
                  <a:pt x="551" y="648"/>
                  <a:pt x="551" y="648"/>
                </a:cubicBezTo>
                <a:cubicBezTo>
                  <a:pt x="558" y="631"/>
                  <a:pt x="565" y="612"/>
                  <a:pt x="570" y="592"/>
                </a:cubicBezTo>
                <a:close/>
                <a:moveTo>
                  <a:pt x="175" y="708"/>
                </a:moveTo>
                <a:cubicBezTo>
                  <a:pt x="164" y="691"/>
                  <a:pt x="155" y="676"/>
                  <a:pt x="149" y="662"/>
                </a:cubicBezTo>
                <a:cubicBezTo>
                  <a:pt x="246" y="662"/>
                  <a:pt x="246" y="662"/>
                  <a:pt x="246" y="662"/>
                </a:cubicBezTo>
                <a:cubicBezTo>
                  <a:pt x="248" y="666"/>
                  <a:pt x="250" y="670"/>
                  <a:pt x="252" y="674"/>
                </a:cubicBezTo>
                <a:cubicBezTo>
                  <a:pt x="275" y="720"/>
                  <a:pt x="302" y="753"/>
                  <a:pt x="333" y="772"/>
                </a:cubicBezTo>
                <a:cubicBezTo>
                  <a:pt x="275" y="763"/>
                  <a:pt x="221" y="740"/>
                  <a:pt x="175" y="708"/>
                </a:cubicBezTo>
                <a:close/>
                <a:moveTo>
                  <a:pt x="457" y="773"/>
                </a:moveTo>
                <a:cubicBezTo>
                  <a:pt x="491" y="751"/>
                  <a:pt x="521" y="713"/>
                  <a:pt x="545" y="662"/>
                </a:cubicBezTo>
                <a:cubicBezTo>
                  <a:pt x="669" y="662"/>
                  <a:pt x="669" y="662"/>
                  <a:pt x="669" y="662"/>
                </a:cubicBezTo>
                <a:cubicBezTo>
                  <a:pt x="613" y="719"/>
                  <a:pt x="539" y="759"/>
                  <a:pt x="457" y="773"/>
                </a:cubicBez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9245" name="Oval 67"/>
          <p:cNvSpPr>
            <a:spLocks noChangeArrowheads="1"/>
          </p:cNvSpPr>
          <p:nvPr/>
        </p:nvSpPr>
        <p:spPr bwMode="auto">
          <a:xfrm>
            <a:off x="4831649" y="3120088"/>
            <a:ext cx="1119124" cy="1119124"/>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9274" name="Freeform 141"/>
          <p:cNvSpPr>
            <a:spLocks noEditPoints="1"/>
          </p:cNvSpPr>
          <p:nvPr/>
        </p:nvSpPr>
        <p:spPr bwMode="auto">
          <a:xfrm>
            <a:off x="4975190" y="3262566"/>
            <a:ext cx="833261" cy="835385"/>
          </a:xfrm>
          <a:custGeom>
            <a:avLst/>
            <a:gdLst>
              <a:gd name="T0" fmla="*/ 472 w 792"/>
              <a:gd name="T1" fmla="*/ 296 h 792"/>
              <a:gd name="T2" fmla="*/ 690 w 792"/>
              <a:gd name="T3" fmla="*/ 661 h 792"/>
              <a:gd name="T4" fmla="*/ 100 w 792"/>
              <a:gd name="T5" fmla="*/ 658 h 792"/>
              <a:gd name="T6" fmla="*/ 100 w 792"/>
              <a:gd name="T7" fmla="*/ 133 h 792"/>
              <a:gd name="T8" fmla="*/ 287 w 792"/>
              <a:gd name="T9" fmla="*/ 16 h 792"/>
              <a:gd name="T10" fmla="*/ 326 w 792"/>
              <a:gd name="T11" fmla="*/ 7 h 792"/>
              <a:gd name="T12" fmla="*/ 369 w 792"/>
              <a:gd name="T13" fmla="*/ 1 h 792"/>
              <a:gd name="T14" fmla="*/ 430 w 792"/>
              <a:gd name="T15" fmla="*/ 2 h 792"/>
              <a:gd name="T16" fmla="*/ 480 w 792"/>
              <a:gd name="T17" fmla="*/ 9 h 792"/>
              <a:gd name="T18" fmla="*/ 529 w 792"/>
              <a:gd name="T19" fmla="*/ 23 h 792"/>
              <a:gd name="T20" fmla="*/ 769 w 792"/>
              <a:gd name="T21" fmla="*/ 265 h 792"/>
              <a:gd name="T22" fmla="*/ 110 w 792"/>
              <a:gd name="T23" fmla="*/ 648 h 792"/>
              <a:gd name="T24" fmla="*/ 195 w 792"/>
              <a:gd name="T25" fmla="*/ 389 h 792"/>
              <a:gd name="T26" fmla="*/ 218 w 792"/>
              <a:gd name="T27" fmla="*/ 210 h 792"/>
              <a:gd name="T28" fmla="*/ 232 w 792"/>
              <a:gd name="T29" fmla="*/ 67 h 792"/>
              <a:gd name="T30" fmla="*/ 272 w 792"/>
              <a:gd name="T31" fmla="*/ 286 h 792"/>
              <a:gd name="T32" fmla="*/ 439 w 792"/>
              <a:gd name="T33" fmla="*/ 379 h 792"/>
              <a:gd name="T34" fmla="*/ 326 w 792"/>
              <a:gd name="T35" fmla="*/ 312 h 792"/>
              <a:gd name="T36" fmla="*/ 399 w 792"/>
              <a:gd name="T37" fmla="*/ 241 h 792"/>
              <a:gd name="T38" fmla="*/ 452 w 792"/>
              <a:gd name="T39" fmla="*/ 200 h 792"/>
              <a:gd name="T40" fmla="*/ 422 w 792"/>
              <a:gd name="T41" fmla="*/ 110 h 792"/>
              <a:gd name="T42" fmla="*/ 487 w 792"/>
              <a:gd name="T43" fmla="*/ 48 h 792"/>
              <a:gd name="T44" fmla="*/ 521 w 792"/>
              <a:gd name="T45" fmla="*/ 35 h 792"/>
              <a:gd name="T46" fmla="*/ 475 w 792"/>
              <a:gd name="T47" fmla="*/ 23 h 792"/>
              <a:gd name="T48" fmla="*/ 428 w 792"/>
              <a:gd name="T49" fmla="*/ 16 h 792"/>
              <a:gd name="T50" fmla="*/ 374 w 792"/>
              <a:gd name="T51" fmla="*/ 15 h 792"/>
              <a:gd name="T52" fmla="*/ 341 w 792"/>
              <a:gd name="T53" fmla="*/ 18 h 792"/>
              <a:gd name="T54" fmla="*/ 308 w 792"/>
              <a:gd name="T55" fmla="*/ 24 h 792"/>
              <a:gd name="T56" fmla="*/ 585 w 792"/>
              <a:gd name="T57" fmla="*/ 259 h 792"/>
              <a:gd name="T58" fmla="*/ 719 w 792"/>
              <a:gd name="T59" fmla="*/ 460 h 792"/>
              <a:gd name="T60" fmla="*/ 403 w 792"/>
              <a:gd name="T61" fmla="*/ 519 h 792"/>
              <a:gd name="T62" fmla="*/ 482 w 792"/>
              <a:gd name="T63" fmla="*/ 533 h 792"/>
              <a:gd name="T64" fmla="*/ 221 w 792"/>
              <a:gd name="T65" fmla="*/ 259 h 792"/>
              <a:gd name="T66" fmla="*/ 389 w 792"/>
              <a:gd name="T67" fmla="*/ 366 h 792"/>
              <a:gd name="T68" fmla="*/ 219 w 792"/>
              <a:gd name="T69" fmla="*/ 273 h 792"/>
              <a:gd name="T70" fmla="*/ 423 w 792"/>
              <a:gd name="T71" fmla="*/ 389 h 792"/>
              <a:gd name="T72" fmla="*/ 495 w 792"/>
              <a:gd name="T73" fmla="*/ 373 h 792"/>
              <a:gd name="T74" fmla="*/ 457 w 792"/>
              <a:gd name="T75" fmla="*/ 273 h 792"/>
              <a:gd name="T76" fmla="*/ 403 w 792"/>
              <a:gd name="T77" fmla="*/ 303 h 792"/>
              <a:gd name="T78" fmla="*/ 403 w 792"/>
              <a:gd name="T79" fmla="*/ 259 h 792"/>
              <a:gd name="T80" fmla="*/ 359 w 792"/>
              <a:gd name="T81" fmla="*/ 259 h 792"/>
              <a:gd name="T82" fmla="*/ 389 w 792"/>
              <a:gd name="T83" fmla="*/ 306 h 792"/>
              <a:gd name="T84" fmla="*/ 587 w 792"/>
              <a:gd name="T85" fmla="*/ 273 h 792"/>
              <a:gd name="T86" fmla="*/ 464 w 792"/>
              <a:gd name="T87" fmla="*/ 207 h 792"/>
              <a:gd name="T88" fmla="*/ 389 w 792"/>
              <a:gd name="T89" fmla="*/ 76 h 792"/>
              <a:gd name="T90" fmla="*/ 436 w 792"/>
              <a:gd name="T91" fmla="*/ 90 h 792"/>
              <a:gd name="T92" fmla="*/ 403 w 792"/>
              <a:gd name="T93" fmla="*/ 67 h 792"/>
              <a:gd name="T94" fmla="*/ 14 w 792"/>
              <a:gd name="T95" fmla="*/ 403 h 792"/>
              <a:gd name="T96" fmla="*/ 262 w 792"/>
              <a:gd name="T97" fmla="*/ 662 h 792"/>
              <a:gd name="T98" fmla="*/ 446 w 792"/>
              <a:gd name="T99" fmla="*/ 734 h 792"/>
              <a:gd name="T100" fmla="*/ 674 w 792"/>
              <a:gd name="T101" fmla="*/ 536 h 792"/>
              <a:gd name="T102" fmla="*/ 560 w 792"/>
              <a:gd name="T103" fmla="*/ 383 h 792"/>
              <a:gd name="T104" fmla="*/ 483 w 792"/>
              <a:gd name="T105" fmla="*/ 392 h 792"/>
              <a:gd name="T106" fmla="*/ 490 w 792"/>
              <a:gd name="T107" fmla="*/ 521 h 792"/>
              <a:gd name="T108" fmla="*/ 470 w 792"/>
              <a:gd name="T109" fmla="*/ 741 h 792"/>
              <a:gd name="T110" fmla="*/ 682 w 792"/>
              <a:gd name="T111" fmla="*/ 648 h 792"/>
              <a:gd name="T112" fmla="*/ 542 w 792"/>
              <a:gd name="T113" fmla="*/ 79 h 792"/>
              <a:gd name="T114" fmla="*/ 123 w 792"/>
              <a:gd name="T115" fmla="*/ 130 h 792"/>
              <a:gd name="T116" fmla="*/ 333 w 792"/>
              <a:gd name="T117" fmla="*/ 772 h 792"/>
              <a:gd name="T118" fmla="*/ 560 w 792"/>
              <a:gd name="T119" fmla="*/ 662 h 7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92" h="792">
                <a:moveTo>
                  <a:pt x="516" y="332"/>
                </a:moveTo>
                <a:cubicBezTo>
                  <a:pt x="508" y="328"/>
                  <a:pt x="499" y="323"/>
                  <a:pt x="493" y="321"/>
                </a:cubicBezTo>
                <a:cubicBezTo>
                  <a:pt x="487" y="319"/>
                  <a:pt x="482" y="317"/>
                  <a:pt x="477" y="316"/>
                </a:cubicBezTo>
                <a:cubicBezTo>
                  <a:pt x="464" y="312"/>
                  <a:pt x="459" y="310"/>
                  <a:pt x="459" y="304"/>
                </a:cubicBezTo>
                <a:cubicBezTo>
                  <a:pt x="459" y="301"/>
                  <a:pt x="460" y="298"/>
                  <a:pt x="465" y="297"/>
                </a:cubicBezTo>
                <a:cubicBezTo>
                  <a:pt x="466" y="296"/>
                  <a:pt x="469" y="296"/>
                  <a:pt x="472" y="296"/>
                </a:cubicBezTo>
                <a:cubicBezTo>
                  <a:pt x="489" y="296"/>
                  <a:pt x="535" y="306"/>
                  <a:pt x="543" y="331"/>
                </a:cubicBezTo>
                <a:cubicBezTo>
                  <a:pt x="544" y="333"/>
                  <a:pt x="543" y="336"/>
                  <a:pt x="542" y="337"/>
                </a:cubicBezTo>
                <a:cubicBezTo>
                  <a:pt x="541" y="339"/>
                  <a:pt x="538" y="340"/>
                  <a:pt x="536" y="340"/>
                </a:cubicBezTo>
                <a:cubicBezTo>
                  <a:pt x="536" y="340"/>
                  <a:pt x="536" y="340"/>
                  <a:pt x="536" y="340"/>
                </a:cubicBezTo>
                <a:cubicBezTo>
                  <a:pt x="533" y="340"/>
                  <a:pt x="529" y="339"/>
                  <a:pt x="516" y="332"/>
                </a:cubicBezTo>
                <a:close/>
                <a:moveTo>
                  <a:pt x="690" y="661"/>
                </a:moveTo>
                <a:cubicBezTo>
                  <a:pt x="617" y="741"/>
                  <a:pt x="512" y="792"/>
                  <a:pt x="396" y="792"/>
                </a:cubicBezTo>
                <a:cubicBezTo>
                  <a:pt x="396" y="792"/>
                  <a:pt x="396" y="792"/>
                  <a:pt x="396" y="792"/>
                </a:cubicBezTo>
                <a:cubicBezTo>
                  <a:pt x="396" y="792"/>
                  <a:pt x="396" y="792"/>
                  <a:pt x="396" y="792"/>
                </a:cubicBezTo>
                <a:cubicBezTo>
                  <a:pt x="396" y="792"/>
                  <a:pt x="396" y="792"/>
                  <a:pt x="396" y="792"/>
                </a:cubicBezTo>
                <a:cubicBezTo>
                  <a:pt x="279" y="792"/>
                  <a:pt x="175" y="741"/>
                  <a:pt x="102" y="661"/>
                </a:cubicBezTo>
                <a:cubicBezTo>
                  <a:pt x="101" y="660"/>
                  <a:pt x="101" y="659"/>
                  <a:pt x="100" y="658"/>
                </a:cubicBezTo>
                <a:cubicBezTo>
                  <a:pt x="67" y="621"/>
                  <a:pt x="40" y="577"/>
                  <a:pt x="23" y="529"/>
                </a:cubicBezTo>
                <a:cubicBezTo>
                  <a:pt x="23" y="528"/>
                  <a:pt x="23" y="527"/>
                  <a:pt x="22" y="527"/>
                </a:cubicBezTo>
                <a:cubicBezTo>
                  <a:pt x="8" y="486"/>
                  <a:pt x="0" y="442"/>
                  <a:pt x="0" y="396"/>
                </a:cubicBezTo>
                <a:cubicBezTo>
                  <a:pt x="0" y="350"/>
                  <a:pt x="8" y="306"/>
                  <a:pt x="22" y="265"/>
                </a:cubicBezTo>
                <a:cubicBezTo>
                  <a:pt x="23" y="264"/>
                  <a:pt x="23" y="264"/>
                  <a:pt x="23" y="263"/>
                </a:cubicBezTo>
                <a:cubicBezTo>
                  <a:pt x="40" y="215"/>
                  <a:pt x="67" y="171"/>
                  <a:pt x="100" y="133"/>
                </a:cubicBezTo>
                <a:cubicBezTo>
                  <a:pt x="101" y="133"/>
                  <a:pt x="101" y="132"/>
                  <a:pt x="102" y="131"/>
                </a:cubicBezTo>
                <a:cubicBezTo>
                  <a:pt x="125" y="105"/>
                  <a:pt x="152" y="83"/>
                  <a:pt x="181" y="64"/>
                </a:cubicBezTo>
                <a:cubicBezTo>
                  <a:pt x="181" y="64"/>
                  <a:pt x="182" y="63"/>
                  <a:pt x="182" y="63"/>
                </a:cubicBezTo>
                <a:cubicBezTo>
                  <a:pt x="212" y="44"/>
                  <a:pt x="244" y="29"/>
                  <a:pt x="277" y="19"/>
                </a:cubicBezTo>
                <a:cubicBezTo>
                  <a:pt x="278" y="18"/>
                  <a:pt x="279" y="18"/>
                  <a:pt x="280" y="18"/>
                </a:cubicBezTo>
                <a:cubicBezTo>
                  <a:pt x="282" y="17"/>
                  <a:pt x="285" y="16"/>
                  <a:pt x="287" y="16"/>
                </a:cubicBezTo>
                <a:cubicBezTo>
                  <a:pt x="289" y="15"/>
                  <a:pt x="291" y="15"/>
                  <a:pt x="292" y="14"/>
                </a:cubicBezTo>
                <a:cubicBezTo>
                  <a:pt x="295" y="13"/>
                  <a:pt x="299" y="12"/>
                  <a:pt x="302" y="12"/>
                </a:cubicBezTo>
                <a:cubicBezTo>
                  <a:pt x="304" y="11"/>
                  <a:pt x="307" y="10"/>
                  <a:pt x="309" y="10"/>
                </a:cubicBezTo>
                <a:cubicBezTo>
                  <a:pt x="311" y="10"/>
                  <a:pt x="312" y="9"/>
                  <a:pt x="314" y="9"/>
                </a:cubicBezTo>
                <a:cubicBezTo>
                  <a:pt x="317" y="8"/>
                  <a:pt x="320" y="8"/>
                  <a:pt x="323" y="7"/>
                </a:cubicBezTo>
                <a:cubicBezTo>
                  <a:pt x="324" y="7"/>
                  <a:pt x="325" y="7"/>
                  <a:pt x="326" y="7"/>
                </a:cubicBezTo>
                <a:cubicBezTo>
                  <a:pt x="330" y="6"/>
                  <a:pt x="334" y="5"/>
                  <a:pt x="338" y="5"/>
                </a:cubicBezTo>
                <a:cubicBezTo>
                  <a:pt x="339" y="4"/>
                  <a:pt x="340" y="4"/>
                  <a:pt x="341" y="4"/>
                </a:cubicBezTo>
                <a:cubicBezTo>
                  <a:pt x="345" y="4"/>
                  <a:pt x="348" y="3"/>
                  <a:pt x="351" y="3"/>
                </a:cubicBezTo>
                <a:cubicBezTo>
                  <a:pt x="352" y="3"/>
                  <a:pt x="353" y="3"/>
                  <a:pt x="354" y="3"/>
                </a:cubicBezTo>
                <a:cubicBezTo>
                  <a:pt x="358" y="2"/>
                  <a:pt x="362" y="2"/>
                  <a:pt x="367" y="1"/>
                </a:cubicBezTo>
                <a:cubicBezTo>
                  <a:pt x="368" y="1"/>
                  <a:pt x="368" y="1"/>
                  <a:pt x="369" y="1"/>
                </a:cubicBezTo>
                <a:cubicBezTo>
                  <a:pt x="373" y="1"/>
                  <a:pt x="376" y="1"/>
                  <a:pt x="380" y="1"/>
                </a:cubicBezTo>
                <a:cubicBezTo>
                  <a:pt x="381" y="1"/>
                  <a:pt x="382" y="1"/>
                  <a:pt x="383" y="1"/>
                </a:cubicBezTo>
                <a:cubicBezTo>
                  <a:pt x="387" y="0"/>
                  <a:pt x="392" y="0"/>
                  <a:pt x="396" y="0"/>
                </a:cubicBezTo>
                <a:cubicBezTo>
                  <a:pt x="401" y="0"/>
                  <a:pt x="407" y="0"/>
                  <a:pt x="412" y="1"/>
                </a:cubicBezTo>
                <a:cubicBezTo>
                  <a:pt x="413" y="1"/>
                  <a:pt x="414" y="1"/>
                  <a:pt x="415" y="1"/>
                </a:cubicBezTo>
                <a:cubicBezTo>
                  <a:pt x="420" y="1"/>
                  <a:pt x="425" y="1"/>
                  <a:pt x="430" y="2"/>
                </a:cubicBezTo>
                <a:cubicBezTo>
                  <a:pt x="431" y="2"/>
                  <a:pt x="432" y="2"/>
                  <a:pt x="433" y="2"/>
                </a:cubicBezTo>
                <a:cubicBezTo>
                  <a:pt x="438" y="3"/>
                  <a:pt x="443" y="3"/>
                  <a:pt x="447" y="4"/>
                </a:cubicBezTo>
                <a:cubicBezTo>
                  <a:pt x="449" y="4"/>
                  <a:pt x="450" y="4"/>
                  <a:pt x="451" y="4"/>
                </a:cubicBezTo>
                <a:cubicBezTo>
                  <a:pt x="456" y="5"/>
                  <a:pt x="460" y="6"/>
                  <a:pt x="464" y="6"/>
                </a:cubicBezTo>
                <a:cubicBezTo>
                  <a:pt x="466" y="7"/>
                  <a:pt x="468" y="7"/>
                  <a:pt x="469" y="7"/>
                </a:cubicBezTo>
                <a:cubicBezTo>
                  <a:pt x="473" y="8"/>
                  <a:pt x="477" y="9"/>
                  <a:pt x="480" y="9"/>
                </a:cubicBezTo>
                <a:cubicBezTo>
                  <a:pt x="482" y="10"/>
                  <a:pt x="484" y="10"/>
                  <a:pt x="485" y="11"/>
                </a:cubicBezTo>
                <a:cubicBezTo>
                  <a:pt x="489" y="11"/>
                  <a:pt x="493" y="12"/>
                  <a:pt x="497" y="13"/>
                </a:cubicBezTo>
                <a:cubicBezTo>
                  <a:pt x="499" y="14"/>
                  <a:pt x="501" y="15"/>
                  <a:pt x="503" y="15"/>
                </a:cubicBezTo>
                <a:cubicBezTo>
                  <a:pt x="507" y="16"/>
                  <a:pt x="511" y="17"/>
                  <a:pt x="514" y="18"/>
                </a:cubicBezTo>
                <a:cubicBezTo>
                  <a:pt x="517" y="19"/>
                  <a:pt x="519" y="20"/>
                  <a:pt x="521" y="21"/>
                </a:cubicBezTo>
                <a:cubicBezTo>
                  <a:pt x="524" y="22"/>
                  <a:pt x="527" y="23"/>
                  <a:pt x="529" y="23"/>
                </a:cubicBezTo>
                <a:cubicBezTo>
                  <a:pt x="531" y="24"/>
                  <a:pt x="533" y="25"/>
                  <a:pt x="534" y="25"/>
                </a:cubicBezTo>
                <a:cubicBezTo>
                  <a:pt x="535" y="25"/>
                  <a:pt x="535" y="25"/>
                  <a:pt x="535" y="26"/>
                </a:cubicBezTo>
                <a:cubicBezTo>
                  <a:pt x="595" y="48"/>
                  <a:pt x="648" y="85"/>
                  <a:pt x="690" y="131"/>
                </a:cubicBezTo>
                <a:cubicBezTo>
                  <a:pt x="690" y="132"/>
                  <a:pt x="691" y="133"/>
                  <a:pt x="692" y="133"/>
                </a:cubicBezTo>
                <a:cubicBezTo>
                  <a:pt x="725" y="171"/>
                  <a:pt x="751" y="215"/>
                  <a:pt x="769" y="263"/>
                </a:cubicBezTo>
                <a:cubicBezTo>
                  <a:pt x="769" y="264"/>
                  <a:pt x="769" y="264"/>
                  <a:pt x="769" y="265"/>
                </a:cubicBezTo>
                <a:cubicBezTo>
                  <a:pt x="784" y="306"/>
                  <a:pt x="792" y="350"/>
                  <a:pt x="792" y="396"/>
                </a:cubicBezTo>
                <a:cubicBezTo>
                  <a:pt x="792" y="442"/>
                  <a:pt x="784" y="486"/>
                  <a:pt x="769" y="527"/>
                </a:cubicBezTo>
                <a:cubicBezTo>
                  <a:pt x="769" y="527"/>
                  <a:pt x="769" y="528"/>
                  <a:pt x="769" y="529"/>
                </a:cubicBezTo>
                <a:cubicBezTo>
                  <a:pt x="751" y="577"/>
                  <a:pt x="725" y="621"/>
                  <a:pt x="692" y="659"/>
                </a:cubicBezTo>
                <a:cubicBezTo>
                  <a:pt x="691" y="659"/>
                  <a:pt x="690" y="660"/>
                  <a:pt x="690" y="661"/>
                </a:cubicBezTo>
                <a:close/>
                <a:moveTo>
                  <a:pt x="110" y="648"/>
                </a:moveTo>
                <a:cubicBezTo>
                  <a:pt x="240" y="648"/>
                  <a:pt x="240" y="648"/>
                  <a:pt x="240" y="648"/>
                </a:cubicBezTo>
                <a:cubicBezTo>
                  <a:pt x="226" y="613"/>
                  <a:pt x="214" y="574"/>
                  <a:pt x="207" y="533"/>
                </a:cubicBezTo>
                <a:cubicBezTo>
                  <a:pt x="39" y="533"/>
                  <a:pt x="39" y="533"/>
                  <a:pt x="39" y="533"/>
                </a:cubicBezTo>
                <a:cubicBezTo>
                  <a:pt x="56" y="575"/>
                  <a:pt x="80" y="614"/>
                  <a:pt x="110" y="648"/>
                </a:cubicBezTo>
                <a:close/>
                <a:moveTo>
                  <a:pt x="14" y="389"/>
                </a:moveTo>
                <a:cubicBezTo>
                  <a:pt x="195" y="389"/>
                  <a:pt x="195" y="389"/>
                  <a:pt x="195" y="389"/>
                </a:cubicBezTo>
                <a:cubicBezTo>
                  <a:pt x="195" y="350"/>
                  <a:pt x="198" y="311"/>
                  <a:pt x="204" y="273"/>
                </a:cubicBezTo>
                <a:cubicBezTo>
                  <a:pt x="34" y="273"/>
                  <a:pt x="34" y="273"/>
                  <a:pt x="34" y="273"/>
                </a:cubicBezTo>
                <a:cubicBezTo>
                  <a:pt x="22" y="310"/>
                  <a:pt x="15" y="349"/>
                  <a:pt x="14" y="389"/>
                </a:cubicBezTo>
                <a:close/>
                <a:moveTo>
                  <a:pt x="39" y="259"/>
                </a:moveTo>
                <a:cubicBezTo>
                  <a:pt x="207" y="259"/>
                  <a:pt x="207" y="259"/>
                  <a:pt x="207" y="259"/>
                </a:cubicBezTo>
                <a:cubicBezTo>
                  <a:pt x="210" y="242"/>
                  <a:pt x="214" y="226"/>
                  <a:pt x="218" y="210"/>
                </a:cubicBezTo>
                <a:cubicBezTo>
                  <a:pt x="215" y="185"/>
                  <a:pt x="216" y="161"/>
                  <a:pt x="219" y="150"/>
                </a:cubicBezTo>
                <a:cubicBezTo>
                  <a:pt x="219" y="148"/>
                  <a:pt x="220" y="146"/>
                  <a:pt x="220" y="144"/>
                </a:cubicBezTo>
                <a:cubicBezTo>
                  <a:pt x="110" y="144"/>
                  <a:pt x="110" y="144"/>
                  <a:pt x="110" y="144"/>
                </a:cubicBezTo>
                <a:cubicBezTo>
                  <a:pt x="80" y="178"/>
                  <a:pt x="56" y="217"/>
                  <a:pt x="39" y="259"/>
                </a:cubicBezTo>
                <a:close/>
                <a:moveTo>
                  <a:pt x="220" y="57"/>
                </a:moveTo>
                <a:cubicBezTo>
                  <a:pt x="227" y="59"/>
                  <a:pt x="231" y="63"/>
                  <a:pt x="232" y="67"/>
                </a:cubicBezTo>
                <a:cubicBezTo>
                  <a:pt x="242" y="91"/>
                  <a:pt x="238" y="132"/>
                  <a:pt x="232" y="153"/>
                </a:cubicBezTo>
                <a:cubicBezTo>
                  <a:pt x="230" y="165"/>
                  <a:pt x="229" y="188"/>
                  <a:pt x="232" y="210"/>
                </a:cubicBezTo>
                <a:cubicBezTo>
                  <a:pt x="232" y="210"/>
                  <a:pt x="232" y="210"/>
                  <a:pt x="232" y="210"/>
                </a:cubicBezTo>
                <a:cubicBezTo>
                  <a:pt x="234" y="231"/>
                  <a:pt x="239" y="250"/>
                  <a:pt x="246" y="260"/>
                </a:cubicBezTo>
                <a:cubicBezTo>
                  <a:pt x="249" y="260"/>
                  <a:pt x="251" y="262"/>
                  <a:pt x="252" y="265"/>
                </a:cubicBezTo>
                <a:cubicBezTo>
                  <a:pt x="259" y="271"/>
                  <a:pt x="265" y="278"/>
                  <a:pt x="272" y="286"/>
                </a:cubicBezTo>
                <a:cubicBezTo>
                  <a:pt x="285" y="301"/>
                  <a:pt x="298" y="317"/>
                  <a:pt x="322" y="326"/>
                </a:cubicBezTo>
                <a:cubicBezTo>
                  <a:pt x="330" y="329"/>
                  <a:pt x="337" y="332"/>
                  <a:pt x="345" y="334"/>
                </a:cubicBezTo>
                <a:cubicBezTo>
                  <a:pt x="364" y="341"/>
                  <a:pt x="383" y="348"/>
                  <a:pt x="398" y="355"/>
                </a:cubicBezTo>
                <a:cubicBezTo>
                  <a:pt x="399" y="355"/>
                  <a:pt x="399" y="355"/>
                  <a:pt x="399" y="356"/>
                </a:cubicBezTo>
                <a:cubicBezTo>
                  <a:pt x="412" y="362"/>
                  <a:pt x="422" y="368"/>
                  <a:pt x="427" y="374"/>
                </a:cubicBezTo>
                <a:cubicBezTo>
                  <a:pt x="429" y="377"/>
                  <a:pt x="433" y="378"/>
                  <a:pt x="439" y="379"/>
                </a:cubicBezTo>
                <a:cubicBezTo>
                  <a:pt x="434" y="377"/>
                  <a:pt x="432" y="373"/>
                  <a:pt x="431" y="368"/>
                </a:cubicBezTo>
                <a:cubicBezTo>
                  <a:pt x="431" y="363"/>
                  <a:pt x="415" y="340"/>
                  <a:pt x="409" y="330"/>
                </a:cubicBezTo>
                <a:cubicBezTo>
                  <a:pt x="405" y="324"/>
                  <a:pt x="402" y="320"/>
                  <a:pt x="400" y="318"/>
                </a:cubicBezTo>
                <a:cubicBezTo>
                  <a:pt x="397" y="318"/>
                  <a:pt x="392" y="320"/>
                  <a:pt x="387" y="321"/>
                </a:cubicBezTo>
                <a:cubicBezTo>
                  <a:pt x="375" y="325"/>
                  <a:pt x="361" y="329"/>
                  <a:pt x="349" y="329"/>
                </a:cubicBezTo>
                <a:cubicBezTo>
                  <a:pt x="331" y="329"/>
                  <a:pt x="327" y="319"/>
                  <a:pt x="326" y="312"/>
                </a:cubicBezTo>
                <a:cubicBezTo>
                  <a:pt x="324" y="297"/>
                  <a:pt x="329" y="278"/>
                  <a:pt x="339" y="263"/>
                </a:cubicBezTo>
                <a:cubicBezTo>
                  <a:pt x="339" y="263"/>
                  <a:pt x="339" y="262"/>
                  <a:pt x="339" y="262"/>
                </a:cubicBezTo>
                <a:cubicBezTo>
                  <a:pt x="341" y="259"/>
                  <a:pt x="343" y="256"/>
                  <a:pt x="345" y="254"/>
                </a:cubicBezTo>
                <a:cubicBezTo>
                  <a:pt x="358" y="239"/>
                  <a:pt x="373" y="234"/>
                  <a:pt x="389" y="238"/>
                </a:cubicBezTo>
                <a:cubicBezTo>
                  <a:pt x="392" y="238"/>
                  <a:pt x="395" y="239"/>
                  <a:pt x="398" y="240"/>
                </a:cubicBezTo>
                <a:cubicBezTo>
                  <a:pt x="398" y="241"/>
                  <a:pt x="399" y="241"/>
                  <a:pt x="399" y="241"/>
                </a:cubicBezTo>
                <a:cubicBezTo>
                  <a:pt x="414" y="247"/>
                  <a:pt x="426" y="256"/>
                  <a:pt x="435" y="263"/>
                </a:cubicBezTo>
                <a:cubicBezTo>
                  <a:pt x="437" y="264"/>
                  <a:pt x="440" y="266"/>
                  <a:pt x="442" y="267"/>
                </a:cubicBezTo>
                <a:cubicBezTo>
                  <a:pt x="440" y="263"/>
                  <a:pt x="437" y="258"/>
                  <a:pt x="435" y="254"/>
                </a:cubicBezTo>
                <a:cubicBezTo>
                  <a:pt x="429" y="242"/>
                  <a:pt x="425" y="233"/>
                  <a:pt x="428" y="227"/>
                </a:cubicBezTo>
                <a:cubicBezTo>
                  <a:pt x="429" y="225"/>
                  <a:pt x="432" y="222"/>
                  <a:pt x="436" y="222"/>
                </a:cubicBezTo>
                <a:cubicBezTo>
                  <a:pt x="440" y="220"/>
                  <a:pt x="447" y="208"/>
                  <a:pt x="452" y="200"/>
                </a:cubicBezTo>
                <a:cubicBezTo>
                  <a:pt x="462" y="182"/>
                  <a:pt x="473" y="164"/>
                  <a:pt x="487" y="159"/>
                </a:cubicBezTo>
                <a:cubicBezTo>
                  <a:pt x="496" y="156"/>
                  <a:pt x="519" y="149"/>
                  <a:pt x="522" y="139"/>
                </a:cubicBezTo>
                <a:cubicBezTo>
                  <a:pt x="523" y="136"/>
                  <a:pt x="521" y="132"/>
                  <a:pt x="518" y="127"/>
                </a:cubicBezTo>
                <a:cubicBezTo>
                  <a:pt x="504" y="110"/>
                  <a:pt x="472" y="87"/>
                  <a:pt x="456" y="87"/>
                </a:cubicBezTo>
                <a:cubicBezTo>
                  <a:pt x="452" y="87"/>
                  <a:pt x="450" y="88"/>
                  <a:pt x="450" y="93"/>
                </a:cubicBezTo>
                <a:cubicBezTo>
                  <a:pt x="447" y="104"/>
                  <a:pt x="437" y="110"/>
                  <a:pt x="422" y="110"/>
                </a:cubicBezTo>
                <a:cubicBezTo>
                  <a:pt x="404" y="110"/>
                  <a:pt x="375" y="100"/>
                  <a:pt x="371" y="84"/>
                </a:cubicBezTo>
                <a:cubicBezTo>
                  <a:pt x="370" y="79"/>
                  <a:pt x="370" y="70"/>
                  <a:pt x="383" y="63"/>
                </a:cubicBezTo>
                <a:cubicBezTo>
                  <a:pt x="388" y="60"/>
                  <a:pt x="392" y="57"/>
                  <a:pt x="397" y="55"/>
                </a:cubicBezTo>
                <a:cubicBezTo>
                  <a:pt x="415" y="44"/>
                  <a:pt x="428" y="36"/>
                  <a:pt x="445" y="36"/>
                </a:cubicBezTo>
                <a:cubicBezTo>
                  <a:pt x="451" y="36"/>
                  <a:pt x="458" y="38"/>
                  <a:pt x="467" y="40"/>
                </a:cubicBezTo>
                <a:cubicBezTo>
                  <a:pt x="473" y="42"/>
                  <a:pt x="480" y="45"/>
                  <a:pt x="487" y="48"/>
                </a:cubicBezTo>
                <a:cubicBezTo>
                  <a:pt x="489" y="47"/>
                  <a:pt x="492" y="47"/>
                  <a:pt x="494" y="49"/>
                </a:cubicBezTo>
                <a:cubicBezTo>
                  <a:pt x="494" y="50"/>
                  <a:pt x="495" y="51"/>
                  <a:pt x="496" y="52"/>
                </a:cubicBezTo>
                <a:cubicBezTo>
                  <a:pt x="499" y="54"/>
                  <a:pt x="503" y="55"/>
                  <a:pt x="507" y="57"/>
                </a:cubicBezTo>
                <a:cubicBezTo>
                  <a:pt x="517" y="62"/>
                  <a:pt x="527" y="67"/>
                  <a:pt x="532" y="68"/>
                </a:cubicBezTo>
                <a:cubicBezTo>
                  <a:pt x="533" y="63"/>
                  <a:pt x="531" y="51"/>
                  <a:pt x="526" y="37"/>
                </a:cubicBezTo>
                <a:cubicBezTo>
                  <a:pt x="525" y="37"/>
                  <a:pt x="523" y="36"/>
                  <a:pt x="521" y="35"/>
                </a:cubicBezTo>
                <a:cubicBezTo>
                  <a:pt x="519" y="35"/>
                  <a:pt x="517" y="34"/>
                  <a:pt x="516" y="34"/>
                </a:cubicBezTo>
                <a:cubicBezTo>
                  <a:pt x="512" y="33"/>
                  <a:pt x="509" y="32"/>
                  <a:pt x="506" y="31"/>
                </a:cubicBezTo>
                <a:cubicBezTo>
                  <a:pt x="503" y="30"/>
                  <a:pt x="501" y="29"/>
                  <a:pt x="498" y="28"/>
                </a:cubicBezTo>
                <a:cubicBezTo>
                  <a:pt x="496" y="28"/>
                  <a:pt x="494" y="27"/>
                  <a:pt x="492" y="27"/>
                </a:cubicBezTo>
                <a:cubicBezTo>
                  <a:pt x="488" y="26"/>
                  <a:pt x="485" y="25"/>
                  <a:pt x="481" y="24"/>
                </a:cubicBezTo>
                <a:cubicBezTo>
                  <a:pt x="479" y="23"/>
                  <a:pt x="477" y="23"/>
                  <a:pt x="475" y="23"/>
                </a:cubicBezTo>
                <a:cubicBezTo>
                  <a:pt x="472" y="22"/>
                  <a:pt x="468" y="21"/>
                  <a:pt x="464" y="20"/>
                </a:cubicBezTo>
                <a:cubicBezTo>
                  <a:pt x="462" y="20"/>
                  <a:pt x="461" y="20"/>
                  <a:pt x="459" y="20"/>
                </a:cubicBezTo>
                <a:cubicBezTo>
                  <a:pt x="456" y="19"/>
                  <a:pt x="452" y="18"/>
                  <a:pt x="448" y="18"/>
                </a:cubicBezTo>
                <a:cubicBezTo>
                  <a:pt x="447" y="18"/>
                  <a:pt x="446" y="18"/>
                  <a:pt x="445" y="17"/>
                </a:cubicBezTo>
                <a:cubicBezTo>
                  <a:pt x="440" y="17"/>
                  <a:pt x="436" y="16"/>
                  <a:pt x="431" y="16"/>
                </a:cubicBezTo>
                <a:cubicBezTo>
                  <a:pt x="430" y="16"/>
                  <a:pt x="429" y="16"/>
                  <a:pt x="428" y="16"/>
                </a:cubicBezTo>
                <a:cubicBezTo>
                  <a:pt x="423" y="15"/>
                  <a:pt x="418" y="15"/>
                  <a:pt x="414" y="15"/>
                </a:cubicBezTo>
                <a:cubicBezTo>
                  <a:pt x="413" y="15"/>
                  <a:pt x="412" y="15"/>
                  <a:pt x="411" y="15"/>
                </a:cubicBezTo>
                <a:cubicBezTo>
                  <a:pt x="406" y="14"/>
                  <a:pt x="401" y="14"/>
                  <a:pt x="396" y="14"/>
                </a:cubicBezTo>
                <a:cubicBezTo>
                  <a:pt x="392" y="14"/>
                  <a:pt x="389" y="14"/>
                  <a:pt x="385" y="14"/>
                </a:cubicBezTo>
                <a:cubicBezTo>
                  <a:pt x="384" y="15"/>
                  <a:pt x="383" y="15"/>
                  <a:pt x="382" y="15"/>
                </a:cubicBezTo>
                <a:cubicBezTo>
                  <a:pt x="379" y="15"/>
                  <a:pt x="377" y="15"/>
                  <a:pt x="374" y="15"/>
                </a:cubicBezTo>
                <a:cubicBezTo>
                  <a:pt x="373" y="15"/>
                  <a:pt x="372" y="15"/>
                  <a:pt x="370" y="15"/>
                </a:cubicBezTo>
                <a:cubicBezTo>
                  <a:pt x="368" y="15"/>
                  <a:pt x="366" y="16"/>
                  <a:pt x="363" y="16"/>
                </a:cubicBezTo>
                <a:cubicBezTo>
                  <a:pt x="362" y="16"/>
                  <a:pt x="361" y="16"/>
                  <a:pt x="359" y="16"/>
                </a:cubicBezTo>
                <a:cubicBezTo>
                  <a:pt x="357" y="16"/>
                  <a:pt x="355" y="17"/>
                  <a:pt x="353" y="17"/>
                </a:cubicBezTo>
                <a:cubicBezTo>
                  <a:pt x="351" y="17"/>
                  <a:pt x="350" y="17"/>
                  <a:pt x="349" y="17"/>
                </a:cubicBezTo>
                <a:cubicBezTo>
                  <a:pt x="346" y="18"/>
                  <a:pt x="344" y="18"/>
                  <a:pt x="341" y="18"/>
                </a:cubicBezTo>
                <a:cubicBezTo>
                  <a:pt x="340" y="18"/>
                  <a:pt x="339" y="19"/>
                  <a:pt x="338" y="19"/>
                </a:cubicBezTo>
                <a:cubicBezTo>
                  <a:pt x="335" y="19"/>
                  <a:pt x="331" y="20"/>
                  <a:pt x="328" y="20"/>
                </a:cubicBezTo>
                <a:cubicBezTo>
                  <a:pt x="327" y="21"/>
                  <a:pt x="325" y="21"/>
                  <a:pt x="323" y="21"/>
                </a:cubicBezTo>
                <a:cubicBezTo>
                  <a:pt x="322" y="22"/>
                  <a:pt x="320" y="22"/>
                  <a:pt x="318" y="22"/>
                </a:cubicBezTo>
                <a:cubicBezTo>
                  <a:pt x="316" y="23"/>
                  <a:pt x="314" y="23"/>
                  <a:pt x="312" y="24"/>
                </a:cubicBezTo>
                <a:cubicBezTo>
                  <a:pt x="311" y="24"/>
                  <a:pt x="310" y="24"/>
                  <a:pt x="308" y="24"/>
                </a:cubicBezTo>
                <a:cubicBezTo>
                  <a:pt x="306" y="25"/>
                  <a:pt x="304" y="26"/>
                  <a:pt x="302" y="26"/>
                </a:cubicBezTo>
                <a:cubicBezTo>
                  <a:pt x="301" y="26"/>
                  <a:pt x="300" y="27"/>
                  <a:pt x="299" y="27"/>
                </a:cubicBezTo>
                <a:cubicBezTo>
                  <a:pt x="271" y="34"/>
                  <a:pt x="245" y="44"/>
                  <a:pt x="220" y="57"/>
                </a:cubicBezTo>
                <a:close/>
                <a:moveTo>
                  <a:pt x="682" y="144"/>
                </a:moveTo>
                <a:cubicBezTo>
                  <a:pt x="551" y="144"/>
                  <a:pt x="551" y="144"/>
                  <a:pt x="551" y="144"/>
                </a:cubicBezTo>
                <a:cubicBezTo>
                  <a:pt x="566" y="178"/>
                  <a:pt x="577" y="217"/>
                  <a:pt x="585" y="259"/>
                </a:cubicBezTo>
                <a:cubicBezTo>
                  <a:pt x="752" y="259"/>
                  <a:pt x="752" y="259"/>
                  <a:pt x="752" y="259"/>
                </a:cubicBezTo>
                <a:cubicBezTo>
                  <a:pt x="736" y="217"/>
                  <a:pt x="712" y="178"/>
                  <a:pt x="682" y="144"/>
                </a:cubicBezTo>
                <a:close/>
                <a:moveTo>
                  <a:pt x="777" y="403"/>
                </a:moveTo>
                <a:cubicBezTo>
                  <a:pt x="625" y="403"/>
                  <a:pt x="625" y="403"/>
                  <a:pt x="625" y="403"/>
                </a:cubicBezTo>
                <a:cubicBezTo>
                  <a:pt x="626" y="403"/>
                  <a:pt x="626" y="404"/>
                  <a:pt x="627" y="404"/>
                </a:cubicBezTo>
                <a:cubicBezTo>
                  <a:pt x="678" y="429"/>
                  <a:pt x="712" y="446"/>
                  <a:pt x="719" y="460"/>
                </a:cubicBezTo>
                <a:cubicBezTo>
                  <a:pt x="723" y="471"/>
                  <a:pt x="715" y="493"/>
                  <a:pt x="701" y="519"/>
                </a:cubicBezTo>
                <a:cubicBezTo>
                  <a:pt x="757" y="519"/>
                  <a:pt x="757" y="519"/>
                  <a:pt x="757" y="519"/>
                </a:cubicBezTo>
                <a:cubicBezTo>
                  <a:pt x="770" y="482"/>
                  <a:pt x="777" y="443"/>
                  <a:pt x="777" y="403"/>
                </a:cubicBezTo>
                <a:close/>
                <a:moveTo>
                  <a:pt x="473" y="403"/>
                </a:moveTo>
                <a:cubicBezTo>
                  <a:pt x="403" y="403"/>
                  <a:pt x="403" y="403"/>
                  <a:pt x="403" y="403"/>
                </a:cubicBezTo>
                <a:cubicBezTo>
                  <a:pt x="403" y="519"/>
                  <a:pt x="403" y="519"/>
                  <a:pt x="403" y="519"/>
                </a:cubicBezTo>
                <a:cubicBezTo>
                  <a:pt x="468" y="519"/>
                  <a:pt x="468" y="519"/>
                  <a:pt x="468" y="519"/>
                </a:cubicBezTo>
                <a:cubicBezTo>
                  <a:pt x="456" y="507"/>
                  <a:pt x="447" y="495"/>
                  <a:pt x="445" y="479"/>
                </a:cubicBezTo>
                <a:cubicBezTo>
                  <a:pt x="442" y="457"/>
                  <a:pt x="454" y="439"/>
                  <a:pt x="463" y="424"/>
                </a:cubicBezTo>
                <a:cubicBezTo>
                  <a:pt x="470" y="414"/>
                  <a:pt x="474" y="407"/>
                  <a:pt x="473" y="403"/>
                </a:cubicBezTo>
                <a:close/>
                <a:moveTo>
                  <a:pt x="512" y="584"/>
                </a:moveTo>
                <a:cubicBezTo>
                  <a:pt x="510" y="562"/>
                  <a:pt x="496" y="547"/>
                  <a:pt x="482" y="533"/>
                </a:cubicBezTo>
                <a:cubicBezTo>
                  <a:pt x="403" y="533"/>
                  <a:pt x="403" y="533"/>
                  <a:pt x="403" y="533"/>
                </a:cubicBezTo>
                <a:cubicBezTo>
                  <a:pt x="403" y="648"/>
                  <a:pt x="403" y="648"/>
                  <a:pt x="403" y="648"/>
                </a:cubicBezTo>
                <a:cubicBezTo>
                  <a:pt x="492" y="648"/>
                  <a:pt x="492" y="648"/>
                  <a:pt x="492" y="648"/>
                </a:cubicBezTo>
                <a:cubicBezTo>
                  <a:pt x="504" y="625"/>
                  <a:pt x="514" y="602"/>
                  <a:pt x="512" y="584"/>
                </a:cubicBezTo>
                <a:close/>
                <a:moveTo>
                  <a:pt x="224" y="244"/>
                </a:moveTo>
                <a:cubicBezTo>
                  <a:pt x="223" y="249"/>
                  <a:pt x="222" y="254"/>
                  <a:pt x="221" y="259"/>
                </a:cubicBezTo>
                <a:cubicBezTo>
                  <a:pt x="230" y="259"/>
                  <a:pt x="230" y="259"/>
                  <a:pt x="230" y="259"/>
                </a:cubicBezTo>
                <a:cubicBezTo>
                  <a:pt x="228" y="255"/>
                  <a:pt x="226" y="250"/>
                  <a:pt x="224" y="244"/>
                </a:cubicBezTo>
                <a:close/>
                <a:moveTo>
                  <a:pt x="219" y="273"/>
                </a:moveTo>
                <a:cubicBezTo>
                  <a:pt x="212" y="311"/>
                  <a:pt x="209" y="350"/>
                  <a:pt x="209" y="389"/>
                </a:cubicBezTo>
                <a:cubicBezTo>
                  <a:pt x="389" y="389"/>
                  <a:pt x="389" y="389"/>
                  <a:pt x="389" y="389"/>
                </a:cubicBezTo>
                <a:cubicBezTo>
                  <a:pt x="389" y="366"/>
                  <a:pt x="389" y="366"/>
                  <a:pt x="389" y="366"/>
                </a:cubicBezTo>
                <a:cubicBezTo>
                  <a:pt x="374" y="360"/>
                  <a:pt x="357" y="354"/>
                  <a:pt x="340" y="348"/>
                </a:cubicBezTo>
                <a:cubicBezTo>
                  <a:pt x="332" y="345"/>
                  <a:pt x="325" y="342"/>
                  <a:pt x="318" y="339"/>
                </a:cubicBezTo>
                <a:cubicBezTo>
                  <a:pt x="290" y="329"/>
                  <a:pt x="274" y="311"/>
                  <a:pt x="261" y="295"/>
                </a:cubicBezTo>
                <a:cubicBezTo>
                  <a:pt x="254" y="287"/>
                  <a:pt x="248" y="279"/>
                  <a:pt x="241" y="274"/>
                </a:cubicBezTo>
                <a:cubicBezTo>
                  <a:pt x="241" y="274"/>
                  <a:pt x="241" y="274"/>
                  <a:pt x="240" y="273"/>
                </a:cubicBezTo>
                <a:lnTo>
                  <a:pt x="219" y="273"/>
                </a:lnTo>
                <a:close/>
                <a:moveTo>
                  <a:pt x="209" y="403"/>
                </a:moveTo>
                <a:cubicBezTo>
                  <a:pt x="209" y="443"/>
                  <a:pt x="212" y="482"/>
                  <a:pt x="218" y="519"/>
                </a:cubicBezTo>
                <a:cubicBezTo>
                  <a:pt x="389" y="519"/>
                  <a:pt x="389" y="519"/>
                  <a:pt x="389" y="519"/>
                </a:cubicBezTo>
                <a:cubicBezTo>
                  <a:pt x="389" y="403"/>
                  <a:pt x="389" y="403"/>
                  <a:pt x="389" y="403"/>
                </a:cubicBezTo>
                <a:lnTo>
                  <a:pt x="209" y="403"/>
                </a:lnTo>
                <a:close/>
                <a:moveTo>
                  <a:pt x="423" y="389"/>
                </a:moveTo>
                <a:cubicBezTo>
                  <a:pt x="420" y="387"/>
                  <a:pt x="417" y="385"/>
                  <a:pt x="415" y="383"/>
                </a:cubicBezTo>
                <a:cubicBezTo>
                  <a:pt x="413" y="380"/>
                  <a:pt x="409" y="376"/>
                  <a:pt x="403" y="373"/>
                </a:cubicBezTo>
                <a:cubicBezTo>
                  <a:pt x="403" y="389"/>
                  <a:pt x="403" y="389"/>
                  <a:pt x="403" y="389"/>
                </a:cubicBezTo>
                <a:lnTo>
                  <a:pt x="423" y="389"/>
                </a:lnTo>
                <a:close/>
                <a:moveTo>
                  <a:pt x="467" y="369"/>
                </a:moveTo>
                <a:cubicBezTo>
                  <a:pt x="477" y="370"/>
                  <a:pt x="487" y="371"/>
                  <a:pt x="495" y="373"/>
                </a:cubicBezTo>
                <a:cubicBezTo>
                  <a:pt x="497" y="374"/>
                  <a:pt x="503" y="372"/>
                  <a:pt x="509" y="369"/>
                </a:cubicBezTo>
                <a:cubicBezTo>
                  <a:pt x="517" y="364"/>
                  <a:pt x="527" y="359"/>
                  <a:pt x="539" y="359"/>
                </a:cubicBezTo>
                <a:cubicBezTo>
                  <a:pt x="549" y="359"/>
                  <a:pt x="560" y="364"/>
                  <a:pt x="569" y="373"/>
                </a:cubicBezTo>
                <a:cubicBezTo>
                  <a:pt x="572" y="375"/>
                  <a:pt x="577" y="378"/>
                  <a:pt x="583" y="382"/>
                </a:cubicBezTo>
                <a:cubicBezTo>
                  <a:pt x="582" y="344"/>
                  <a:pt x="579" y="308"/>
                  <a:pt x="573" y="273"/>
                </a:cubicBezTo>
                <a:cubicBezTo>
                  <a:pt x="457" y="273"/>
                  <a:pt x="457" y="273"/>
                  <a:pt x="457" y="273"/>
                </a:cubicBezTo>
                <a:cubicBezTo>
                  <a:pt x="457" y="275"/>
                  <a:pt x="456" y="277"/>
                  <a:pt x="456" y="279"/>
                </a:cubicBezTo>
                <a:cubicBezTo>
                  <a:pt x="454" y="282"/>
                  <a:pt x="450" y="284"/>
                  <a:pt x="447" y="284"/>
                </a:cubicBezTo>
                <a:cubicBezTo>
                  <a:pt x="441" y="284"/>
                  <a:pt x="435" y="280"/>
                  <a:pt x="427" y="274"/>
                </a:cubicBezTo>
                <a:cubicBezTo>
                  <a:pt x="427" y="274"/>
                  <a:pt x="426" y="274"/>
                  <a:pt x="426" y="273"/>
                </a:cubicBezTo>
                <a:cubicBezTo>
                  <a:pt x="403" y="273"/>
                  <a:pt x="403" y="273"/>
                  <a:pt x="403" y="273"/>
                </a:cubicBezTo>
                <a:cubicBezTo>
                  <a:pt x="403" y="303"/>
                  <a:pt x="403" y="303"/>
                  <a:pt x="403" y="303"/>
                </a:cubicBezTo>
                <a:cubicBezTo>
                  <a:pt x="408" y="304"/>
                  <a:pt x="410" y="307"/>
                  <a:pt x="411" y="308"/>
                </a:cubicBezTo>
                <a:cubicBezTo>
                  <a:pt x="412" y="310"/>
                  <a:pt x="416" y="317"/>
                  <a:pt x="420" y="322"/>
                </a:cubicBezTo>
                <a:cubicBezTo>
                  <a:pt x="434" y="342"/>
                  <a:pt x="444" y="357"/>
                  <a:pt x="445" y="366"/>
                </a:cubicBezTo>
                <a:cubicBezTo>
                  <a:pt x="448" y="368"/>
                  <a:pt x="460" y="369"/>
                  <a:pt x="467" y="369"/>
                </a:cubicBezTo>
                <a:close/>
                <a:moveTo>
                  <a:pt x="403" y="258"/>
                </a:moveTo>
                <a:cubicBezTo>
                  <a:pt x="403" y="259"/>
                  <a:pt x="403" y="259"/>
                  <a:pt x="403" y="259"/>
                </a:cubicBezTo>
                <a:cubicBezTo>
                  <a:pt x="406" y="259"/>
                  <a:pt x="406" y="259"/>
                  <a:pt x="406" y="259"/>
                </a:cubicBezTo>
                <a:cubicBezTo>
                  <a:pt x="405" y="259"/>
                  <a:pt x="404" y="258"/>
                  <a:pt x="403" y="258"/>
                </a:cubicBezTo>
                <a:close/>
                <a:moveTo>
                  <a:pt x="389" y="252"/>
                </a:moveTo>
                <a:cubicBezTo>
                  <a:pt x="388" y="252"/>
                  <a:pt x="387" y="252"/>
                  <a:pt x="386" y="251"/>
                </a:cubicBezTo>
                <a:cubicBezTo>
                  <a:pt x="384" y="251"/>
                  <a:pt x="381" y="250"/>
                  <a:pt x="379" y="250"/>
                </a:cubicBezTo>
                <a:cubicBezTo>
                  <a:pt x="371" y="250"/>
                  <a:pt x="364" y="255"/>
                  <a:pt x="359" y="259"/>
                </a:cubicBezTo>
                <a:cubicBezTo>
                  <a:pt x="389" y="259"/>
                  <a:pt x="389" y="259"/>
                  <a:pt x="389" y="259"/>
                </a:cubicBezTo>
                <a:lnTo>
                  <a:pt x="389" y="252"/>
                </a:lnTo>
                <a:close/>
                <a:moveTo>
                  <a:pt x="340" y="310"/>
                </a:moveTo>
                <a:cubicBezTo>
                  <a:pt x="340" y="312"/>
                  <a:pt x="341" y="315"/>
                  <a:pt x="349" y="315"/>
                </a:cubicBezTo>
                <a:cubicBezTo>
                  <a:pt x="359" y="315"/>
                  <a:pt x="372" y="311"/>
                  <a:pt x="383" y="308"/>
                </a:cubicBezTo>
                <a:cubicBezTo>
                  <a:pt x="385" y="307"/>
                  <a:pt x="387" y="307"/>
                  <a:pt x="389" y="306"/>
                </a:cubicBezTo>
                <a:cubicBezTo>
                  <a:pt x="389" y="273"/>
                  <a:pt x="389" y="273"/>
                  <a:pt x="389" y="273"/>
                </a:cubicBezTo>
                <a:cubicBezTo>
                  <a:pt x="349" y="273"/>
                  <a:pt x="349" y="273"/>
                  <a:pt x="349" y="273"/>
                </a:cubicBezTo>
                <a:cubicBezTo>
                  <a:pt x="342" y="285"/>
                  <a:pt x="339" y="300"/>
                  <a:pt x="340" y="310"/>
                </a:cubicBezTo>
                <a:close/>
                <a:moveTo>
                  <a:pt x="777" y="389"/>
                </a:moveTo>
                <a:cubicBezTo>
                  <a:pt x="777" y="349"/>
                  <a:pt x="770" y="310"/>
                  <a:pt x="757" y="273"/>
                </a:cubicBezTo>
                <a:cubicBezTo>
                  <a:pt x="587" y="273"/>
                  <a:pt x="587" y="273"/>
                  <a:pt x="587" y="273"/>
                </a:cubicBezTo>
                <a:cubicBezTo>
                  <a:pt x="593" y="310"/>
                  <a:pt x="597" y="349"/>
                  <a:pt x="597" y="389"/>
                </a:cubicBezTo>
                <a:lnTo>
                  <a:pt x="777" y="389"/>
                </a:lnTo>
                <a:close/>
                <a:moveTo>
                  <a:pt x="536" y="144"/>
                </a:moveTo>
                <a:cubicBezTo>
                  <a:pt x="535" y="144"/>
                  <a:pt x="535" y="144"/>
                  <a:pt x="535" y="144"/>
                </a:cubicBezTo>
                <a:cubicBezTo>
                  <a:pt x="530" y="158"/>
                  <a:pt x="511" y="166"/>
                  <a:pt x="491" y="173"/>
                </a:cubicBezTo>
                <a:cubicBezTo>
                  <a:pt x="482" y="175"/>
                  <a:pt x="472" y="194"/>
                  <a:pt x="464" y="207"/>
                </a:cubicBezTo>
                <a:cubicBezTo>
                  <a:pt x="456" y="221"/>
                  <a:pt x="449" y="231"/>
                  <a:pt x="442" y="235"/>
                </a:cubicBezTo>
                <a:cubicBezTo>
                  <a:pt x="443" y="238"/>
                  <a:pt x="446" y="244"/>
                  <a:pt x="448" y="248"/>
                </a:cubicBezTo>
                <a:cubicBezTo>
                  <a:pt x="450" y="252"/>
                  <a:pt x="452" y="256"/>
                  <a:pt x="453" y="259"/>
                </a:cubicBezTo>
                <a:cubicBezTo>
                  <a:pt x="571" y="259"/>
                  <a:pt x="571" y="259"/>
                  <a:pt x="571" y="259"/>
                </a:cubicBezTo>
                <a:cubicBezTo>
                  <a:pt x="563" y="217"/>
                  <a:pt x="551" y="178"/>
                  <a:pt x="536" y="144"/>
                </a:cubicBezTo>
                <a:close/>
                <a:moveTo>
                  <a:pt x="389" y="76"/>
                </a:moveTo>
                <a:cubicBezTo>
                  <a:pt x="387" y="77"/>
                  <a:pt x="384" y="79"/>
                  <a:pt x="385" y="80"/>
                </a:cubicBezTo>
                <a:cubicBezTo>
                  <a:pt x="385" y="82"/>
                  <a:pt x="387" y="84"/>
                  <a:pt x="389" y="85"/>
                </a:cubicBezTo>
                <a:lnTo>
                  <a:pt x="389" y="76"/>
                </a:lnTo>
                <a:close/>
                <a:moveTo>
                  <a:pt x="403" y="93"/>
                </a:moveTo>
                <a:cubicBezTo>
                  <a:pt x="409" y="95"/>
                  <a:pt x="415" y="96"/>
                  <a:pt x="422" y="96"/>
                </a:cubicBezTo>
                <a:cubicBezTo>
                  <a:pt x="427" y="96"/>
                  <a:pt x="435" y="95"/>
                  <a:pt x="436" y="90"/>
                </a:cubicBezTo>
                <a:cubicBezTo>
                  <a:pt x="438" y="79"/>
                  <a:pt x="445" y="73"/>
                  <a:pt x="456" y="73"/>
                </a:cubicBezTo>
                <a:cubicBezTo>
                  <a:pt x="474" y="73"/>
                  <a:pt x="500" y="91"/>
                  <a:pt x="518" y="107"/>
                </a:cubicBezTo>
                <a:cubicBezTo>
                  <a:pt x="508" y="91"/>
                  <a:pt x="498" y="76"/>
                  <a:pt x="487" y="63"/>
                </a:cubicBezTo>
                <a:cubicBezTo>
                  <a:pt x="479" y="59"/>
                  <a:pt x="471" y="56"/>
                  <a:pt x="463" y="53"/>
                </a:cubicBezTo>
                <a:cubicBezTo>
                  <a:pt x="439" y="46"/>
                  <a:pt x="428" y="52"/>
                  <a:pt x="404" y="67"/>
                </a:cubicBezTo>
                <a:cubicBezTo>
                  <a:pt x="403" y="67"/>
                  <a:pt x="403" y="67"/>
                  <a:pt x="403" y="67"/>
                </a:cubicBezTo>
                <a:lnTo>
                  <a:pt x="403" y="93"/>
                </a:lnTo>
                <a:close/>
                <a:moveTo>
                  <a:pt x="14" y="403"/>
                </a:moveTo>
                <a:cubicBezTo>
                  <a:pt x="15" y="443"/>
                  <a:pt x="22" y="482"/>
                  <a:pt x="34" y="519"/>
                </a:cubicBezTo>
                <a:cubicBezTo>
                  <a:pt x="204" y="519"/>
                  <a:pt x="204" y="519"/>
                  <a:pt x="204" y="519"/>
                </a:cubicBezTo>
                <a:cubicBezTo>
                  <a:pt x="198" y="482"/>
                  <a:pt x="195" y="443"/>
                  <a:pt x="195" y="403"/>
                </a:cubicBezTo>
                <a:lnTo>
                  <a:pt x="14" y="403"/>
                </a:lnTo>
                <a:close/>
                <a:moveTo>
                  <a:pt x="255" y="648"/>
                </a:moveTo>
                <a:cubicBezTo>
                  <a:pt x="389" y="648"/>
                  <a:pt x="389" y="648"/>
                  <a:pt x="389" y="648"/>
                </a:cubicBezTo>
                <a:cubicBezTo>
                  <a:pt x="389" y="533"/>
                  <a:pt x="389" y="533"/>
                  <a:pt x="389" y="533"/>
                </a:cubicBezTo>
                <a:cubicBezTo>
                  <a:pt x="221" y="533"/>
                  <a:pt x="221" y="533"/>
                  <a:pt x="221" y="533"/>
                </a:cubicBezTo>
                <a:cubicBezTo>
                  <a:pt x="229" y="575"/>
                  <a:pt x="241" y="614"/>
                  <a:pt x="255" y="648"/>
                </a:cubicBezTo>
                <a:close/>
                <a:moveTo>
                  <a:pt x="262" y="662"/>
                </a:moveTo>
                <a:cubicBezTo>
                  <a:pt x="294" y="730"/>
                  <a:pt x="339" y="774"/>
                  <a:pt x="389" y="777"/>
                </a:cubicBezTo>
                <a:cubicBezTo>
                  <a:pt x="389" y="662"/>
                  <a:pt x="389" y="662"/>
                  <a:pt x="389" y="662"/>
                </a:cubicBezTo>
                <a:lnTo>
                  <a:pt x="262" y="662"/>
                </a:lnTo>
                <a:close/>
                <a:moveTo>
                  <a:pt x="403" y="777"/>
                </a:moveTo>
                <a:cubicBezTo>
                  <a:pt x="422" y="776"/>
                  <a:pt x="441" y="768"/>
                  <a:pt x="459" y="755"/>
                </a:cubicBezTo>
                <a:cubicBezTo>
                  <a:pt x="452" y="752"/>
                  <a:pt x="447" y="745"/>
                  <a:pt x="446" y="734"/>
                </a:cubicBezTo>
                <a:cubicBezTo>
                  <a:pt x="446" y="724"/>
                  <a:pt x="455" y="709"/>
                  <a:pt x="471" y="683"/>
                </a:cubicBezTo>
                <a:cubicBezTo>
                  <a:pt x="475" y="676"/>
                  <a:pt x="479" y="669"/>
                  <a:pt x="484" y="662"/>
                </a:cubicBezTo>
                <a:cubicBezTo>
                  <a:pt x="403" y="662"/>
                  <a:pt x="403" y="662"/>
                  <a:pt x="403" y="662"/>
                </a:cubicBezTo>
                <a:lnTo>
                  <a:pt x="403" y="777"/>
                </a:lnTo>
                <a:close/>
                <a:moveTo>
                  <a:pt x="618" y="603"/>
                </a:moveTo>
                <a:cubicBezTo>
                  <a:pt x="628" y="598"/>
                  <a:pt x="652" y="569"/>
                  <a:pt x="674" y="536"/>
                </a:cubicBezTo>
                <a:cubicBezTo>
                  <a:pt x="700" y="496"/>
                  <a:pt x="708" y="471"/>
                  <a:pt x="706" y="466"/>
                </a:cubicBezTo>
                <a:cubicBezTo>
                  <a:pt x="701" y="456"/>
                  <a:pt x="653" y="432"/>
                  <a:pt x="621" y="416"/>
                </a:cubicBezTo>
                <a:cubicBezTo>
                  <a:pt x="611" y="411"/>
                  <a:pt x="601" y="407"/>
                  <a:pt x="593" y="403"/>
                </a:cubicBezTo>
                <a:cubicBezTo>
                  <a:pt x="592" y="403"/>
                  <a:pt x="591" y="403"/>
                  <a:pt x="590" y="403"/>
                </a:cubicBezTo>
                <a:cubicBezTo>
                  <a:pt x="587" y="403"/>
                  <a:pt x="584" y="401"/>
                  <a:pt x="583" y="398"/>
                </a:cubicBezTo>
                <a:cubicBezTo>
                  <a:pt x="573" y="392"/>
                  <a:pt x="564" y="387"/>
                  <a:pt x="560" y="383"/>
                </a:cubicBezTo>
                <a:cubicBezTo>
                  <a:pt x="553" y="376"/>
                  <a:pt x="546" y="373"/>
                  <a:pt x="539" y="373"/>
                </a:cubicBezTo>
                <a:cubicBezTo>
                  <a:pt x="530" y="373"/>
                  <a:pt x="523" y="377"/>
                  <a:pt x="515" y="381"/>
                </a:cubicBezTo>
                <a:cubicBezTo>
                  <a:pt x="509" y="384"/>
                  <a:pt x="502" y="388"/>
                  <a:pt x="496" y="388"/>
                </a:cubicBezTo>
                <a:cubicBezTo>
                  <a:pt x="494" y="388"/>
                  <a:pt x="491" y="387"/>
                  <a:pt x="489" y="387"/>
                </a:cubicBezTo>
                <a:cubicBezTo>
                  <a:pt x="486" y="385"/>
                  <a:pt x="480" y="384"/>
                  <a:pt x="474" y="384"/>
                </a:cubicBezTo>
                <a:cubicBezTo>
                  <a:pt x="477" y="386"/>
                  <a:pt x="481" y="388"/>
                  <a:pt x="483" y="392"/>
                </a:cubicBezTo>
                <a:cubicBezTo>
                  <a:pt x="483" y="392"/>
                  <a:pt x="483" y="392"/>
                  <a:pt x="483" y="392"/>
                </a:cubicBezTo>
                <a:cubicBezTo>
                  <a:pt x="484" y="392"/>
                  <a:pt x="484" y="392"/>
                  <a:pt x="484" y="392"/>
                </a:cubicBezTo>
                <a:cubicBezTo>
                  <a:pt x="493" y="405"/>
                  <a:pt x="484" y="419"/>
                  <a:pt x="475" y="432"/>
                </a:cubicBezTo>
                <a:cubicBezTo>
                  <a:pt x="466" y="445"/>
                  <a:pt x="456" y="460"/>
                  <a:pt x="458" y="477"/>
                </a:cubicBezTo>
                <a:cubicBezTo>
                  <a:pt x="461" y="492"/>
                  <a:pt x="473" y="505"/>
                  <a:pt x="487" y="518"/>
                </a:cubicBezTo>
                <a:cubicBezTo>
                  <a:pt x="488" y="519"/>
                  <a:pt x="489" y="520"/>
                  <a:pt x="490" y="521"/>
                </a:cubicBezTo>
                <a:cubicBezTo>
                  <a:pt x="490" y="521"/>
                  <a:pt x="490" y="521"/>
                  <a:pt x="490" y="521"/>
                </a:cubicBezTo>
                <a:cubicBezTo>
                  <a:pt x="506" y="537"/>
                  <a:pt x="523" y="555"/>
                  <a:pt x="526" y="583"/>
                </a:cubicBezTo>
                <a:cubicBezTo>
                  <a:pt x="530" y="614"/>
                  <a:pt x="504" y="657"/>
                  <a:pt x="483" y="690"/>
                </a:cubicBezTo>
                <a:cubicBezTo>
                  <a:pt x="472" y="708"/>
                  <a:pt x="460" y="727"/>
                  <a:pt x="460" y="734"/>
                </a:cubicBezTo>
                <a:cubicBezTo>
                  <a:pt x="461" y="739"/>
                  <a:pt x="463" y="743"/>
                  <a:pt x="466" y="743"/>
                </a:cubicBezTo>
                <a:cubicBezTo>
                  <a:pt x="467" y="743"/>
                  <a:pt x="469" y="742"/>
                  <a:pt x="470" y="741"/>
                </a:cubicBezTo>
                <a:cubicBezTo>
                  <a:pt x="471" y="739"/>
                  <a:pt x="472" y="736"/>
                  <a:pt x="472" y="732"/>
                </a:cubicBezTo>
                <a:cubicBezTo>
                  <a:pt x="471" y="723"/>
                  <a:pt x="482" y="713"/>
                  <a:pt x="503" y="694"/>
                </a:cubicBezTo>
                <a:cubicBezTo>
                  <a:pt x="509" y="689"/>
                  <a:pt x="515" y="684"/>
                  <a:pt x="521" y="678"/>
                </a:cubicBezTo>
                <a:cubicBezTo>
                  <a:pt x="553" y="648"/>
                  <a:pt x="600" y="611"/>
                  <a:pt x="618" y="603"/>
                </a:cubicBezTo>
                <a:close/>
                <a:moveTo>
                  <a:pt x="577" y="648"/>
                </a:moveTo>
                <a:cubicBezTo>
                  <a:pt x="682" y="648"/>
                  <a:pt x="682" y="648"/>
                  <a:pt x="682" y="648"/>
                </a:cubicBezTo>
                <a:cubicBezTo>
                  <a:pt x="712" y="614"/>
                  <a:pt x="736" y="575"/>
                  <a:pt x="752" y="533"/>
                </a:cubicBezTo>
                <a:cubicBezTo>
                  <a:pt x="693" y="533"/>
                  <a:pt x="693" y="533"/>
                  <a:pt x="693" y="533"/>
                </a:cubicBezTo>
                <a:cubicBezTo>
                  <a:pt x="670" y="570"/>
                  <a:pt x="638" y="609"/>
                  <a:pt x="624" y="616"/>
                </a:cubicBezTo>
                <a:cubicBezTo>
                  <a:pt x="615" y="620"/>
                  <a:pt x="598" y="632"/>
                  <a:pt x="577" y="648"/>
                </a:cubicBezTo>
                <a:close/>
                <a:moveTo>
                  <a:pt x="543" y="44"/>
                </a:moveTo>
                <a:cubicBezTo>
                  <a:pt x="547" y="58"/>
                  <a:pt x="549" y="73"/>
                  <a:pt x="542" y="79"/>
                </a:cubicBezTo>
                <a:cubicBezTo>
                  <a:pt x="540" y="81"/>
                  <a:pt x="537" y="82"/>
                  <a:pt x="533" y="82"/>
                </a:cubicBezTo>
                <a:cubicBezTo>
                  <a:pt x="529" y="82"/>
                  <a:pt x="522" y="80"/>
                  <a:pt x="515" y="77"/>
                </a:cubicBezTo>
                <a:cubicBezTo>
                  <a:pt x="526" y="92"/>
                  <a:pt x="536" y="110"/>
                  <a:pt x="545" y="130"/>
                </a:cubicBezTo>
                <a:cubicBezTo>
                  <a:pt x="669" y="130"/>
                  <a:pt x="669" y="130"/>
                  <a:pt x="669" y="130"/>
                </a:cubicBezTo>
                <a:cubicBezTo>
                  <a:pt x="634" y="93"/>
                  <a:pt x="591" y="64"/>
                  <a:pt x="543" y="44"/>
                </a:cubicBezTo>
                <a:close/>
                <a:moveTo>
                  <a:pt x="123" y="130"/>
                </a:moveTo>
                <a:cubicBezTo>
                  <a:pt x="222" y="130"/>
                  <a:pt x="222" y="130"/>
                  <a:pt x="222" y="130"/>
                </a:cubicBezTo>
                <a:cubicBezTo>
                  <a:pt x="225" y="109"/>
                  <a:pt x="224" y="85"/>
                  <a:pt x="219" y="72"/>
                </a:cubicBezTo>
                <a:cubicBezTo>
                  <a:pt x="219" y="71"/>
                  <a:pt x="217" y="70"/>
                  <a:pt x="213" y="70"/>
                </a:cubicBezTo>
                <a:cubicBezTo>
                  <a:pt x="207" y="70"/>
                  <a:pt x="199" y="72"/>
                  <a:pt x="189" y="75"/>
                </a:cubicBezTo>
                <a:cubicBezTo>
                  <a:pt x="165" y="91"/>
                  <a:pt x="143" y="109"/>
                  <a:pt x="123" y="130"/>
                </a:cubicBezTo>
                <a:close/>
                <a:moveTo>
                  <a:pt x="333" y="772"/>
                </a:moveTo>
                <a:cubicBezTo>
                  <a:pt x="303" y="753"/>
                  <a:pt x="275" y="720"/>
                  <a:pt x="252" y="674"/>
                </a:cubicBezTo>
                <a:cubicBezTo>
                  <a:pt x="250" y="670"/>
                  <a:pt x="248" y="666"/>
                  <a:pt x="247" y="662"/>
                </a:cubicBezTo>
                <a:cubicBezTo>
                  <a:pt x="123" y="662"/>
                  <a:pt x="123" y="662"/>
                  <a:pt x="123" y="662"/>
                </a:cubicBezTo>
                <a:cubicBezTo>
                  <a:pt x="178" y="719"/>
                  <a:pt x="251" y="759"/>
                  <a:pt x="333" y="772"/>
                </a:cubicBezTo>
                <a:close/>
                <a:moveTo>
                  <a:pt x="669" y="662"/>
                </a:moveTo>
                <a:cubicBezTo>
                  <a:pt x="560" y="662"/>
                  <a:pt x="560" y="662"/>
                  <a:pt x="560" y="662"/>
                </a:cubicBezTo>
                <a:cubicBezTo>
                  <a:pt x="551" y="670"/>
                  <a:pt x="541" y="678"/>
                  <a:pt x="533" y="686"/>
                </a:cubicBezTo>
                <a:cubicBezTo>
                  <a:pt x="511" y="726"/>
                  <a:pt x="485" y="755"/>
                  <a:pt x="458" y="773"/>
                </a:cubicBezTo>
                <a:cubicBezTo>
                  <a:pt x="540" y="759"/>
                  <a:pt x="613" y="719"/>
                  <a:pt x="669" y="662"/>
                </a:cubicBez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6161" name="Oval 78"/>
          <p:cNvSpPr>
            <a:spLocks noChangeArrowheads="1"/>
          </p:cNvSpPr>
          <p:nvPr/>
        </p:nvSpPr>
        <p:spPr bwMode="auto">
          <a:xfrm>
            <a:off x="6589621" y="4711628"/>
            <a:ext cx="1119124" cy="1119124"/>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9282" name="Freeform 149"/>
          <p:cNvSpPr>
            <a:spLocks noEditPoints="1"/>
          </p:cNvSpPr>
          <p:nvPr/>
        </p:nvSpPr>
        <p:spPr bwMode="auto">
          <a:xfrm>
            <a:off x="6903462" y="4971011"/>
            <a:ext cx="491441" cy="599140"/>
          </a:xfrm>
          <a:custGeom>
            <a:avLst/>
            <a:gdLst>
              <a:gd name="T0" fmla="*/ 463 w 467"/>
              <a:gd name="T1" fmla="*/ 291 h 569"/>
              <a:gd name="T2" fmla="*/ 452 w 467"/>
              <a:gd name="T3" fmla="*/ 291 h 569"/>
              <a:gd name="T4" fmla="*/ 359 w 467"/>
              <a:gd name="T5" fmla="*/ 291 h 569"/>
              <a:gd name="T6" fmla="*/ 348 w 467"/>
              <a:gd name="T7" fmla="*/ 291 h 569"/>
              <a:gd name="T8" fmla="*/ 394 w 467"/>
              <a:gd name="T9" fmla="*/ 233 h 569"/>
              <a:gd name="T10" fmla="*/ 348 w 467"/>
              <a:gd name="T11" fmla="*/ 176 h 569"/>
              <a:gd name="T12" fmla="*/ 406 w 467"/>
              <a:gd name="T13" fmla="*/ 222 h 569"/>
              <a:gd name="T14" fmla="*/ 463 w 467"/>
              <a:gd name="T15" fmla="*/ 176 h 569"/>
              <a:gd name="T16" fmla="*/ 417 w 467"/>
              <a:gd name="T17" fmla="*/ 233 h 569"/>
              <a:gd name="T18" fmla="*/ 340 w 467"/>
              <a:gd name="T19" fmla="*/ 3 h 569"/>
              <a:gd name="T20" fmla="*/ 282 w 467"/>
              <a:gd name="T21" fmla="*/ 50 h 569"/>
              <a:gd name="T22" fmla="*/ 224 w 467"/>
              <a:gd name="T23" fmla="*/ 3 h 569"/>
              <a:gd name="T24" fmla="*/ 271 w 467"/>
              <a:gd name="T25" fmla="*/ 61 h 569"/>
              <a:gd name="T26" fmla="*/ 224 w 467"/>
              <a:gd name="T27" fmla="*/ 119 h 569"/>
              <a:gd name="T28" fmla="*/ 236 w 467"/>
              <a:gd name="T29" fmla="*/ 119 h 569"/>
              <a:gd name="T30" fmla="*/ 328 w 467"/>
              <a:gd name="T31" fmla="*/ 119 h 569"/>
              <a:gd name="T32" fmla="*/ 340 w 467"/>
              <a:gd name="T33" fmla="*/ 119 h 569"/>
              <a:gd name="T34" fmla="*/ 293 w 467"/>
              <a:gd name="T35" fmla="*/ 61 h 569"/>
              <a:gd name="T36" fmla="*/ 340 w 467"/>
              <a:gd name="T37" fmla="*/ 3 h 569"/>
              <a:gd name="T38" fmla="*/ 108 w 467"/>
              <a:gd name="T39" fmla="*/ 348 h 569"/>
              <a:gd name="T40" fmla="*/ 15 w 467"/>
              <a:gd name="T41" fmla="*/ 348 h 569"/>
              <a:gd name="T42" fmla="*/ 3 w 467"/>
              <a:gd name="T43" fmla="*/ 359 h 569"/>
              <a:gd name="T44" fmla="*/ 3 w 467"/>
              <a:gd name="T45" fmla="*/ 452 h 569"/>
              <a:gd name="T46" fmla="*/ 9 w 467"/>
              <a:gd name="T47" fmla="*/ 466 h 569"/>
              <a:gd name="T48" fmla="*/ 61 w 467"/>
              <a:gd name="T49" fmla="*/ 417 h 569"/>
              <a:gd name="T50" fmla="*/ 113 w 467"/>
              <a:gd name="T51" fmla="*/ 466 h 569"/>
              <a:gd name="T52" fmla="*/ 119 w 467"/>
              <a:gd name="T53" fmla="*/ 452 h 569"/>
              <a:gd name="T54" fmla="*/ 119 w 467"/>
              <a:gd name="T55" fmla="*/ 359 h 569"/>
              <a:gd name="T56" fmla="*/ 332 w 467"/>
              <a:gd name="T57" fmla="*/ 509 h 569"/>
              <a:gd name="T58" fmla="*/ 212 w 467"/>
              <a:gd name="T59" fmla="*/ 509 h 569"/>
              <a:gd name="T60" fmla="*/ 264 w 467"/>
              <a:gd name="T61" fmla="*/ 374 h 569"/>
              <a:gd name="T62" fmla="*/ 42 w 467"/>
              <a:gd name="T63" fmla="*/ 254 h 569"/>
              <a:gd name="T64" fmla="*/ 26 w 467"/>
              <a:gd name="T65" fmla="*/ 254 h 569"/>
              <a:gd name="T66" fmla="*/ 26 w 467"/>
              <a:gd name="T67" fmla="*/ 131 h 569"/>
              <a:gd name="T68" fmla="*/ 27 w 467"/>
              <a:gd name="T69" fmla="*/ 130 h 569"/>
              <a:gd name="T70" fmla="*/ 28 w 467"/>
              <a:gd name="T71" fmla="*/ 128 h 569"/>
              <a:gd name="T72" fmla="*/ 30 w 467"/>
              <a:gd name="T73" fmla="*/ 126 h 569"/>
              <a:gd name="T74" fmla="*/ 32 w 467"/>
              <a:gd name="T75" fmla="*/ 125 h 569"/>
              <a:gd name="T76" fmla="*/ 34 w 467"/>
              <a:gd name="T77" fmla="*/ 125 h 569"/>
              <a:gd name="T78" fmla="*/ 34 w 467"/>
              <a:gd name="T79" fmla="*/ 125 h 569"/>
              <a:gd name="T80" fmla="*/ 34 w 467"/>
              <a:gd name="T81" fmla="*/ 125 h 569"/>
              <a:gd name="T82" fmla="*/ 163 w 467"/>
              <a:gd name="T83" fmla="*/ 133 h 569"/>
              <a:gd name="T84" fmla="*/ 53 w 467"/>
              <a:gd name="T85" fmla="*/ 141 h 569"/>
              <a:gd name="T86" fmla="*/ 280 w 467"/>
              <a:gd name="T87" fmla="*/ 371 h 569"/>
              <a:gd name="T88" fmla="*/ 332 w 467"/>
              <a:gd name="T89" fmla="*/ 509 h 569"/>
              <a:gd name="T90" fmla="*/ 272 w 467"/>
              <a:gd name="T91" fmla="*/ 466 h 569"/>
              <a:gd name="T92" fmla="*/ 272 w 467"/>
              <a:gd name="T93" fmla="*/ 553 h 5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67" h="569">
                <a:moveTo>
                  <a:pt x="463" y="280"/>
                </a:moveTo>
                <a:cubicBezTo>
                  <a:pt x="467" y="283"/>
                  <a:pt x="467" y="288"/>
                  <a:pt x="463" y="291"/>
                </a:cubicBezTo>
                <a:cubicBezTo>
                  <a:pt x="462" y="293"/>
                  <a:pt x="460" y="294"/>
                  <a:pt x="458" y="294"/>
                </a:cubicBezTo>
                <a:cubicBezTo>
                  <a:pt x="456" y="294"/>
                  <a:pt x="454" y="293"/>
                  <a:pt x="452" y="291"/>
                </a:cubicBezTo>
                <a:cubicBezTo>
                  <a:pt x="406" y="245"/>
                  <a:pt x="406" y="245"/>
                  <a:pt x="406" y="245"/>
                </a:cubicBezTo>
                <a:cubicBezTo>
                  <a:pt x="359" y="291"/>
                  <a:pt x="359" y="291"/>
                  <a:pt x="359" y="291"/>
                </a:cubicBezTo>
                <a:cubicBezTo>
                  <a:pt x="358" y="293"/>
                  <a:pt x="356" y="294"/>
                  <a:pt x="354" y="294"/>
                </a:cubicBezTo>
                <a:cubicBezTo>
                  <a:pt x="352" y="294"/>
                  <a:pt x="349" y="293"/>
                  <a:pt x="348" y="291"/>
                </a:cubicBezTo>
                <a:cubicBezTo>
                  <a:pt x="345" y="288"/>
                  <a:pt x="345" y="283"/>
                  <a:pt x="348" y="280"/>
                </a:cubicBezTo>
                <a:cubicBezTo>
                  <a:pt x="394" y="233"/>
                  <a:pt x="394" y="233"/>
                  <a:pt x="394" y="233"/>
                </a:cubicBezTo>
                <a:cubicBezTo>
                  <a:pt x="348" y="187"/>
                  <a:pt x="348" y="187"/>
                  <a:pt x="348" y="187"/>
                </a:cubicBezTo>
                <a:cubicBezTo>
                  <a:pt x="345" y="184"/>
                  <a:pt x="345" y="179"/>
                  <a:pt x="348" y="176"/>
                </a:cubicBezTo>
                <a:cubicBezTo>
                  <a:pt x="351" y="173"/>
                  <a:pt x="356" y="173"/>
                  <a:pt x="359" y="176"/>
                </a:cubicBezTo>
                <a:cubicBezTo>
                  <a:pt x="406" y="222"/>
                  <a:pt x="406" y="222"/>
                  <a:pt x="406" y="222"/>
                </a:cubicBezTo>
                <a:cubicBezTo>
                  <a:pt x="452" y="176"/>
                  <a:pt x="452" y="176"/>
                  <a:pt x="452" y="176"/>
                </a:cubicBezTo>
                <a:cubicBezTo>
                  <a:pt x="455" y="173"/>
                  <a:pt x="460" y="173"/>
                  <a:pt x="463" y="176"/>
                </a:cubicBezTo>
                <a:cubicBezTo>
                  <a:pt x="467" y="179"/>
                  <a:pt x="467" y="184"/>
                  <a:pt x="463" y="187"/>
                </a:cubicBezTo>
                <a:cubicBezTo>
                  <a:pt x="417" y="233"/>
                  <a:pt x="417" y="233"/>
                  <a:pt x="417" y="233"/>
                </a:cubicBezTo>
                <a:lnTo>
                  <a:pt x="463" y="280"/>
                </a:lnTo>
                <a:close/>
                <a:moveTo>
                  <a:pt x="340" y="3"/>
                </a:moveTo>
                <a:cubicBezTo>
                  <a:pt x="337" y="0"/>
                  <a:pt x="332" y="0"/>
                  <a:pt x="328" y="3"/>
                </a:cubicBezTo>
                <a:cubicBezTo>
                  <a:pt x="282" y="50"/>
                  <a:pt x="282" y="50"/>
                  <a:pt x="282" y="50"/>
                </a:cubicBezTo>
                <a:cubicBezTo>
                  <a:pt x="236" y="3"/>
                  <a:pt x="236" y="3"/>
                  <a:pt x="236" y="3"/>
                </a:cubicBezTo>
                <a:cubicBezTo>
                  <a:pt x="232" y="0"/>
                  <a:pt x="227" y="0"/>
                  <a:pt x="224" y="3"/>
                </a:cubicBezTo>
                <a:cubicBezTo>
                  <a:pt x="221" y="6"/>
                  <a:pt x="221" y="12"/>
                  <a:pt x="224" y="15"/>
                </a:cubicBezTo>
                <a:cubicBezTo>
                  <a:pt x="271" y="61"/>
                  <a:pt x="271" y="61"/>
                  <a:pt x="271" y="61"/>
                </a:cubicBezTo>
                <a:cubicBezTo>
                  <a:pt x="224" y="108"/>
                  <a:pt x="224" y="108"/>
                  <a:pt x="224" y="108"/>
                </a:cubicBezTo>
                <a:cubicBezTo>
                  <a:pt x="221" y="111"/>
                  <a:pt x="221" y="116"/>
                  <a:pt x="224" y="119"/>
                </a:cubicBezTo>
                <a:cubicBezTo>
                  <a:pt x="226" y="120"/>
                  <a:pt x="228" y="121"/>
                  <a:pt x="230" y="121"/>
                </a:cubicBezTo>
                <a:cubicBezTo>
                  <a:pt x="232" y="121"/>
                  <a:pt x="234" y="120"/>
                  <a:pt x="236" y="119"/>
                </a:cubicBezTo>
                <a:cubicBezTo>
                  <a:pt x="282" y="72"/>
                  <a:pt x="282" y="72"/>
                  <a:pt x="282" y="72"/>
                </a:cubicBezTo>
                <a:cubicBezTo>
                  <a:pt x="328" y="119"/>
                  <a:pt x="328" y="119"/>
                  <a:pt x="328" y="119"/>
                </a:cubicBezTo>
                <a:cubicBezTo>
                  <a:pt x="330" y="120"/>
                  <a:pt x="332" y="121"/>
                  <a:pt x="334" y="121"/>
                </a:cubicBezTo>
                <a:cubicBezTo>
                  <a:pt x="336" y="121"/>
                  <a:pt x="338" y="120"/>
                  <a:pt x="340" y="119"/>
                </a:cubicBezTo>
                <a:cubicBezTo>
                  <a:pt x="343" y="116"/>
                  <a:pt x="343" y="111"/>
                  <a:pt x="340" y="108"/>
                </a:cubicBezTo>
                <a:cubicBezTo>
                  <a:pt x="293" y="61"/>
                  <a:pt x="293" y="61"/>
                  <a:pt x="293" y="61"/>
                </a:cubicBezTo>
                <a:cubicBezTo>
                  <a:pt x="340" y="15"/>
                  <a:pt x="340" y="15"/>
                  <a:pt x="340" y="15"/>
                </a:cubicBezTo>
                <a:cubicBezTo>
                  <a:pt x="343" y="12"/>
                  <a:pt x="343" y="6"/>
                  <a:pt x="340" y="3"/>
                </a:cubicBezTo>
                <a:close/>
                <a:moveTo>
                  <a:pt x="119" y="348"/>
                </a:moveTo>
                <a:cubicBezTo>
                  <a:pt x="116" y="345"/>
                  <a:pt x="111" y="345"/>
                  <a:pt x="108" y="348"/>
                </a:cubicBezTo>
                <a:cubicBezTo>
                  <a:pt x="61" y="394"/>
                  <a:pt x="61" y="394"/>
                  <a:pt x="61" y="394"/>
                </a:cubicBezTo>
                <a:cubicBezTo>
                  <a:pt x="15" y="348"/>
                  <a:pt x="15" y="348"/>
                  <a:pt x="15" y="348"/>
                </a:cubicBezTo>
                <a:cubicBezTo>
                  <a:pt x="11" y="345"/>
                  <a:pt x="6" y="345"/>
                  <a:pt x="3" y="348"/>
                </a:cubicBezTo>
                <a:cubicBezTo>
                  <a:pt x="0" y="351"/>
                  <a:pt x="0" y="356"/>
                  <a:pt x="3" y="359"/>
                </a:cubicBezTo>
                <a:cubicBezTo>
                  <a:pt x="50" y="406"/>
                  <a:pt x="50" y="406"/>
                  <a:pt x="50" y="406"/>
                </a:cubicBezTo>
                <a:cubicBezTo>
                  <a:pt x="3" y="452"/>
                  <a:pt x="3" y="452"/>
                  <a:pt x="3" y="452"/>
                </a:cubicBezTo>
                <a:cubicBezTo>
                  <a:pt x="0" y="455"/>
                  <a:pt x="0" y="460"/>
                  <a:pt x="3" y="463"/>
                </a:cubicBezTo>
                <a:cubicBezTo>
                  <a:pt x="5" y="465"/>
                  <a:pt x="7" y="466"/>
                  <a:pt x="9" y="466"/>
                </a:cubicBezTo>
                <a:cubicBezTo>
                  <a:pt x="11" y="466"/>
                  <a:pt x="13" y="465"/>
                  <a:pt x="15" y="463"/>
                </a:cubicBezTo>
                <a:cubicBezTo>
                  <a:pt x="61" y="417"/>
                  <a:pt x="61" y="417"/>
                  <a:pt x="61" y="417"/>
                </a:cubicBezTo>
                <a:cubicBezTo>
                  <a:pt x="108" y="463"/>
                  <a:pt x="108" y="463"/>
                  <a:pt x="108" y="463"/>
                </a:cubicBezTo>
                <a:cubicBezTo>
                  <a:pt x="109" y="465"/>
                  <a:pt x="111" y="466"/>
                  <a:pt x="113" y="466"/>
                </a:cubicBezTo>
                <a:cubicBezTo>
                  <a:pt x="115" y="466"/>
                  <a:pt x="117" y="465"/>
                  <a:pt x="119" y="463"/>
                </a:cubicBezTo>
                <a:cubicBezTo>
                  <a:pt x="122" y="460"/>
                  <a:pt x="122" y="455"/>
                  <a:pt x="119" y="452"/>
                </a:cubicBezTo>
                <a:cubicBezTo>
                  <a:pt x="72" y="406"/>
                  <a:pt x="72" y="406"/>
                  <a:pt x="72" y="406"/>
                </a:cubicBezTo>
                <a:cubicBezTo>
                  <a:pt x="119" y="359"/>
                  <a:pt x="119" y="359"/>
                  <a:pt x="119" y="359"/>
                </a:cubicBezTo>
                <a:cubicBezTo>
                  <a:pt x="122" y="356"/>
                  <a:pt x="122" y="351"/>
                  <a:pt x="119" y="348"/>
                </a:cubicBezTo>
                <a:close/>
                <a:moveTo>
                  <a:pt x="332" y="509"/>
                </a:moveTo>
                <a:cubicBezTo>
                  <a:pt x="332" y="542"/>
                  <a:pt x="305" y="569"/>
                  <a:pt x="272" y="569"/>
                </a:cubicBezTo>
                <a:cubicBezTo>
                  <a:pt x="239" y="569"/>
                  <a:pt x="212" y="542"/>
                  <a:pt x="212" y="509"/>
                </a:cubicBezTo>
                <a:cubicBezTo>
                  <a:pt x="212" y="479"/>
                  <a:pt x="235" y="454"/>
                  <a:pt x="264" y="450"/>
                </a:cubicBezTo>
                <a:cubicBezTo>
                  <a:pt x="264" y="374"/>
                  <a:pt x="264" y="374"/>
                  <a:pt x="264" y="374"/>
                </a:cubicBezTo>
                <a:cubicBezTo>
                  <a:pt x="42" y="152"/>
                  <a:pt x="42" y="152"/>
                  <a:pt x="42" y="152"/>
                </a:cubicBezTo>
                <a:cubicBezTo>
                  <a:pt x="42" y="254"/>
                  <a:pt x="42" y="254"/>
                  <a:pt x="42" y="254"/>
                </a:cubicBezTo>
                <a:cubicBezTo>
                  <a:pt x="42" y="258"/>
                  <a:pt x="39" y="262"/>
                  <a:pt x="34" y="262"/>
                </a:cubicBezTo>
                <a:cubicBezTo>
                  <a:pt x="30" y="262"/>
                  <a:pt x="26" y="258"/>
                  <a:pt x="26" y="254"/>
                </a:cubicBezTo>
                <a:cubicBezTo>
                  <a:pt x="26" y="133"/>
                  <a:pt x="26" y="133"/>
                  <a:pt x="26" y="133"/>
                </a:cubicBezTo>
                <a:cubicBezTo>
                  <a:pt x="26" y="132"/>
                  <a:pt x="26" y="132"/>
                  <a:pt x="26" y="131"/>
                </a:cubicBezTo>
                <a:cubicBezTo>
                  <a:pt x="26" y="131"/>
                  <a:pt x="26" y="131"/>
                  <a:pt x="27" y="131"/>
                </a:cubicBezTo>
                <a:cubicBezTo>
                  <a:pt x="27" y="130"/>
                  <a:pt x="27" y="130"/>
                  <a:pt x="27" y="130"/>
                </a:cubicBezTo>
                <a:cubicBezTo>
                  <a:pt x="27" y="130"/>
                  <a:pt x="27" y="129"/>
                  <a:pt x="27" y="129"/>
                </a:cubicBezTo>
                <a:cubicBezTo>
                  <a:pt x="27" y="129"/>
                  <a:pt x="27" y="129"/>
                  <a:pt x="28" y="128"/>
                </a:cubicBezTo>
                <a:cubicBezTo>
                  <a:pt x="28" y="128"/>
                  <a:pt x="29" y="127"/>
                  <a:pt x="30" y="126"/>
                </a:cubicBezTo>
                <a:cubicBezTo>
                  <a:pt x="30" y="126"/>
                  <a:pt x="30" y="126"/>
                  <a:pt x="30" y="126"/>
                </a:cubicBezTo>
                <a:cubicBezTo>
                  <a:pt x="31" y="126"/>
                  <a:pt x="31" y="126"/>
                  <a:pt x="31" y="126"/>
                </a:cubicBezTo>
                <a:cubicBezTo>
                  <a:pt x="31" y="125"/>
                  <a:pt x="32" y="125"/>
                  <a:pt x="32" y="125"/>
                </a:cubicBezTo>
                <a:cubicBezTo>
                  <a:pt x="32" y="125"/>
                  <a:pt x="32" y="125"/>
                  <a:pt x="33" y="125"/>
                </a:cubicBezTo>
                <a:cubicBezTo>
                  <a:pt x="33" y="125"/>
                  <a:pt x="34" y="125"/>
                  <a:pt x="34" y="125"/>
                </a:cubicBezTo>
                <a:cubicBezTo>
                  <a:pt x="34" y="125"/>
                  <a:pt x="34" y="125"/>
                  <a:pt x="34" y="125"/>
                </a:cubicBezTo>
                <a:cubicBezTo>
                  <a:pt x="34" y="125"/>
                  <a:pt x="34" y="125"/>
                  <a:pt x="34" y="125"/>
                </a:cubicBezTo>
                <a:cubicBezTo>
                  <a:pt x="34" y="125"/>
                  <a:pt x="34" y="125"/>
                  <a:pt x="34" y="125"/>
                </a:cubicBezTo>
                <a:cubicBezTo>
                  <a:pt x="34" y="125"/>
                  <a:pt x="34" y="125"/>
                  <a:pt x="34" y="125"/>
                </a:cubicBezTo>
                <a:cubicBezTo>
                  <a:pt x="155" y="125"/>
                  <a:pt x="155" y="125"/>
                  <a:pt x="155" y="125"/>
                </a:cubicBezTo>
                <a:cubicBezTo>
                  <a:pt x="159" y="125"/>
                  <a:pt x="163" y="129"/>
                  <a:pt x="163" y="133"/>
                </a:cubicBezTo>
                <a:cubicBezTo>
                  <a:pt x="163" y="137"/>
                  <a:pt x="159" y="141"/>
                  <a:pt x="155" y="141"/>
                </a:cubicBezTo>
                <a:cubicBezTo>
                  <a:pt x="53" y="141"/>
                  <a:pt x="53" y="141"/>
                  <a:pt x="53" y="141"/>
                </a:cubicBezTo>
                <a:cubicBezTo>
                  <a:pt x="278" y="365"/>
                  <a:pt x="278" y="365"/>
                  <a:pt x="278" y="365"/>
                </a:cubicBezTo>
                <a:cubicBezTo>
                  <a:pt x="279" y="367"/>
                  <a:pt x="280" y="369"/>
                  <a:pt x="280" y="371"/>
                </a:cubicBezTo>
                <a:cubicBezTo>
                  <a:pt x="280" y="450"/>
                  <a:pt x="280" y="450"/>
                  <a:pt x="280" y="450"/>
                </a:cubicBezTo>
                <a:cubicBezTo>
                  <a:pt x="309" y="454"/>
                  <a:pt x="332" y="479"/>
                  <a:pt x="332" y="509"/>
                </a:cubicBezTo>
                <a:close/>
                <a:moveTo>
                  <a:pt x="316" y="509"/>
                </a:moveTo>
                <a:cubicBezTo>
                  <a:pt x="316" y="485"/>
                  <a:pt x="296" y="466"/>
                  <a:pt x="272" y="466"/>
                </a:cubicBezTo>
                <a:cubicBezTo>
                  <a:pt x="248" y="466"/>
                  <a:pt x="228" y="485"/>
                  <a:pt x="228" y="509"/>
                </a:cubicBezTo>
                <a:cubicBezTo>
                  <a:pt x="228" y="533"/>
                  <a:pt x="248" y="553"/>
                  <a:pt x="272" y="553"/>
                </a:cubicBezTo>
                <a:cubicBezTo>
                  <a:pt x="296" y="553"/>
                  <a:pt x="316" y="533"/>
                  <a:pt x="316" y="509"/>
                </a:cubicBez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6160" name="Oval 77"/>
          <p:cNvSpPr>
            <a:spLocks noChangeArrowheads="1"/>
          </p:cNvSpPr>
          <p:nvPr/>
        </p:nvSpPr>
        <p:spPr bwMode="auto">
          <a:xfrm>
            <a:off x="8347593" y="4711628"/>
            <a:ext cx="1119124" cy="1119124"/>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9283" name="Freeform 150"/>
          <p:cNvSpPr>
            <a:spLocks noEditPoints="1"/>
          </p:cNvSpPr>
          <p:nvPr/>
        </p:nvSpPr>
        <p:spPr bwMode="auto">
          <a:xfrm>
            <a:off x="8641970" y="4967081"/>
            <a:ext cx="531584" cy="536450"/>
          </a:xfrm>
          <a:custGeom>
            <a:avLst/>
            <a:gdLst>
              <a:gd name="T0" fmla="*/ 104 w 505"/>
              <a:gd name="T1" fmla="*/ 461 h 510"/>
              <a:gd name="T2" fmla="*/ 207 w 505"/>
              <a:gd name="T3" fmla="*/ 151 h 510"/>
              <a:gd name="T4" fmla="*/ 120 w 505"/>
              <a:gd name="T5" fmla="*/ 167 h 510"/>
              <a:gd name="T6" fmla="*/ 450 w 505"/>
              <a:gd name="T7" fmla="*/ 167 h 510"/>
              <a:gd name="T8" fmla="*/ 423 w 505"/>
              <a:gd name="T9" fmla="*/ 151 h 510"/>
              <a:gd name="T10" fmla="*/ 466 w 505"/>
              <a:gd name="T11" fmla="*/ 461 h 510"/>
              <a:gd name="T12" fmla="*/ 505 w 505"/>
              <a:gd name="T13" fmla="*/ 156 h 510"/>
              <a:gd name="T14" fmla="*/ 459 w 505"/>
              <a:gd name="T15" fmla="*/ 126 h 510"/>
              <a:gd name="T16" fmla="*/ 459 w 505"/>
              <a:gd name="T17" fmla="*/ 494 h 510"/>
              <a:gd name="T18" fmla="*/ 17 w 505"/>
              <a:gd name="T19" fmla="*/ 156 h 510"/>
              <a:gd name="T20" fmla="*/ 256 w 505"/>
              <a:gd name="T21" fmla="*/ 118 h 510"/>
              <a:gd name="T22" fmla="*/ 1 w 505"/>
              <a:gd name="T23" fmla="*/ 156 h 510"/>
              <a:gd name="T24" fmla="*/ 459 w 505"/>
              <a:gd name="T25" fmla="*/ 510 h 510"/>
              <a:gd name="T26" fmla="*/ 80 w 505"/>
              <a:gd name="T27" fmla="*/ 181 h 510"/>
              <a:gd name="T28" fmla="*/ 0 w 505"/>
              <a:gd name="T29" fmla="*/ 181 h 510"/>
              <a:gd name="T30" fmla="*/ 72 w 505"/>
              <a:gd name="T31" fmla="*/ 447 h 510"/>
              <a:gd name="T32" fmla="*/ 64 w 505"/>
              <a:gd name="T33" fmla="*/ 189 h 510"/>
              <a:gd name="T34" fmla="*/ 16 w 505"/>
              <a:gd name="T35" fmla="*/ 189 h 510"/>
              <a:gd name="T36" fmla="*/ 8 w 505"/>
              <a:gd name="T37" fmla="*/ 257 h 510"/>
              <a:gd name="T38" fmla="*/ 72 w 505"/>
              <a:gd name="T39" fmla="*/ 273 h 510"/>
              <a:gd name="T40" fmla="*/ 72 w 505"/>
              <a:gd name="T41" fmla="*/ 340 h 510"/>
              <a:gd name="T42" fmla="*/ 8 w 505"/>
              <a:gd name="T43" fmla="*/ 356 h 510"/>
              <a:gd name="T44" fmla="*/ 80 w 505"/>
              <a:gd name="T45" fmla="*/ 353 h 510"/>
              <a:gd name="T46" fmla="*/ 0 w 505"/>
              <a:gd name="T47" fmla="*/ 353 h 510"/>
              <a:gd name="T48" fmla="*/ 80 w 505"/>
              <a:gd name="T49" fmla="*/ 353 h 510"/>
              <a:gd name="T50" fmla="*/ 473 w 505"/>
              <a:gd name="T51" fmla="*/ 42 h 510"/>
              <a:gd name="T52" fmla="*/ 401 w 505"/>
              <a:gd name="T53" fmla="*/ 12 h 510"/>
              <a:gd name="T54" fmla="*/ 206 w 505"/>
              <a:gd name="T55" fmla="*/ 218 h 510"/>
              <a:gd name="T56" fmla="*/ 266 w 505"/>
              <a:gd name="T57" fmla="*/ 267 h 510"/>
              <a:gd name="T58" fmla="*/ 449 w 505"/>
              <a:gd name="T59" fmla="*/ 24 h 510"/>
              <a:gd name="T60" fmla="*/ 260 w 505"/>
              <a:gd name="T61" fmla="*/ 250 h 510"/>
              <a:gd name="T62" fmla="*/ 399 w 505"/>
              <a:gd name="T63" fmla="*/ 134 h 510"/>
              <a:gd name="T64" fmla="*/ 339 w 505"/>
              <a:gd name="T65" fmla="*/ 74 h 510"/>
              <a:gd name="T66" fmla="*/ 393 w 505"/>
              <a:gd name="T67" fmla="*/ 136 h 510"/>
              <a:gd name="T68" fmla="*/ 452 w 505"/>
              <a:gd name="T69" fmla="*/ 69 h 510"/>
              <a:gd name="T70" fmla="*/ 392 w 505"/>
              <a:gd name="T71" fmla="*/ 32 h 510"/>
              <a:gd name="T72" fmla="*/ 452 w 505"/>
              <a:gd name="T73" fmla="*/ 81 h 510"/>
              <a:gd name="T74" fmla="*/ 268 w 505"/>
              <a:gd name="T75" fmla="*/ 259 h 510"/>
              <a:gd name="T76" fmla="*/ 219 w 505"/>
              <a:gd name="T77" fmla="*/ 215 h 510"/>
              <a:gd name="T78" fmla="*/ 188 w 505"/>
              <a:gd name="T79" fmla="*/ 275 h 510"/>
              <a:gd name="T80" fmla="*/ 198 w 505"/>
              <a:gd name="T81" fmla="*/ 285 h 510"/>
              <a:gd name="T82" fmla="*/ 201 w 505"/>
              <a:gd name="T83" fmla="*/ 271 h 510"/>
              <a:gd name="T84" fmla="*/ 174 w 505"/>
              <a:gd name="T85" fmla="*/ 299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05" h="510">
                <a:moveTo>
                  <a:pt x="458" y="469"/>
                </a:moveTo>
                <a:cubicBezTo>
                  <a:pt x="112" y="469"/>
                  <a:pt x="112" y="469"/>
                  <a:pt x="112" y="469"/>
                </a:cubicBezTo>
                <a:cubicBezTo>
                  <a:pt x="108" y="469"/>
                  <a:pt x="104" y="465"/>
                  <a:pt x="104" y="461"/>
                </a:cubicBezTo>
                <a:cubicBezTo>
                  <a:pt x="104" y="159"/>
                  <a:pt x="104" y="159"/>
                  <a:pt x="104" y="159"/>
                </a:cubicBezTo>
                <a:cubicBezTo>
                  <a:pt x="104" y="155"/>
                  <a:pt x="108" y="151"/>
                  <a:pt x="112" y="151"/>
                </a:cubicBezTo>
                <a:cubicBezTo>
                  <a:pt x="207" y="151"/>
                  <a:pt x="207" y="151"/>
                  <a:pt x="207" y="151"/>
                </a:cubicBezTo>
                <a:cubicBezTo>
                  <a:pt x="212" y="151"/>
                  <a:pt x="215" y="155"/>
                  <a:pt x="215" y="159"/>
                </a:cubicBezTo>
                <a:cubicBezTo>
                  <a:pt x="215" y="164"/>
                  <a:pt x="212" y="167"/>
                  <a:pt x="207" y="167"/>
                </a:cubicBezTo>
                <a:cubicBezTo>
                  <a:pt x="120" y="167"/>
                  <a:pt x="120" y="167"/>
                  <a:pt x="120" y="167"/>
                </a:cubicBezTo>
                <a:cubicBezTo>
                  <a:pt x="120" y="453"/>
                  <a:pt x="120" y="453"/>
                  <a:pt x="120" y="453"/>
                </a:cubicBezTo>
                <a:cubicBezTo>
                  <a:pt x="450" y="453"/>
                  <a:pt x="450" y="453"/>
                  <a:pt x="450" y="453"/>
                </a:cubicBezTo>
                <a:cubicBezTo>
                  <a:pt x="450" y="167"/>
                  <a:pt x="450" y="167"/>
                  <a:pt x="450" y="167"/>
                </a:cubicBezTo>
                <a:cubicBezTo>
                  <a:pt x="423" y="167"/>
                  <a:pt x="423" y="167"/>
                  <a:pt x="423" y="167"/>
                </a:cubicBezTo>
                <a:cubicBezTo>
                  <a:pt x="418" y="167"/>
                  <a:pt x="415" y="164"/>
                  <a:pt x="415" y="159"/>
                </a:cubicBezTo>
                <a:cubicBezTo>
                  <a:pt x="415" y="155"/>
                  <a:pt x="418" y="151"/>
                  <a:pt x="423" y="151"/>
                </a:cubicBezTo>
                <a:cubicBezTo>
                  <a:pt x="458" y="151"/>
                  <a:pt x="458" y="151"/>
                  <a:pt x="458" y="151"/>
                </a:cubicBezTo>
                <a:cubicBezTo>
                  <a:pt x="462" y="151"/>
                  <a:pt x="466" y="155"/>
                  <a:pt x="466" y="159"/>
                </a:cubicBezTo>
                <a:cubicBezTo>
                  <a:pt x="466" y="461"/>
                  <a:pt x="466" y="461"/>
                  <a:pt x="466" y="461"/>
                </a:cubicBezTo>
                <a:cubicBezTo>
                  <a:pt x="466" y="465"/>
                  <a:pt x="462" y="469"/>
                  <a:pt x="458" y="469"/>
                </a:cubicBezTo>
                <a:close/>
                <a:moveTo>
                  <a:pt x="505" y="464"/>
                </a:moveTo>
                <a:cubicBezTo>
                  <a:pt x="505" y="156"/>
                  <a:pt x="505" y="156"/>
                  <a:pt x="505" y="156"/>
                </a:cubicBezTo>
                <a:cubicBezTo>
                  <a:pt x="505" y="130"/>
                  <a:pt x="484" y="110"/>
                  <a:pt x="459" y="110"/>
                </a:cubicBezTo>
                <a:cubicBezTo>
                  <a:pt x="454" y="110"/>
                  <a:pt x="451" y="113"/>
                  <a:pt x="451" y="118"/>
                </a:cubicBezTo>
                <a:cubicBezTo>
                  <a:pt x="451" y="122"/>
                  <a:pt x="454" y="126"/>
                  <a:pt x="459" y="126"/>
                </a:cubicBezTo>
                <a:cubicBezTo>
                  <a:pt x="475" y="126"/>
                  <a:pt x="489" y="139"/>
                  <a:pt x="489" y="156"/>
                </a:cubicBezTo>
                <a:cubicBezTo>
                  <a:pt x="489" y="464"/>
                  <a:pt x="489" y="464"/>
                  <a:pt x="489" y="464"/>
                </a:cubicBezTo>
                <a:cubicBezTo>
                  <a:pt x="489" y="481"/>
                  <a:pt x="475" y="494"/>
                  <a:pt x="459" y="494"/>
                </a:cubicBezTo>
                <a:cubicBezTo>
                  <a:pt x="47" y="494"/>
                  <a:pt x="47" y="494"/>
                  <a:pt x="47" y="494"/>
                </a:cubicBezTo>
                <a:cubicBezTo>
                  <a:pt x="31" y="494"/>
                  <a:pt x="17" y="481"/>
                  <a:pt x="17" y="464"/>
                </a:cubicBezTo>
                <a:cubicBezTo>
                  <a:pt x="17" y="156"/>
                  <a:pt x="17" y="156"/>
                  <a:pt x="17" y="156"/>
                </a:cubicBezTo>
                <a:cubicBezTo>
                  <a:pt x="17" y="139"/>
                  <a:pt x="31" y="126"/>
                  <a:pt x="47" y="126"/>
                </a:cubicBezTo>
                <a:cubicBezTo>
                  <a:pt x="248" y="126"/>
                  <a:pt x="248" y="126"/>
                  <a:pt x="248" y="126"/>
                </a:cubicBezTo>
                <a:cubicBezTo>
                  <a:pt x="253" y="126"/>
                  <a:pt x="256" y="122"/>
                  <a:pt x="256" y="118"/>
                </a:cubicBezTo>
                <a:cubicBezTo>
                  <a:pt x="256" y="113"/>
                  <a:pt x="253" y="110"/>
                  <a:pt x="248" y="110"/>
                </a:cubicBezTo>
                <a:cubicBezTo>
                  <a:pt x="47" y="110"/>
                  <a:pt x="47" y="110"/>
                  <a:pt x="47" y="110"/>
                </a:cubicBezTo>
                <a:cubicBezTo>
                  <a:pt x="22" y="110"/>
                  <a:pt x="1" y="130"/>
                  <a:pt x="1" y="156"/>
                </a:cubicBezTo>
                <a:cubicBezTo>
                  <a:pt x="1" y="464"/>
                  <a:pt x="1" y="464"/>
                  <a:pt x="1" y="464"/>
                </a:cubicBezTo>
                <a:cubicBezTo>
                  <a:pt x="1" y="490"/>
                  <a:pt x="22" y="510"/>
                  <a:pt x="47" y="510"/>
                </a:cubicBezTo>
                <a:cubicBezTo>
                  <a:pt x="459" y="510"/>
                  <a:pt x="459" y="510"/>
                  <a:pt x="459" y="510"/>
                </a:cubicBezTo>
                <a:cubicBezTo>
                  <a:pt x="484" y="510"/>
                  <a:pt x="505" y="490"/>
                  <a:pt x="505" y="464"/>
                </a:cubicBezTo>
                <a:close/>
                <a:moveTo>
                  <a:pt x="80" y="439"/>
                </a:moveTo>
                <a:cubicBezTo>
                  <a:pt x="80" y="181"/>
                  <a:pt x="80" y="181"/>
                  <a:pt x="80" y="181"/>
                </a:cubicBezTo>
                <a:cubicBezTo>
                  <a:pt x="80" y="177"/>
                  <a:pt x="76" y="173"/>
                  <a:pt x="72" y="173"/>
                </a:cubicBezTo>
                <a:cubicBezTo>
                  <a:pt x="8" y="173"/>
                  <a:pt x="8" y="173"/>
                  <a:pt x="8" y="173"/>
                </a:cubicBezTo>
                <a:cubicBezTo>
                  <a:pt x="4" y="173"/>
                  <a:pt x="0" y="177"/>
                  <a:pt x="0" y="181"/>
                </a:cubicBezTo>
                <a:cubicBezTo>
                  <a:pt x="0" y="439"/>
                  <a:pt x="0" y="439"/>
                  <a:pt x="0" y="439"/>
                </a:cubicBezTo>
                <a:cubicBezTo>
                  <a:pt x="0" y="443"/>
                  <a:pt x="4" y="447"/>
                  <a:pt x="8" y="447"/>
                </a:cubicBezTo>
                <a:cubicBezTo>
                  <a:pt x="72" y="447"/>
                  <a:pt x="72" y="447"/>
                  <a:pt x="72" y="447"/>
                </a:cubicBezTo>
                <a:cubicBezTo>
                  <a:pt x="76" y="447"/>
                  <a:pt x="80" y="443"/>
                  <a:pt x="80" y="439"/>
                </a:cubicBezTo>
                <a:close/>
                <a:moveTo>
                  <a:pt x="16" y="189"/>
                </a:moveTo>
                <a:cubicBezTo>
                  <a:pt x="64" y="189"/>
                  <a:pt x="64" y="189"/>
                  <a:pt x="64" y="189"/>
                </a:cubicBezTo>
                <a:cubicBezTo>
                  <a:pt x="64" y="431"/>
                  <a:pt x="64" y="431"/>
                  <a:pt x="64" y="431"/>
                </a:cubicBezTo>
                <a:cubicBezTo>
                  <a:pt x="16" y="431"/>
                  <a:pt x="16" y="431"/>
                  <a:pt x="16" y="431"/>
                </a:cubicBezTo>
                <a:lnTo>
                  <a:pt x="16" y="189"/>
                </a:lnTo>
                <a:close/>
                <a:moveTo>
                  <a:pt x="80" y="265"/>
                </a:moveTo>
                <a:cubicBezTo>
                  <a:pt x="80" y="261"/>
                  <a:pt x="76" y="257"/>
                  <a:pt x="72" y="257"/>
                </a:cubicBezTo>
                <a:cubicBezTo>
                  <a:pt x="8" y="257"/>
                  <a:pt x="8" y="257"/>
                  <a:pt x="8" y="257"/>
                </a:cubicBezTo>
                <a:cubicBezTo>
                  <a:pt x="4" y="257"/>
                  <a:pt x="0" y="261"/>
                  <a:pt x="0" y="265"/>
                </a:cubicBezTo>
                <a:cubicBezTo>
                  <a:pt x="0" y="270"/>
                  <a:pt x="4" y="273"/>
                  <a:pt x="8" y="273"/>
                </a:cubicBezTo>
                <a:cubicBezTo>
                  <a:pt x="72" y="273"/>
                  <a:pt x="72" y="273"/>
                  <a:pt x="72" y="273"/>
                </a:cubicBezTo>
                <a:cubicBezTo>
                  <a:pt x="76" y="273"/>
                  <a:pt x="80" y="270"/>
                  <a:pt x="80" y="265"/>
                </a:cubicBezTo>
                <a:close/>
                <a:moveTo>
                  <a:pt x="80" y="348"/>
                </a:moveTo>
                <a:cubicBezTo>
                  <a:pt x="80" y="344"/>
                  <a:pt x="76" y="340"/>
                  <a:pt x="72" y="340"/>
                </a:cubicBezTo>
                <a:cubicBezTo>
                  <a:pt x="8" y="340"/>
                  <a:pt x="8" y="340"/>
                  <a:pt x="8" y="340"/>
                </a:cubicBezTo>
                <a:cubicBezTo>
                  <a:pt x="4" y="340"/>
                  <a:pt x="0" y="344"/>
                  <a:pt x="0" y="348"/>
                </a:cubicBezTo>
                <a:cubicBezTo>
                  <a:pt x="0" y="353"/>
                  <a:pt x="4" y="356"/>
                  <a:pt x="8" y="356"/>
                </a:cubicBezTo>
                <a:cubicBezTo>
                  <a:pt x="72" y="356"/>
                  <a:pt x="72" y="356"/>
                  <a:pt x="72" y="356"/>
                </a:cubicBezTo>
                <a:cubicBezTo>
                  <a:pt x="76" y="356"/>
                  <a:pt x="80" y="353"/>
                  <a:pt x="80" y="348"/>
                </a:cubicBezTo>
                <a:close/>
                <a:moveTo>
                  <a:pt x="80" y="353"/>
                </a:moveTo>
                <a:cubicBezTo>
                  <a:pt x="80" y="348"/>
                  <a:pt x="76" y="345"/>
                  <a:pt x="72" y="345"/>
                </a:cubicBezTo>
                <a:cubicBezTo>
                  <a:pt x="8" y="345"/>
                  <a:pt x="8" y="345"/>
                  <a:pt x="8" y="345"/>
                </a:cubicBezTo>
                <a:cubicBezTo>
                  <a:pt x="4" y="345"/>
                  <a:pt x="0" y="348"/>
                  <a:pt x="0" y="353"/>
                </a:cubicBezTo>
                <a:cubicBezTo>
                  <a:pt x="0" y="357"/>
                  <a:pt x="4" y="361"/>
                  <a:pt x="8" y="361"/>
                </a:cubicBezTo>
                <a:cubicBezTo>
                  <a:pt x="72" y="361"/>
                  <a:pt x="72" y="361"/>
                  <a:pt x="72" y="361"/>
                </a:cubicBezTo>
                <a:cubicBezTo>
                  <a:pt x="76" y="361"/>
                  <a:pt x="80" y="357"/>
                  <a:pt x="80" y="353"/>
                </a:cubicBezTo>
                <a:close/>
                <a:moveTo>
                  <a:pt x="266" y="267"/>
                </a:moveTo>
                <a:cubicBezTo>
                  <a:pt x="460" y="72"/>
                  <a:pt x="460" y="72"/>
                  <a:pt x="460" y="72"/>
                </a:cubicBezTo>
                <a:cubicBezTo>
                  <a:pt x="468" y="64"/>
                  <a:pt x="473" y="53"/>
                  <a:pt x="473" y="42"/>
                </a:cubicBezTo>
                <a:cubicBezTo>
                  <a:pt x="473" y="31"/>
                  <a:pt x="468" y="20"/>
                  <a:pt x="460" y="12"/>
                </a:cubicBezTo>
                <a:cubicBezTo>
                  <a:pt x="452" y="4"/>
                  <a:pt x="442" y="0"/>
                  <a:pt x="431" y="0"/>
                </a:cubicBezTo>
                <a:cubicBezTo>
                  <a:pt x="419" y="0"/>
                  <a:pt x="409" y="4"/>
                  <a:pt x="401" y="12"/>
                </a:cubicBezTo>
                <a:cubicBezTo>
                  <a:pt x="206" y="207"/>
                  <a:pt x="206" y="207"/>
                  <a:pt x="206" y="207"/>
                </a:cubicBezTo>
                <a:cubicBezTo>
                  <a:pt x="204" y="209"/>
                  <a:pt x="204" y="211"/>
                  <a:pt x="204" y="213"/>
                </a:cubicBezTo>
                <a:cubicBezTo>
                  <a:pt x="204" y="215"/>
                  <a:pt x="204" y="217"/>
                  <a:pt x="206" y="218"/>
                </a:cubicBezTo>
                <a:cubicBezTo>
                  <a:pt x="254" y="267"/>
                  <a:pt x="254" y="267"/>
                  <a:pt x="254" y="267"/>
                </a:cubicBezTo>
                <a:cubicBezTo>
                  <a:pt x="256" y="268"/>
                  <a:pt x="258" y="269"/>
                  <a:pt x="260" y="269"/>
                </a:cubicBezTo>
                <a:cubicBezTo>
                  <a:pt x="262" y="269"/>
                  <a:pt x="264" y="268"/>
                  <a:pt x="266" y="267"/>
                </a:cubicBezTo>
                <a:close/>
                <a:moveTo>
                  <a:pt x="412" y="24"/>
                </a:moveTo>
                <a:cubicBezTo>
                  <a:pt x="417" y="19"/>
                  <a:pt x="424" y="16"/>
                  <a:pt x="431" y="16"/>
                </a:cubicBezTo>
                <a:cubicBezTo>
                  <a:pt x="438" y="16"/>
                  <a:pt x="444" y="19"/>
                  <a:pt x="449" y="24"/>
                </a:cubicBezTo>
                <a:cubicBezTo>
                  <a:pt x="454" y="29"/>
                  <a:pt x="457" y="35"/>
                  <a:pt x="457" y="42"/>
                </a:cubicBezTo>
                <a:cubicBezTo>
                  <a:pt x="457" y="49"/>
                  <a:pt x="454" y="56"/>
                  <a:pt x="449" y="61"/>
                </a:cubicBezTo>
                <a:cubicBezTo>
                  <a:pt x="260" y="250"/>
                  <a:pt x="260" y="250"/>
                  <a:pt x="260" y="250"/>
                </a:cubicBezTo>
                <a:cubicBezTo>
                  <a:pt x="223" y="213"/>
                  <a:pt x="223" y="213"/>
                  <a:pt x="223" y="213"/>
                </a:cubicBezTo>
                <a:lnTo>
                  <a:pt x="412" y="24"/>
                </a:lnTo>
                <a:close/>
                <a:moveTo>
                  <a:pt x="399" y="134"/>
                </a:moveTo>
                <a:cubicBezTo>
                  <a:pt x="402" y="131"/>
                  <a:pt x="402" y="126"/>
                  <a:pt x="399" y="123"/>
                </a:cubicBezTo>
                <a:cubicBezTo>
                  <a:pt x="350" y="74"/>
                  <a:pt x="350" y="74"/>
                  <a:pt x="350" y="74"/>
                </a:cubicBezTo>
                <a:cubicBezTo>
                  <a:pt x="347" y="71"/>
                  <a:pt x="342" y="71"/>
                  <a:pt x="339" y="74"/>
                </a:cubicBezTo>
                <a:cubicBezTo>
                  <a:pt x="336" y="77"/>
                  <a:pt x="336" y="82"/>
                  <a:pt x="339" y="86"/>
                </a:cubicBezTo>
                <a:cubicBezTo>
                  <a:pt x="387" y="134"/>
                  <a:pt x="387" y="134"/>
                  <a:pt x="387" y="134"/>
                </a:cubicBezTo>
                <a:cubicBezTo>
                  <a:pt x="389" y="135"/>
                  <a:pt x="391" y="136"/>
                  <a:pt x="393" y="136"/>
                </a:cubicBezTo>
                <a:cubicBezTo>
                  <a:pt x="395" y="136"/>
                  <a:pt x="397" y="135"/>
                  <a:pt x="399" y="134"/>
                </a:cubicBezTo>
                <a:close/>
                <a:moveTo>
                  <a:pt x="452" y="81"/>
                </a:moveTo>
                <a:cubicBezTo>
                  <a:pt x="455" y="78"/>
                  <a:pt x="455" y="73"/>
                  <a:pt x="452" y="69"/>
                </a:cubicBezTo>
                <a:cubicBezTo>
                  <a:pt x="403" y="21"/>
                  <a:pt x="403" y="21"/>
                  <a:pt x="403" y="21"/>
                </a:cubicBezTo>
                <a:cubicBezTo>
                  <a:pt x="400" y="18"/>
                  <a:pt x="395" y="18"/>
                  <a:pt x="392" y="21"/>
                </a:cubicBezTo>
                <a:cubicBezTo>
                  <a:pt x="389" y="24"/>
                  <a:pt x="389" y="29"/>
                  <a:pt x="392" y="32"/>
                </a:cubicBezTo>
                <a:cubicBezTo>
                  <a:pt x="440" y="81"/>
                  <a:pt x="440" y="81"/>
                  <a:pt x="440" y="81"/>
                </a:cubicBezTo>
                <a:cubicBezTo>
                  <a:pt x="442" y="82"/>
                  <a:pt x="444" y="83"/>
                  <a:pt x="446" y="83"/>
                </a:cubicBezTo>
                <a:cubicBezTo>
                  <a:pt x="448" y="83"/>
                  <a:pt x="450" y="82"/>
                  <a:pt x="452" y="81"/>
                </a:cubicBezTo>
                <a:close/>
                <a:moveTo>
                  <a:pt x="198" y="285"/>
                </a:moveTo>
                <a:cubicBezTo>
                  <a:pt x="262" y="269"/>
                  <a:pt x="262" y="269"/>
                  <a:pt x="262" y="269"/>
                </a:cubicBezTo>
                <a:cubicBezTo>
                  <a:pt x="266" y="268"/>
                  <a:pt x="269" y="264"/>
                  <a:pt x="268" y="259"/>
                </a:cubicBezTo>
                <a:cubicBezTo>
                  <a:pt x="267" y="255"/>
                  <a:pt x="262" y="252"/>
                  <a:pt x="258" y="253"/>
                </a:cubicBezTo>
                <a:cubicBezTo>
                  <a:pt x="207" y="266"/>
                  <a:pt x="207" y="266"/>
                  <a:pt x="207" y="266"/>
                </a:cubicBezTo>
                <a:cubicBezTo>
                  <a:pt x="219" y="215"/>
                  <a:pt x="219" y="215"/>
                  <a:pt x="219" y="215"/>
                </a:cubicBezTo>
                <a:cubicBezTo>
                  <a:pt x="220" y="210"/>
                  <a:pt x="218" y="206"/>
                  <a:pt x="214" y="205"/>
                </a:cubicBezTo>
                <a:cubicBezTo>
                  <a:pt x="209" y="204"/>
                  <a:pt x="205" y="207"/>
                  <a:pt x="204" y="211"/>
                </a:cubicBezTo>
                <a:cubicBezTo>
                  <a:pt x="188" y="275"/>
                  <a:pt x="188" y="275"/>
                  <a:pt x="188" y="275"/>
                </a:cubicBezTo>
                <a:cubicBezTo>
                  <a:pt x="187" y="278"/>
                  <a:pt x="188" y="281"/>
                  <a:pt x="190" y="283"/>
                </a:cubicBezTo>
                <a:cubicBezTo>
                  <a:pt x="192" y="284"/>
                  <a:pt x="194" y="285"/>
                  <a:pt x="196" y="285"/>
                </a:cubicBezTo>
                <a:cubicBezTo>
                  <a:pt x="196" y="285"/>
                  <a:pt x="197" y="285"/>
                  <a:pt x="198" y="285"/>
                </a:cubicBezTo>
                <a:close/>
                <a:moveTo>
                  <a:pt x="185" y="299"/>
                </a:moveTo>
                <a:cubicBezTo>
                  <a:pt x="201" y="283"/>
                  <a:pt x="201" y="283"/>
                  <a:pt x="201" y="283"/>
                </a:cubicBezTo>
                <a:cubicBezTo>
                  <a:pt x="205" y="279"/>
                  <a:pt x="205" y="274"/>
                  <a:pt x="201" y="271"/>
                </a:cubicBezTo>
                <a:cubicBezTo>
                  <a:pt x="198" y="268"/>
                  <a:pt x="193" y="268"/>
                  <a:pt x="190" y="271"/>
                </a:cubicBezTo>
                <a:cubicBezTo>
                  <a:pt x="174" y="288"/>
                  <a:pt x="174" y="288"/>
                  <a:pt x="174" y="288"/>
                </a:cubicBezTo>
                <a:cubicBezTo>
                  <a:pt x="171" y="291"/>
                  <a:pt x="171" y="296"/>
                  <a:pt x="174" y="299"/>
                </a:cubicBezTo>
                <a:cubicBezTo>
                  <a:pt x="175" y="301"/>
                  <a:pt x="177" y="301"/>
                  <a:pt x="179" y="301"/>
                </a:cubicBezTo>
                <a:cubicBezTo>
                  <a:pt x="181" y="301"/>
                  <a:pt x="183" y="301"/>
                  <a:pt x="185" y="299"/>
                </a:cubicBez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6159" name="Oval 76"/>
          <p:cNvSpPr>
            <a:spLocks noChangeArrowheads="1"/>
          </p:cNvSpPr>
          <p:nvPr/>
        </p:nvSpPr>
        <p:spPr bwMode="auto">
          <a:xfrm>
            <a:off x="10105564" y="4711628"/>
            <a:ext cx="1119124" cy="1119124"/>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9285" name="Freeform 152"/>
          <p:cNvSpPr>
            <a:spLocks noEditPoints="1"/>
          </p:cNvSpPr>
          <p:nvPr/>
        </p:nvSpPr>
        <p:spPr bwMode="auto">
          <a:xfrm>
            <a:off x="10391427" y="4990194"/>
            <a:ext cx="547398" cy="536450"/>
          </a:xfrm>
          <a:custGeom>
            <a:avLst/>
            <a:gdLst>
              <a:gd name="T0" fmla="*/ 396 w 520"/>
              <a:gd name="T1" fmla="*/ 294 h 510"/>
              <a:gd name="T2" fmla="*/ 385 w 520"/>
              <a:gd name="T3" fmla="*/ 283 h 510"/>
              <a:gd name="T4" fmla="*/ 370 w 520"/>
              <a:gd name="T5" fmla="*/ 297 h 510"/>
              <a:gd name="T6" fmla="*/ 342 w 520"/>
              <a:gd name="T7" fmla="*/ 326 h 510"/>
              <a:gd name="T8" fmla="*/ 414 w 520"/>
              <a:gd name="T9" fmla="*/ 161 h 510"/>
              <a:gd name="T10" fmla="*/ 491 w 520"/>
              <a:gd name="T11" fmla="*/ 140 h 510"/>
              <a:gd name="T12" fmla="*/ 506 w 520"/>
              <a:gd name="T13" fmla="*/ 52 h 510"/>
              <a:gd name="T14" fmla="*/ 465 w 520"/>
              <a:gd name="T15" fmla="*/ 88 h 510"/>
              <a:gd name="T16" fmla="*/ 428 w 520"/>
              <a:gd name="T17" fmla="*/ 50 h 510"/>
              <a:gd name="T18" fmla="*/ 463 w 520"/>
              <a:gd name="T19" fmla="*/ 9 h 510"/>
              <a:gd name="T20" fmla="*/ 433 w 520"/>
              <a:gd name="T21" fmla="*/ 0 h 510"/>
              <a:gd name="T22" fmla="*/ 354 w 520"/>
              <a:gd name="T23" fmla="*/ 101 h 510"/>
              <a:gd name="T24" fmla="*/ 123 w 520"/>
              <a:gd name="T25" fmla="*/ 107 h 510"/>
              <a:gd name="T26" fmla="*/ 133 w 520"/>
              <a:gd name="T27" fmla="*/ 85 h 510"/>
              <a:gd name="T28" fmla="*/ 45 w 520"/>
              <a:gd name="T29" fmla="*/ 8 h 510"/>
              <a:gd name="T30" fmla="*/ 11 w 520"/>
              <a:gd name="T31" fmla="*/ 45 h 510"/>
              <a:gd name="T32" fmla="*/ 90 w 520"/>
              <a:gd name="T33" fmla="*/ 128 h 510"/>
              <a:gd name="T34" fmla="*/ 102 w 520"/>
              <a:gd name="T35" fmla="*/ 128 h 510"/>
              <a:gd name="T36" fmla="*/ 224 w 520"/>
              <a:gd name="T37" fmla="*/ 230 h 510"/>
              <a:gd name="T38" fmla="*/ 87 w 520"/>
              <a:gd name="T39" fmla="*/ 346 h 510"/>
              <a:gd name="T40" fmla="*/ 9 w 520"/>
              <a:gd name="T41" fmla="*/ 452 h 510"/>
              <a:gd name="T42" fmla="*/ 22 w 520"/>
              <a:gd name="T43" fmla="*/ 455 h 510"/>
              <a:gd name="T44" fmla="*/ 85 w 520"/>
              <a:gd name="T45" fmla="*/ 430 h 510"/>
              <a:gd name="T46" fmla="*/ 60 w 520"/>
              <a:gd name="T47" fmla="*/ 493 h 510"/>
              <a:gd name="T48" fmla="*/ 63 w 520"/>
              <a:gd name="T49" fmla="*/ 506 h 510"/>
              <a:gd name="T50" fmla="*/ 145 w 520"/>
              <a:gd name="T51" fmla="*/ 486 h 510"/>
              <a:gd name="T52" fmla="*/ 285 w 520"/>
              <a:gd name="T53" fmla="*/ 291 h 510"/>
              <a:gd name="T54" fmla="*/ 288 w 520"/>
              <a:gd name="T55" fmla="*/ 380 h 510"/>
              <a:gd name="T56" fmla="*/ 293 w 520"/>
              <a:gd name="T57" fmla="*/ 394 h 510"/>
              <a:gd name="T58" fmla="*/ 308 w 520"/>
              <a:gd name="T59" fmla="*/ 382 h 510"/>
              <a:gd name="T60" fmla="*/ 452 w 520"/>
              <a:gd name="T61" fmla="*/ 502 h 510"/>
              <a:gd name="T62" fmla="*/ 508 w 520"/>
              <a:gd name="T63" fmla="*/ 447 h 510"/>
              <a:gd name="T64" fmla="*/ 387 w 520"/>
              <a:gd name="T65" fmla="*/ 303 h 510"/>
              <a:gd name="T66" fmla="*/ 30 w 520"/>
              <a:gd name="T67" fmla="*/ 45 h 510"/>
              <a:gd name="T68" fmla="*/ 116 w 520"/>
              <a:gd name="T69" fmla="*/ 91 h 510"/>
              <a:gd name="T70" fmla="*/ 150 w 520"/>
              <a:gd name="T71" fmla="*/ 409 h 510"/>
              <a:gd name="T72" fmla="*/ 87 w 520"/>
              <a:gd name="T73" fmla="*/ 494 h 510"/>
              <a:gd name="T74" fmla="*/ 107 w 520"/>
              <a:gd name="T75" fmla="*/ 468 h 510"/>
              <a:gd name="T76" fmla="*/ 99 w 520"/>
              <a:gd name="T77" fmla="*/ 421 h 510"/>
              <a:gd name="T78" fmla="*/ 54 w 520"/>
              <a:gd name="T79" fmla="*/ 406 h 510"/>
              <a:gd name="T80" fmla="*/ 21 w 520"/>
              <a:gd name="T81" fmla="*/ 433 h 510"/>
              <a:gd name="T82" fmla="*/ 87 w 520"/>
              <a:gd name="T83" fmla="*/ 362 h 510"/>
              <a:gd name="T84" fmla="*/ 114 w 520"/>
              <a:gd name="T85" fmla="*/ 363 h 510"/>
              <a:gd name="T86" fmla="*/ 370 w 520"/>
              <a:gd name="T87" fmla="*/ 101 h 510"/>
              <a:gd name="T88" fmla="*/ 433 w 520"/>
              <a:gd name="T89" fmla="*/ 16 h 510"/>
              <a:gd name="T90" fmla="*/ 413 w 520"/>
              <a:gd name="T91" fmla="*/ 42 h 510"/>
              <a:gd name="T92" fmla="*/ 421 w 520"/>
              <a:gd name="T93" fmla="*/ 88 h 510"/>
              <a:gd name="T94" fmla="*/ 466 w 520"/>
              <a:gd name="T95" fmla="*/ 104 h 510"/>
              <a:gd name="T96" fmla="*/ 499 w 520"/>
              <a:gd name="T97" fmla="*/ 76 h 510"/>
              <a:gd name="T98" fmla="*/ 433 w 520"/>
              <a:gd name="T99" fmla="*/ 147 h 510"/>
              <a:gd name="T100" fmla="*/ 406 w 520"/>
              <a:gd name="T101" fmla="*/ 147 h 510"/>
              <a:gd name="T102" fmla="*/ 150 w 520"/>
              <a:gd name="T103" fmla="*/ 409 h 510"/>
              <a:gd name="T104" fmla="*/ 424 w 520"/>
              <a:gd name="T105" fmla="*/ 475 h 510"/>
              <a:gd name="T106" fmla="*/ 376 w 520"/>
              <a:gd name="T107" fmla="*/ 314 h 510"/>
              <a:gd name="T108" fmla="*/ 492 w 520"/>
              <a:gd name="T109" fmla="*/ 44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20" h="510">
                <a:moveTo>
                  <a:pt x="387" y="303"/>
                </a:moveTo>
                <a:cubicBezTo>
                  <a:pt x="396" y="294"/>
                  <a:pt x="396" y="294"/>
                  <a:pt x="396" y="294"/>
                </a:cubicBezTo>
                <a:cubicBezTo>
                  <a:pt x="399" y="291"/>
                  <a:pt x="399" y="286"/>
                  <a:pt x="396" y="283"/>
                </a:cubicBezTo>
                <a:cubicBezTo>
                  <a:pt x="393" y="279"/>
                  <a:pt x="388" y="279"/>
                  <a:pt x="385" y="283"/>
                </a:cubicBezTo>
                <a:cubicBezTo>
                  <a:pt x="370" y="297"/>
                  <a:pt x="370" y="297"/>
                  <a:pt x="370" y="297"/>
                </a:cubicBezTo>
                <a:cubicBezTo>
                  <a:pt x="370" y="297"/>
                  <a:pt x="370" y="297"/>
                  <a:pt x="370" y="297"/>
                </a:cubicBezTo>
                <a:cubicBezTo>
                  <a:pt x="370" y="297"/>
                  <a:pt x="370" y="297"/>
                  <a:pt x="370" y="297"/>
                </a:cubicBezTo>
                <a:cubicBezTo>
                  <a:pt x="342" y="326"/>
                  <a:pt x="342" y="326"/>
                  <a:pt x="342" y="326"/>
                </a:cubicBezTo>
                <a:cubicBezTo>
                  <a:pt x="296" y="280"/>
                  <a:pt x="296" y="280"/>
                  <a:pt x="296" y="280"/>
                </a:cubicBezTo>
                <a:cubicBezTo>
                  <a:pt x="414" y="161"/>
                  <a:pt x="414" y="161"/>
                  <a:pt x="414" y="161"/>
                </a:cubicBezTo>
                <a:cubicBezTo>
                  <a:pt x="421" y="163"/>
                  <a:pt x="427" y="163"/>
                  <a:pt x="433" y="163"/>
                </a:cubicBezTo>
                <a:cubicBezTo>
                  <a:pt x="455" y="163"/>
                  <a:pt x="476" y="155"/>
                  <a:pt x="491" y="140"/>
                </a:cubicBezTo>
                <a:cubicBezTo>
                  <a:pt x="513" y="118"/>
                  <a:pt x="520" y="87"/>
                  <a:pt x="512" y="58"/>
                </a:cubicBezTo>
                <a:cubicBezTo>
                  <a:pt x="511" y="55"/>
                  <a:pt x="509" y="53"/>
                  <a:pt x="506" y="52"/>
                </a:cubicBezTo>
                <a:cubicBezTo>
                  <a:pt x="503" y="52"/>
                  <a:pt x="500" y="53"/>
                  <a:pt x="498" y="55"/>
                </a:cubicBezTo>
                <a:cubicBezTo>
                  <a:pt x="465" y="88"/>
                  <a:pt x="465" y="88"/>
                  <a:pt x="465" y="88"/>
                </a:cubicBezTo>
                <a:cubicBezTo>
                  <a:pt x="435" y="80"/>
                  <a:pt x="435" y="80"/>
                  <a:pt x="435" y="80"/>
                </a:cubicBezTo>
                <a:cubicBezTo>
                  <a:pt x="428" y="50"/>
                  <a:pt x="428" y="50"/>
                  <a:pt x="428" y="50"/>
                </a:cubicBezTo>
                <a:cubicBezTo>
                  <a:pt x="461" y="17"/>
                  <a:pt x="461" y="17"/>
                  <a:pt x="461" y="17"/>
                </a:cubicBezTo>
                <a:cubicBezTo>
                  <a:pt x="463" y="15"/>
                  <a:pt x="463" y="12"/>
                  <a:pt x="463" y="9"/>
                </a:cubicBezTo>
                <a:cubicBezTo>
                  <a:pt x="462" y="6"/>
                  <a:pt x="460" y="4"/>
                  <a:pt x="457" y="3"/>
                </a:cubicBezTo>
                <a:cubicBezTo>
                  <a:pt x="449" y="1"/>
                  <a:pt x="441" y="0"/>
                  <a:pt x="433" y="0"/>
                </a:cubicBezTo>
                <a:cubicBezTo>
                  <a:pt x="411" y="0"/>
                  <a:pt x="391" y="8"/>
                  <a:pt x="376" y="24"/>
                </a:cubicBezTo>
                <a:cubicBezTo>
                  <a:pt x="355" y="44"/>
                  <a:pt x="347" y="73"/>
                  <a:pt x="354" y="101"/>
                </a:cubicBezTo>
                <a:cubicBezTo>
                  <a:pt x="236" y="219"/>
                  <a:pt x="236" y="219"/>
                  <a:pt x="236" y="219"/>
                </a:cubicBezTo>
                <a:cubicBezTo>
                  <a:pt x="123" y="107"/>
                  <a:pt x="123" y="107"/>
                  <a:pt x="123" y="107"/>
                </a:cubicBezTo>
                <a:cubicBezTo>
                  <a:pt x="133" y="97"/>
                  <a:pt x="133" y="97"/>
                  <a:pt x="133" y="97"/>
                </a:cubicBezTo>
                <a:cubicBezTo>
                  <a:pt x="137" y="93"/>
                  <a:pt x="137" y="88"/>
                  <a:pt x="133" y="85"/>
                </a:cubicBezTo>
                <a:cubicBezTo>
                  <a:pt x="56" y="8"/>
                  <a:pt x="56" y="8"/>
                  <a:pt x="56" y="8"/>
                </a:cubicBezTo>
                <a:cubicBezTo>
                  <a:pt x="53" y="5"/>
                  <a:pt x="48" y="5"/>
                  <a:pt x="45" y="8"/>
                </a:cubicBezTo>
                <a:cubicBezTo>
                  <a:pt x="13" y="40"/>
                  <a:pt x="13" y="40"/>
                  <a:pt x="13" y="40"/>
                </a:cubicBezTo>
                <a:cubicBezTo>
                  <a:pt x="12" y="41"/>
                  <a:pt x="11" y="43"/>
                  <a:pt x="11" y="45"/>
                </a:cubicBezTo>
                <a:cubicBezTo>
                  <a:pt x="11" y="47"/>
                  <a:pt x="12" y="50"/>
                  <a:pt x="13" y="51"/>
                </a:cubicBezTo>
                <a:cubicBezTo>
                  <a:pt x="90" y="128"/>
                  <a:pt x="90" y="128"/>
                  <a:pt x="90" y="128"/>
                </a:cubicBezTo>
                <a:cubicBezTo>
                  <a:pt x="92" y="130"/>
                  <a:pt x="94" y="131"/>
                  <a:pt x="96" y="131"/>
                </a:cubicBezTo>
                <a:cubicBezTo>
                  <a:pt x="98" y="131"/>
                  <a:pt x="100" y="130"/>
                  <a:pt x="102" y="128"/>
                </a:cubicBezTo>
                <a:cubicBezTo>
                  <a:pt x="112" y="118"/>
                  <a:pt x="112" y="118"/>
                  <a:pt x="112" y="118"/>
                </a:cubicBezTo>
                <a:cubicBezTo>
                  <a:pt x="224" y="230"/>
                  <a:pt x="224" y="230"/>
                  <a:pt x="224" y="230"/>
                </a:cubicBezTo>
                <a:cubicBezTo>
                  <a:pt x="106" y="349"/>
                  <a:pt x="106" y="349"/>
                  <a:pt x="106" y="349"/>
                </a:cubicBezTo>
                <a:cubicBezTo>
                  <a:pt x="100" y="347"/>
                  <a:pt x="93" y="346"/>
                  <a:pt x="87" y="346"/>
                </a:cubicBezTo>
                <a:cubicBezTo>
                  <a:pt x="65" y="346"/>
                  <a:pt x="44" y="355"/>
                  <a:pt x="29" y="370"/>
                </a:cubicBezTo>
                <a:cubicBezTo>
                  <a:pt x="8" y="392"/>
                  <a:pt x="0" y="423"/>
                  <a:pt x="9" y="452"/>
                </a:cubicBezTo>
                <a:cubicBezTo>
                  <a:pt x="9" y="455"/>
                  <a:pt x="12" y="457"/>
                  <a:pt x="14" y="457"/>
                </a:cubicBezTo>
                <a:cubicBezTo>
                  <a:pt x="17" y="458"/>
                  <a:pt x="20" y="457"/>
                  <a:pt x="22" y="455"/>
                </a:cubicBezTo>
                <a:cubicBezTo>
                  <a:pt x="55" y="422"/>
                  <a:pt x="55" y="422"/>
                  <a:pt x="55" y="422"/>
                </a:cubicBezTo>
                <a:cubicBezTo>
                  <a:pt x="85" y="430"/>
                  <a:pt x="85" y="430"/>
                  <a:pt x="85" y="430"/>
                </a:cubicBezTo>
                <a:cubicBezTo>
                  <a:pt x="93" y="460"/>
                  <a:pt x="93" y="460"/>
                  <a:pt x="93" y="460"/>
                </a:cubicBezTo>
                <a:cubicBezTo>
                  <a:pt x="60" y="493"/>
                  <a:pt x="60" y="493"/>
                  <a:pt x="60" y="493"/>
                </a:cubicBezTo>
                <a:cubicBezTo>
                  <a:pt x="58" y="495"/>
                  <a:pt x="57" y="498"/>
                  <a:pt x="58" y="501"/>
                </a:cubicBezTo>
                <a:cubicBezTo>
                  <a:pt x="58" y="503"/>
                  <a:pt x="60" y="506"/>
                  <a:pt x="63" y="506"/>
                </a:cubicBezTo>
                <a:cubicBezTo>
                  <a:pt x="71" y="509"/>
                  <a:pt x="79" y="510"/>
                  <a:pt x="87" y="510"/>
                </a:cubicBezTo>
                <a:cubicBezTo>
                  <a:pt x="109" y="510"/>
                  <a:pt x="129" y="502"/>
                  <a:pt x="145" y="486"/>
                </a:cubicBezTo>
                <a:cubicBezTo>
                  <a:pt x="165" y="466"/>
                  <a:pt x="173" y="437"/>
                  <a:pt x="166" y="409"/>
                </a:cubicBezTo>
                <a:cubicBezTo>
                  <a:pt x="285" y="291"/>
                  <a:pt x="285" y="291"/>
                  <a:pt x="285" y="291"/>
                </a:cubicBezTo>
                <a:cubicBezTo>
                  <a:pt x="331" y="337"/>
                  <a:pt x="331" y="337"/>
                  <a:pt x="331" y="337"/>
                </a:cubicBezTo>
                <a:cubicBezTo>
                  <a:pt x="288" y="380"/>
                  <a:pt x="288" y="380"/>
                  <a:pt x="288" y="380"/>
                </a:cubicBezTo>
                <a:cubicBezTo>
                  <a:pt x="285" y="383"/>
                  <a:pt x="285" y="388"/>
                  <a:pt x="288" y="391"/>
                </a:cubicBezTo>
                <a:cubicBezTo>
                  <a:pt x="289" y="393"/>
                  <a:pt x="291" y="394"/>
                  <a:pt x="293" y="394"/>
                </a:cubicBezTo>
                <a:cubicBezTo>
                  <a:pt x="295" y="394"/>
                  <a:pt x="298" y="393"/>
                  <a:pt x="299" y="391"/>
                </a:cubicBezTo>
                <a:cubicBezTo>
                  <a:pt x="308" y="382"/>
                  <a:pt x="308" y="382"/>
                  <a:pt x="308" y="382"/>
                </a:cubicBezTo>
                <a:cubicBezTo>
                  <a:pt x="412" y="486"/>
                  <a:pt x="412" y="486"/>
                  <a:pt x="412" y="486"/>
                </a:cubicBezTo>
                <a:cubicBezTo>
                  <a:pt x="423" y="497"/>
                  <a:pt x="437" y="502"/>
                  <a:pt x="452" y="502"/>
                </a:cubicBezTo>
                <a:cubicBezTo>
                  <a:pt x="466" y="502"/>
                  <a:pt x="480" y="497"/>
                  <a:pt x="491" y="486"/>
                </a:cubicBezTo>
                <a:cubicBezTo>
                  <a:pt x="502" y="475"/>
                  <a:pt x="508" y="461"/>
                  <a:pt x="508" y="447"/>
                </a:cubicBezTo>
                <a:cubicBezTo>
                  <a:pt x="508" y="432"/>
                  <a:pt x="502" y="418"/>
                  <a:pt x="491" y="407"/>
                </a:cubicBezTo>
                <a:lnTo>
                  <a:pt x="387" y="303"/>
                </a:lnTo>
                <a:close/>
                <a:moveTo>
                  <a:pt x="96" y="111"/>
                </a:moveTo>
                <a:cubicBezTo>
                  <a:pt x="30" y="45"/>
                  <a:pt x="30" y="45"/>
                  <a:pt x="30" y="45"/>
                </a:cubicBezTo>
                <a:cubicBezTo>
                  <a:pt x="51" y="25"/>
                  <a:pt x="51" y="25"/>
                  <a:pt x="51" y="25"/>
                </a:cubicBezTo>
                <a:cubicBezTo>
                  <a:pt x="116" y="91"/>
                  <a:pt x="116" y="91"/>
                  <a:pt x="116" y="91"/>
                </a:cubicBezTo>
                <a:lnTo>
                  <a:pt x="96" y="111"/>
                </a:lnTo>
                <a:close/>
                <a:moveTo>
                  <a:pt x="150" y="409"/>
                </a:moveTo>
                <a:cubicBezTo>
                  <a:pt x="157" y="432"/>
                  <a:pt x="151" y="458"/>
                  <a:pt x="133" y="475"/>
                </a:cubicBezTo>
                <a:cubicBezTo>
                  <a:pt x="121" y="487"/>
                  <a:pt x="104" y="494"/>
                  <a:pt x="87" y="494"/>
                </a:cubicBezTo>
                <a:cubicBezTo>
                  <a:pt x="85" y="494"/>
                  <a:pt x="83" y="494"/>
                  <a:pt x="82" y="494"/>
                </a:cubicBezTo>
                <a:cubicBezTo>
                  <a:pt x="107" y="468"/>
                  <a:pt x="107" y="468"/>
                  <a:pt x="107" y="468"/>
                </a:cubicBezTo>
                <a:cubicBezTo>
                  <a:pt x="109" y="466"/>
                  <a:pt x="110" y="463"/>
                  <a:pt x="109" y="461"/>
                </a:cubicBezTo>
                <a:cubicBezTo>
                  <a:pt x="99" y="421"/>
                  <a:pt x="99" y="421"/>
                  <a:pt x="99" y="421"/>
                </a:cubicBezTo>
                <a:cubicBezTo>
                  <a:pt x="99" y="419"/>
                  <a:pt x="96" y="416"/>
                  <a:pt x="94" y="416"/>
                </a:cubicBezTo>
                <a:cubicBezTo>
                  <a:pt x="54" y="406"/>
                  <a:pt x="54" y="406"/>
                  <a:pt x="54" y="406"/>
                </a:cubicBezTo>
                <a:cubicBezTo>
                  <a:pt x="52" y="405"/>
                  <a:pt x="49" y="406"/>
                  <a:pt x="47" y="408"/>
                </a:cubicBezTo>
                <a:cubicBezTo>
                  <a:pt x="21" y="433"/>
                  <a:pt x="21" y="433"/>
                  <a:pt x="21" y="433"/>
                </a:cubicBezTo>
                <a:cubicBezTo>
                  <a:pt x="20" y="414"/>
                  <a:pt x="27" y="395"/>
                  <a:pt x="40" y="382"/>
                </a:cubicBezTo>
                <a:cubicBezTo>
                  <a:pt x="53" y="369"/>
                  <a:pt x="69" y="362"/>
                  <a:pt x="87" y="362"/>
                </a:cubicBezTo>
                <a:cubicBezTo>
                  <a:pt x="93" y="362"/>
                  <a:pt x="100" y="363"/>
                  <a:pt x="106" y="365"/>
                </a:cubicBezTo>
                <a:cubicBezTo>
                  <a:pt x="109" y="366"/>
                  <a:pt x="112" y="365"/>
                  <a:pt x="114" y="363"/>
                </a:cubicBezTo>
                <a:cubicBezTo>
                  <a:pt x="368" y="109"/>
                  <a:pt x="368" y="109"/>
                  <a:pt x="368" y="109"/>
                </a:cubicBezTo>
                <a:cubicBezTo>
                  <a:pt x="371" y="107"/>
                  <a:pt x="371" y="104"/>
                  <a:pt x="370" y="101"/>
                </a:cubicBezTo>
                <a:cubicBezTo>
                  <a:pt x="363" y="78"/>
                  <a:pt x="370" y="52"/>
                  <a:pt x="387" y="35"/>
                </a:cubicBezTo>
                <a:cubicBezTo>
                  <a:pt x="399" y="23"/>
                  <a:pt x="416" y="16"/>
                  <a:pt x="433" y="16"/>
                </a:cubicBezTo>
                <a:cubicBezTo>
                  <a:pt x="435" y="16"/>
                  <a:pt x="437" y="16"/>
                  <a:pt x="439" y="16"/>
                </a:cubicBezTo>
                <a:cubicBezTo>
                  <a:pt x="413" y="42"/>
                  <a:pt x="413" y="42"/>
                  <a:pt x="413" y="42"/>
                </a:cubicBezTo>
                <a:cubicBezTo>
                  <a:pt x="411" y="44"/>
                  <a:pt x="410" y="47"/>
                  <a:pt x="411" y="49"/>
                </a:cubicBezTo>
                <a:cubicBezTo>
                  <a:pt x="421" y="88"/>
                  <a:pt x="421" y="88"/>
                  <a:pt x="421" y="88"/>
                </a:cubicBezTo>
                <a:cubicBezTo>
                  <a:pt x="421" y="91"/>
                  <a:pt x="424" y="94"/>
                  <a:pt x="427" y="94"/>
                </a:cubicBezTo>
                <a:cubicBezTo>
                  <a:pt x="466" y="104"/>
                  <a:pt x="466" y="104"/>
                  <a:pt x="466" y="104"/>
                </a:cubicBezTo>
                <a:cubicBezTo>
                  <a:pt x="469" y="105"/>
                  <a:pt x="471" y="104"/>
                  <a:pt x="473" y="102"/>
                </a:cubicBezTo>
                <a:cubicBezTo>
                  <a:pt x="499" y="76"/>
                  <a:pt x="499" y="76"/>
                  <a:pt x="499" y="76"/>
                </a:cubicBezTo>
                <a:cubicBezTo>
                  <a:pt x="500" y="95"/>
                  <a:pt x="494" y="114"/>
                  <a:pt x="480" y="128"/>
                </a:cubicBezTo>
                <a:cubicBezTo>
                  <a:pt x="467" y="141"/>
                  <a:pt x="451" y="147"/>
                  <a:pt x="433" y="147"/>
                </a:cubicBezTo>
                <a:cubicBezTo>
                  <a:pt x="427" y="147"/>
                  <a:pt x="420" y="147"/>
                  <a:pt x="414" y="145"/>
                </a:cubicBezTo>
                <a:cubicBezTo>
                  <a:pt x="411" y="144"/>
                  <a:pt x="408" y="145"/>
                  <a:pt x="406" y="147"/>
                </a:cubicBezTo>
                <a:cubicBezTo>
                  <a:pt x="152" y="401"/>
                  <a:pt x="152" y="401"/>
                  <a:pt x="152" y="401"/>
                </a:cubicBezTo>
                <a:cubicBezTo>
                  <a:pt x="150" y="403"/>
                  <a:pt x="149" y="406"/>
                  <a:pt x="150" y="409"/>
                </a:cubicBezTo>
                <a:close/>
                <a:moveTo>
                  <a:pt x="480" y="475"/>
                </a:moveTo>
                <a:cubicBezTo>
                  <a:pt x="464" y="490"/>
                  <a:pt x="439" y="490"/>
                  <a:pt x="424" y="475"/>
                </a:cubicBezTo>
                <a:cubicBezTo>
                  <a:pt x="320" y="371"/>
                  <a:pt x="320" y="371"/>
                  <a:pt x="320" y="371"/>
                </a:cubicBezTo>
                <a:cubicBezTo>
                  <a:pt x="376" y="314"/>
                  <a:pt x="376" y="314"/>
                  <a:pt x="376" y="314"/>
                </a:cubicBezTo>
                <a:cubicBezTo>
                  <a:pt x="480" y="418"/>
                  <a:pt x="480" y="418"/>
                  <a:pt x="480" y="418"/>
                </a:cubicBezTo>
                <a:cubicBezTo>
                  <a:pt x="487" y="426"/>
                  <a:pt x="492" y="436"/>
                  <a:pt x="492" y="447"/>
                </a:cubicBezTo>
                <a:cubicBezTo>
                  <a:pt x="492" y="457"/>
                  <a:pt x="487" y="467"/>
                  <a:pt x="480" y="475"/>
                </a:cubicBez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6162" name="Oval 79"/>
          <p:cNvSpPr>
            <a:spLocks noChangeArrowheads="1"/>
          </p:cNvSpPr>
          <p:nvPr/>
        </p:nvSpPr>
        <p:spPr bwMode="auto">
          <a:xfrm>
            <a:off x="4831649" y="4711628"/>
            <a:ext cx="1119124" cy="1119124"/>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9286" name="Freeform 153"/>
          <p:cNvSpPr>
            <a:spLocks noEditPoints="1"/>
          </p:cNvSpPr>
          <p:nvPr/>
        </p:nvSpPr>
        <p:spPr bwMode="auto">
          <a:xfrm>
            <a:off x="5060340" y="4951267"/>
            <a:ext cx="661742" cy="544965"/>
          </a:xfrm>
          <a:custGeom>
            <a:avLst/>
            <a:gdLst>
              <a:gd name="T0" fmla="*/ 0 w 629"/>
              <a:gd name="T1" fmla="*/ 517 h 517"/>
              <a:gd name="T2" fmla="*/ 315 w 629"/>
              <a:gd name="T3" fmla="*/ 0 h 517"/>
              <a:gd name="T4" fmla="*/ 629 w 629"/>
              <a:gd name="T5" fmla="*/ 517 h 517"/>
              <a:gd name="T6" fmla="*/ 0 w 629"/>
              <a:gd name="T7" fmla="*/ 517 h 517"/>
              <a:gd name="T8" fmla="*/ 315 w 629"/>
              <a:gd name="T9" fmla="*/ 408 h 517"/>
              <a:gd name="T10" fmla="*/ 290 w 629"/>
              <a:gd name="T11" fmla="*/ 433 h 517"/>
              <a:gd name="T12" fmla="*/ 315 w 629"/>
              <a:gd name="T13" fmla="*/ 457 h 517"/>
              <a:gd name="T14" fmla="*/ 339 w 629"/>
              <a:gd name="T15" fmla="*/ 433 h 517"/>
              <a:gd name="T16" fmla="*/ 315 w 629"/>
              <a:gd name="T17" fmla="*/ 408 h 517"/>
              <a:gd name="T18" fmla="*/ 290 w 629"/>
              <a:gd name="T19" fmla="*/ 367 h 517"/>
              <a:gd name="T20" fmla="*/ 315 w 629"/>
              <a:gd name="T21" fmla="*/ 391 h 517"/>
              <a:gd name="T22" fmla="*/ 339 w 629"/>
              <a:gd name="T23" fmla="*/ 367 h 517"/>
              <a:gd name="T24" fmla="*/ 339 w 629"/>
              <a:gd name="T25" fmla="*/ 200 h 517"/>
              <a:gd name="T26" fmla="*/ 315 w 629"/>
              <a:gd name="T27" fmla="*/ 176 h 517"/>
              <a:gd name="T28" fmla="*/ 290 w 629"/>
              <a:gd name="T29" fmla="*/ 200 h 517"/>
              <a:gd name="T30" fmla="*/ 290 w 629"/>
              <a:gd name="T31" fmla="*/ 367 h 5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29" h="517">
                <a:moveTo>
                  <a:pt x="0" y="517"/>
                </a:moveTo>
                <a:cubicBezTo>
                  <a:pt x="315" y="0"/>
                  <a:pt x="315" y="0"/>
                  <a:pt x="315" y="0"/>
                </a:cubicBezTo>
                <a:cubicBezTo>
                  <a:pt x="629" y="517"/>
                  <a:pt x="629" y="517"/>
                  <a:pt x="629" y="517"/>
                </a:cubicBezTo>
                <a:lnTo>
                  <a:pt x="0" y="517"/>
                </a:lnTo>
                <a:close/>
                <a:moveTo>
                  <a:pt x="315" y="408"/>
                </a:moveTo>
                <a:cubicBezTo>
                  <a:pt x="301" y="408"/>
                  <a:pt x="290" y="419"/>
                  <a:pt x="290" y="433"/>
                </a:cubicBezTo>
                <a:cubicBezTo>
                  <a:pt x="290" y="446"/>
                  <a:pt x="301" y="457"/>
                  <a:pt x="315" y="457"/>
                </a:cubicBezTo>
                <a:cubicBezTo>
                  <a:pt x="328" y="457"/>
                  <a:pt x="339" y="446"/>
                  <a:pt x="339" y="433"/>
                </a:cubicBezTo>
                <a:cubicBezTo>
                  <a:pt x="339" y="419"/>
                  <a:pt x="328" y="408"/>
                  <a:pt x="315" y="408"/>
                </a:cubicBezTo>
                <a:close/>
                <a:moveTo>
                  <a:pt x="290" y="367"/>
                </a:moveTo>
                <a:cubicBezTo>
                  <a:pt x="290" y="380"/>
                  <a:pt x="301" y="391"/>
                  <a:pt x="315" y="391"/>
                </a:cubicBezTo>
                <a:cubicBezTo>
                  <a:pt x="328" y="391"/>
                  <a:pt x="339" y="380"/>
                  <a:pt x="339" y="367"/>
                </a:cubicBezTo>
                <a:cubicBezTo>
                  <a:pt x="339" y="200"/>
                  <a:pt x="339" y="200"/>
                  <a:pt x="339" y="200"/>
                </a:cubicBezTo>
                <a:cubicBezTo>
                  <a:pt x="339" y="187"/>
                  <a:pt x="328" y="176"/>
                  <a:pt x="315" y="176"/>
                </a:cubicBezTo>
                <a:cubicBezTo>
                  <a:pt x="301" y="176"/>
                  <a:pt x="290" y="187"/>
                  <a:pt x="290" y="200"/>
                </a:cubicBezTo>
                <a:lnTo>
                  <a:pt x="290" y="367"/>
                </a:lnTo>
                <a:close/>
              </a:path>
            </a:pathLst>
          </a:custGeom>
          <a:noFill/>
          <a:ln w="19050" cap="rnd">
            <a:solidFill>
              <a:srgbClr val="FFFFFF"/>
            </a:solidFill>
            <a:prstDash val="solid"/>
            <a:round/>
            <a:headEnd/>
            <a:tailEnd/>
          </a:ln>
        </p:spPr>
        <p:txBody>
          <a:bodyPr vert="horz" wrap="square" lIns="93260" tIns="46630" rIns="93260" bIns="46630" numCol="1" anchor="t" anchorCtr="0" compatLnSpc="1">
            <a:prstTxWarp prst="textNoShape">
              <a:avLst/>
            </a:prstTxWarp>
          </a:bodyPr>
          <a:lstStyle/>
          <a:p>
            <a:endParaRPr lang="en-US" sz="1836"/>
          </a:p>
        </p:txBody>
      </p:sp>
    </p:spTree>
    <p:extLst>
      <p:ext uri="{BB962C8B-B14F-4D97-AF65-F5344CB8AC3E}">
        <p14:creationId xmlns:p14="http://schemas.microsoft.com/office/powerpoint/2010/main" val="1622668417"/>
      </p:ext>
    </p:extLst>
  </p:cSld>
  <p:clrMapOvr>
    <a:masterClrMapping/>
  </p:clrMapOvr>
  <p:transition>
    <p:fade/>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General</a:t>
            </a:r>
          </a:p>
        </p:txBody>
      </p:sp>
      <p:sp>
        <p:nvSpPr>
          <p:cNvPr id="25" name="Oval 26"/>
          <p:cNvSpPr>
            <a:spLocks noChangeArrowheads="1"/>
          </p:cNvSpPr>
          <p:nvPr/>
        </p:nvSpPr>
        <p:spPr bwMode="auto">
          <a:xfrm>
            <a:off x="3073678" y="4711628"/>
            <a:ext cx="1119124" cy="1119124"/>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9279" name="Freeform 76"/>
          <p:cNvSpPr>
            <a:spLocks noEditPoints="1"/>
          </p:cNvSpPr>
          <p:nvPr/>
        </p:nvSpPr>
        <p:spPr bwMode="auto">
          <a:xfrm>
            <a:off x="3380496" y="4981112"/>
            <a:ext cx="504312" cy="667238"/>
          </a:xfrm>
          <a:custGeom>
            <a:avLst/>
            <a:gdLst>
              <a:gd name="T0" fmla="*/ 328 w 479"/>
              <a:gd name="T1" fmla="*/ 438 h 633"/>
              <a:gd name="T2" fmla="*/ 152 w 479"/>
              <a:gd name="T3" fmla="*/ 438 h 633"/>
              <a:gd name="T4" fmla="*/ 129 w 479"/>
              <a:gd name="T5" fmla="*/ 422 h 633"/>
              <a:gd name="T6" fmla="*/ 75 w 479"/>
              <a:gd name="T7" fmla="*/ 254 h 633"/>
              <a:gd name="T8" fmla="*/ 84 w 479"/>
              <a:gd name="T9" fmla="*/ 228 h 633"/>
              <a:gd name="T10" fmla="*/ 226 w 479"/>
              <a:gd name="T11" fmla="*/ 125 h 633"/>
              <a:gd name="T12" fmla="*/ 254 w 479"/>
              <a:gd name="T13" fmla="*/ 125 h 633"/>
              <a:gd name="T14" fmla="*/ 396 w 479"/>
              <a:gd name="T15" fmla="*/ 228 h 633"/>
              <a:gd name="T16" fmla="*/ 405 w 479"/>
              <a:gd name="T17" fmla="*/ 254 h 633"/>
              <a:gd name="T18" fmla="*/ 350 w 479"/>
              <a:gd name="T19" fmla="*/ 422 h 633"/>
              <a:gd name="T20" fmla="*/ 335 w 479"/>
              <a:gd name="T21" fmla="*/ 440 h 633"/>
              <a:gd name="T22" fmla="*/ 243 w 479"/>
              <a:gd name="T23" fmla="*/ 378 h 633"/>
              <a:gd name="T24" fmla="*/ 336 w 479"/>
              <a:gd name="T25" fmla="*/ 425 h 633"/>
              <a:gd name="T26" fmla="*/ 319 w 479"/>
              <a:gd name="T27" fmla="*/ 323 h 633"/>
              <a:gd name="T28" fmla="*/ 395 w 479"/>
              <a:gd name="T29" fmla="*/ 244 h 633"/>
              <a:gd name="T30" fmla="*/ 394 w 479"/>
              <a:gd name="T31" fmla="*/ 242 h 633"/>
              <a:gd name="T32" fmla="*/ 287 w 479"/>
              <a:gd name="T33" fmla="*/ 223 h 633"/>
              <a:gd name="T34" fmla="*/ 238 w 479"/>
              <a:gd name="T35" fmla="*/ 131 h 633"/>
              <a:gd name="T36" fmla="*/ 188 w 479"/>
              <a:gd name="T37" fmla="*/ 227 h 633"/>
              <a:gd name="T38" fmla="*/ 84 w 479"/>
              <a:gd name="T39" fmla="*/ 243 h 633"/>
              <a:gd name="T40" fmla="*/ 159 w 479"/>
              <a:gd name="T41" fmla="*/ 316 h 633"/>
              <a:gd name="T42" fmla="*/ 143 w 479"/>
              <a:gd name="T43" fmla="*/ 424 h 633"/>
              <a:gd name="T44" fmla="*/ 145 w 479"/>
              <a:gd name="T45" fmla="*/ 426 h 633"/>
              <a:gd name="T46" fmla="*/ 240 w 479"/>
              <a:gd name="T47" fmla="*/ 377 h 633"/>
              <a:gd name="T48" fmla="*/ 238 w 479"/>
              <a:gd name="T49" fmla="*/ 633 h 633"/>
              <a:gd name="T50" fmla="*/ 0 w 479"/>
              <a:gd name="T51" fmla="*/ 435 h 633"/>
              <a:gd name="T52" fmla="*/ 5 w 479"/>
              <a:gd name="T53" fmla="*/ 39 h 633"/>
              <a:gd name="T54" fmla="*/ 474 w 479"/>
              <a:gd name="T55" fmla="*/ 39 h 633"/>
              <a:gd name="T56" fmla="*/ 479 w 479"/>
              <a:gd name="T57" fmla="*/ 435 h 633"/>
              <a:gd name="T58" fmla="*/ 241 w 479"/>
              <a:gd name="T59" fmla="*/ 633 h 633"/>
              <a:gd name="T60" fmla="*/ 14 w 479"/>
              <a:gd name="T61" fmla="*/ 51 h 633"/>
              <a:gd name="T62" fmla="*/ 111 w 479"/>
              <a:gd name="T63" fmla="*/ 542 h 633"/>
              <a:gd name="T64" fmla="*/ 465 w 479"/>
              <a:gd name="T65" fmla="*/ 435 h 633"/>
              <a:gd name="T66" fmla="*/ 240 w 479"/>
              <a:gd name="T67" fmla="*/ 14 h 6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79" h="633">
                <a:moveTo>
                  <a:pt x="335" y="440"/>
                </a:moveTo>
                <a:cubicBezTo>
                  <a:pt x="332" y="440"/>
                  <a:pt x="330" y="439"/>
                  <a:pt x="328" y="438"/>
                </a:cubicBezTo>
                <a:cubicBezTo>
                  <a:pt x="240" y="392"/>
                  <a:pt x="240" y="392"/>
                  <a:pt x="240" y="392"/>
                </a:cubicBezTo>
                <a:cubicBezTo>
                  <a:pt x="152" y="438"/>
                  <a:pt x="152" y="438"/>
                  <a:pt x="152" y="438"/>
                </a:cubicBezTo>
                <a:cubicBezTo>
                  <a:pt x="147" y="441"/>
                  <a:pt x="140" y="440"/>
                  <a:pt x="136" y="437"/>
                </a:cubicBezTo>
                <a:cubicBezTo>
                  <a:pt x="131" y="433"/>
                  <a:pt x="128" y="428"/>
                  <a:pt x="129" y="422"/>
                </a:cubicBezTo>
                <a:cubicBezTo>
                  <a:pt x="146" y="324"/>
                  <a:pt x="146" y="324"/>
                  <a:pt x="146" y="324"/>
                </a:cubicBezTo>
                <a:cubicBezTo>
                  <a:pt x="75" y="254"/>
                  <a:pt x="75" y="254"/>
                  <a:pt x="75" y="254"/>
                </a:cubicBezTo>
                <a:cubicBezTo>
                  <a:pt x="71" y="250"/>
                  <a:pt x="69" y="244"/>
                  <a:pt x="71" y="239"/>
                </a:cubicBezTo>
                <a:cubicBezTo>
                  <a:pt x="73" y="233"/>
                  <a:pt x="78" y="229"/>
                  <a:pt x="84" y="228"/>
                </a:cubicBezTo>
                <a:cubicBezTo>
                  <a:pt x="182" y="214"/>
                  <a:pt x="182" y="214"/>
                  <a:pt x="182" y="214"/>
                </a:cubicBezTo>
                <a:cubicBezTo>
                  <a:pt x="226" y="125"/>
                  <a:pt x="226" y="125"/>
                  <a:pt x="226" y="125"/>
                </a:cubicBezTo>
                <a:cubicBezTo>
                  <a:pt x="228" y="119"/>
                  <a:pt x="234" y="116"/>
                  <a:pt x="240" y="116"/>
                </a:cubicBezTo>
                <a:cubicBezTo>
                  <a:pt x="246" y="116"/>
                  <a:pt x="251" y="119"/>
                  <a:pt x="254" y="125"/>
                </a:cubicBezTo>
                <a:cubicBezTo>
                  <a:pt x="298" y="214"/>
                  <a:pt x="298" y="214"/>
                  <a:pt x="298" y="214"/>
                </a:cubicBezTo>
                <a:cubicBezTo>
                  <a:pt x="396" y="228"/>
                  <a:pt x="396" y="228"/>
                  <a:pt x="396" y="228"/>
                </a:cubicBezTo>
                <a:cubicBezTo>
                  <a:pt x="402" y="229"/>
                  <a:pt x="407" y="233"/>
                  <a:pt x="408" y="239"/>
                </a:cubicBezTo>
                <a:cubicBezTo>
                  <a:pt x="410" y="244"/>
                  <a:pt x="409" y="250"/>
                  <a:pt x="405" y="254"/>
                </a:cubicBezTo>
                <a:cubicBezTo>
                  <a:pt x="333" y="324"/>
                  <a:pt x="333" y="324"/>
                  <a:pt x="333" y="324"/>
                </a:cubicBezTo>
                <a:cubicBezTo>
                  <a:pt x="350" y="422"/>
                  <a:pt x="350" y="422"/>
                  <a:pt x="350" y="422"/>
                </a:cubicBezTo>
                <a:cubicBezTo>
                  <a:pt x="351" y="427"/>
                  <a:pt x="349" y="433"/>
                  <a:pt x="344" y="437"/>
                </a:cubicBezTo>
                <a:cubicBezTo>
                  <a:pt x="341" y="439"/>
                  <a:pt x="338" y="440"/>
                  <a:pt x="335" y="440"/>
                </a:cubicBezTo>
                <a:close/>
                <a:moveTo>
                  <a:pt x="240" y="377"/>
                </a:moveTo>
                <a:cubicBezTo>
                  <a:pt x="241" y="377"/>
                  <a:pt x="242" y="377"/>
                  <a:pt x="243" y="378"/>
                </a:cubicBezTo>
                <a:cubicBezTo>
                  <a:pt x="334" y="426"/>
                  <a:pt x="334" y="426"/>
                  <a:pt x="334" y="426"/>
                </a:cubicBezTo>
                <a:cubicBezTo>
                  <a:pt x="335" y="426"/>
                  <a:pt x="335" y="426"/>
                  <a:pt x="336" y="425"/>
                </a:cubicBezTo>
                <a:cubicBezTo>
                  <a:pt x="336" y="425"/>
                  <a:pt x="336" y="425"/>
                  <a:pt x="336" y="424"/>
                </a:cubicBezTo>
                <a:cubicBezTo>
                  <a:pt x="319" y="323"/>
                  <a:pt x="319" y="323"/>
                  <a:pt x="319" y="323"/>
                </a:cubicBezTo>
                <a:cubicBezTo>
                  <a:pt x="319" y="320"/>
                  <a:pt x="319" y="318"/>
                  <a:pt x="321" y="316"/>
                </a:cubicBezTo>
                <a:cubicBezTo>
                  <a:pt x="395" y="244"/>
                  <a:pt x="395" y="244"/>
                  <a:pt x="395" y="244"/>
                </a:cubicBezTo>
                <a:cubicBezTo>
                  <a:pt x="395" y="244"/>
                  <a:pt x="395" y="243"/>
                  <a:pt x="395" y="243"/>
                </a:cubicBezTo>
                <a:cubicBezTo>
                  <a:pt x="395" y="242"/>
                  <a:pt x="394" y="242"/>
                  <a:pt x="394" y="242"/>
                </a:cubicBezTo>
                <a:cubicBezTo>
                  <a:pt x="292" y="227"/>
                  <a:pt x="292" y="227"/>
                  <a:pt x="292" y="227"/>
                </a:cubicBezTo>
                <a:cubicBezTo>
                  <a:pt x="290" y="227"/>
                  <a:pt x="288" y="225"/>
                  <a:pt x="287" y="223"/>
                </a:cubicBezTo>
                <a:cubicBezTo>
                  <a:pt x="241" y="131"/>
                  <a:pt x="241" y="131"/>
                  <a:pt x="241" y="131"/>
                </a:cubicBezTo>
                <a:cubicBezTo>
                  <a:pt x="241" y="130"/>
                  <a:pt x="239" y="130"/>
                  <a:pt x="238" y="131"/>
                </a:cubicBezTo>
                <a:cubicBezTo>
                  <a:pt x="193" y="223"/>
                  <a:pt x="193" y="223"/>
                  <a:pt x="193" y="223"/>
                </a:cubicBezTo>
                <a:cubicBezTo>
                  <a:pt x="192" y="225"/>
                  <a:pt x="190" y="227"/>
                  <a:pt x="188" y="227"/>
                </a:cubicBezTo>
                <a:cubicBezTo>
                  <a:pt x="86" y="242"/>
                  <a:pt x="86" y="242"/>
                  <a:pt x="86" y="242"/>
                </a:cubicBezTo>
                <a:cubicBezTo>
                  <a:pt x="85" y="242"/>
                  <a:pt x="85" y="242"/>
                  <a:pt x="84" y="243"/>
                </a:cubicBezTo>
                <a:cubicBezTo>
                  <a:pt x="84" y="243"/>
                  <a:pt x="84" y="244"/>
                  <a:pt x="85" y="244"/>
                </a:cubicBezTo>
                <a:cubicBezTo>
                  <a:pt x="159" y="316"/>
                  <a:pt x="159" y="316"/>
                  <a:pt x="159" y="316"/>
                </a:cubicBezTo>
                <a:cubicBezTo>
                  <a:pt x="160" y="318"/>
                  <a:pt x="161" y="320"/>
                  <a:pt x="161" y="323"/>
                </a:cubicBezTo>
                <a:cubicBezTo>
                  <a:pt x="143" y="424"/>
                  <a:pt x="143" y="424"/>
                  <a:pt x="143" y="424"/>
                </a:cubicBezTo>
                <a:cubicBezTo>
                  <a:pt x="143" y="425"/>
                  <a:pt x="143" y="425"/>
                  <a:pt x="144" y="425"/>
                </a:cubicBezTo>
                <a:cubicBezTo>
                  <a:pt x="144" y="426"/>
                  <a:pt x="145" y="426"/>
                  <a:pt x="145" y="426"/>
                </a:cubicBezTo>
                <a:cubicBezTo>
                  <a:pt x="236" y="378"/>
                  <a:pt x="236" y="378"/>
                  <a:pt x="236" y="378"/>
                </a:cubicBezTo>
                <a:cubicBezTo>
                  <a:pt x="238" y="377"/>
                  <a:pt x="239" y="377"/>
                  <a:pt x="240" y="377"/>
                </a:cubicBezTo>
                <a:close/>
                <a:moveTo>
                  <a:pt x="240" y="633"/>
                </a:moveTo>
                <a:cubicBezTo>
                  <a:pt x="239" y="633"/>
                  <a:pt x="239" y="633"/>
                  <a:pt x="238" y="633"/>
                </a:cubicBezTo>
                <a:cubicBezTo>
                  <a:pt x="215" y="628"/>
                  <a:pt x="155" y="593"/>
                  <a:pt x="103" y="553"/>
                </a:cubicBezTo>
                <a:cubicBezTo>
                  <a:pt x="14" y="486"/>
                  <a:pt x="0" y="450"/>
                  <a:pt x="0" y="435"/>
                </a:cubicBezTo>
                <a:cubicBezTo>
                  <a:pt x="0" y="46"/>
                  <a:pt x="0" y="46"/>
                  <a:pt x="0" y="46"/>
                </a:cubicBezTo>
                <a:cubicBezTo>
                  <a:pt x="0" y="43"/>
                  <a:pt x="2" y="40"/>
                  <a:pt x="5" y="39"/>
                </a:cubicBezTo>
                <a:cubicBezTo>
                  <a:pt x="92" y="13"/>
                  <a:pt x="168" y="0"/>
                  <a:pt x="240" y="0"/>
                </a:cubicBezTo>
                <a:cubicBezTo>
                  <a:pt x="327" y="0"/>
                  <a:pt x="415" y="21"/>
                  <a:pt x="474" y="39"/>
                </a:cubicBezTo>
                <a:cubicBezTo>
                  <a:pt x="477" y="40"/>
                  <a:pt x="479" y="43"/>
                  <a:pt x="479" y="46"/>
                </a:cubicBezTo>
                <a:cubicBezTo>
                  <a:pt x="479" y="435"/>
                  <a:pt x="479" y="435"/>
                  <a:pt x="479" y="435"/>
                </a:cubicBezTo>
                <a:cubicBezTo>
                  <a:pt x="479" y="477"/>
                  <a:pt x="422" y="526"/>
                  <a:pt x="374" y="560"/>
                </a:cubicBezTo>
                <a:cubicBezTo>
                  <a:pt x="321" y="598"/>
                  <a:pt x="261" y="629"/>
                  <a:pt x="241" y="633"/>
                </a:cubicBezTo>
                <a:cubicBezTo>
                  <a:pt x="241" y="633"/>
                  <a:pt x="240" y="633"/>
                  <a:pt x="240" y="633"/>
                </a:cubicBezTo>
                <a:close/>
                <a:moveTo>
                  <a:pt x="14" y="51"/>
                </a:moveTo>
                <a:cubicBezTo>
                  <a:pt x="14" y="435"/>
                  <a:pt x="14" y="435"/>
                  <a:pt x="14" y="435"/>
                </a:cubicBezTo>
                <a:cubicBezTo>
                  <a:pt x="14" y="456"/>
                  <a:pt x="51" y="496"/>
                  <a:pt x="111" y="542"/>
                </a:cubicBezTo>
                <a:cubicBezTo>
                  <a:pt x="166" y="583"/>
                  <a:pt x="220" y="614"/>
                  <a:pt x="240" y="619"/>
                </a:cubicBezTo>
                <a:cubicBezTo>
                  <a:pt x="281" y="609"/>
                  <a:pt x="465" y="499"/>
                  <a:pt x="465" y="435"/>
                </a:cubicBezTo>
                <a:cubicBezTo>
                  <a:pt x="465" y="51"/>
                  <a:pt x="465" y="51"/>
                  <a:pt x="465" y="51"/>
                </a:cubicBezTo>
                <a:cubicBezTo>
                  <a:pt x="407" y="34"/>
                  <a:pt x="323" y="14"/>
                  <a:pt x="240" y="14"/>
                </a:cubicBezTo>
                <a:cubicBezTo>
                  <a:pt x="171" y="14"/>
                  <a:pt x="97" y="26"/>
                  <a:pt x="14" y="51"/>
                </a:cubicBez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16" name="Oval 17"/>
          <p:cNvSpPr>
            <a:spLocks noChangeArrowheads="1"/>
          </p:cNvSpPr>
          <p:nvPr/>
        </p:nvSpPr>
        <p:spPr bwMode="auto">
          <a:xfrm>
            <a:off x="4831649" y="1528549"/>
            <a:ext cx="1119124" cy="1119124"/>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6166" name="Freeform 88"/>
          <p:cNvSpPr>
            <a:spLocks noEditPoints="1"/>
          </p:cNvSpPr>
          <p:nvPr/>
        </p:nvSpPr>
        <p:spPr bwMode="auto">
          <a:xfrm>
            <a:off x="5044647" y="1901198"/>
            <a:ext cx="694304" cy="375001"/>
          </a:xfrm>
          <a:custGeom>
            <a:avLst/>
            <a:gdLst>
              <a:gd name="T0" fmla="*/ 658 w 658"/>
              <a:gd name="T1" fmla="*/ 7 h 356"/>
              <a:gd name="T2" fmla="*/ 651 w 658"/>
              <a:gd name="T3" fmla="*/ 0 h 356"/>
              <a:gd name="T4" fmla="*/ 126 w 658"/>
              <a:gd name="T5" fmla="*/ 0 h 356"/>
              <a:gd name="T6" fmla="*/ 119 w 658"/>
              <a:gd name="T7" fmla="*/ 7 h 356"/>
              <a:gd name="T8" fmla="*/ 119 w 658"/>
              <a:gd name="T9" fmla="*/ 23 h 356"/>
              <a:gd name="T10" fmla="*/ 7 w 658"/>
              <a:gd name="T11" fmla="*/ 23 h 356"/>
              <a:gd name="T12" fmla="*/ 0 w 658"/>
              <a:gd name="T13" fmla="*/ 30 h 356"/>
              <a:gd name="T14" fmla="*/ 87 w 658"/>
              <a:gd name="T15" fmla="*/ 116 h 356"/>
              <a:gd name="T16" fmla="*/ 119 w 658"/>
              <a:gd name="T17" fmla="*/ 116 h 356"/>
              <a:gd name="T18" fmla="*/ 119 w 658"/>
              <a:gd name="T19" fmla="*/ 136 h 356"/>
              <a:gd name="T20" fmla="*/ 126 w 658"/>
              <a:gd name="T21" fmla="*/ 143 h 356"/>
              <a:gd name="T22" fmla="*/ 249 w 658"/>
              <a:gd name="T23" fmla="*/ 143 h 356"/>
              <a:gd name="T24" fmla="*/ 126 w 658"/>
              <a:gd name="T25" fmla="*/ 259 h 356"/>
              <a:gd name="T26" fmla="*/ 119 w 658"/>
              <a:gd name="T27" fmla="*/ 266 h 356"/>
              <a:gd name="T28" fmla="*/ 119 w 658"/>
              <a:gd name="T29" fmla="*/ 349 h 356"/>
              <a:gd name="T30" fmla="*/ 126 w 658"/>
              <a:gd name="T31" fmla="*/ 356 h 356"/>
              <a:gd name="T32" fmla="*/ 236 w 658"/>
              <a:gd name="T33" fmla="*/ 356 h 356"/>
              <a:gd name="T34" fmla="*/ 243 w 658"/>
              <a:gd name="T35" fmla="*/ 352 h 356"/>
              <a:gd name="T36" fmla="*/ 349 w 658"/>
              <a:gd name="T37" fmla="*/ 291 h 356"/>
              <a:gd name="T38" fmla="*/ 455 w 658"/>
              <a:gd name="T39" fmla="*/ 352 h 356"/>
              <a:gd name="T40" fmla="*/ 461 w 658"/>
              <a:gd name="T41" fmla="*/ 356 h 356"/>
              <a:gd name="T42" fmla="*/ 578 w 658"/>
              <a:gd name="T43" fmla="*/ 356 h 356"/>
              <a:gd name="T44" fmla="*/ 585 w 658"/>
              <a:gd name="T45" fmla="*/ 349 h 356"/>
              <a:gd name="T46" fmla="*/ 585 w 658"/>
              <a:gd name="T47" fmla="*/ 266 h 356"/>
              <a:gd name="T48" fmla="*/ 578 w 658"/>
              <a:gd name="T49" fmla="*/ 259 h 356"/>
              <a:gd name="T50" fmla="*/ 455 w 658"/>
              <a:gd name="T51" fmla="*/ 143 h 356"/>
              <a:gd name="T52" fmla="*/ 521 w 658"/>
              <a:gd name="T53" fmla="*/ 143 h 356"/>
              <a:gd name="T54" fmla="*/ 658 w 658"/>
              <a:gd name="T55" fmla="*/ 7 h 356"/>
              <a:gd name="T56" fmla="*/ 87 w 658"/>
              <a:gd name="T57" fmla="*/ 102 h 356"/>
              <a:gd name="T58" fmla="*/ 15 w 658"/>
              <a:gd name="T59" fmla="*/ 37 h 356"/>
              <a:gd name="T60" fmla="*/ 119 w 658"/>
              <a:gd name="T61" fmla="*/ 37 h 356"/>
              <a:gd name="T62" fmla="*/ 119 w 658"/>
              <a:gd name="T63" fmla="*/ 102 h 356"/>
              <a:gd name="T64" fmla="*/ 87 w 658"/>
              <a:gd name="T65" fmla="*/ 102 h 356"/>
              <a:gd name="T66" fmla="*/ 133 w 658"/>
              <a:gd name="T67" fmla="*/ 14 h 356"/>
              <a:gd name="T68" fmla="*/ 643 w 658"/>
              <a:gd name="T69" fmla="*/ 14 h 356"/>
              <a:gd name="T70" fmla="*/ 521 w 658"/>
              <a:gd name="T71" fmla="*/ 129 h 356"/>
              <a:gd name="T72" fmla="*/ 133 w 658"/>
              <a:gd name="T73" fmla="*/ 129 h 356"/>
              <a:gd name="T74" fmla="*/ 133 w 658"/>
              <a:gd name="T75" fmla="*/ 14 h 356"/>
              <a:gd name="T76" fmla="*/ 571 w 658"/>
              <a:gd name="T77" fmla="*/ 273 h 356"/>
              <a:gd name="T78" fmla="*/ 571 w 658"/>
              <a:gd name="T79" fmla="*/ 342 h 356"/>
              <a:gd name="T80" fmla="*/ 465 w 658"/>
              <a:gd name="T81" fmla="*/ 342 h 356"/>
              <a:gd name="T82" fmla="*/ 349 w 658"/>
              <a:gd name="T83" fmla="*/ 277 h 356"/>
              <a:gd name="T84" fmla="*/ 233 w 658"/>
              <a:gd name="T85" fmla="*/ 342 h 356"/>
              <a:gd name="T86" fmla="*/ 133 w 658"/>
              <a:gd name="T87" fmla="*/ 342 h 356"/>
              <a:gd name="T88" fmla="*/ 133 w 658"/>
              <a:gd name="T89" fmla="*/ 273 h 356"/>
              <a:gd name="T90" fmla="*/ 263 w 658"/>
              <a:gd name="T91" fmla="*/ 143 h 356"/>
              <a:gd name="T92" fmla="*/ 441 w 658"/>
              <a:gd name="T93" fmla="*/ 143 h 356"/>
              <a:gd name="T94" fmla="*/ 571 w 658"/>
              <a:gd name="T95" fmla="*/ 273 h 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658" h="356">
                <a:moveTo>
                  <a:pt x="658" y="7"/>
                </a:moveTo>
                <a:cubicBezTo>
                  <a:pt x="658" y="3"/>
                  <a:pt x="654" y="0"/>
                  <a:pt x="651" y="0"/>
                </a:cubicBezTo>
                <a:cubicBezTo>
                  <a:pt x="126" y="0"/>
                  <a:pt x="126" y="0"/>
                  <a:pt x="126" y="0"/>
                </a:cubicBezTo>
                <a:cubicBezTo>
                  <a:pt x="122" y="0"/>
                  <a:pt x="119" y="3"/>
                  <a:pt x="119" y="7"/>
                </a:cubicBezTo>
                <a:cubicBezTo>
                  <a:pt x="119" y="23"/>
                  <a:pt x="119" y="23"/>
                  <a:pt x="119" y="23"/>
                </a:cubicBezTo>
                <a:cubicBezTo>
                  <a:pt x="7" y="23"/>
                  <a:pt x="7" y="23"/>
                  <a:pt x="7" y="23"/>
                </a:cubicBezTo>
                <a:cubicBezTo>
                  <a:pt x="3" y="23"/>
                  <a:pt x="0" y="26"/>
                  <a:pt x="0" y="30"/>
                </a:cubicBezTo>
                <a:cubicBezTo>
                  <a:pt x="0" y="78"/>
                  <a:pt x="39" y="116"/>
                  <a:pt x="87" y="116"/>
                </a:cubicBezTo>
                <a:cubicBezTo>
                  <a:pt x="119" y="116"/>
                  <a:pt x="119" y="116"/>
                  <a:pt x="119" y="116"/>
                </a:cubicBezTo>
                <a:cubicBezTo>
                  <a:pt x="119" y="136"/>
                  <a:pt x="119" y="136"/>
                  <a:pt x="119" y="136"/>
                </a:cubicBezTo>
                <a:cubicBezTo>
                  <a:pt x="119" y="140"/>
                  <a:pt x="122" y="143"/>
                  <a:pt x="126" y="143"/>
                </a:cubicBezTo>
                <a:cubicBezTo>
                  <a:pt x="249" y="143"/>
                  <a:pt x="249" y="143"/>
                  <a:pt x="249" y="143"/>
                </a:cubicBezTo>
                <a:cubicBezTo>
                  <a:pt x="245" y="208"/>
                  <a:pt x="191" y="259"/>
                  <a:pt x="126" y="259"/>
                </a:cubicBezTo>
                <a:cubicBezTo>
                  <a:pt x="122" y="259"/>
                  <a:pt x="119" y="262"/>
                  <a:pt x="119" y="266"/>
                </a:cubicBezTo>
                <a:cubicBezTo>
                  <a:pt x="119" y="349"/>
                  <a:pt x="119" y="349"/>
                  <a:pt x="119" y="349"/>
                </a:cubicBezTo>
                <a:cubicBezTo>
                  <a:pt x="119" y="353"/>
                  <a:pt x="122" y="356"/>
                  <a:pt x="126" y="356"/>
                </a:cubicBezTo>
                <a:cubicBezTo>
                  <a:pt x="236" y="356"/>
                  <a:pt x="236" y="356"/>
                  <a:pt x="236" y="356"/>
                </a:cubicBezTo>
                <a:cubicBezTo>
                  <a:pt x="239" y="356"/>
                  <a:pt x="241" y="355"/>
                  <a:pt x="243" y="352"/>
                </a:cubicBezTo>
                <a:cubicBezTo>
                  <a:pt x="264" y="314"/>
                  <a:pt x="305" y="291"/>
                  <a:pt x="349" y="291"/>
                </a:cubicBezTo>
                <a:cubicBezTo>
                  <a:pt x="393" y="291"/>
                  <a:pt x="433" y="314"/>
                  <a:pt x="455" y="352"/>
                </a:cubicBezTo>
                <a:cubicBezTo>
                  <a:pt x="457" y="355"/>
                  <a:pt x="459" y="356"/>
                  <a:pt x="461" y="356"/>
                </a:cubicBezTo>
                <a:cubicBezTo>
                  <a:pt x="578" y="356"/>
                  <a:pt x="578" y="356"/>
                  <a:pt x="578" y="356"/>
                </a:cubicBezTo>
                <a:cubicBezTo>
                  <a:pt x="581" y="356"/>
                  <a:pt x="585" y="353"/>
                  <a:pt x="585" y="349"/>
                </a:cubicBezTo>
                <a:cubicBezTo>
                  <a:pt x="585" y="266"/>
                  <a:pt x="585" y="266"/>
                  <a:pt x="585" y="266"/>
                </a:cubicBezTo>
                <a:cubicBezTo>
                  <a:pt x="585" y="262"/>
                  <a:pt x="581" y="259"/>
                  <a:pt x="578" y="259"/>
                </a:cubicBezTo>
                <a:cubicBezTo>
                  <a:pt x="512" y="259"/>
                  <a:pt x="459" y="208"/>
                  <a:pt x="455" y="143"/>
                </a:cubicBezTo>
                <a:cubicBezTo>
                  <a:pt x="521" y="143"/>
                  <a:pt x="521" y="143"/>
                  <a:pt x="521" y="143"/>
                </a:cubicBezTo>
                <a:cubicBezTo>
                  <a:pt x="596" y="143"/>
                  <a:pt x="658" y="82"/>
                  <a:pt x="658" y="7"/>
                </a:cubicBezTo>
                <a:close/>
                <a:moveTo>
                  <a:pt x="87" y="102"/>
                </a:moveTo>
                <a:cubicBezTo>
                  <a:pt x="49" y="102"/>
                  <a:pt x="18" y="74"/>
                  <a:pt x="15" y="37"/>
                </a:cubicBezTo>
                <a:cubicBezTo>
                  <a:pt x="119" y="37"/>
                  <a:pt x="119" y="37"/>
                  <a:pt x="119" y="37"/>
                </a:cubicBezTo>
                <a:cubicBezTo>
                  <a:pt x="119" y="102"/>
                  <a:pt x="119" y="102"/>
                  <a:pt x="119" y="102"/>
                </a:cubicBezTo>
                <a:lnTo>
                  <a:pt x="87" y="102"/>
                </a:lnTo>
                <a:close/>
                <a:moveTo>
                  <a:pt x="133" y="14"/>
                </a:moveTo>
                <a:cubicBezTo>
                  <a:pt x="643" y="14"/>
                  <a:pt x="643" y="14"/>
                  <a:pt x="643" y="14"/>
                </a:cubicBezTo>
                <a:cubicBezTo>
                  <a:pt x="640" y="78"/>
                  <a:pt x="586" y="129"/>
                  <a:pt x="521" y="129"/>
                </a:cubicBezTo>
                <a:cubicBezTo>
                  <a:pt x="133" y="129"/>
                  <a:pt x="133" y="129"/>
                  <a:pt x="133" y="129"/>
                </a:cubicBezTo>
                <a:lnTo>
                  <a:pt x="133" y="14"/>
                </a:lnTo>
                <a:close/>
                <a:moveTo>
                  <a:pt x="571" y="273"/>
                </a:moveTo>
                <a:cubicBezTo>
                  <a:pt x="571" y="342"/>
                  <a:pt x="571" y="342"/>
                  <a:pt x="571" y="342"/>
                </a:cubicBezTo>
                <a:cubicBezTo>
                  <a:pt x="465" y="342"/>
                  <a:pt x="465" y="342"/>
                  <a:pt x="465" y="342"/>
                </a:cubicBezTo>
                <a:cubicBezTo>
                  <a:pt x="441" y="302"/>
                  <a:pt x="396" y="277"/>
                  <a:pt x="349" y="277"/>
                </a:cubicBezTo>
                <a:cubicBezTo>
                  <a:pt x="302" y="277"/>
                  <a:pt x="257" y="302"/>
                  <a:pt x="233" y="342"/>
                </a:cubicBezTo>
                <a:cubicBezTo>
                  <a:pt x="133" y="342"/>
                  <a:pt x="133" y="342"/>
                  <a:pt x="133" y="342"/>
                </a:cubicBezTo>
                <a:cubicBezTo>
                  <a:pt x="133" y="273"/>
                  <a:pt x="133" y="273"/>
                  <a:pt x="133" y="273"/>
                </a:cubicBezTo>
                <a:cubicBezTo>
                  <a:pt x="203" y="269"/>
                  <a:pt x="259" y="213"/>
                  <a:pt x="263" y="143"/>
                </a:cubicBezTo>
                <a:cubicBezTo>
                  <a:pt x="441" y="143"/>
                  <a:pt x="441" y="143"/>
                  <a:pt x="441" y="143"/>
                </a:cubicBezTo>
                <a:cubicBezTo>
                  <a:pt x="445" y="213"/>
                  <a:pt x="501" y="269"/>
                  <a:pt x="571" y="273"/>
                </a:cubicBez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30" name="Oval 31"/>
          <p:cNvSpPr>
            <a:spLocks noChangeArrowheads="1"/>
          </p:cNvSpPr>
          <p:nvPr/>
        </p:nvSpPr>
        <p:spPr bwMode="auto">
          <a:xfrm>
            <a:off x="8347593" y="4711628"/>
            <a:ext cx="1119124" cy="1119124"/>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6167" name="Freeform 89"/>
          <p:cNvSpPr>
            <a:spLocks noEditPoints="1"/>
          </p:cNvSpPr>
          <p:nvPr/>
        </p:nvSpPr>
        <p:spPr bwMode="auto">
          <a:xfrm>
            <a:off x="8582986" y="4961107"/>
            <a:ext cx="610111" cy="620167"/>
          </a:xfrm>
          <a:custGeom>
            <a:avLst/>
            <a:gdLst>
              <a:gd name="T0" fmla="*/ 482 w 580"/>
              <a:gd name="T1" fmla="*/ 395 h 589"/>
              <a:gd name="T2" fmla="*/ 399 w 580"/>
              <a:gd name="T3" fmla="*/ 442 h 589"/>
              <a:gd name="T4" fmla="*/ 186 w 580"/>
              <a:gd name="T5" fmla="*/ 333 h 589"/>
              <a:gd name="T6" fmla="*/ 194 w 580"/>
              <a:gd name="T7" fmla="*/ 295 h 589"/>
              <a:gd name="T8" fmla="*/ 186 w 580"/>
              <a:gd name="T9" fmla="*/ 257 h 589"/>
              <a:gd name="T10" fmla="*/ 399 w 580"/>
              <a:gd name="T11" fmla="*/ 147 h 589"/>
              <a:gd name="T12" fmla="*/ 482 w 580"/>
              <a:gd name="T13" fmla="*/ 194 h 589"/>
              <a:gd name="T14" fmla="*/ 580 w 580"/>
              <a:gd name="T15" fmla="*/ 97 h 589"/>
              <a:gd name="T16" fmla="*/ 482 w 580"/>
              <a:gd name="T17" fmla="*/ 0 h 589"/>
              <a:gd name="T18" fmla="*/ 385 w 580"/>
              <a:gd name="T19" fmla="*/ 97 h 589"/>
              <a:gd name="T20" fmla="*/ 393 w 580"/>
              <a:gd name="T21" fmla="*/ 135 h 589"/>
              <a:gd name="T22" fmla="*/ 180 w 580"/>
              <a:gd name="T23" fmla="*/ 244 h 589"/>
              <a:gd name="T24" fmla="*/ 97 w 580"/>
              <a:gd name="T25" fmla="*/ 197 h 589"/>
              <a:gd name="T26" fmla="*/ 0 w 580"/>
              <a:gd name="T27" fmla="*/ 295 h 589"/>
              <a:gd name="T28" fmla="*/ 97 w 580"/>
              <a:gd name="T29" fmla="*/ 392 h 589"/>
              <a:gd name="T30" fmla="*/ 180 w 580"/>
              <a:gd name="T31" fmla="*/ 345 h 589"/>
              <a:gd name="T32" fmla="*/ 393 w 580"/>
              <a:gd name="T33" fmla="*/ 454 h 589"/>
              <a:gd name="T34" fmla="*/ 385 w 580"/>
              <a:gd name="T35" fmla="*/ 492 h 589"/>
              <a:gd name="T36" fmla="*/ 482 w 580"/>
              <a:gd name="T37" fmla="*/ 589 h 589"/>
              <a:gd name="T38" fmla="*/ 580 w 580"/>
              <a:gd name="T39" fmla="*/ 492 h 589"/>
              <a:gd name="T40" fmla="*/ 482 w 580"/>
              <a:gd name="T41" fmla="*/ 395 h 589"/>
              <a:gd name="T42" fmla="*/ 482 w 580"/>
              <a:gd name="T43" fmla="*/ 14 h 589"/>
              <a:gd name="T44" fmla="*/ 566 w 580"/>
              <a:gd name="T45" fmla="*/ 97 h 589"/>
              <a:gd name="T46" fmla="*/ 482 w 580"/>
              <a:gd name="T47" fmla="*/ 180 h 589"/>
              <a:gd name="T48" fmla="*/ 399 w 580"/>
              <a:gd name="T49" fmla="*/ 97 h 589"/>
              <a:gd name="T50" fmla="*/ 482 w 580"/>
              <a:gd name="T51" fmla="*/ 14 h 589"/>
              <a:gd name="T52" fmla="*/ 97 w 580"/>
              <a:gd name="T53" fmla="*/ 378 h 589"/>
              <a:gd name="T54" fmla="*/ 14 w 580"/>
              <a:gd name="T55" fmla="*/ 295 h 589"/>
              <a:gd name="T56" fmla="*/ 97 w 580"/>
              <a:gd name="T57" fmla="*/ 211 h 589"/>
              <a:gd name="T58" fmla="*/ 180 w 580"/>
              <a:gd name="T59" fmla="*/ 295 h 589"/>
              <a:gd name="T60" fmla="*/ 97 w 580"/>
              <a:gd name="T61" fmla="*/ 378 h 589"/>
              <a:gd name="T62" fmla="*/ 482 w 580"/>
              <a:gd name="T63" fmla="*/ 575 h 589"/>
              <a:gd name="T64" fmla="*/ 399 w 580"/>
              <a:gd name="T65" fmla="*/ 492 h 589"/>
              <a:gd name="T66" fmla="*/ 482 w 580"/>
              <a:gd name="T67" fmla="*/ 409 h 589"/>
              <a:gd name="T68" fmla="*/ 566 w 580"/>
              <a:gd name="T69" fmla="*/ 492 h 589"/>
              <a:gd name="T70" fmla="*/ 482 w 580"/>
              <a:gd name="T71" fmla="*/ 575 h 5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80" h="589">
                <a:moveTo>
                  <a:pt x="482" y="395"/>
                </a:moveTo>
                <a:cubicBezTo>
                  <a:pt x="447" y="395"/>
                  <a:pt x="416" y="414"/>
                  <a:pt x="399" y="442"/>
                </a:cubicBezTo>
                <a:cubicBezTo>
                  <a:pt x="186" y="333"/>
                  <a:pt x="186" y="333"/>
                  <a:pt x="186" y="333"/>
                </a:cubicBezTo>
                <a:cubicBezTo>
                  <a:pt x="191" y="321"/>
                  <a:pt x="194" y="308"/>
                  <a:pt x="194" y="295"/>
                </a:cubicBezTo>
                <a:cubicBezTo>
                  <a:pt x="194" y="281"/>
                  <a:pt x="191" y="268"/>
                  <a:pt x="186" y="257"/>
                </a:cubicBezTo>
                <a:cubicBezTo>
                  <a:pt x="399" y="147"/>
                  <a:pt x="399" y="147"/>
                  <a:pt x="399" y="147"/>
                </a:cubicBezTo>
                <a:cubicBezTo>
                  <a:pt x="416" y="175"/>
                  <a:pt x="447" y="194"/>
                  <a:pt x="482" y="194"/>
                </a:cubicBezTo>
                <a:cubicBezTo>
                  <a:pt x="536" y="194"/>
                  <a:pt x="580" y="150"/>
                  <a:pt x="580" y="97"/>
                </a:cubicBezTo>
                <a:cubicBezTo>
                  <a:pt x="580" y="43"/>
                  <a:pt x="536" y="0"/>
                  <a:pt x="482" y="0"/>
                </a:cubicBezTo>
                <a:cubicBezTo>
                  <a:pt x="429" y="0"/>
                  <a:pt x="385" y="43"/>
                  <a:pt x="385" y="97"/>
                </a:cubicBezTo>
                <a:cubicBezTo>
                  <a:pt x="385" y="110"/>
                  <a:pt x="388" y="123"/>
                  <a:pt x="393" y="135"/>
                </a:cubicBezTo>
                <a:cubicBezTo>
                  <a:pt x="180" y="244"/>
                  <a:pt x="180" y="244"/>
                  <a:pt x="180" y="244"/>
                </a:cubicBezTo>
                <a:cubicBezTo>
                  <a:pt x="163" y="216"/>
                  <a:pt x="132" y="197"/>
                  <a:pt x="97" y="197"/>
                </a:cubicBezTo>
                <a:cubicBezTo>
                  <a:pt x="43" y="197"/>
                  <a:pt x="0" y="241"/>
                  <a:pt x="0" y="295"/>
                </a:cubicBezTo>
                <a:cubicBezTo>
                  <a:pt x="0" y="348"/>
                  <a:pt x="43" y="392"/>
                  <a:pt x="97" y="392"/>
                </a:cubicBezTo>
                <a:cubicBezTo>
                  <a:pt x="132" y="392"/>
                  <a:pt x="163" y="373"/>
                  <a:pt x="180" y="345"/>
                </a:cubicBezTo>
                <a:cubicBezTo>
                  <a:pt x="393" y="454"/>
                  <a:pt x="393" y="454"/>
                  <a:pt x="393" y="454"/>
                </a:cubicBezTo>
                <a:cubicBezTo>
                  <a:pt x="388" y="466"/>
                  <a:pt x="385" y="479"/>
                  <a:pt x="385" y="492"/>
                </a:cubicBezTo>
                <a:cubicBezTo>
                  <a:pt x="385" y="546"/>
                  <a:pt x="429" y="589"/>
                  <a:pt x="482" y="589"/>
                </a:cubicBezTo>
                <a:cubicBezTo>
                  <a:pt x="536" y="589"/>
                  <a:pt x="580" y="546"/>
                  <a:pt x="580" y="492"/>
                </a:cubicBezTo>
                <a:cubicBezTo>
                  <a:pt x="580" y="439"/>
                  <a:pt x="536" y="395"/>
                  <a:pt x="482" y="395"/>
                </a:cubicBezTo>
                <a:close/>
                <a:moveTo>
                  <a:pt x="482" y="14"/>
                </a:moveTo>
                <a:cubicBezTo>
                  <a:pt x="528" y="14"/>
                  <a:pt x="566" y="51"/>
                  <a:pt x="566" y="97"/>
                </a:cubicBezTo>
                <a:cubicBezTo>
                  <a:pt x="566" y="143"/>
                  <a:pt x="528" y="180"/>
                  <a:pt x="482" y="180"/>
                </a:cubicBezTo>
                <a:cubicBezTo>
                  <a:pt x="436" y="180"/>
                  <a:pt x="399" y="143"/>
                  <a:pt x="399" y="97"/>
                </a:cubicBezTo>
                <a:cubicBezTo>
                  <a:pt x="399" y="51"/>
                  <a:pt x="436" y="14"/>
                  <a:pt x="482" y="14"/>
                </a:cubicBezTo>
                <a:close/>
                <a:moveTo>
                  <a:pt x="97" y="378"/>
                </a:moveTo>
                <a:cubicBezTo>
                  <a:pt x="51" y="378"/>
                  <a:pt x="14" y="341"/>
                  <a:pt x="14" y="295"/>
                </a:cubicBezTo>
                <a:cubicBezTo>
                  <a:pt x="14" y="249"/>
                  <a:pt x="51" y="211"/>
                  <a:pt x="97" y="211"/>
                </a:cubicBezTo>
                <a:cubicBezTo>
                  <a:pt x="143" y="211"/>
                  <a:pt x="180" y="249"/>
                  <a:pt x="180" y="295"/>
                </a:cubicBezTo>
                <a:cubicBezTo>
                  <a:pt x="180" y="341"/>
                  <a:pt x="143" y="378"/>
                  <a:pt x="97" y="378"/>
                </a:cubicBezTo>
                <a:close/>
                <a:moveTo>
                  <a:pt x="482" y="575"/>
                </a:moveTo>
                <a:cubicBezTo>
                  <a:pt x="436" y="575"/>
                  <a:pt x="399" y="538"/>
                  <a:pt x="399" y="492"/>
                </a:cubicBezTo>
                <a:cubicBezTo>
                  <a:pt x="399" y="446"/>
                  <a:pt x="436" y="409"/>
                  <a:pt x="482" y="409"/>
                </a:cubicBezTo>
                <a:cubicBezTo>
                  <a:pt x="528" y="409"/>
                  <a:pt x="566" y="446"/>
                  <a:pt x="566" y="492"/>
                </a:cubicBezTo>
                <a:cubicBezTo>
                  <a:pt x="566" y="538"/>
                  <a:pt x="528" y="575"/>
                  <a:pt x="482" y="575"/>
                </a:cubicBez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18" name="Oval 19"/>
          <p:cNvSpPr>
            <a:spLocks noChangeArrowheads="1"/>
          </p:cNvSpPr>
          <p:nvPr/>
        </p:nvSpPr>
        <p:spPr bwMode="auto">
          <a:xfrm>
            <a:off x="4831649" y="3120088"/>
            <a:ext cx="1119124" cy="1119124"/>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6169" name="Freeform 91"/>
          <p:cNvSpPr>
            <a:spLocks noEditPoints="1"/>
          </p:cNvSpPr>
          <p:nvPr/>
        </p:nvSpPr>
        <p:spPr bwMode="auto">
          <a:xfrm>
            <a:off x="5094072" y="3381061"/>
            <a:ext cx="593101" cy="597179"/>
          </a:xfrm>
          <a:custGeom>
            <a:avLst/>
            <a:gdLst>
              <a:gd name="T0" fmla="*/ 560 w 563"/>
              <a:gd name="T1" fmla="*/ 276 h 567"/>
              <a:gd name="T2" fmla="*/ 512 w 563"/>
              <a:gd name="T3" fmla="*/ 229 h 567"/>
              <a:gd name="T4" fmla="*/ 512 w 563"/>
              <a:gd name="T5" fmla="*/ 229 h 567"/>
              <a:gd name="T6" fmla="*/ 464 w 563"/>
              <a:gd name="T7" fmla="*/ 180 h 567"/>
              <a:gd name="T8" fmla="*/ 464 w 563"/>
              <a:gd name="T9" fmla="*/ 36 h 567"/>
              <a:gd name="T10" fmla="*/ 457 w 563"/>
              <a:gd name="T11" fmla="*/ 29 h 567"/>
              <a:gd name="T12" fmla="*/ 385 w 563"/>
              <a:gd name="T13" fmla="*/ 29 h 567"/>
              <a:gd name="T14" fmla="*/ 378 w 563"/>
              <a:gd name="T15" fmla="*/ 36 h 567"/>
              <a:gd name="T16" fmla="*/ 378 w 563"/>
              <a:gd name="T17" fmla="*/ 94 h 567"/>
              <a:gd name="T18" fmla="*/ 286 w 563"/>
              <a:gd name="T19" fmla="*/ 2 h 567"/>
              <a:gd name="T20" fmla="*/ 276 w 563"/>
              <a:gd name="T21" fmla="*/ 2 h 567"/>
              <a:gd name="T22" fmla="*/ 50 w 563"/>
              <a:gd name="T23" fmla="*/ 229 h 567"/>
              <a:gd name="T24" fmla="*/ 50 w 563"/>
              <a:gd name="T25" fmla="*/ 229 h 567"/>
              <a:gd name="T26" fmla="*/ 2 w 563"/>
              <a:gd name="T27" fmla="*/ 276 h 567"/>
              <a:gd name="T28" fmla="*/ 2 w 563"/>
              <a:gd name="T29" fmla="*/ 286 h 567"/>
              <a:gd name="T30" fmla="*/ 12 w 563"/>
              <a:gd name="T31" fmla="*/ 286 h 567"/>
              <a:gd name="T32" fmla="*/ 48 w 563"/>
              <a:gd name="T33" fmla="*/ 251 h 567"/>
              <a:gd name="T34" fmla="*/ 48 w 563"/>
              <a:gd name="T35" fmla="*/ 560 h 567"/>
              <a:gd name="T36" fmla="*/ 50 w 563"/>
              <a:gd name="T37" fmla="*/ 565 h 567"/>
              <a:gd name="T38" fmla="*/ 55 w 563"/>
              <a:gd name="T39" fmla="*/ 567 h 567"/>
              <a:gd name="T40" fmla="*/ 209 w 563"/>
              <a:gd name="T41" fmla="*/ 567 h 567"/>
              <a:gd name="T42" fmla="*/ 216 w 563"/>
              <a:gd name="T43" fmla="*/ 560 h 567"/>
              <a:gd name="T44" fmla="*/ 216 w 563"/>
              <a:gd name="T45" fmla="*/ 324 h 567"/>
              <a:gd name="T46" fmla="*/ 346 w 563"/>
              <a:gd name="T47" fmla="*/ 324 h 567"/>
              <a:gd name="T48" fmla="*/ 346 w 563"/>
              <a:gd name="T49" fmla="*/ 560 h 567"/>
              <a:gd name="T50" fmla="*/ 353 w 563"/>
              <a:gd name="T51" fmla="*/ 567 h 567"/>
              <a:gd name="T52" fmla="*/ 508 w 563"/>
              <a:gd name="T53" fmla="*/ 567 h 567"/>
              <a:gd name="T54" fmla="*/ 512 w 563"/>
              <a:gd name="T55" fmla="*/ 565 h 567"/>
              <a:gd name="T56" fmla="*/ 515 w 563"/>
              <a:gd name="T57" fmla="*/ 560 h 567"/>
              <a:gd name="T58" fmla="*/ 515 w 563"/>
              <a:gd name="T59" fmla="*/ 251 h 567"/>
              <a:gd name="T60" fmla="*/ 550 w 563"/>
              <a:gd name="T61" fmla="*/ 286 h 567"/>
              <a:gd name="T62" fmla="*/ 555 w 563"/>
              <a:gd name="T63" fmla="*/ 288 h 567"/>
              <a:gd name="T64" fmla="*/ 560 w 563"/>
              <a:gd name="T65" fmla="*/ 286 h 567"/>
              <a:gd name="T66" fmla="*/ 560 w 563"/>
              <a:gd name="T67" fmla="*/ 276 h 567"/>
              <a:gd name="T68" fmla="*/ 392 w 563"/>
              <a:gd name="T69" fmla="*/ 43 h 567"/>
              <a:gd name="T70" fmla="*/ 450 w 563"/>
              <a:gd name="T71" fmla="*/ 43 h 567"/>
              <a:gd name="T72" fmla="*/ 450 w 563"/>
              <a:gd name="T73" fmla="*/ 166 h 567"/>
              <a:gd name="T74" fmla="*/ 392 w 563"/>
              <a:gd name="T75" fmla="*/ 108 h 567"/>
              <a:gd name="T76" fmla="*/ 392 w 563"/>
              <a:gd name="T77" fmla="*/ 43 h 567"/>
              <a:gd name="T78" fmla="*/ 501 w 563"/>
              <a:gd name="T79" fmla="*/ 553 h 567"/>
              <a:gd name="T80" fmla="*/ 360 w 563"/>
              <a:gd name="T81" fmla="*/ 553 h 567"/>
              <a:gd name="T82" fmla="*/ 360 w 563"/>
              <a:gd name="T83" fmla="*/ 317 h 567"/>
              <a:gd name="T84" fmla="*/ 353 w 563"/>
              <a:gd name="T85" fmla="*/ 310 h 567"/>
              <a:gd name="T86" fmla="*/ 209 w 563"/>
              <a:gd name="T87" fmla="*/ 310 h 567"/>
              <a:gd name="T88" fmla="*/ 202 w 563"/>
              <a:gd name="T89" fmla="*/ 317 h 567"/>
              <a:gd name="T90" fmla="*/ 202 w 563"/>
              <a:gd name="T91" fmla="*/ 553 h 567"/>
              <a:gd name="T92" fmla="*/ 62 w 563"/>
              <a:gd name="T93" fmla="*/ 553 h 567"/>
              <a:gd name="T94" fmla="*/ 62 w 563"/>
              <a:gd name="T95" fmla="*/ 237 h 567"/>
              <a:gd name="T96" fmla="*/ 281 w 563"/>
              <a:gd name="T97" fmla="*/ 17 h 567"/>
              <a:gd name="T98" fmla="*/ 380 w 563"/>
              <a:gd name="T99" fmla="*/ 116 h 567"/>
              <a:gd name="T100" fmla="*/ 380 w 563"/>
              <a:gd name="T101" fmla="*/ 116 h 567"/>
              <a:gd name="T102" fmla="*/ 452 w 563"/>
              <a:gd name="T103" fmla="*/ 188 h 567"/>
              <a:gd name="T104" fmla="*/ 452 w 563"/>
              <a:gd name="T105" fmla="*/ 188 h 567"/>
              <a:gd name="T106" fmla="*/ 501 w 563"/>
              <a:gd name="T107" fmla="*/ 237 h 567"/>
              <a:gd name="T108" fmla="*/ 501 w 563"/>
              <a:gd name="T109" fmla="*/ 553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63" h="567">
                <a:moveTo>
                  <a:pt x="560" y="276"/>
                </a:moveTo>
                <a:cubicBezTo>
                  <a:pt x="512" y="229"/>
                  <a:pt x="512" y="229"/>
                  <a:pt x="512" y="229"/>
                </a:cubicBezTo>
                <a:cubicBezTo>
                  <a:pt x="512" y="229"/>
                  <a:pt x="512" y="229"/>
                  <a:pt x="512" y="229"/>
                </a:cubicBezTo>
                <a:cubicBezTo>
                  <a:pt x="464" y="180"/>
                  <a:pt x="464" y="180"/>
                  <a:pt x="464" y="180"/>
                </a:cubicBezTo>
                <a:cubicBezTo>
                  <a:pt x="464" y="36"/>
                  <a:pt x="464" y="36"/>
                  <a:pt x="464" y="36"/>
                </a:cubicBezTo>
                <a:cubicBezTo>
                  <a:pt x="464" y="32"/>
                  <a:pt x="461" y="29"/>
                  <a:pt x="457" y="29"/>
                </a:cubicBezTo>
                <a:cubicBezTo>
                  <a:pt x="385" y="29"/>
                  <a:pt x="385" y="29"/>
                  <a:pt x="385" y="29"/>
                </a:cubicBezTo>
                <a:cubicBezTo>
                  <a:pt x="381" y="29"/>
                  <a:pt x="378" y="32"/>
                  <a:pt x="378" y="36"/>
                </a:cubicBezTo>
                <a:cubicBezTo>
                  <a:pt x="378" y="94"/>
                  <a:pt x="378" y="94"/>
                  <a:pt x="378" y="94"/>
                </a:cubicBezTo>
                <a:cubicBezTo>
                  <a:pt x="286" y="2"/>
                  <a:pt x="286" y="2"/>
                  <a:pt x="286" y="2"/>
                </a:cubicBezTo>
                <a:cubicBezTo>
                  <a:pt x="284" y="0"/>
                  <a:pt x="279" y="0"/>
                  <a:pt x="276" y="2"/>
                </a:cubicBezTo>
                <a:cubicBezTo>
                  <a:pt x="50" y="229"/>
                  <a:pt x="50" y="229"/>
                  <a:pt x="50" y="229"/>
                </a:cubicBezTo>
                <a:cubicBezTo>
                  <a:pt x="50" y="229"/>
                  <a:pt x="50" y="229"/>
                  <a:pt x="50" y="229"/>
                </a:cubicBezTo>
                <a:cubicBezTo>
                  <a:pt x="2" y="276"/>
                  <a:pt x="2" y="276"/>
                  <a:pt x="2" y="276"/>
                </a:cubicBezTo>
                <a:cubicBezTo>
                  <a:pt x="0" y="279"/>
                  <a:pt x="0" y="283"/>
                  <a:pt x="2" y="286"/>
                </a:cubicBezTo>
                <a:cubicBezTo>
                  <a:pt x="5" y="289"/>
                  <a:pt x="10" y="289"/>
                  <a:pt x="12" y="286"/>
                </a:cubicBezTo>
                <a:cubicBezTo>
                  <a:pt x="48" y="251"/>
                  <a:pt x="48" y="251"/>
                  <a:pt x="48" y="251"/>
                </a:cubicBezTo>
                <a:cubicBezTo>
                  <a:pt x="48" y="560"/>
                  <a:pt x="48" y="560"/>
                  <a:pt x="48" y="560"/>
                </a:cubicBezTo>
                <a:cubicBezTo>
                  <a:pt x="48" y="562"/>
                  <a:pt x="49" y="564"/>
                  <a:pt x="50" y="565"/>
                </a:cubicBezTo>
                <a:cubicBezTo>
                  <a:pt x="51" y="566"/>
                  <a:pt x="53" y="567"/>
                  <a:pt x="55" y="567"/>
                </a:cubicBezTo>
                <a:cubicBezTo>
                  <a:pt x="209" y="567"/>
                  <a:pt x="209" y="567"/>
                  <a:pt x="209" y="567"/>
                </a:cubicBezTo>
                <a:cubicBezTo>
                  <a:pt x="213" y="567"/>
                  <a:pt x="216" y="564"/>
                  <a:pt x="216" y="560"/>
                </a:cubicBezTo>
                <a:cubicBezTo>
                  <a:pt x="216" y="324"/>
                  <a:pt x="216" y="324"/>
                  <a:pt x="216" y="324"/>
                </a:cubicBezTo>
                <a:cubicBezTo>
                  <a:pt x="346" y="324"/>
                  <a:pt x="346" y="324"/>
                  <a:pt x="346" y="324"/>
                </a:cubicBezTo>
                <a:cubicBezTo>
                  <a:pt x="346" y="560"/>
                  <a:pt x="346" y="560"/>
                  <a:pt x="346" y="560"/>
                </a:cubicBezTo>
                <a:cubicBezTo>
                  <a:pt x="346" y="564"/>
                  <a:pt x="350" y="567"/>
                  <a:pt x="353" y="567"/>
                </a:cubicBezTo>
                <a:cubicBezTo>
                  <a:pt x="508" y="567"/>
                  <a:pt x="508" y="567"/>
                  <a:pt x="508" y="567"/>
                </a:cubicBezTo>
                <a:cubicBezTo>
                  <a:pt x="509" y="567"/>
                  <a:pt x="511" y="566"/>
                  <a:pt x="512" y="565"/>
                </a:cubicBezTo>
                <a:cubicBezTo>
                  <a:pt x="514" y="564"/>
                  <a:pt x="515" y="562"/>
                  <a:pt x="515" y="560"/>
                </a:cubicBezTo>
                <a:cubicBezTo>
                  <a:pt x="515" y="251"/>
                  <a:pt x="515" y="251"/>
                  <a:pt x="515" y="251"/>
                </a:cubicBezTo>
                <a:cubicBezTo>
                  <a:pt x="550" y="286"/>
                  <a:pt x="550" y="286"/>
                  <a:pt x="550" y="286"/>
                </a:cubicBezTo>
                <a:cubicBezTo>
                  <a:pt x="552" y="288"/>
                  <a:pt x="553" y="288"/>
                  <a:pt x="555" y="288"/>
                </a:cubicBezTo>
                <a:cubicBezTo>
                  <a:pt x="557" y="288"/>
                  <a:pt x="559" y="288"/>
                  <a:pt x="560" y="286"/>
                </a:cubicBezTo>
                <a:cubicBezTo>
                  <a:pt x="563" y="283"/>
                  <a:pt x="563" y="279"/>
                  <a:pt x="560" y="276"/>
                </a:cubicBezTo>
                <a:close/>
                <a:moveTo>
                  <a:pt x="392" y="43"/>
                </a:moveTo>
                <a:cubicBezTo>
                  <a:pt x="450" y="43"/>
                  <a:pt x="450" y="43"/>
                  <a:pt x="450" y="43"/>
                </a:cubicBezTo>
                <a:cubicBezTo>
                  <a:pt x="450" y="166"/>
                  <a:pt x="450" y="166"/>
                  <a:pt x="450" y="166"/>
                </a:cubicBezTo>
                <a:cubicBezTo>
                  <a:pt x="392" y="108"/>
                  <a:pt x="392" y="108"/>
                  <a:pt x="392" y="108"/>
                </a:cubicBezTo>
                <a:lnTo>
                  <a:pt x="392" y="43"/>
                </a:lnTo>
                <a:close/>
                <a:moveTo>
                  <a:pt x="501" y="553"/>
                </a:moveTo>
                <a:cubicBezTo>
                  <a:pt x="360" y="553"/>
                  <a:pt x="360" y="553"/>
                  <a:pt x="360" y="553"/>
                </a:cubicBezTo>
                <a:cubicBezTo>
                  <a:pt x="360" y="317"/>
                  <a:pt x="360" y="317"/>
                  <a:pt x="360" y="317"/>
                </a:cubicBezTo>
                <a:cubicBezTo>
                  <a:pt x="360" y="313"/>
                  <a:pt x="357" y="310"/>
                  <a:pt x="353" y="310"/>
                </a:cubicBezTo>
                <a:cubicBezTo>
                  <a:pt x="209" y="310"/>
                  <a:pt x="209" y="310"/>
                  <a:pt x="209" y="310"/>
                </a:cubicBezTo>
                <a:cubicBezTo>
                  <a:pt x="205" y="310"/>
                  <a:pt x="202" y="313"/>
                  <a:pt x="202" y="317"/>
                </a:cubicBezTo>
                <a:cubicBezTo>
                  <a:pt x="202" y="553"/>
                  <a:pt x="202" y="553"/>
                  <a:pt x="202" y="553"/>
                </a:cubicBezTo>
                <a:cubicBezTo>
                  <a:pt x="62" y="553"/>
                  <a:pt x="62" y="553"/>
                  <a:pt x="62" y="553"/>
                </a:cubicBezTo>
                <a:cubicBezTo>
                  <a:pt x="62" y="237"/>
                  <a:pt x="62" y="237"/>
                  <a:pt x="62" y="237"/>
                </a:cubicBezTo>
                <a:cubicBezTo>
                  <a:pt x="281" y="17"/>
                  <a:pt x="281" y="17"/>
                  <a:pt x="281" y="17"/>
                </a:cubicBezTo>
                <a:cubicBezTo>
                  <a:pt x="380" y="116"/>
                  <a:pt x="380" y="116"/>
                  <a:pt x="380" y="116"/>
                </a:cubicBezTo>
                <a:cubicBezTo>
                  <a:pt x="380" y="116"/>
                  <a:pt x="380" y="116"/>
                  <a:pt x="380" y="116"/>
                </a:cubicBezTo>
                <a:cubicBezTo>
                  <a:pt x="452" y="188"/>
                  <a:pt x="452" y="188"/>
                  <a:pt x="452" y="188"/>
                </a:cubicBezTo>
                <a:cubicBezTo>
                  <a:pt x="452" y="188"/>
                  <a:pt x="452" y="188"/>
                  <a:pt x="452" y="188"/>
                </a:cubicBezTo>
                <a:cubicBezTo>
                  <a:pt x="501" y="237"/>
                  <a:pt x="501" y="237"/>
                  <a:pt x="501" y="237"/>
                </a:cubicBezTo>
                <a:lnTo>
                  <a:pt x="501" y="553"/>
                </a:ln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9216" name="Freeform 33"/>
          <p:cNvSpPr>
            <a:spLocks/>
          </p:cNvSpPr>
          <p:nvPr/>
        </p:nvSpPr>
        <p:spPr bwMode="auto">
          <a:xfrm>
            <a:off x="8347593" y="3120088"/>
            <a:ext cx="1119124" cy="1119124"/>
          </a:xfrm>
          <a:custGeom>
            <a:avLst/>
            <a:gdLst>
              <a:gd name="T0" fmla="*/ 12 w 1087"/>
              <a:gd name="T1" fmla="*/ 520 h 1087"/>
              <a:gd name="T2" fmla="*/ 566 w 1087"/>
              <a:gd name="T3" fmla="*/ 13 h 1087"/>
              <a:gd name="T4" fmla="*/ 1074 w 1087"/>
              <a:gd name="T5" fmla="*/ 567 h 1087"/>
              <a:gd name="T6" fmla="*/ 520 w 1087"/>
              <a:gd name="T7" fmla="*/ 1074 h 1087"/>
              <a:gd name="T8" fmla="*/ 12 w 1087"/>
              <a:gd name="T9" fmla="*/ 520 h 1087"/>
            </a:gdLst>
            <a:ahLst/>
            <a:cxnLst>
              <a:cxn ang="0">
                <a:pos x="T0" y="T1"/>
              </a:cxn>
              <a:cxn ang="0">
                <a:pos x="T2" y="T3"/>
              </a:cxn>
              <a:cxn ang="0">
                <a:pos x="T4" y="T5"/>
              </a:cxn>
              <a:cxn ang="0">
                <a:pos x="T6" y="T7"/>
              </a:cxn>
              <a:cxn ang="0">
                <a:pos x="T8" y="T9"/>
              </a:cxn>
            </a:cxnLst>
            <a:rect l="0" t="0" r="r" b="b"/>
            <a:pathLst>
              <a:path w="1087" h="1087">
                <a:moveTo>
                  <a:pt x="12" y="520"/>
                </a:moveTo>
                <a:cubicBezTo>
                  <a:pt x="25" y="227"/>
                  <a:pt x="273" y="0"/>
                  <a:pt x="566" y="13"/>
                </a:cubicBezTo>
                <a:cubicBezTo>
                  <a:pt x="859" y="25"/>
                  <a:pt x="1087" y="273"/>
                  <a:pt x="1074" y="567"/>
                </a:cubicBezTo>
                <a:cubicBezTo>
                  <a:pt x="1061" y="860"/>
                  <a:pt x="813" y="1087"/>
                  <a:pt x="520" y="1074"/>
                </a:cubicBezTo>
                <a:cubicBezTo>
                  <a:pt x="227" y="1062"/>
                  <a:pt x="0" y="814"/>
                  <a:pt x="12" y="520"/>
                </a:cubicBezTo>
                <a:close/>
              </a:path>
            </a:pathLst>
          </a:cu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9281" name="Freeform 99"/>
          <p:cNvSpPr>
            <a:spLocks noEditPoints="1"/>
          </p:cNvSpPr>
          <p:nvPr/>
        </p:nvSpPr>
        <p:spPr bwMode="auto">
          <a:xfrm>
            <a:off x="8538522" y="3311018"/>
            <a:ext cx="736114" cy="737265"/>
          </a:xfrm>
          <a:custGeom>
            <a:avLst/>
            <a:gdLst>
              <a:gd name="T0" fmla="*/ 0 w 714"/>
              <a:gd name="T1" fmla="*/ 357 h 715"/>
              <a:gd name="T2" fmla="*/ 714 w 714"/>
              <a:gd name="T3" fmla="*/ 357 h 715"/>
              <a:gd name="T4" fmla="*/ 357 w 714"/>
              <a:gd name="T5" fmla="*/ 14 h 715"/>
              <a:gd name="T6" fmla="*/ 357 w 714"/>
              <a:gd name="T7" fmla="*/ 701 h 715"/>
              <a:gd name="T8" fmla="*/ 357 w 714"/>
              <a:gd name="T9" fmla="*/ 14 h 715"/>
              <a:gd name="T10" fmla="*/ 272 w 714"/>
              <a:gd name="T11" fmla="*/ 358 h 715"/>
              <a:gd name="T12" fmla="*/ 442 w 714"/>
              <a:gd name="T13" fmla="*/ 358 h 715"/>
              <a:gd name="T14" fmla="*/ 357 w 714"/>
              <a:gd name="T15" fmla="*/ 287 h 715"/>
              <a:gd name="T16" fmla="*/ 357 w 714"/>
              <a:gd name="T17" fmla="*/ 428 h 715"/>
              <a:gd name="T18" fmla="*/ 357 w 714"/>
              <a:gd name="T19" fmla="*/ 287 h 715"/>
              <a:gd name="T20" fmla="*/ 364 w 714"/>
              <a:gd name="T21" fmla="*/ 7 h 715"/>
              <a:gd name="T22" fmla="*/ 350 w 714"/>
              <a:gd name="T23" fmla="*/ 7 h 715"/>
              <a:gd name="T24" fmla="*/ 357 w 714"/>
              <a:gd name="T25" fmla="*/ 111 h 715"/>
              <a:gd name="T26" fmla="*/ 364 w 714"/>
              <a:gd name="T27" fmla="*/ 708 h 715"/>
              <a:gd name="T28" fmla="*/ 357 w 714"/>
              <a:gd name="T29" fmla="*/ 604 h 715"/>
              <a:gd name="T30" fmla="*/ 350 w 714"/>
              <a:gd name="T31" fmla="*/ 708 h 715"/>
              <a:gd name="T32" fmla="*/ 364 w 714"/>
              <a:gd name="T33" fmla="*/ 708 h 715"/>
              <a:gd name="T34" fmla="*/ 707 w 714"/>
              <a:gd name="T35" fmla="*/ 351 h 715"/>
              <a:gd name="T36" fmla="*/ 603 w 714"/>
              <a:gd name="T37" fmla="*/ 358 h 715"/>
              <a:gd name="T38" fmla="*/ 707 w 714"/>
              <a:gd name="T39" fmla="*/ 365 h 715"/>
              <a:gd name="T40" fmla="*/ 111 w 714"/>
              <a:gd name="T41" fmla="*/ 358 h 715"/>
              <a:gd name="T42" fmla="*/ 7 w 714"/>
              <a:gd name="T43" fmla="*/ 351 h 715"/>
              <a:gd name="T44" fmla="*/ 7 w 714"/>
              <a:gd name="T45" fmla="*/ 365 h 715"/>
              <a:gd name="T46" fmla="*/ 111 w 714"/>
              <a:gd name="T47" fmla="*/ 358 h 715"/>
              <a:gd name="T48" fmla="*/ 364 w 714"/>
              <a:gd name="T49" fmla="*/ 249 h 715"/>
              <a:gd name="T50" fmla="*/ 350 w 714"/>
              <a:gd name="T51" fmla="*/ 249 h 715"/>
              <a:gd name="T52" fmla="*/ 357 w 714"/>
              <a:gd name="T53" fmla="*/ 286 h 715"/>
              <a:gd name="T54" fmla="*/ 364 w 714"/>
              <a:gd name="T55" fmla="*/ 466 h 715"/>
              <a:gd name="T56" fmla="*/ 357 w 714"/>
              <a:gd name="T57" fmla="*/ 429 h 715"/>
              <a:gd name="T58" fmla="*/ 350 w 714"/>
              <a:gd name="T59" fmla="*/ 466 h 715"/>
              <a:gd name="T60" fmla="*/ 364 w 714"/>
              <a:gd name="T61" fmla="*/ 466 h 715"/>
              <a:gd name="T62" fmla="*/ 466 w 714"/>
              <a:gd name="T63" fmla="*/ 351 h 715"/>
              <a:gd name="T64" fmla="*/ 429 w 714"/>
              <a:gd name="T65" fmla="*/ 358 h 715"/>
              <a:gd name="T66" fmla="*/ 466 w 714"/>
              <a:gd name="T67" fmla="*/ 365 h 715"/>
              <a:gd name="T68" fmla="*/ 286 w 714"/>
              <a:gd name="T69" fmla="*/ 358 h 715"/>
              <a:gd name="T70" fmla="*/ 249 w 714"/>
              <a:gd name="T71" fmla="*/ 351 h 715"/>
              <a:gd name="T72" fmla="*/ 249 w 714"/>
              <a:gd name="T73" fmla="*/ 365 h 715"/>
              <a:gd name="T74" fmla="*/ 286 w 714"/>
              <a:gd name="T75" fmla="*/ 358 h 7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14" h="715">
                <a:moveTo>
                  <a:pt x="357" y="715"/>
                </a:moveTo>
                <a:cubicBezTo>
                  <a:pt x="160" y="715"/>
                  <a:pt x="0" y="554"/>
                  <a:pt x="0" y="357"/>
                </a:cubicBezTo>
                <a:cubicBezTo>
                  <a:pt x="0" y="161"/>
                  <a:pt x="160" y="0"/>
                  <a:pt x="357" y="0"/>
                </a:cubicBezTo>
                <a:cubicBezTo>
                  <a:pt x="554" y="0"/>
                  <a:pt x="714" y="161"/>
                  <a:pt x="714" y="357"/>
                </a:cubicBezTo>
                <a:cubicBezTo>
                  <a:pt x="714" y="554"/>
                  <a:pt x="554" y="715"/>
                  <a:pt x="357" y="715"/>
                </a:cubicBezTo>
                <a:close/>
                <a:moveTo>
                  <a:pt x="357" y="14"/>
                </a:moveTo>
                <a:cubicBezTo>
                  <a:pt x="168" y="14"/>
                  <a:pt x="14" y="168"/>
                  <a:pt x="14" y="357"/>
                </a:cubicBezTo>
                <a:cubicBezTo>
                  <a:pt x="14" y="547"/>
                  <a:pt x="168" y="701"/>
                  <a:pt x="357" y="701"/>
                </a:cubicBezTo>
                <a:cubicBezTo>
                  <a:pt x="546" y="701"/>
                  <a:pt x="700" y="547"/>
                  <a:pt x="700" y="357"/>
                </a:cubicBezTo>
                <a:cubicBezTo>
                  <a:pt x="700" y="168"/>
                  <a:pt x="546" y="14"/>
                  <a:pt x="357" y="14"/>
                </a:cubicBezTo>
                <a:close/>
                <a:moveTo>
                  <a:pt x="357" y="442"/>
                </a:moveTo>
                <a:cubicBezTo>
                  <a:pt x="310" y="442"/>
                  <a:pt x="272" y="404"/>
                  <a:pt x="272" y="358"/>
                </a:cubicBezTo>
                <a:cubicBezTo>
                  <a:pt x="272" y="311"/>
                  <a:pt x="310" y="273"/>
                  <a:pt x="357" y="273"/>
                </a:cubicBezTo>
                <a:cubicBezTo>
                  <a:pt x="404" y="273"/>
                  <a:pt x="442" y="311"/>
                  <a:pt x="442" y="358"/>
                </a:cubicBezTo>
                <a:cubicBezTo>
                  <a:pt x="442" y="404"/>
                  <a:pt x="404" y="442"/>
                  <a:pt x="357" y="442"/>
                </a:cubicBezTo>
                <a:close/>
                <a:moveTo>
                  <a:pt x="357" y="287"/>
                </a:moveTo>
                <a:cubicBezTo>
                  <a:pt x="318" y="287"/>
                  <a:pt x="286" y="318"/>
                  <a:pt x="286" y="358"/>
                </a:cubicBezTo>
                <a:cubicBezTo>
                  <a:pt x="286" y="397"/>
                  <a:pt x="318" y="428"/>
                  <a:pt x="357" y="428"/>
                </a:cubicBezTo>
                <a:cubicBezTo>
                  <a:pt x="396" y="428"/>
                  <a:pt x="428" y="397"/>
                  <a:pt x="428" y="358"/>
                </a:cubicBezTo>
                <a:cubicBezTo>
                  <a:pt x="428" y="318"/>
                  <a:pt x="396" y="287"/>
                  <a:pt x="357" y="287"/>
                </a:cubicBezTo>
                <a:close/>
                <a:moveTo>
                  <a:pt x="364" y="104"/>
                </a:moveTo>
                <a:cubicBezTo>
                  <a:pt x="364" y="7"/>
                  <a:pt x="364" y="7"/>
                  <a:pt x="364" y="7"/>
                </a:cubicBezTo>
                <a:cubicBezTo>
                  <a:pt x="364" y="4"/>
                  <a:pt x="361" y="0"/>
                  <a:pt x="357" y="0"/>
                </a:cubicBezTo>
                <a:cubicBezTo>
                  <a:pt x="353" y="0"/>
                  <a:pt x="350" y="4"/>
                  <a:pt x="350" y="7"/>
                </a:cubicBezTo>
                <a:cubicBezTo>
                  <a:pt x="350" y="104"/>
                  <a:pt x="350" y="104"/>
                  <a:pt x="350" y="104"/>
                </a:cubicBezTo>
                <a:cubicBezTo>
                  <a:pt x="350" y="108"/>
                  <a:pt x="353" y="111"/>
                  <a:pt x="357" y="111"/>
                </a:cubicBezTo>
                <a:cubicBezTo>
                  <a:pt x="361" y="111"/>
                  <a:pt x="364" y="108"/>
                  <a:pt x="364" y="104"/>
                </a:cubicBezTo>
                <a:close/>
                <a:moveTo>
                  <a:pt x="364" y="708"/>
                </a:moveTo>
                <a:cubicBezTo>
                  <a:pt x="364" y="611"/>
                  <a:pt x="364" y="611"/>
                  <a:pt x="364" y="611"/>
                </a:cubicBezTo>
                <a:cubicBezTo>
                  <a:pt x="364" y="607"/>
                  <a:pt x="361" y="604"/>
                  <a:pt x="357" y="604"/>
                </a:cubicBezTo>
                <a:cubicBezTo>
                  <a:pt x="353" y="604"/>
                  <a:pt x="350" y="607"/>
                  <a:pt x="350" y="611"/>
                </a:cubicBezTo>
                <a:cubicBezTo>
                  <a:pt x="350" y="708"/>
                  <a:pt x="350" y="708"/>
                  <a:pt x="350" y="708"/>
                </a:cubicBezTo>
                <a:cubicBezTo>
                  <a:pt x="350" y="711"/>
                  <a:pt x="353" y="715"/>
                  <a:pt x="357" y="715"/>
                </a:cubicBezTo>
                <a:cubicBezTo>
                  <a:pt x="361" y="715"/>
                  <a:pt x="364" y="711"/>
                  <a:pt x="364" y="708"/>
                </a:cubicBezTo>
                <a:close/>
                <a:moveTo>
                  <a:pt x="714" y="358"/>
                </a:moveTo>
                <a:cubicBezTo>
                  <a:pt x="714" y="354"/>
                  <a:pt x="711" y="351"/>
                  <a:pt x="707" y="351"/>
                </a:cubicBezTo>
                <a:cubicBezTo>
                  <a:pt x="610" y="351"/>
                  <a:pt x="610" y="351"/>
                  <a:pt x="610" y="351"/>
                </a:cubicBezTo>
                <a:cubicBezTo>
                  <a:pt x="606" y="351"/>
                  <a:pt x="603" y="354"/>
                  <a:pt x="603" y="358"/>
                </a:cubicBezTo>
                <a:cubicBezTo>
                  <a:pt x="603" y="361"/>
                  <a:pt x="606" y="365"/>
                  <a:pt x="610" y="365"/>
                </a:cubicBezTo>
                <a:cubicBezTo>
                  <a:pt x="707" y="365"/>
                  <a:pt x="707" y="365"/>
                  <a:pt x="707" y="365"/>
                </a:cubicBezTo>
                <a:cubicBezTo>
                  <a:pt x="711" y="365"/>
                  <a:pt x="714" y="361"/>
                  <a:pt x="714" y="358"/>
                </a:cubicBezTo>
                <a:close/>
                <a:moveTo>
                  <a:pt x="111" y="358"/>
                </a:moveTo>
                <a:cubicBezTo>
                  <a:pt x="111" y="354"/>
                  <a:pt x="108" y="351"/>
                  <a:pt x="104" y="351"/>
                </a:cubicBezTo>
                <a:cubicBezTo>
                  <a:pt x="7" y="351"/>
                  <a:pt x="7" y="351"/>
                  <a:pt x="7" y="351"/>
                </a:cubicBezTo>
                <a:cubicBezTo>
                  <a:pt x="3" y="351"/>
                  <a:pt x="0" y="354"/>
                  <a:pt x="0" y="358"/>
                </a:cubicBezTo>
                <a:cubicBezTo>
                  <a:pt x="0" y="361"/>
                  <a:pt x="3" y="365"/>
                  <a:pt x="7" y="365"/>
                </a:cubicBezTo>
                <a:cubicBezTo>
                  <a:pt x="104" y="365"/>
                  <a:pt x="104" y="365"/>
                  <a:pt x="104" y="365"/>
                </a:cubicBezTo>
                <a:cubicBezTo>
                  <a:pt x="108" y="365"/>
                  <a:pt x="111" y="361"/>
                  <a:pt x="111" y="358"/>
                </a:cubicBezTo>
                <a:close/>
                <a:moveTo>
                  <a:pt x="364" y="279"/>
                </a:moveTo>
                <a:cubicBezTo>
                  <a:pt x="364" y="249"/>
                  <a:pt x="364" y="249"/>
                  <a:pt x="364" y="249"/>
                </a:cubicBezTo>
                <a:cubicBezTo>
                  <a:pt x="364" y="245"/>
                  <a:pt x="361" y="242"/>
                  <a:pt x="357" y="242"/>
                </a:cubicBezTo>
                <a:cubicBezTo>
                  <a:pt x="353" y="242"/>
                  <a:pt x="350" y="245"/>
                  <a:pt x="350" y="249"/>
                </a:cubicBezTo>
                <a:cubicBezTo>
                  <a:pt x="350" y="279"/>
                  <a:pt x="350" y="279"/>
                  <a:pt x="350" y="279"/>
                </a:cubicBezTo>
                <a:cubicBezTo>
                  <a:pt x="350" y="283"/>
                  <a:pt x="353" y="286"/>
                  <a:pt x="357" y="286"/>
                </a:cubicBezTo>
                <a:cubicBezTo>
                  <a:pt x="361" y="286"/>
                  <a:pt x="364" y="283"/>
                  <a:pt x="364" y="279"/>
                </a:cubicBezTo>
                <a:close/>
                <a:moveTo>
                  <a:pt x="364" y="466"/>
                </a:moveTo>
                <a:cubicBezTo>
                  <a:pt x="364" y="436"/>
                  <a:pt x="364" y="436"/>
                  <a:pt x="364" y="436"/>
                </a:cubicBezTo>
                <a:cubicBezTo>
                  <a:pt x="364" y="432"/>
                  <a:pt x="361" y="429"/>
                  <a:pt x="357" y="429"/>
                </a:cubicBezTo>
                <a:cubicBezTo>
                  <a:pt x="353" y="429"/>
                  <a:pt x="350" y="432"/>
                  <a:pt x="350" y="436"/>
                </a:cubicBezTo>
                <a:cubicBezTo>
                  <a:pt x="350" y="466"/>
                  <a:pt x="350" y="466"/>
                  <a:pt x="350" y="466"/>
                </a:cubicBezTo>
                <a:cubicBezTo>
                  <a:pt x="350" y="470"/>
                  <a:pt x="353" y="473"/>
                  <a:pt x="357" y="473"/>
                </a:cubicBezTo>
                <a:cubicBezTo>
                  <a:pt x="361" y="473"/>
                  <a:pt x="364" y="470"/>
                  <a:pt x="364" y="466"/>
                </a:cubicBezTo>
                <a:close/>
                <a:moveTo>
                  <a:pt x="473" y="358"/>
                </a:moveTo>
                <a:cubicBezTo>
                  <a:pt x="473" y="354"/>
                  <a:pt x="470" y="351"/>
                  <a:pt x="466" y="351"/>
                </a:cubicBezTo>
                <a:cubicBezTo>
                  <a:pt x="436" y="351"/>
                  <a:pt x="436" y="351"/>
                  <a:pt x="436" y="351"/>
                </a:cubicBezTo>
                <a:cubicBezTo>
                  <a:pt x="432" y="351"/>
                  <a:pt x="429" y="354"/>
                  <a:pt x="429" y="358"/>
                </a:cubicBezTo>
                <a:cubicBezTo>
                  <a:pt x="429" y="361"/>
                  <a:pt x="432" y="365"/>
                  <a:pt x="436" y="365"/>
                </a:cubicBezTo>
                <a:cubicBezTo>
                  <a:pt x="466" y="365"/>
                  <a:pt x="466" y="365"/>
                  <a:pt x="466" y="365"/>
                </a:cubicBezTo>
                <a:cubicBezTo>
                  <a:pt x="470" y="365"/>
                  <a:pt x="473" y="361"/>
                  <a:pt x="473" y="358"/>
                </a:cubicBezTo>
                <a:close/>
                <a:moveTo>
                  <a:pt x="286" y="358"/>
                </a:moveTo>
                <a:cubicBezTo>
                  <a:pt x="286" y="354"/>
                  <a:pt x="282" y="351"/>
                  <a:pt x="279" y="351"/>
                </a:cubicBezTo>
                <a:cubicBezTo>
                  <a:pt x="249" y="351"/>
                  <a:pt x="249" y="351"/>
                  <a:pt x="249" y="351"/>
                </a:cubicBezTo>
                <a:cubicBezTo>
                  <a:pt x="245" y="351"/>
                  <a:pt x="242" y="354"/>
                  <a:pt x="242" y="358"/>
                </a:cubicBezTo>
                <a:cubicBezTo>
                  <a:pt x="242" y="361"/>
                  <a:pt x="245" y="365"/>
                  <a:pt x="249" y="365"/>
                </a:cubicBezTo>
                <a:cubicBezTo>
                  <a:pt x="279" y="365"/>
                  <a:pt x="279" y="365"/>
                  <a:pt x="279" y="365"/>
                </a:cubicBezTo>
                <a:cubicBezTo>
                  <a:pt x="282" y="365"/>
                  <a:pt x="286" y="361"/>
                  <a:pt x="286" y="358"/>
                </a:cubicBez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15" name="Oval 16"/>
          <p:cNvSpPr>
            <a:spLocks noChangeArrowheads="1"/>
          </p:cNvSpPr>
          <p:nvPr/>
        </p:nvSpPr>
        <p:spPr bwMode="auto">
          <a:xfrm>
            <a:off x="6589621" y="1528549"/>
            <a:ext cx="1119124" cy="1119124"/>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9289" name="Freeform 102"/>
          <p:cNvSpPr>
            <a:spLocks noEditPoints="1"/>
          </p:cNvSpPr>
          <p:nvPr/>
        </p:nvSpPr>
        <p:spPr bwMode="auto">
          <a:xfrm>
            <a:off x="6845891" y="1749553"/>
            <a:ext cx="606584" cy="645378"/>
          </a:xfrm>
          <a:custGeom>
            <a:avLst/>
            <a:gdLst>
              <a:gd name="T0" fmla="*/ 160 w 576"/>
              <a:gd name="T1" fmla="*/ 333 h 613"/>
              <a:gd name="T2" fmla="*/ 251 w 576"/>
              <a:gd name="T3" fmla="*/ 413 h 613"/>
              <a:gd name="T4" fmla="*/ 174 w 576"/>
              <a:gd name="T5" fmla="*/ 340 h 613"/>
              <a:gd name="T6" fmla="*/ 50 w 576"/>
              <a:gd name="T7" fmla="*/ 326 h 613"/>
              <a:gd name="T8" fmla="*/ 126 w 576"/>
              <a:gd name="T9" fmla="*/ 420 h 613"/>
              <a:gd name="T10" fmla="*/ 119 w 576"/>
              <a:gd name="T11" fmla="*/ 406 h 613"/>
              <a:gd name="T12" fmla="*/ 119 w 576"/>
              <a:gd name="T13" fmla="*/ 406 h 613"/>
              <a:gd name="T14" fmla="*/ 251 w 576"/>
              <a:gd name="T15" fmla="*/ 199 h 613"/>
              <a:gd name="T16" fmla="*/ 160 w 576"/>
              <a:gd name="T17" fmla="*/ 279 h 613"/>
              <a:gd name="T18" fmla="*/ 237 w 576"/>
              <a:gd name="T19" fmla="*/ 272 h 613"/>
              <a:gd name="T20" fmla="*/ 50 w 576"/>
              <a:gd name="T21" fmla="*/ 192 h 613"/>
              <a:gd name="T22" fmla="*/ 126 w 576"/>
              <a:gd name="T23" fmla="*/ 286 h 613"/>
              <a:gd name="T24" fmla="*/ 119 w 576"/>
              <a:gd name="T25" fmla="*/ 272 h 613"/>
              <a:gd name="T26" fmla="*/ 119 w 576"/>
              <a:gd name="T27" fmla="*/ 272 h 613"/>
              <a:gd name="T28" fmla="*/ 43 w 576"/>
              <a:gd name="T29" fmla="*/ 549 h 613"/>
              <a:gd name="T30" fmla="*/ 133 w 576"/>
              <a:gd name="T31" fmla="*/ 468 h 613"/>
              <a:gd name="T32" fmla="*/ 57 w 576"/>
              <a:gd name="T33" fmla="*/ 475 h 613"/>
              <a:gd name="T34" fmla="*/ 288 w 576"/>
              <a:gd name="T35" fmla="*/ 0 h 613"/>
              <a:gd name="T36" fmla="*/ 0 w 576"/>
              <a:gd name="T37" fmla="*/ 153 h 613"/>
              <a:gd name="T38" fmla="*/ 174 w 576"/>
              <a:gd name="T39" fmla="*/ 606 h 613"/>
              <a:gd name="T40" fmla="*/ 244 w 576"/>
              <a:gd name="T41" fmla="*/ 613 h 613"/>
              <a:gd name="T42" fmla="*/ 456 w 576"/>
              <a:gd name="T43" fmla="*/ 475 h 613"/>
              <a:gd name="T44" fmla="*/ 569 w 576"/>
              <a:gd name="T45" fmla="*/ 613 h 613"/>
              <a:gd name="T46" fmla="*/ 244 w 576"/>
              <a:gd name="T47" fmla="*/ 461 h 613"/>
              <a:gd name="T48" fmla="*/ 14 w 576"/>
              <a:gd name="T49" fmla="*/ 599 h 613"/>
              <a:gd name="T50" fmla="*/ 251 w 576"/>
              <a:gd name="T51" fmla="*/ 599 h 613"/>
              <a:gd name="T52" fmla="*/ 532 w 576"/>
              <a:gd name="T53" fmla="*/ 599 h 613"/>
              <a:gd name="T54" fmla="*/ 442 w 576"/>
              <a:gd name="T55" fmla="*/ 468 h 613"/>
              <a:gd name="T56" fmla="*/ 295 w 576"/>
              <a:gd name="T57" fmla="*/ 14 h 613"/>
              <a:gd name="T58" fmla="*/ 525 w 576"/>
              <a:gd name="T59" fmla="*/ 420 h 613"/>
              <a:gd name="T60" fmla="*/ 449 w 576"/>
              <a:gd name="T61" fmla="*/ 326 h 613"/>
              <a:gd name="T62" fmla="*/ 456 w 576"/>
              <a:gd name="T63" fmla="*/ 340 h 613"/>
              <a:gd name="T64" fmla="*/ 456 w 576"/>
              <a:gd name="T65" fmla="*/ 340 h 613"/>
              <a:gd name="T66" fmla="*/ 414 w 576"/>
              <a:gd name="T67" fmla="*/ 333 h 613"/>
              <a:gd name="T68" fmla="*/ 324 w 576"/>
              <a:gd name="T69" fmla="*/ 413 h 613"/>
              <a:gd name="T70" fmla="*/ 400 w 576"/>
              <a:gd name="T71" fmla="*/ 406 h 613"/>
              <a:gd name="T72" fmla="*/ 525 w 576"/>
              <a:gd name="T73" fmla="*/ 286 h 613"/>
              <a:gd name="T74" fmla="*/ 449 w 576"/>
              <a:gd name="T75" fmla="*/ 192 h 613"/>
              <a:gd name="T76" fmla="*/ 456 w 576"/>
              <a:gd name="T77" fmla="*/ 206 h 613"/>
              <a:gd name="T78" fmla="*/ 456 w 576"/>
              <a:gd name="T79" fmla="*/ 206 h 613"/>
              <a:gd name="T80" fmla="*/ 414 w 576"/>
              <a:gd name="T81" fmla="*/ 199 h 613"/>
              <a:gd name="T82" fmla="*/ 324 w 576"/>
              <a:gd name="T83" fmla="*/ 279 h 613"/>
              <a:gd name="T84" fmla="*/ 400 w 576"/>
              <a:gd name="T85" fmla="*/ 272 h 613"/>
              <a:gd name="T86" fmla="*/ 525 w 576"/>
              <a:gd name="T87" fmla="*/ 153 h 613"/>
              <a:gd name="T88" fmla="*/ 449 w 576"/>
              <a:gd name="T89" fmla="*/ 59 h 613"/>
              <a:gd name="T90" fmla="*/ 456 w 576"/>
              <a:gd name="T91" fmla="*/ 73 h 613"/>
              <a:gd name="T92" fmla="*/ 456 w 576"/>
              <a:gd name="T93" fmla="*/ 73 h 613"/>
              <a:gd name="T94" fmla="*/ 414 w 576"/>
              <a:gd name="T95" fmla="*/ 66 h 613"/>
              <a:gd name="T96" fmla="*/ 324 w 576"/>
              <a:gd name="T97" fmla="*/ 146 h 613"/>
              <a:gd name="T98" fmla="*/ 400 w 576"/>
              <a:gd name="T99" fmla="*/ 139 h 613"/>
              <a:gd name="T100" fmla="*/ 407 w 576"/>
              <a:gd name="T101" fmla="*/ 556 h 613"/>
              <a:gd name="T102" fmla="*/ 331 w 576"/>
              <a:gd name="T103" fmla="*/ 461 h 613"/>
              <a:gd name="T104" fmla="*/ 338 w 576"/>
              <a:gd name="T105" fmla="*/ 475 h 613"/>
              <a:gd name="T106" fmla="*/ 338 w 576"/>
              <a:gd name="T107" fmla="*/ 475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76" h="613">
                <a:moveTo>
                  <a:pt x="251" y="333"/>
                </a:moveTo>
                <a:cubicBezTo>
                  <a:pt x="251" y="329"/>
                  <a:pt x="248" y="326"/>
                  <a:pt x="244" y="326"/>
                </a:cubicBezTo>
                <a:cubicBezTo>
                  <a:pt x="167" y="326"/>
                  <a:pt x="167" y="326"/>
                  <a:pt x="167" y="326"/>
                </a:cubicBezTo>
                <a:cubicBezTo>
                  <a:pt x="164" y="326"/>
                  <a:pt x="160" y="329"/>
                  <a:pt x="160" y="333"/>
                </a:cubicBezTo>
                <a:cubicBezTo>
                  <a:pt x="160" y="413"/>
                  <a:pt x="160" y="413"/>
                  <a:pt x="160" y="413"/>
                </a:cubicBezTo>
                <a:cubicBezTo>
                  <a:pt x="160" y="417"/>
                  <a:pt x="164" y="420"/>
                  <a:pt x="167" y="420"/>
                </a:cubicBezTo>
                <a:cubicBezTo>
                  <a:pt x="244" y="420"/>
                  <a:pt x="244" y="420"/>
                  <a:pt x="244" y="420"/>
                </a:cubicBezTo>
                <a:cubicBezTo>
                  <a:pt x="248" y="420"/>
                  <a:pt x="251" y="417"/>
                  <a:pt x="251" y="413"/>
                </a:cubicBezTo>
                <a:lnTo>
                  <a:pt x="251" y="333"/>
                </a:lnTo>
                <a:close/>
                <a:moveTo>
                  <a:pt x="237" y="406"/>
                </a:moveTo>
                <a:cubicBezTo>
                  <a:pt x="174" y="406"/>
                  <a:pt x="174" y="406"/>
                  <a:pt x="174" y="406"/>
                </a:cubicBezTo>
                <a:cubicBezTo>
                  <a:pt x="174" y="340"/>
                  <a:pt x="174" y="340"/>
                  <a:pt x="174" y="340"/>
                </a:cubicBezTo>
                <a:cubicBezTo>
                  <a:pt x="237" y="340"/>
                  <a:pt x="237" y="340"/>
                  <a:pt x="237" y="340"/>
                </a:cubicBezTo>
                <a:lnTo>
                  <a:pt x="237" y="406"/>
                </a:lnTo>
                <a:close/>
                <a:moveTo>
                  <a:pt x="126" y="326"/>
                </a:moveTo>
                <a:cubicBezTo>
                  <a:pt x="50" y="326"/>
                  <a:pt x="50" y="326"/>
                  <a:pt x="50" y="326"/>
                </a:cubicBezTo>
                <a:cubicBezTo>
                  <a:pt x="46" y="326"/>
                  <a:pt x="43" y="329"/>
                  <a:pt x="43" y="333"/>
                </a:cubicBezTo>
                <a:cubicBezTo>
                  <a:pt x="43" y="413"/>
                  <a:pt x="43" y="413"/>
                  <a:pt x="43" y="413"/>
                </a:cubicBezTo>
                <a:cubicBezTo>
                  <a:pt x="43" y="417"/>
                  <a:pt x="46" y="420"/>
                  <a:pt x="50" y="420"/>
                </a:cubicBezTo>
                <a:cubicBezTo>
                  <a:pt x="126" y="420"/>
                  <a:pt x="126" y="420"/>
                  <a:pt x="126" y="420"/>
                </a:cubicBezTo>
                <a:cubicBezTo>
                  <a:pt x="130" y="420"/>
                  <a:pt x="133" y="417"/>
                  <a:pt x="133" y="413"/>
                </a:cubicBezTo>
                <a:cubicBezTo>
                  <a:pt x="133" y="333"/>
                  <a:pt x="133" y="333"/>
                  <a:pt x="133" y="333"/>
                </a:cubicBezTo>
                <a:cubicBezTo>
                  <a:pt x="133" y="329"/>
                  <a:pt x="130" y="326"/>
                  <a:pt x="126" y="326"/>
                </a:cubicBezTo>
                <a:close/>
                <a:moveTo>
                  <a:pt x="119" y="406"/>
                </a:moveTo>
                <a:cubicBezTo>
                  <a:pt x="57" y="406"/>
                  <a:pt x="57" y="406"/>
                  <a:pt x="57" y="406"/>
                </a:cubicBezTo>
                <a:cubicBezTo>
                  <a:pt x="57" y="340"/>
                  <a:pt x="57" y="340"/>
                  <a:pt x="57" y="340"/>
                </a:cubicBezTo>
                <a:cubicBezTo>
                  <a:pt x="119" y="340"/>
                  <a:pt x="119" y="340"/>
                  <a:pt x="119" y="340"/>
                </a:cubicBezTo>
                <a:lnTo>
                  <a:pt x="119" y="406"/>
                </a:lnTo>
                <a:close/>
                <a:moveTo>
                  <a:pt x="167" y="286"/>
                </a:moveTo>
                <a:cubicBezTo>
                  <a:pt x="244" y="286"/>
                  <a:pt x="244" y="286"/>
                  <a:pt x="244" y="286"/>
                </a:cubicBezTo>
                <a:cubicBezTo>
                  <a:pt x="248" y="286"/>
                  <a:pt x="251" y="283"/>
                  <a:pt x="251" y="279"/>
                </a:cubicBezTo>
                <a:cubicBezTo>
                  <a:pt x="251" y="199"/>
                  <a:pt x="251" y="199"/>
                  <a:pt x="251" y="199"/>
                </a:cubicBezTo>
                <a:cubicBezTo>
                  <a:pt x="251" y="195"/>
                  <a:pt x="248" y="192"/>
                  <a:pt x="244" y="192"/>
                </a:cubicBezTo>
                <a:cubicBezTo>
                  <a:pt x="167" y="192"/>
                  <a:pt x="167" y="192"/>
                  <a:pt x="167" y="192"/>
                </a:cubicBezTo>
                <a:cubicBezTo>
                  <a:pt x="164" y="192"/>
                  <a:pt x="160" y="195"/>
                  <a:pt x="160" y="199"/>
                </a:cubicBezTo>
                <a:cubicBezTo>
                  <a:pt x="160" y="279"/>
                  <a:pt x="160" y="279"/>
                  <a:pt x="160" y="279"/>
                </a:cubicBezTo>
                <a:cubicBezTo>
                  <a:pt x="160" y="283"/>
                  <a:pt x="164" y="286"/>
                  <a:pt x="167" y="286"/>
                </a:cubicBezTo>
                <a:close/>
                <a:moveTo>
                  <a:pt x="174" y="206"/>
                </a:moveTo>
                <a:cubicBezTo>
                  <a:pt x="237" y="206"/>
                  <a:pt x="237" y="206"/>
                  <a:pt x="237" y="206"/>
                </a:cubicBezTo>
                <a:cubicBezTo>
                  <a:pt x="237" y="272"/>
                  <a:pt x="237" y="272"/>
                  <a:pt x="237" y="272"/>
                </a:cubicBezTo>
                <a:cubicBezTo>
                  <a:pt x="174" y="272"/>
                  <a:pt x="174" y="272"/>
                  <a:pt x="174" y="272"/>
                </a:cubicBezTo>
                <a:lnTo>
                  <a:pt x="174" y="206"/>
                </a:lnTo>
                <a:close/>
                <a:moveTo>
                  <a:pt x="126" y="192"/>
                </a:moveTo>
                <a:cubicBezTo>
                  <a:pt x="50" y="192"/>
                  <a:pt x="50" y="192"/>
                  <a:pt x="50" y="192"/>
                </a:cubicBezTo>
                <a:cubicBezTo>
                  <a:pt x="46" y="192"/>
                  <a:pt x="43" y="195"/>
                  <a:pt x="43" y="199"/>
                </a:cubicBezTo>
                <a:cubicBezTo>
                  <a:pt x="43" y="279"/>
                  <a:pt x="43" y="279"/>
                  <a:pt x="43" y="279"/>
                </a:cubicBezTo>
                <a:cubicBezTo>
                  <a:pt x="43" y="283"/>
                  <a:pt x="46" y="286"/>
                  <a:pt x="50" y="286"/>
                </a:cubicBezTo>
                <a:cubicBezTo>
                  <a:pt x="126" y="286"/>
                  <a:pt x="126" y="286"/>
                  <a:pt x="126" y="286"/>
                </a:cubicBezTo>
                <a:cubicBezTo>
                  <a:pt x="130" y="286"/>
                  <a:pt x="133" y="283"/>
                  <a:pt x="133" y="279"/>
                </a:cubicBezTo>
                <a:cubicBezTo>
                  <a:pt x="133" y="199"/>
                  <a:pt x="133" y="199"/>
                  <a:pt x="133" y="199"/>
                </a:cubicBezTo>
                <a:cubicBezTo>
                  <a:pt x="133" y="195"/>
                  <a:pt x="130" y="192"/>
                  <a:pt x="126" y="192"/>
                </a:cubicBezTo>
                <a:close/>
                <a:moveTo>
                  <a:pt x="119" y="272"/>
                </a:moveTo>
                <a:cubicBezTo>
                  <a:pt x="57" y="272"/>
                  <a:pt x="57" y="272"/>
                  <a:pt x="57" y="272"/>
                </a:cubicBezTo>
                <a:cubicBezTo>
                  <a:pt x="57" y="206"/>
                  <a:pt x="57" y="206"/>
                  <a:pt x="57" y="206"/>
                </a:cubicBezTo>
                <a:cubicBezTo>
                  <a:pt x="119" y="206"/>
                  <a:pt x="119" y="206"/>
                  <a:pt x="119" y="206"/>
                </a:cubicBezTo>
                <a:lnTo>
                  <a:pt x="119" y="272"/>
                </a:lnTo>
                <a:close/>
                <a:moveTo>
                  <a:pt x="126" y="461"/>
                </a:moveTo>
                <a:cubicBezTo>
                  <a:pt x="50" y="461"/>
                  <a:pt x="50" y="461"/>
                  <a:pt x="50" y="461"/>
                </a:cubicBezTo>
                <a:cubicBezTo>
                  <a:pt x="46" y="461"/>
                  <a:pt x="43" y="465"/>
                  <a:pt x="43" y="468"/>
                </a:cubicBezTo>
                <a:cubicBezTo>
                  <a:pt x="43" y="549"/>
                  <a:pt x="43" y="549"/>
                  <a:pt x="43" y="549"/>
                </a:cubicBezTo>
                <a:cubicBezTo>
                  <a:pt x="43" y="553"/>
                  <a:pt x="46" y="556"/>
                  <a:pt x="50" y="556"/>
                </a:cubicBezTo>
                <a:cubicBezTo>
                  <a:pt x="126" y="556"/>
                  <a:pt x="126" y="556"/>
                  <a:pt x="126" y="556"/>
                </a:cubicBezTo>
                <a:cubicBezTo>
                  <a:pt x="130" y="556"/>
                  <a:pt x="133" y="553"/>
                  <a:pt x="133" y="549"/>
                </a:cubicBezTo>
                <a:cubicBezTo>
                  <a:pt x="133" y="468"/>
                  <a:pt x="133" y="468"/>
                  <a:pt x="133" y="468"/>
                </a:cubicBezTo>
                <a:cubicBezTo>
                  <a:pt x="133" y="465"/>
                  <a:pt x="130" y="461"/>
                  <a:pt x="126" y="461"/>
                </a:cubicBezTo>
                <a:close/>
                <a:moveTo>
                  <a:pt x="119" y="542"/>
                </a:moveTo>
                <a:cubicBezTo>
                  <a:pt x="57" y="542"/>
                  <a:pt x="57" y="542"/>
                  <a:pt x="57" y="542"/>
                </a:cubicBezTo>
                <a:cubicBezTo>
                  <a:pt x="57" y="475"/>
                  <a:pt x="57" y="475"/>
                  <a:pt x="57" y="475"/>
                </a:cubicBezTo>
                <a:cubicBezTo>
                  <a:pt x="119" y="475"/>
                  <a:pt x="119" y="475"/>
                  <a:pt x="119" y="475"/>
                </a:cubicBezTo>
                <a:lnTo>
                  <a:pt x="119" y="542"/>
                </a:lnTo>
                <a:close/>
                <a:moveTo>
                  <a:pt x="569" y="0"/>
                </a:moveTo>
                <a:cubicBezTo>
                  <a:pt x="288" y="0"/>
                  <a:pt x="288" y="0"/>
                  <a:pt x="288" y="0"/>
                </a:cubicBezTo>
                <a:cubicBezTo>
                  <a:pt x="284" y="0"/>
                  <a:pt x="281" y="3"/>
                  <a:pt x="281" y="7"/>
                </a:cubicBezTo>
                <a:cubicBezTo>
                  <a:pt x="281" y="146"/>
                  <a:pt x="281" y="146"/>
                  <a:pt x="281" y="146"/>
                </a:cubicBezTo>
                <a:cubicBezTo>
                  <a:pt x="7" y="146"/>
                  <a:pt x="7" y="146"/>
                  <a:pt x="7" y="146"/>
                </a:cubicBezTo>
                <a:cubicBezTo>
                  <a:pt x="3" y="146"/>
                  <a:pt x="0" y="149"/>
                  <a:pt x="0" y="153"/>
                </a:cubicBezTo>
                <a:cubicBezTo>
                  <a:pt x="0" y="606"/>
                  <a:pt x="0" y="606"/>
                  <a:pt x="0" y="606"/>
                </a:cubicBezTo>
                <a:cubicBezTo>
                  <a:pt x="0" y="609"/>
                  <a:pt x="3" y="613"/>
                  <a:pt x="7" y="613"/>
                </a:cubicBezTo>
                <a:cubicBezTo>
                  <a:pt x="167" y="613"/>
                  <a:pt x="167" y="613"/>
                  <a:pt x="167" y="613"/>
                </a:cubicBezTo>
                <a:cubicBezTo>
                  <a:pt x="171" y="613"/>
                  <a:pt x="174" y="609"/>
                  <a:pt x="174" y="606"/>
                </a:cubicBezTo>
                <a:cubicBezTo>
                  <a:pt x="174" y="475"/>
                  <a:pt x="174" y="475"/>
                  <a:pt x="174" y="475"/>
                </a:cubicBezTo>
                <a:cubicBezTo>
                  <a:pt x="237" y="475"/>
                  <a:pt x="237" y="475"/>
                  <a:pt x="237" y="475"/>
                </a:cubicBezTo>
                <a:cubicBezTo>
                  <a:pt x="237" y="606"/>
                  <a:pt x="237" y="606"/>
                  <a:pt x="237" y="606"/>
                </a:cubicBezTo>
                <a:cubicBezTo>
                  <a:pt x="237" y="609"/>
                  <a:pt x="240" y="613"/>
                  <a:pt x="244" y="613"/>
                </a:cubicBezTo>
                <a:cubicBezTo>
                  <a:pt x="288" y="613"/>
                  <a:pt x="288" y="613"/>
                  <a:pt x="288" y="613"/>
                </a:cubicBezTo>
                <a:cubicBezTo>
                  <a:pt x="449" y="613"/>
                  <a:pt x="449" y="613"/>
                  <a:pt x="449" y="613"/>
                </a:cubicBezTo>
                <a:cubicBezTo>
                  <a:pt x="453" y="613"/>
                  <a:pt x="456" y="609"/>
                  <a:pt x="456" y="606"/>
                </a:cubicBezTo>
                <a:cubicBezTo>
                  <a:pt x="456" y="475"/>
                  <a:pt x="456" y="475"/>
                  <a:pt x="456" y="475"/>
                </a:cubicBezTo>
                <a:cubicBezTo>
                  <a:pt x="518" y="475"/>
                  <a:pt x="518" y="475"/>
                  <a:pt x="518" y="475"/>
                </a:cubicBezTo>
                <a:cubicBezTo>
                  <a:pt x="518" y="606"/>
                  <a:pt x="518" y="606"/>
                  <a:pt x="518" y="606"/>
                </a:cubicBezTo>
                <a:cubicBezTo>
                  <a:pt x="518" y="609"/>
                  <a:pt x="521" y="613"/>
                  <a:pt x="525" y="613"/>
                </a:cubicBezTo>
                <a:cubicBezTo>
                  <a:pt x="569" y="613"/>
                  <a:pt x="569" y="613"/>
                  <a:pt x="569" y="613"/>
                </a:cubicBezTo>
                <a:cubicBezTo>
                  <a:pt x="573" y="613"/>
                  <a:pt x="576" y="609"/>
                  <a:pt x="576" y="606"/>
                </a:cubicBezTo>
                <a:cubicBezTo>
                  <a:pt x="576" y="7"/>
                  <a:pt x="576" y="7"/>
                  <a:pt x="576" y="7"/>
                </a:cubicBezTo>
                <a:cubicBezTo>
                  <a:pt x="576" y="3"/>
                  <a:pt x="573" y="0"/>
                  <a:pt x="569" y="0"/>
                </a:cubicBezTo>
                <a:close/>
                <a:moveTo>
                  <a:pt x="244" y="461"/>
                </a:moveTo>
                <a:cubicBezTo>
                  <a:pt x="167" y="461"/>
                  <a:pt x="167" y="461"/>
                  <a:pt x="167" y="461"/>
                </a:cubicBezTo>
                <a:cubicBezTo>
                  <a:pt x="164" y="461"/>
                  <a:pt x="160" y="465"/>
                  <a:pt x="160" y="468"/>
                </a:cubicBezTo>
                <a:cubicBezTo>
                  <a:pt x="160" y="599"/>
                  <a:pt x="160" y="599"/>
                  <a:pt x="160" y="599"/>
                </a:cubicBezTo>
                <a:cubicBezTo>
                  <a:pt x="14" y="599"/>
                  <a:pt x="14" y="599"/>
                  <a:pt x="14" y="599"/>
                </a:cubicBezTo>
                <a:cubicBezTo>
                  <a:pt x="14" y="160"/>
                  <a:pt x="14" y="160"/>
                  <a:pt x="14" y="160"/>
                </a:cubicBezTo>
                <a:cubicBezTo>
                  <a:pt x="281" y="160"/>
                  <a:pt x="281" y="160"/>
                  <a:pt x="281" y="160"/>
                </a:cubicBezTo>
                <a:cubicBezTo>
                  <a:pt x="281" y="599"/>
                  <a:pt x="281" y="599"/>
                  <a:pt x="281" y="599"/>
                </a:cubicBezTo>
                <a:cubicBezTo>
                  <a:pt x="251" y="599"/>
                  <a:pt x="251" y="599"/>
                  <a:pt x="251" y="599"/>
                </a:cubicBezTo>
                <a:cubicBezTo>
                  <a:pt x="251" y="468"/>
                  <a:pt x="251" y="468"/>
                  <a:pt x="251" y="468"/>
                </a:cubicBezTo>
                <a:cubicBezTo>
                  <a:pt x="251" y="465"/>
                  <a:pt x="248" y="461"/>
                  <a:pt x="244" y="461"/>
                </a:cubicBezTo>
                <a:close/>
                <a:moveTo>
                  <a:pt x="562" y="599"/>
                </a:moveTo>
                <a:cubicBezTo>
                  <a:pt x="532" y="599"/>
                  <a:pt x="532" y="599"/>
                  <a:pt x="532" y="599"/>
                </a:cubicBezTo>
                <a:cubicBezTo>
                  <a:pt x="532" y="468"/>
                  <a:pt x="532" y="468"/>
                  <a:pt x="532" y="468"/>
                </a:cubicBezTo>
                <a:cubicBezTo>
                  <a:pt x="532" y="465"/>
                  <a:pt x="529" y="461"/>
                  <a:pt x="525" y="461"/>
                </a:cubicBezTo>
                <a:cubicBezTo>
                  <a:pt x="449" y="461"/>
                  <a:pt x="449" y="461"/>
                  <a:pt x="449" y="461"/>
                </a:cubicBezTo>
                <a:cubicBezTo>
                  <a:pt x="445" y="461"/>
                  <a:pt x="442" y="465"/>
                  <a:pt x="442" y="468"/>
                </a:cubicBezTo>
                <a:cubicBezTo>
                  <a:pt x="442" y="599"/>
                  <a:pt x="442" y="599"/>
                  <a:pt x="442" y="599"/>
                </a:cubicBezTo>
                <a:cubicBezTo>
                  <a:pt x="295" y="599"/>
                  <a:pt x="295" y="599"/>
                  <a:pt x="295" y="599"/>
                </a:cubicBezTo>
                <a:cubicBezTo>
                  <a:pt x="295" y="153"/>
                  <a:pt x="295" y="153"/>
                  <a:pt x="295" y="153"/>
                </a:cubicBezTo>
                <a:cubicBezTo>
                  <a:pt x="295" y="14"/>
                  <a:pt x="295" y="14"/>
                  <a:pt x="295" y="14"/>
                </a:cubicBezTo>
                <a:cubicBezTo>
                  <a:pt x="562" y="14"/>
                  <a:pt x="562" y="14"/>
                  <a:pt x="562" y="14"/>
                </a:cubicBezTo>
                <a:lnTo>
                  <a:pt x="562" y="599"/>
                </a:lnTo>
                <a:close/>
                <a:moveTo>
                  <a:pt x="449" y="420"/>
                </a:moveTo>
                <a:cubicBezTo>
                  <a:pt x="525" y="420"/>
                  <a:pt x="525" y="420"/>
                  <a:pt x="525" y="420"/>
                </a:cubicBezTo>
                <a:cubicBezTo>
                  <a:pt x="529" y="420"/>
                  <a:pt x="532" y="417"/>
                  <a:pt x="532" y="413"/>
                </a:cubicBezTo>
                <a:cubicBezTo>
                  <a:pt x="532" y="333"/>
                  <a:pt x="532" y="333"/>
                  <a:pt x="532" y="333"/>
                </a:cubicBezTo>
                <a:cubicBezTo>
                  <a:pt x="532" y="329"/>
                  <a:pt x="529" y="326"/>
                  <a:pt x="525" y="326"/>
                </a:cubicBezTo>
                <a:cubicBezTo>
                  <a:pt x="449" y="326"/>
                  <a:pt x="449" y="326"/>
                  <a:pt x="449" y="326"/>
                </a:cubicBezTo>
                <a:cubicBezTo>
                  <a:pt x="445" y="326"/>
                  <a:pt x="442" y="329"/>
                  <a:pt x="442" y="333"/>
                </a:cubicBezTo>
                <a:cubicBezTo>
                  <a:pt x="442" y="413"/>
                  <a:pt x="442" y="413"/>
                  <a:pt x="442" y="413"/>
                </a:cubicBezTo>
                <a:cubicBezTo>
                  <a:pt x="442" y="417"/>
                  <a:pt x="445" y="420"/>
                  <a:pt x="449" y="420"/>
                </a:cubicBezTo>
                <a:close/>
                <a:moveTo>
                  <a:pt x="456" y="340"/>
                </a:moveTo>
                <a:cubicBezTo>
                  <a:pt x="518" y="340"/>
                  <a:pt x="518" y="340"/>
                  <a:pt x="518" y="340"/>
                </a:cubicBezTo>
                <a:cubicBezTo>
                  <a:pt x="518" y="406"/>
                  <a:pt x="518" y="406"/>
                  <a:pt x="518" y="406"/>
                </a:cubicBezTo>
                <a:cubicBezTo>
                  <a:pt x="456" y="406"/>
                  <a:pt x="456" y="406"/>
                  <a:pt x="456" y="406"/>
                </a:cubicBezTo>
                <a:lnTo>
                  <a:pt x="456" y="340"/>
                </a:lnTo>
                <a:close/>
                <a:moveTo>
                  <a:pt x="331" y="420"/>
                </a:moveTo>
                <a:cubicBezTo>
                  <a:pt x="407" y="420"/>
                  <a:pt x="407" y="420"/>
                  <a:pt x="407" y="420"/>
                </a:cubicBezTo>
                <a:cubicBezTo>
                  <a:pt x="411" y="420"/>
                  <a:pt x="414" y="417"/>
                  <a:pt x="414" y="413"/>
                </a:cubicBezTo>
                <a:cubicBezTo>
                  <a:pt x="414" y="333"/>
                  <a:pt x="414" y="333"/>
                  <a:pt x="414" y="333"/>
                </a:cubicBezTo>
                <a:cubicBezTo>
                  <a:pt x="414" y="329"/>
                  <a:pt x="411" y="326"/>
                  <a:pt x="407" y="326"/>
                </a:cubicBezTo>
                <a:cubicBezTo>
                  <a:pt x="331" y="326"/>
                  <a:pt x="331" y="326"/>
                  <a:pt x="331" y="326"/>
                </a:cubicBezTo>
                <a:cubicBezTo>
                  <a:pt x="327" y="326"/>
                  <a:pt x="324" y="329"/>
                  <a:pt x="324" y="333"/>
                </a:cubicBezTo>
                <a:cubicBezTo>
                  <a:pt x="324" y="413"/>
                  <a:pt x="324" y="413"/>
                  <a:pt x="324" y="413"/>
                </a:cubicBezTo>
                <a:cubicBezTo>
                  <a:pt x="324" y="417"/>
                  <a:pt x="327" y="420"/>
                  <a:pt x="331" y="420"/>
                </a:cubicBezTo>
                <a:close/>
                <a:moveTo>
                  <a:pt x="338" y="340"/>
                </a:moveTo>
                <a:cubicBezTo>
                  <a:pt x="400" y="340"/>
                  <a:pt x="400" y="340"/>
                  <a:pt x="400" y="340"/>
                </a:cubicBezTo>
                <a:cubicBezTo>
                  <a:pt x="400" y="406"/>
                  <a:pt x="400" y="406"/>
                  <a:pt x="400" y="406"/>
                </a:cubicBezTo>
                <a:cubicBezTo>
                  <a:pt x="338" y="406"/>
                  <a:pt x="338" y="406"/>
                  <a:pt x="338" y="406"/>
                </a:cubicBezTo>
                <a:lnTo>
                  <a:pt x="338" y="340"/>
                </a:lnTo>
                <a:close/>
                <a:moveTo>
                  <a:pt x="449" y="286"/>
                </a:moveTo>
                <a:cubicBezTo>
                  <a:pt x="525" y="286"/>
                  <a:pt x="525" y="286"/>
                  <a:pt x="525" y="286"/>
                </a:cubicBezTo>
                <a:cubicBezTo>
                  <a:pt x="529" y="286"/>
                  <a:pt x="532" y="283"/>
                  <a:pt x="532" y="279"/>
                </a:cubicBezTo>
                <a:cubicBezTo>
                  <a:pt x="532" y="199"/>
                  <a:pt x="532" y="199"/>
                  <a:pt x="532" y="199"/>
                </a:cubicBezTo>
                <a:cubicBezTo>
                  <a:pt x="532" y="195"/>
                  <a:pt x="529" y="192"/>
                  <a:pt x="525" y="192"/>
                </a:cubicBezTo>
                <a:cubicBezTo>
                  <a:pt x="449" y="192"/>
                  <a:pt x="449" y="192"/>
                  <a:pt x="449" y="192"/>
                </a:cubicBezTo>
                <a:cubicBezTo>
                  <a:pt x="445" y="192"/>
                  <a:pt x="442" y="195"/>
                  <a:pt x="442" y="199"/>
                </a:cubicBezTo>
                <a:cubicBezTo>
                  <a:pt x="442" y="279"/>
                  <a:pt x="442" y="279"/>
                  <a:pt x="442" y="279"/>
                </a:cubicBezTo>
                <a:cubicBezTo>
                  <a:pt x="442" y="283"/>
                  <a:pt x="445" y="286"/>
                  <a:pt x="449" y="286"/>
                </a:cubicBezTo>
                <a:close/>
                <a:moveTo>
                  <a:pt x="456" y="206"/>
                </a:moveTo>
                <a:cubicBezTo>
                  <a:pt x="518" y="206"/>
                  <a:pt x="518" y="206"/>
                  <a:pt x="518" y="206"/>
                </a:cubicBezTo>
                <a:cubicBezTo>
                  <a:pt x="518" y="272"/>
                  <a:pt x="518" y="272"/>
                  <a:pt x="518" y="272"/>
                </a:cubicBezTo>
                <a:cubicBezTo>
                  <a:pt x="456" y="272"/>
                  <a:pt x="456" y="272"/>
                  <a:pt x="456" y="272"/>
                </a:cubicBezTo>
                <a:lnTo>
                  <a:pt x="456" y="206"/>
                </a:lnTo>
                <a:close/>
                <a:moveTo>
                  <a:pt x="331" y="286"/>
                </a:moveTo>
                <a:cubicBezTo>
                  <a:pt x="407" y="286"/>
                  <a:pt x="407" y="286"/>
                  <a:pt x="407" y="286"/>
                </a:cubicBezTo>
                <a:cubicBezTo>
                  <a:pt x="411" y="286"/>
                  <a:pt x="414" y="283"/>
                  <a:pt x="414" y="279"/>
                </a:cubicBezTo>
                <a:cubicBezTo>
                  <a:pt x="414" y="199"/>
                  <a:pt x="414" y="199"/>
                  <a:pt x="414" y="199"/>
                </a:cubicBezTo>
                <a:cubicBezTo>
                  <a:pt x="414" y="195"/>
                  <a:pt x="411" y="192"/>
                  <a:pt x="407" y="192"/>
                </a:cubicBezTo>
                <a:cubicBezTo>
                  <a:pt x="331" y="192"/>
                  <a:pt x="331" y="192"/>
                  <a:pt x="331" y="192"/>
                </a:cubicBezTo>
                <a:cubicBezTo>
                  <a:pt x="327" y="192"/>
                  <a:pt x="324" y="195"/>
                  <a:pt x="324" y="199"/>
                </a:cubicBezTo>
                <a:cubicBezTo>
                  <a:pt x="324" y="279"/>
                  <a:pt x="324" y="279"/>
                  <a:pt x="324" y="279"/>
                </a:cubicBezTo>
                <a:cubicBezTo>
                  <a:pt x="324" y="283"/>
                  <a:pt x="327" y="286"/>
                  <a:pt x="331" y="286"/>
                </a:cubicBezTo>
                <a:close/>
                <a:moveTo>
                  <a:pt x="338" y="206"/>
                </a:moveTo>
                <a:cubicBezTo>
                  <a:pt x="400" y="206"/>
                  <a:pt x="400" y="206"/>
                  <a:pt x="400" y="206"/>
                </a:cubicBezTo>
                <a:cubicBezTo>
                  <a:pt x="400" y="272"/>
                  <a:pt x="400" y="272"/>
                  <a:pt x="400" y="272"/>
                </a:cubicBezTo>
                <a:cubicBezTo>
                  <a:pt x="338" y="272"/>
                  <a:pt x="338" y="272"/>
                  <a:pt x="338" y="272"/>
                </a:cubicBezTo>
                <a:lnTo>
                  <a:pt x="338" y="206"/>
                </a:lnTo>
                <a:close/>
                <a:moveTo>
                  <a:pt x="449" y="153"/>
                </a:moveTo>
                <a:cubicBezTo>
                  <a:pt x="525" y="153"/>
                  <a:pt x="525" y="153"/>
                  <a:pt x="525" y="153"/>
                </a:cubicBezTo>
                <a:cubicBezTo>
                  <a:pt x="529" y="153"/>
                  <a:pt x="532" y="150"/>
                  <a:pt x="532" y="146"/>
                </a:cubicBezTo>
                <a:cubicBezTo>
                  <a:pt x="532" y="66"/>
                  <a:pt x="532" y="66"/>
                  <a:pt x="532" y="66"/>
                </a:cubicBezTo>
                <a:cubicBezTo>
                  <a:pt x="532" y="62"/>
                  <a:pt x="529" y="59"/>
                  <a:pt x="525" y="59"/>
                </a:cubicBezTo>
                <a:cubicBezTo>
                  <a:pt x="449" y="59"/>
                  <a:pt x="449" y="59"/>
                  <a:pt x="449" y="59"/>
                </a:cubicBezTo>
                <a:cubicBezTo>
                  <a:pt x="445" y="59"/>
                  <a:pt x="442" y="62"/>
                  <a:pt x="442" y="66"/>
                </a:cubicBezTo>
                <a:cubicBezTo>
                  <a:pt x="442" y="146"/>
                  <a:pt x="442" y="146"/>
                  <a:pt x="442" y="146"/>
                </a:cubicBezTo>
                <a:cubicBezTo>
                  <a:pt x="442" y="150"/>
                  <a:pt x="445" y="153"/>
                  <a:pt x="449" y="153"/>
                </a:cubicBezTo>
                <a:close/>
                <a:moveTo>
                  <a:pt x="456" y="73"/>
                </a:moveTo>
                <a:cubicBezTo>
                  <a:pt x="518" y="73"/>
                  <a:pt x="518" y="73"/>
                  <a:pt x="518" y="73"/>
                </a:cubicBezTo>
                <a:cubicBezTo>
                  <a:pt x="518" y="139"/>
                  <a:pt x="518" y="139"/>
                  <a:pt x="518" y="139"/>
                </a:cubicBezTo>
                <a:cubicBezTo>
                  <a:pt x="456" y="139"/>
                  <a:pt x="456" y="139"/>
                  <a:pt x="456" y="139"/>
                </a:cubicBezTo>
                <a:lnTo>
                  <a:pt x="456" y="73"/>
                </a:lnTo>
                <a:close/>
                <a:moveTo>
                  <a:pt x="331" y="153"/>
                </a:moveTo>
                <a:cubicBezTo>
                  <a:pt x="407" y="153"/>
                  <a:pt x="407" y="153"/>
                  <a:pt x="407" y="153"/>
                </a:cubicBezTo>
                <a:cubicBezTo>
                  <a:pt x="411" y="153"/>
                  <a:pt x="414" y="150"/>
                  <a:pt x="414" y="146"/>
                </a:cubicBezTo>
                <a:cubicBezTo>
                  <a:pt x="414" y="66"/>
                  <a:pt x="414" y="66"/>
                  <a:pt x="414" y="66"/>
                </a:cubicBezTo>
                <a:cubicBezTo>
                  <a:pt x="414" y="62"/>
                  <a:pt x="411" y="59"/>
                  <a:pt x="407" y="59"/>
                </a:cubicBezTo>
                <a:cubicBezTo>
                  <a:pt x="331" y="59"/>
                  <a:pt x="331" y="59"/>
                  <a:pt x="331" y="59"/>
                </a:cubicBezTo>
                <a:cubicBezTo>
                  <a:pt x="327" y="59"/>
                  <a:pt x="324" y="62"/>
                  <a:pt x="324" y="66"/>
                </a:cubicBezTo>
                <a:cubicBezTo>
                  <a:pt x="324" y="146"/>
                  <a:pt x="324" y="146"/>
                  <a:pt x="324" y="146"/>
                </a:cubicBezTo>
                <a:cubicBezTo>
                  <a:pt x="324" y="150"/>
                  <a:pt x="327" y="153"/>
                  <a:pt x="331" y="153"/>
                </a:cubicBezTo>
                <a:close/>
                <a:moveTo>
                  <a:pt x="338" y="73"/>
                </a:moveTo>
                <a:cubicBezTo>
                  <a:pt x="400" y="73"/>
                  <a:pt x="400" y="73"/>
                  <a:pt x="400" y="73"/>
                </a:cubicBezTo>
                <a:cubicBezTo>
                  <a:pt x="400" y="139"/>
                  <a:pt x="400" y="139"/>
                  <a:pt x="400" y="139"/>
                </a:cubicBezTo>
                <a:cubicBezTo>
                  <a:pt x="338" y="139"/>
                  <a:pt x="338" y="139"/>
                  <a:pt x="338" y="139"/>
                </a:cubicBezTo>
                <a:lnTo>
                  <a:pt x="338" y="73"/>
                </a:lnTo>
                <a:close/>
                <a:moveTo>
                  <a:pt x="331" y="556"/>
                </a:moveTo>
                <a:cubicBezTo>
                  <a:pt x="407" y="556"/>
                  <a:pt x="407" y="556"/>
                  <a:pt x="407" y="556"/>
                </a:cubicBezTo>
                <a:cubicBezTo>
                  <a:pt x="411" y="556"/>
                  <a:pt x="414" y="553"/>
                  <a:pt x="414" y="549"/>
                </a:cubicBezTo>
                <a:cubicBezTo>
                  <a:pt x="414" y="468"/>
                  <a:pt x="414" y="468"/>
                  <a:pt x="414" y="468"/>
                </a:cubicBezTo>
                <a:cubicBezTo>
                  <a:pt x="414" y="465"/>
                  <a:pt x="411" y="461"/>
                  <a:pt x="407" y="461"/>
                </a:cubicBezTo>
                <a:cubicBezTo>
                  <a:pt x="331" y="461"/>
                  <a:pt x="331" y="461"/>
                  <a:pt x="331" y="461"/>
                </a:cubicBezTo>
                <a:cubicBezTo>
                  <a:pt x="327" y="461"/>
                  <a:pt x="324" y="465"/>
                  <a:pt x="324" y="468"/>
                </a:cubicBezTo>
                <a:cubicBezTo>
                  <a:pt x="324" y="549"/>
                  <a:pt x="324" y="549"/>
                  <a:pt x="324" y="549"/>
                </a:cubicBezTo>
                <a:cubicBezTo>
                  <a:pt x="324" y="553"/>
                  <a:pt x="327" y="556"/>
                  <a:pt x="331" y="556"/>
                </a:cubicBezTo>
                <a:close/>
                <a:moveTo>
                  <a:pt x="338" y="475"/>
                </a:moveTo>
                <a:cubicBezTo>
                  <a:pt x="400" y="475"/>
                  <a:pt x="400" y="475"/>
                  <a:pt x="400" y="475"/>
                </a:cubicBezTo>
                <a:cubicBezTo>
                  <a:pt x="400" y="542"/>
                  <a:pt x="400" y="542"/>
                  <a:pt x="400" y="542"/>
                </a:cubicBezTo>
                <a:cubicBezTo>
                  <a:pt x="338" y="542"/>
                  <a:pt x="338" y="542"/>
                  <a:pt x="338" y="542"/>
                </a:cubicBezTo>
                <a:lnTo>
                  <a:pt x="338" y="475"/>
                </a:ln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14" name="Oval 15"/>
          <p:cNvSpPr>
            <a:spLocks noChangeArrowheads="1"/>
          </p:cNvSpPr>
          <p:nvPr/>
        </p:nvSpPr>
        <p:spPr bwMode="auto">
          <a:xfrm>
            <a:off x="8347593" y="1528549"/>
            <a:ext cx="1119124" cy="1119124"/>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9290" name="Freeform 103"/>
          <p:cNvSpPr>
            <a:spLocks noEditPoints="1"/>
          </p:cNvSpPr>
          <p:nvPr/>
        </p:nvSpPr>
        <p:spPr bwMode="auto">
          <a:xfrm>
            <a:off x="8567422" y="1747202"/>
            <a:ext cx="679468" cy="637148"/>
          </a:xfrm>
          <a:custGeom>
            <a:avLst/>
            <a:gdLst>
              <a:gd name="T0" fmla="*/ 265 w 646"/>
              <a:gd name="T1" fmla="*/ 338 h 605"/>
              <a:gd name="T2" fmla="*/ 375 w 646"/>
              <a:gd name="T3" fmla="*/ 345 h 605"/>
              <a:gd name="T4" fmla="*/ 382 w 646"/>
              <a:gd name="T5" fmla="*/ 229 h 605"/>
              <a:gd name="T6" fmla="*/ 272 w 646"/>
              <a:gd name="T7" fmla="*/ 222 h 605"/>
              <a:gd name="T8" fmla="*/ 279 w 646"/>
              <a:gd name="T9" fmla="*/ 236 h 605"/>
              <a:gd name="T10" fmla="*/ 368 w 646"/>
              <a:gd name="T11" fmla="*/ 331 h 605"/>
              <a:gd name="T12" fmla="*/ 279 w 646"/>
              <a:gd name="T13" fmla="*/ 236 h 605"/>
              <a:gd name="T14" fmla="*/ 527 w 646"/>
              <a:gd name="T15" fmla="*/ 345 h 605"/>
              <a:gd name="T16" fmla="*/ 534 w 646"/>
              <a:gd name="T17" fmla="*/ 229 h 605"/>
              <a:gd name="T18" fmla="*/ 424 w 646"/>
              <a:gd name="T19" fmla="*/ 222 h 605"/>
              <a:gd name="T20" fmla="*/ 417 w 646"/>
              <a:gd name="T21" fmla="*/ 338 h 605"/>
              <a:gd name="T22" fmla="*/ 431 w 646"/>
              <a:gd name="T23" fmla="*/ 236 h 605"/>
              <a:gd name="T24" fmla="*/ 520 w 646"/>
              <a:gd name="T25" fmla="*/ 331 h 605"/>
              <a:gd name="T26" fmla="*/ 431 w 646"/>
              <a:gd name="T27" fmla="*/ 236 h 605"/>
              <a:gd name="T28" fmla="*/ 113 w 646"/>
              <a:gd name="T29" fmla="*/ 222 h 605"/>
              <a:gd name="T30" fmla="*/ 106 w 646"/>
              <a:gd name="T31" fmla="*/ 338 h 605"/>
              <a:gd name="T32" fmla="*/ 216 w 646"/>
              <a:gd name="T33" fmla="*/ 345 h 605"/>
              <a:gd name="T34" fmla="*/ 223 w 646"/>
              <a:gd name="T35" fmla="*/ 229 h 605"/>
              <a:gd name="T36" fmla="*/ 209 w 646"/>
              <a:gd name="T37" fmla="*/ 331 h 605"/>
              <a:gd name="T38" fmla="*/ 120 w 646"/>
              <a:gd name="T39" fmla="*/ 236 h 605"/>
              <a:gd name="T40" fmla="*/ 209 w 646"/>
              <a:gd name="T41" fmla="*/ 331 h 605"/>
              <a:gd name="T42" fmla="*/ 527 w 646"/>
              <a:gd name="T43" fmla="*/ 528 h 605"/>
              <a:gd name="T44" fmla="*/ 534 w 646"/>
              <a:gd name="T45" fmla="*/ 413 h 605"/>
              <a:gd name="T46" fmla="*/ 424 w 646"/>
              <a:gd name="T47" fmla="*/ 406 h 605"/>
              <a:gd name="T48" fmla="*/ 417 w 646"/>
              <a:gd name="T49" fmla="*/ 521 h 605"/>
              <a:gd name="T50" fmla="*/ 431 w 646"/>
              <a:gd name="T51" fmla="*/ 420 h 605"/>
              <a:gd name="T52" fmla="*/ 520 w 646"/>
              <a:gd name="T53" fmla="*/ 514 h 605"/>
              <a:gd name="T54" fmla="*/ 431 w 646"/>
              <a:gd name="T55" fmla="*/ 420 h 605"/>
              <a:gd name="T56" fmla="*/ 113 w 646"/>
              <a:gd name="T57" fmla="*/ 406 h 605"/>
              <a:gd name="T58" fmla="*/ 106 w 646"/>
              <a:gd name="T59" fmla="*/ 521 h 605"/>
              <a:gd name="T60" fmla="*/ 216 w 646"/>
              <a:gd name="T61" fmla="*/ 528 h 605"/>
              <a:gd name="T62" fmla="*/ 223 w 646"/>
              <a:gd name="T63" fmla="*/ 413 h 605"/>
              <a:gd name="T64" fmla="*/ 209 w 646"/>
              <a:gd name="T65" fmla="*/ 514 h 605"/>
              <a:gd name="T66" fmla="*/ 120 w 646"/>
              <a:gd name="T67" fmla="*/ 420 h 605"/>
              <a:gd name="T68" fmla="*/ 209 w 646"/>
              <a:gd name="T69" fmla="*/ 514 h 605"/>
              <a:gd name="T70" fmla="*/ 327 w 646"/>
              <a:gd name="T71" fmla="*/ 2 h 605"/>
              <a:gd name="T72" fmla="*/ 5 w 646"/>
              <a:gd name="T73" fmla="*/ 193 h 605"/>
              <a:gd name="T74" fmla="*/ 12 w 646"/>
              <a:gd name="T75" fmla="*/ 205 h 605"/>
              <a:gd name="T76" fmla="*/ 47 w 646"/>
              <a:gd name="T77" fmla="*/ 598 h 605"/>
              <a:gd name="T78" fmla="*/ 272 w 646"/>
              <a:gd name="T79" fmla="*/ 605 h 605"/>
              <a:gd name="T80" fmla="*/ 279 w 646"/>
              <a:gd name="T81" fmla="*/ 420 h 605"/>
              <a:gd name="T82" fmla="*/ 368 w 646"/>
              <a:gd name="T83" fmla="*/ 598 h 605"/>
              <a:gd name="T84" fmla="*/ 592 w 646"/>
              <a:gd name="T85" fmla="*/ 605 h 605"/>
              <a:gd name="T86" fmla="*/ 599 w 646"/>
              <a:gd name="T87" fmla="*/ 183 h 605"/>
              <a:gd name="T88" fmla="*/ 638 w 646"/>
              <a:gd name="T89" fmla="*/ 206 h 605"/>
              <a:gd name="T90" fmla="*/ 642 w 646"/>
              <a:gd name="T91" fmla="*/ 193 h 605"/>
              <a:gd name="T92" fmla="*/ 382 w 646"/>
              <a:gd name="T93" fmla="*/ 591 h 605"/>
              <a:gd name="T94" fmla="*/ 375 w 646"/>
              <a:gd name="T95" fmla="*/ 406 h 605"/>
              <a:gd name="T96" fmla="*/ 265 w 646"/>
              <a:gd name="T97" fmla="*/ 413 h 605"/>
              <a:gd name="T98" fmla="*/ 61 w 646"/>
              <a:gd name="T99" fmla="*/ 591 h 605"/>
              <a:gd name="T100" fmla="*/ 323 w 646"/>
              <a:gd name="T101" fmla="*/ 16 h 605"/>
              <a:gd name="T102" fmla="*/ 585 w 646"/>
              <a:gd name="T103" fmla="*/ 591 h 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46" h="605">
                <a:moveTo>
                  <a:pt x="265" y="229"/>
                </a:moveTo>
                <a:cubicBezTo>
                  <a:pt x="265" y="338"/>
                  <a:pt x="265" y="338"/>
                  <a:pt x="265" y="338"/>
                </a:cubicBezTo>
                <a:cubicBezTo>
                  <a:pt x="265" y="342"/>
                  <a:pt x="268" y="345"/>
                  <a:pt x="272" y="345"/>
                </a:cubicBezTo>
                <a:cubicBezTo>
                  <a:pt x="375" y="345"/>
                  <a:pt x="375" y="345"/>
                  <a:pt x="375" y="345"/>
                </a:cubicBezTo>
                <a:cubicBezTo>
                  <a:pt x="379" y="345"/>
                  <a:pt x="382" y="342"/>
                  <a:pt x="382" y="338"/>
                </a:cubicBezTo>
                <a:cubicBezTo>
                  <a:pt x="382" y="229"/>
                  <a:pt x="382" y="229"/>
                  <a:pt x="382" y="229"/>
                </a:cubicBezTo>
                <a:cubicBezTo>
                  <a:pt x="382" y="226"/>
                  <a:pt x="379" y="222"/>
                  <a:pt x="375" y="222"/>
                </a:cubicBezTo>
                <a:cubicBezTo>
                  <a:pt x="272" y="222"/>
                  <a:pt x="272" y="222"/>
                  <a:pt x="272" y="222"/>
                </a:cubicBezTo>
                <a:cubicBezTo>
                  <a:pt x="268" y="222"/>
                  <a:pt x="265" y="226"/>
                  <a:pt x="265" y="229"/>
                </a:cubicBezTo>
                <a:close/>
                <a:moveTo>
                  <a:pt x="279" y="236"/>
                </a:moveTo>
                <a:cubicBezTo>
                  <a:pt x="368" y="236"/>
                  <a:pt x="368" y="236"/>
                  <a:pt x="368" y="236"/>
                </a:cubicBezTo>
                <a:cubicBezTo>
                  <a:pt x="368" y="331"/>
                  <a:pt x="368" y="331"/>
                  <a:pt x="368" y="331"/>
                </a:cubicBezTo>
                <a:cubicBezTo>
                  <a:pt x="279" y="331"/>
                  <a:pt x="279" y="331"/>
                  <a:pt x="279" y="331"/>
                </a:cubicBezTo>
                <a:lnTo>
                  <a:pt x="279" y="236"/>
                </a:lnTo>
                <a:close/>
                <a:moveTo>
                  <a:pt x="424" y="345"/>
                </a:moveTo>
                <a:cubicBezTo>
                  <a:pt x="527" y="345"/>
                  <a:pt x="527" y="345"/>
                  <a:pt x="527" y="345"/>
                </a:cubicBezTo>
                <a:cubicBezTo>
                  <a:pt x="531" y="345"/>
                  <a:pt x="534" y="342"/>
                  <a:pt x="534" y="338"/>
                </a:cubicBezTo>
                <a:cubicBezTo>
                  <a:pt x="534" y="229"/>
                  <a:pt x="534" y="229"/>
                  <a:pt x="534" y="229"/>
                </a:cubicBezTo>
                <a:cubicBezTo>
                  <a:pt x="534" y="226"/>
                  <a:pt x="531" y="222"/>
                  <a:pt x="527" y="222"/>
                </a:cubicBezTo>
                <a:cubicBezTo>
                  <a:pt x="424" y="222"/>
                  <a:pt x="424" y="222"/>
                  <a:pt x="424" y="222"/>
                </a:cubicBezTo>
                <a:cubicBezTo>
                  <a:pt x="420" y="222"/>
                  <a:pt x="417" y="226"/>
                  <a:pt x="417" y="229"/>
                </a:cubicBezTo>
                <a:cubicBezTo>
                  <a:pt x="417" y="338"/>
                  <a:pt x="417" y="338"/>
                  <a:pt x="417" y="338"/>
                </a:cubicBezTo>
                <a:cubicBezTo>
                  <a:pt x="417" y="342"/>
                  <a:pt x="420" y="345"/>
                  <a:pt x="424" y="345"/>
                </a:cubicBezTo>
                <a:close/>
                <a:moveTo>
                  <a:pt x="431" y="236"/>
                </a:moveTo>
                <a:cubicBezTo>
                  <a:pt x="520" y="236"/>
                  <a:pt x="520" y="236"/>
                  <a:pt x="520" y="236"/>
                </a:cubicBezTo>
                <a:cubicBezTo>
                  <a:pt x="520" y="331"/>
                  <a:pt x="520" y="331"/>
                  <a:pt x="520" y="331"/>
                </a:cubicBezTo>
                <a:cubicBezTo>
                  <a:pt x="431" y="331"/>
                  <a:pt x="431" y="331"/>
                  <a:pt x="431" y="331"/>
                </a:cubicBezTo>
                <a:lnTo>
                  <a:pt x="431" y="236"/>
                </a:lnTo>
                <a:close/>
                <a:moveTo>
                  <a:pt x="216" y="222"/>
                </a:moveTo>
                <a:cubicBezTo>
                  <a:pt x="113" y="222"/>
                  <a:pt x="113" y="222"/>
                  <a:pt x="113" y="222"/>
                </a:cubicBezTo>
                <a:cubicBezTo>
                  <a:pt x="109" y="222"/>
                  <a:pt x="106" y="226"/>
                  <a:pt x="106" y="229"/>
                </a:cubicBezTo>
                <a:cubicBezTo>
                  <a:pt x="106" y="338"/>
                  <a:pt x="106" y="338"/>
                  <a:pt x="106" y="338"/>
                </a:cubicBezTo>
                <a:cubicBezTo>
                  <a:pt x="106" y="342"/>
                  <a:pt x="109" y="345"/>
                  <a:pt x="113" y="345"/>
                </a:cubicBezTo>
                <a:cubicBezTo>
                  <a:pt x="216" y="345"/>
                  <a:pt x="216" y="345"/>
                  <a:pt x="216" y="345"/>
                </a:cubicBezTo>
                <a:cubicBezTo>
                  <a:pt x="220" y="345"/>
                  <a:pt x="223" y="342"/>
                  <a:pt x="223" y="338"/>
                </a:cubicBezTo>
                <a:cubicBezTo>
                  <a:pt x="223" y="229"/>
                  <a:pt x="223" y="229"/>
                  <a:pt x="223" y="229"/>
                </a:cubicBezTo>
                <a:cubicBezTo>
                  <a:pt x="223" y="226"/>
                  <a:pt x="220" y="222"/>
                  <a:pt x="216" y="222"/>
                </a:cubicBezTo>
                <a:close/>
                <a:moveTo>
                  <a:pt x="209" y="331"/>
                </a:moveTo>
                <a:cubicBezTo>
                  <a:pt x="120" y="331"/>
                  <a:pt x="120" y="331"/>
                  <a:pt x="120" y="331"/>
                </a:cubicBezTo>
                <a:cubicBezTo>
                  <a:pt x="120" y="236"/>
                  <a:pt x="120" y="236"/>
                  <a:pt x="120" y="236"/>
                </a:cubicBezTo>
                <a:cubicBezTo>
                  <a:pt x="209" y="236"/>
                  <a:pt x="209" y="236"/>
                  <a:pt x="209" y="236"/>
                </a:cubicBezTo>
                <a:lnTo>
                  <a:pt x="209" y="331"/>
                </a:lnTo>
                <a:close/>
                <a:moveTo>
                  <a:pt x="424" y="528"/>
                </a:moveTo>
                <a:cubicBezTo>
                  <a:pt x="527" y="528"/>
                  <a:pt x="527" y="528"/>
                  <a:pt x="527" y="528"/>
                </a:cubicBezTo>
                <a:cubicBezTo>
                  <a:pt x="531" y="528"/>
                  <a:pt x="534" y="525"/>
                  <a:pt x="534" y="521"/>
                </a:cubicBezTo>
                <a:cubicBezTo>
                  <a:pt x="534" y="413"/>
                  <a:pt x="534" y="413"/>
                  <a:pt x="534" y="413"/>
                </a:cubicBezTo>
                <a:cubicBezTo>
                  <a:pt x="534" y="409"/>
                  <a:pt x="531" y="406"/>
                  <a:pt x="527" y="406"/>
                </a:cubicBezTo>
                <a:cubicBezTo>
                  <a:pt x="424" y="406"/>
                  <a:pt x="424" y="406"/>
                  <a:pt x="424" y="406"/>
                </a:cubicBezTo>
                <a:cubicBezTo>
                  <a:pt x="420" y="406"/>
                  <a:pt x="417" y="409"/>
                  <a:pt x="417" y="413"/>
                </a:cubicBezTo>
                <a:cubicBezTo>
                  <a:pt x="417" y="521"/>
                  <a:pt x="417" y="521"/>
                  <a:pt x="417" y="521"/>
                </a:cubicBezTo>
                <a:cubicBezTo>
                  <a:pt x="417" y="525"/>
                  <a:pt x="420" y="528"/>
                  <a:pt x="424" y="528"/>
                </a:cubicBezTo>
                <a:close/>
                <a:moveTo>
                  <a:pt x="431" y="420"/>
                </a:moveTo>
                <a:cubicBezTo>
                  <a:pt x="520" y="420"/>
                  <a:pt x="520" y="420"/>
                  <a:pt x="520" y="420"/>
                </a:cubicBezTo>
                <a:cubicBezTo>
                  <a:pt x="520" y="514"/>
                  <a:pt x="520" y="514"/>
                  <a:pt x="520" y="514"/>
                </a:cubicBezTo>
                <a:cubicBezTo>
                  <a:pt x="431" y="514"/>
                  <a:pt x="431" y="514"/>
                  <a:pt x="431" y="514"/>
                </a:cubicBezTo>
                <a:lnTo>
                  <a:pt x="431" y="420"/>
                </a:lnTo>
                <a:close/>
                <a:moveTo>
                  <a:pt x="216" y="406"/>
                </a:moveTo>
                <a:cubicBezTo>
                  <a:pt x="113" y="406"/>
                  <a:pt x="113" y="406"/>
                  <a:pt x="113" y="406"/>
                </a:cubicBezTo>
                <a:cubicBezTo>
                  <a:pt x="109" y="406"/>
                  <a:pt x="106" y="409"/>
                  <a:pt x="106" y="413"/>
                </a:cubicBezTo>
                <a:cubicBezTo>
                  <a:pt x="106" y="521"/>
                  <a:pt x="106" y="521"/>
                  <a:pt x="106" y="521"/>
                </a:cubicBezTo>
                <a:cubicBezTo>
                  <a:pt x="106" y="525"/>
                  <a:pt x="109" y="528"/>
                  <a:pt x="113" y="528"/>
                </a:cubicBezTo>
                <a:cubicBezTo>
                  <a:pt x="216" y="528"/>
                  <a:pt x="216" y="528"/>
                  <a:pt x="216" y="528"/>
                </a:cubicBezTo>
                <a:cubicBezTo>
                  <a:pt x="220" y="528"/>
                  <a:pt x="223" y="525"/>
                  <a:pt x="223" y="521"/>
                </a:cubicBezTo>
                <a:cubicBezTo>
                  <a:pt x="223" y="413"/>
                  <a:pt x="223" y="413"/>
                  <a:pt x="223" y="413"/>
                </a:cubicBezTo>
                <a:cubicBezTo>
                  <a:pt x="223" y="409"/>
                  <a:pt x="220" y="406"/>
                  <a:pt x="216" y="406"/>
                </a:cubicBezTo>
                <a:close/>
                <a:moveTo>
                  <a:pt x="209" y="514"/>
                </a:moveTo>
                <a:cubicBezTo>
                  <a:pt x="120" y="514"/>
                  <a:pt x="120" y="514"/>
                  <a:pt x="120" y="514"/>
                </a:cubicBezTo>
                <a:cubicBezTo>
                  <a:pt x="120" y="420"/>
                  <a:pt x="120" y="420"/>
                  <a:pt x="120" y="420"/>
                </a:cubicBezTo>
                <a:cubicBezTo>
                  <a:pt x="209" y="420"/>
                  <a:pt x="209" y="420"/>
                  <a:pt x="209" y="420"/>
                </a:cubicBezTo>
                <a:lnTo>
                  <a:pt x="209" y="514"/>
                </a:lnTo>
                <a:close/>
                <a:moveTo>
                  <a:pt x="642" y="193"/>
                </a:moveTo>
                <a:cubicBezTo>
                  <a:pt x="327" y="2"/>
                  <a:pt x="327" y="2"/>
                  <a:pt x="327" y="2"/>
                </a:cubicBezTo>
                <a:cubicBezTo>
                  <a:pt x="325" y="0"/>
                  <a:pt x="322" y="0"/>
                  <a:pt x="320" y="2"/>
                </a:cubicBezTo>
                <a:cubicBezTo>
                  <a:pt x="5" y="193"/>
                  <a:pt x="5" y="193"/>
                  <a:pt x="5" y="193"/>
                </a:cubicBezTo>
                <a:cubicBezTo>
                  <a:pt x="1" y="195"/>
                  <a:pt x="0" y="199"/>
                  <a:pt x="2" y="202"/>
                </a:cubicBezTo>
                <a:cubicBezTo>
                  <a:pt x="4" y="206"/>
                  <a:pt x="9" y="207"/>
                  <a:pt x="12" y="205"/>
                </a:cubicBezTo>
                <a:cubicBezTo>
                  <a:pt x="47" y="183"/>
                  <a:pt x="47" y="183"/>
                  <a:pt x="47" y="183"/>
                </a:cubicBezTo>
                <a:cubicBezTo>
                  <a:pt x="47" y="598"/>
                  <a:pt x="47" y="598"/>
                  <a:pt x="47" y="598"/>
                </a:cubicBezTo>
                <a:cubicBezTo>
                  <a:pt x="47" y="602"/>
                  <a:pt x="50" y="605"/>
                  <a:pt x="54" y="605"/>
                </a:cubicBezTo>
                <a:cubicBezTo>
                  <a:pt x="272" y="605"/>
                  <a:pt x="272" y="605"/>
                  <a:pt x="272" y="605"/>
                </a:cubicBezTo>
                <a:cubicBezTo>
                  <a:pt x="276" y="605"/>
                  <a:pt x="279" y="602"/>
                  <a:pt x="279" y="598"/>
                </a:cubicBezTo>
                <a:cubicBezTo>
                  <a:pt x="279" y="420"/>
                  <a:pt x="279" y="420"/>
                  <a:pt x="279" y="420"/>
                </a:cubicBezTo>
                <a:cubicBezTo>
                  <a:pt x="368" y="420"/>
                  <a:pt x="368" y="420"/>
                  <a:pt x="368" y="420"/>
                </a:cubicBezTo>
                <a:cubicBezTo>
                  <a:pt x="368" y="598"/>
                  <a:pt x="368" y="598"/>
                  <a:pt x="368" y="598"/>
                </a:cubicBezTo>
                <a:cubicBezTo>
                  <a:pt x="368" y="602"/>
                  <a:pt x="371" y="605"/>
                  <a:pt x="375" y="605"/>
                </a:cubicBezTo>
                <a:cubicBezTo>
                  <a:pt x="592" y="605"/>
                  <a:pt x="592" y="605"/>
                  <a:pt x="592" y="605"/>
                </a:cubicBezTo>
                <a:cubicBezTo>
                  <a:pt x="596" y="605"/>
                  <a:pt x="599" y="602"/>
                  <a:pt x="599" y="598"/>
                </a:cubicBezTo>
                <a:cubicBezTo>
                  <a:pt x="599" y="183"/>
                  <a:pt x="599" y="183"/>
                  <a:pt x="599" y="183"/>
                </a:cubicBezTo>
                <a:cubicBezTo>
                  <a:pt x="635" y="205"/>
                  <a:pt x="635" y="205"/>
                  <a:pt x="635" y="205"/>
                </a:cubicBezTo>
                <a:cubicBezTo>
                  <a:pt x="636" y="205"/>
                  <a:pt x="637" y="206"/>
                  <a:pt x="638" y="206"/>
                </a:cubicBezTo>
                <a:cubicBezTo>
                  <a:pt x="641" y="206"/>
                  <a:pt x="643" y="204"/>
                  <a:pt x="644" y="202"/>
                </a:cubicBezTo>
                <a:cubicBezTo>
                  <a:pt x="646" y="199"/>
                  <a:pt x="645" y="195"/>
                  <a:pt x="642" y="193"/>
                </a:cubicBezTo>
                <a:close/>
                <a:moveTo>
                  <a:pt x="585" y="591"/>
                </a:moveTo>
                <a:cubicBezTo>
                  <a:pt x="382" y="591"/>
                  <a:pt x="382" y="591"/>
                  <a:pt x="382" y="591"/>
                </a:cubicBezTo>
                <a:cubicBezTo>
                  <a:pt x="382" y="413"/>
                  <a:pt x="382" y="413"/>
                  <a:pt x="382" y="413"/>
                </a:cubicBezTo>
                <a:cubicBezTo>
                  <a:pt x="382" y="409"/>
                  <a:pt x="379" y="406"/>
                  <a:pt x="375" y="406"/>
                </a:cubicBezTo>
                <a:cubicBezTo>
                  <a:pt x="272" y="406"/>
                  <a:pt x="272" y="406"/>
                  <a:pt x="272" y="406"/>
                </a:cubicBezTo>
                <a:cubicBezTo>
                  <a:pt x="268" y="406"/>
                  <a:pt x="265" y="409"/>
                  <a:pt x="265" y="413"/>
                </a:cubicBezTo>
                <a:cubicBezTo>
                  <a:pt x="265" y="591"/>
                  <a:pt x="265" y="591"/>
                  <a:pt x="265" y="591"/>
                </a:cubicBezTo>
                <a:cubicBezTo>
                  <a:pt x="61" y="591"/>
                  <a:pt x="61" y="591"/>
                  <a:pt x="61" y="591"/>
                </a:cubicBezTo>
                <a:cubicBezTo>
                  <a:pt x="61" y="175"/>
                  <a:pt x="61" y="175"/>
                  <a:pt x="61" y="175"/>
                </a:cubicBezTo>
                <a:cubicBezTo>
                  <a:pt x="323" y="16"/>
                  <a:pt x="323" y="16"/>
                  <a:pt x="323" y="16"/>
                </a:cubicBezTo>
                <a:cubicBezTo>
                  <a:pt x="585" y="175"/>
                  <a:pt x="585" y="175"/>
                  <a:pt x="585" y="175"/>
                </a:cubicBezTo>
                <a:lnTo>
                  <a:pt x="585" y="591"/>
                </a:ln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26" name="Oval 27"/>
          <p:cNvSpPr>
            <a:spLocks noChangeArrowheads="1"/>
          </p:cNvSpPr>
          <p:nvPr/>
        </p:nvSpPr>
        <p:spPr bwMode="auto">
          <a:xfrm>
            <a:off x="1315705" y="4711629"/>
            <a:ext cx="1119124" cy="1119124"/>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9292" name="Freeform 105"/>
          <p:cNvSpPr>
            <a:spLocks noEditPoints="1"/>
          </p:cNvSpPr>
          <p:nvPr/>
        </p:nvSpPr>
        <p:spPr bwMode="auto">
          <a:xfrm>
            <a:off x="1624021" y="4981115"/>
            <a:ext cx="503665" cy="667238"/>
          </a:xfrm>
          <a:custGeom>
            <a:avLst/>
            <a:gdLst>
              <a:gd name="T0" fmla="*/ 473 w 478"/>
              <a:gd name="T1" fmla="*/ 39 h 633"/>
              <a:gd name="T2" fmla="*/ 239 w 478"/>
              <a:gd name="T3" fmla="*/ 0 h 633"/>
              <a:gd name="T4" fmla="*/ 239 w 478"/>
              <a:gd name="T5" fmla="*/ 0 h 633"/>
              <a:gd name="T6" fmla="*/ 239 w 478"/>
              <a:gd name="T7" fmla="*/ 0 h 633"/>
              <a:gd name="T8" fmla="*/ 239 w 478"/>
              <a:gd name="T9" fmla="*/ 0 h 633"/>
              <a:gd name="T10" fmla="*/ 193 w 478"/>
              <a:gd name="T11" fmla="*/ 2 h 633"/>
              <a:gd name="T12" fmla="*/ 192 w 478"/>
              <a:gd name="T13" fmla="*/ 2 h 633"/>
              <a:gd name="T14" fmla="*/ 192 w 478"/>
              <a:gd name="T15" fmla="*/ 2 h 633"/>
              <a:gd name="T16" fmla="*/ 191 w 478"/>
              <a:gd name="T17" fmla="*/ 2 h 633"/>
              <a:gd name="T18" fmla="*/ 145 w 478"/>
              <a:gd name="T19" fmla="*/ 7 h 633"/>
              <a:gd name="T20" fmla="*/ 144 w 478"/>
              <a:gd name="T21" fmla="*/ 7 h 633"/>
              <a:gd name="T22" fmla="*/ 98 w 478"/>
              <a:gd name="T23" fmla="*/ 15 h 633"/>
              <a:gd name="T24" fmla="*/ 98 w 478"/>
              <a:gd name="T25" fmla="*/ 15 h 633"/>
              <a:gd name="T26" fmla="*/ 52 w 478"/>
              <a:gd name="T27" fmla="*/ 26 h 633"/>
              <a:gd name="T28" fmla="*/ 51 w 478"/>
              <a:gd name="T29" fmla="*/ 26 h 633"/>
              <a:gd name="T30" fmla="*/ 4 w 478"/>
              <a:gd name="T31" fmla="*/ 39 h 633"/>
              <a:gd name="T32" fmla="*/ 0 w 478"/>
              <a:gd name="T33" fmla="*/ 46 h 633"/>
              <a:gd name="T34" fmla="*/ 0 w 478"/>
              <a:gd name="T35" fmla="*/ 435 h 633"/>
              <a:gd name="T36" fmla="*/ 102 w 478"/>
              <a:gd name="T37" fmla="*/ 553 h 633"/>
              <a:gd name="T38" fmla="*/ 142 w 478"/>
              <a:gd name="T39" fmla="*/ 582 h 633"/>
              <a:gd name="T40" fmla="*/ 142 w 478"/>
              <a:gd name="T41" fmla="*/ 582 h 633"/>
              <a:gd name="T42" fmla="*/ 238 w 478"/>
              <a:gd name="T43" fmla="*/ 633 h 633"/>
              <a:gd name="T44" fmla="*/ 238 w 478"/>
              <a:gd name="T45" fmla="*/ 633 h 633"/>
              <a:gd name="T46" fmla="*/ 239 w 478"/>
              <a:gd name="T47" fmla="*/ 633 h 633"/>
              <a:gd name="T48" fmla="*/ 239 w 478"/>
              <a:gd name="T49" fmla="*/ 633 h 633"/>
              <a:gd name="T50" fmla="*/ 239 w 478"/>
              <a:gd name="T51" fmla="*/ 633 h 633"/>
              <a:gd name="T52" fmla="*/ 239 w 478"/>
              <a:gd name="T53" fmla="*/ 633 h 633"/>
              <a:gd name="T54" fmla="*/ 241 w 478"/>
              <a:gd name="T55" fmla="*/ 633 h 633"/>
              <a:gd name="T56" fmla="*/ 373 w 478"/>
              <a:gd name="T57" fmla="*/ 560 h 633"/>
              <a:gd name="T58" fmla="*/ 478 w 478"/>
              <a:gd name="T59" fmla="*/ 435 h 633"/>
              <a:gd name="T60" fmla="*/ 478 w 478"/>
              <a:gd name="T61" fmla="*/ 46 h 633"/>
              <a:gd name="T62" fmla="*/ 473 w 478"/>
              <a:gd name="T63" fmla="*/ 39 h 633"/>
              <a:gd name="T64" fmla="*/ 199 w 478"/>
              <a:gd name="T65" fmla="*/ 15 h 633"/>
              <a:gd name="T66" fmla="*/ 232 w 478"/>
              <a:gd name="T67" fmla="*/ 14 h 633"/>
              <a:gd name="T68" fmla="*/ 232 w 478"/>
              <a:gd name="T69" fmla="*/ 617 h 633"/>
              <a:gd name="T70" fmla="*/ 200 w 478"/>
              <a:gd name="T71" fmla="*/ 601 h 633"/>
              <a:gd name="T72" fmla="*/ 199 w 478"/>
              <a:gd name="T73" fmla="*/ 15 h 633"/>
              <a:gd name="T74" fmla="*/ 186 w 478"/>
              <a:gd name="T75" fmla="*/ 593 h 633"/>
              <a:gd name="T76" fmla="*/ 153 w 478"/>
              <a:gd name="T77" fmla="*/ 572 h 633"/>
              <a:gd name="T78" fmla="*/ 153 w 478"/>
              <a:gd name="T79" fmla="*/ 20 h 633"/>
              <a:gd name="T80" fmla="*/ 185 w 478"/>
              <a:gd name="T81" fmla="*/ 17 h 633"/>
              <a:gd name="T82" fmla="*/ 186 w 478"/>
              <a:gd name="T83" fmla="*/ 593 h 633"/>
              <a:gd name="T84" fmla="*/ 60 w 478"/>
              <a:gd name="T85" fmla="*/ 38 h 633"/>
              <a:gd name="T86" fmla="*/ 92 w 478"/>
              <a:gd name="T87" fmla="*/ 31 h 633"/>
              <a:gd name="T88" fmla="*/ 93 w 478"/>
              <a:gd name="T89" fmla="*/ 528 h 633"/>
              <a:gd name="T90" fmla="*/ 60 w 478"/>
              <a:gd name="T91" fmla="*/ 500 h 633"/>
              <a:gd name="T92" fmla="*/ 60 w 478"/>
              <a:gd name="T93" fmla="*/ 38 h 633"/>
              <a:gd name="T94" fmla="*/ 14 w 478"/>
              <a:gd name="T95" fmla="*/ 435 h 633"/>
              <a:gd name="T96" fmla="*/ 14 w 478"/>
              <a:gd name="T97" fmla="*/ 51 h 633"/>
              <a:gd name="T98" fmla="*/ 46 w 478"/>
              <a:gd name="T99" fmla="*/ 42 h 633"/>
              <a:gd name="T100" fmla="*/ 46 w 478"/>
              <a:gd name="T101" fmla="*/ 487 h 633"/>
              <a:gd name="T102" fmla="*/ 14 w 478"/>
              <a:gd name="T103" fmla="*/ 435 h 633"/>
              <a:gd name="T104" fmla="*/ 107 w 478"/>
              <a:gd name="T105" fmla="*/ 539 h 633"/>
              <a:gd name="T106" fmla="*/ 106 w 478"/>
              <a:gd name="T107" fmla="*/ 28 h 633"/>
              <a:gd name="T108" fmla="*/ 139 w 478"/>
              <a:gd name="T109" fmla="*/ 22 h 633"/>
              <a:gd name="T110" fmla="*/ 139 w 478"/>
              <a:gd name="T111" fmla="*/ 563 h 633"/>
              <a:gd name="T112" fmla="*/ 111 w 478"/>
              <a:gd name="T113" fmla="*/ 542 h 633"/>
              <a:gd name="T114" fmla="*/ 107 w 478"/>
              <a:gd name="T115" fmla="*/ 539 h 633"/>
              <a:gd name="T116" fmla="*/ 464 w 478"/>
              <a:gd name="T117" fmla="*/ 435 h 633"/>
              <a:gd name="T118" fmla="*/ 246 w 478"/>
              <a:gd name="T119" fmla="*/ 617 h 633"/>
              <a:gd name="T120" fmla="*/ 246 w 478"/>
              <a:gd name="T121" fmla="*/ 14 h 633"/>
              <a:gd name="T122" fmla="*/ 464 w 478"/>
              <a:gd name="T123" fmla="*/ 51 h 633"/>
              <a:gd name="T124" fmla="*/ 464 w 478"/>
              <a:gd name="T125" fmla="*/ 435 h 6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78" h="633">
                <a:moveTo>
                  <a:pt x="473" y="39"/>
                </a:moveTo>
                <a:cubicBezTo>
                  <a:pt x="414" y="21"/>
                  <a:pt x="326" y="0"/>
                  <a:pt x="239" y="0"/>
                </a:cubicBezTo>
                <a:cubicBezTo>
                  <a:pt x="239" y="0"/>
                  <a:pt x="239" y="0"/>
                  <a:pt x="239" y="0"/>
                </a:cubicBezTo>
                <a:cubicBezTo>
                  <a:pt x="239" y="0"/>
                  <a:pt x="239" y="0"/>
                  <a:pt x="239" y="0"/>
                </a:cubicBezTo>
                <a:cubicBezTo>
                  <a:pt x="239" y="0"/>
                  <a:pt x="239" y="0"/>
                  <a:pt x="239" y="0"/>
                </a:cubicBezTo>
                <a:cubicBezTo>
                  <a:pt x="224" y="0"/>
                  <a:pt x="208" y="1"/>
                  <a:pt x="193" y="2"/>
                </a:cubicBezTo>
                <a:cubicBezTo>
                  <a:pt x="193" y="2"/>
                  <a:pt x="192" y="2"/>
                  <a:pt x="192" y="2"/>
                </a:cubicBezTo>
                <a:cubicBezTo>
                  <a:pt x="192" y="2"/>
                  <a:pt x="192" y="2"/>
                  <a:pt x="192" y="2"/>
                </a:cubicBezTo>
                <a:cubicBezTo>
                  <a:pt x="192" y="2"/>
                  <a:pt x="192" y="2"/>
                  <a:pt x="191" y="2"/>
                </a:cubicBezTo>
                <a:cubicBezTo>
                  <a:pt x="176" y="3"/>
                  <a:pt x="160" y="5"/>
                  <a:pt x="145" y="7"/>
                </a:cubicBezTo>
                <a:cubicBezTo>
                  <a:pt x="145" y="7"/>
                  <a:pt x="145" y="7"/>
                  <a:pt x="144" y="7"/>
                </a:cubicBezTo>
                <a:cubicBezTo>
                  <a:pt x="129" y="9"/>
                  <a:pt x="114" y="12"/>
                  <a:pt x="98" y="15"/>
                </a:cubicBezTo>
                <a:cubicBezTo>
                  <a:pt x="98" y="15"/>
                  <a:pt x="98" y="15"/>
                  <a:pt x="98" y="15"/>
                </a:cubicBezTo>
                <a:cubicBezTo>
                  <a:pt x="83" y="18"/>
                  <a:pt x="67" y="22"/>
                  <a:pt x="52" y="26"/>
                </a:cubicBezTo>
                <a:cubicBezTo>
                  <a:pt x="51" y="26"/>
                  <a:pt x="51" y="26"/>
                  <a:pt x="51" y="26"/>
                </a:cubicBezTo>
                <a:cubicBezTo>
                  <a:pt x="36" y="30"/>
                  <a:pt x="20" y="34"/>
                  <a:pt x="4" y="39"/>
                </a:cubicBezTo>
                <a:cubicBezTo>
                  <a:pt x="2" y="40"/>
                  <a:pt x="0" y="43"/>
                  <a:pt x="0" y="46"/>
                </a:cubicBezTo>
                <a:cubicBezTo>
                  <a:pt x="0" y="435"/>
                  <a:pt x="0" y="435"/>
                  <a:pt x="0" y="435"/>
                </a:cubicBezTo>
                <a:cubicBezTo>
                  <a:pt x="0" y="450"/>
                  <a:pt x="13" y="486"/>
                  <a:pt x="102" y="553"/>
                </a:cubicBezTo>
                <a:cubicBezTo>
                  <a:pt x="115" y="563"/>
                  <a:pt x="129" y="573"/>
                  <a:pt x="142" y="582"/>
                </a:cubicBezTo>
                <a:cubicBezTo>
                  <a:pt x="142" y="582"/>
                  <a:pt x="142" y="582"/>
                  <a:pt x="142" y="582"/>
                </a:cubicBezTo>
                <a:cubicBezTo>
                  <a:pt x="182" y="609"/>
                  <a:pt x="220" y="629"/>
                  <a:pt x="238" y="633"/>
                </a:cubicBezTo>
                <a:cubicBezTo>
                  <a:pt x="238" y="633"/>
                  <a:pt x="238" y="633"/>
                  <a:pt x="238" y="633"/>
                </a:cubicBezTo>
                <a:cubicBezTo>
                  <a:pt x="238" y="633"/>
                  <a:pt x="239" y="633"/>
                  <a:pt x="239" y="633"/>
                </a:cubicBezTo>
                <a:cubicBezTo>
                  <a:pt x="239" y="633"/>
                  <a:pt x="239" y="633"/>
                  <a:pt x="239" y="633"/>
                </a:cubicBezTo>
                <a:cubicBezTo>
                  <a:pt x="239" y="633"/>
                  <a:pt x="239" y="633"/>
                  <a:pt x="239" y="633"/>
                </a:cubicBezTo>
                <a:cubicBezTo>
                  <a:pt x="239" y="633"/>
                  <a:pt x="239" y="633"/>
                  <a:pt x="239" y="633"/>
                </a:cubicBezTo>
                <a:cubicBezTo>
                  <a:pt x="240" y="633"/>
                  <a:pt x="240" y="633"/>
                  <a:pt x="241" y="633"/>
                </a:cubicBezTo>
                <a:cubicBezTo>
                  <a:pt x="261" y="629"/>
                  <a:pt x="320" y="598"/>
                  <a:pt x="373" y="560"/>
                </a:cubicBezTo>
                <a:cubicBezTo>
                  <a:pt x="421" y="526"/>
                  <a:pt x="478" y="477"/>
                  <a:pt x="478" y="435"/>
                </a:cubicBezTo>
                <a:cubicBezTo>
                  <a:pt x="478" y="46"/>
                  <a:pt x="478" y="46"/>
                  <a:pt x="478" y="46"/>
                </a:cubicBezTo>
                <a:cubicBezTo>
                  <a:pt x="478" y="43"/>
                  <a:pt x="476" y="40"/>
                  <a:pt x="473" y="39"/>
                </a:cubicBezTo>
                <a:close/>
                <a:moveTo>
                  <a:pt x="199" y="15"/>
                </a:moveTo>
                <a:cubicBezTo>
                  <a:pt x="210" y="15"/>
                  <a:pt x="221" y="14"/>
                  <a:pt x="232" y="14"/>
                </a:cubicBezTo>
                <a:cubicBezTo>
                  <a:pt x="232" y="617"/>
                  <a:pt x="232" y="617"/>
                  <a:pt x="232" y="617"/>
                </a:cubicBezTo>
                <a:cubicBezTo>
                  <a:pt x="224" y="614"/>
                  <a:pt x="213" y="608"/>
                  <a:pt x="200" y="601"/>
                </a:cubicBezTo>
                <a:lnTo>
                  <a:pt x="199" y="15"/>
                </a:lnTo>
                <a:close/>
                <a:moveTo>
                  <a:pt x="186" y="593"/>
                </a:moveTo>
                <a:cubicBezTo>
                  <a:pt x="175" y="587"/>
                  <a:pt x="165" y="580"/>
                  <a:pt x="153" y="572"/>
                </a:cubicBezTo>
                <a:cubicBezTo>
                  <a:pt x="153" y="20"/>
                  <a:pt x="153" y="20"/>
                  <a:pt x="153" y="20"/>
                </a:cubicBezTo>
                <a:cubicBezTo>
                  <a:pt x="164" y="19"/>
                  <a:pt x="175" y="17"/>
                  <a:pt x="185" y="17"/>
                </a:cubicBezTo>
                <a:lnTo>
                  <a:pt x="186" y="593"/>
                </a:lnTo>
                <a:close/>
                <a:moveTo>
                  <a:pt x="60" y="38"/>
                </a:moveTo>
                <a:cubicBezTo>
                  <a:pt x="71" y="35"/>
                  <a:pt x="82" y="33"/>
                  <a:pt x="92" y="31"/>
                </a:cubicBezTo>
                <a:cubicBezTo>
                  <a:pt x="93" y="528"/>
                  <a:pt x="93" y="528"/>
                  <a:pt x="93" y="528"/>
                </a:cubicBezTo>
                <a:cubicBezTo>
                  <a:pt x="81" y="518"/>
                  <a:pt x="70" y="509"/>
                  <a:pt x="60" y="500"/>
                </a:cubicBezTo>
                <a:lnTo>
                  <a:pt x="60" y="38"/>
                </a:lnTo>
                <a:close/>
                <a:moveTo>
                  <a:pt x="14" y="435"/>
                </a:moveTo>
                <a:cubicBezTo>
                  <a:pt x="14" y="51"/>
                  <a:pt x="14" y="51"/>
                  <a:pt x="14" y="51"/>
                </a:cubicBezTo>
                <a:cubicBezTo>
                  <a:pt x="24" y="48"/>
                  <a:pt x="35" y="45"/>
                  <a:pt x="46" y="42"/>
                </a:cubicBezTo>
                <a:cubicBezTo>
                  <a:pt x="46" y="487"/>
                  <a:pt x="46" y="487"/>
                  <a:pt x="46" y="487"/>
                </a:cubicBezTo>
                <a:cubicBezTo>
                  <a:pt x="25" y="465"/>
                  <a:pt x="14" y="447"/>
                  <a:pt x="14" y="435"/>
                </a:cubicBezTo>
                <a:close/>
                <a:moveTo>
                  <a:pt x="107" y="539"/>
                </a:moveTo>
                <a:cubicBezTo>
                  <a:pt x="106" y="28"/>
                  <a:pt x="106" y="28"/>
                  <a:pt x="106" y="28"/>
                </a:cubicBezTo>
                <a:cubicBezTo>
                  <a:pt x="117" y="26"/>
                  <a:pt x="128" y="24"/>
                  <a:pt x="139" y="22"/>
                </a:cubicBezTo>
                <a:cubicBezTo>
                  <a:pt x="139" y="563"/>
                  <a:pt x="139" y="563"/>
                  <a:pt x="139" y="563"/>
                </a:cubicBezTo>
                <a:cubicBezTo>
                  <a:pt x="130" y="556"/>
                  <a:pt x="120" y="549"/>
                  <a:pt x="111" y="542"/>
                </a:cubicBezTo>
                <a:cubicBezTo>
                  <a:pt x="109" y="541"/>
                  <a:pt x="108" y="540"/>
                  <a:pt x="107" y="539"/>
                </a:cubicBezTo>
                <a:close/>
                <a:moveTo>
                  <a:pt x="464" y="435"/>
                </a:moveTo>
                <a:cubicBezTo>
                  <a:pt x="464" y="496"/>
                  <a:pt x="297" y="598"/>
                  <a:pt x="246" y="617"/>
                </a:cubicBezTo>
                <a:cubicBezTo>
                  <a:pt x="246" y="14"/>
                  <a:pt x="246" y="14"/>
                  <a:pt x="246" y="14"/>
                </a:cubicBezTo>
                <a:cubicBezTo>
                  <a:pt x="327" y="15"/>
                  <a:pt x="408" y="34"/>
                  <a:pt x="464" y="51"/>
                </a:cubicBezTo>
                <a:lnTo>
                  <a:pt x="464" y="435"/>
                </a:ln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19" name="Oval 20"/>
          <p:cNvSpPr>
            <a:spLocks noChangeArrowheads="1"/>
          </p:cNvSpPr>
          <p:nvPr/>
        </p:nvSpPr>
        <p:spPr bwMode="auto">
          <a:xfrm>
            <a:off x="3073678" y="3120088"/>
            <a:ext cx="1119124" cy="1119124"/>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9293" name="Freeform 106"/>
          <p:cNvSpPr>
            <a:spLocks noEditPoints="1"/>
          </p:cNvSpPr>
          <p:nvPr/>
        </p:nvSpPr>
        <p:spPr bwMode="auto">
          <a:xfrm>
            <a:off x="3373444" y="3339916"/>
            <a:ext cx="518418" cy="679468"/>
          </a:xfrm>
          <a:custGeom>
            <a:avLst/>
            <a:gdLst>
              <a:gd name="T0" fmla="*/ 451 w 493"/>
              <a:gd name="T1" fmla="*/ 579 h 646"/>
              <a:gd name="T2" fmla="*/ 285 w 493"/>
              <a:gd name="T3" fmla="*/ 321 h 646"/>
              <a:gd name="T4" fmla="*/ 419 w 493"/>
              <a:gd name="T5" fmla="*/ 174 h 646"/>
              <a:gd name="T6" fmla="*/ 424 w 493"/>
              <a:gd name="T7" fmla="*/ 165 h 646"/>
              <a:gd name="T8" fmla="*/ 460 w 493"/>
              <a:gd name="T9" fmla="*/ 67 h 646"/>
              <a:gd name="T10" fmla="*/ 460 w 493"/>
              <a:gd name="T11" fmla="*/ 0 h 646"/>
              <a:gd name="T12" fmla="*/ 0 w 493"/>
              <a:gd name="T13" fmla="*/ 33 h 646"/>
              <a:gd name="T14" fmla="*/ 44 w 493"/>
              <a:gd name="T15" fmla="*/ 67 h 646"/>
              <a:gd name="T16" fmla="*/ 73 w 493"/>
              <a:gd name="T17" fmla="*/ 166 h 646"/>
              <a:gd name="T18" fmla="*/ 211 w 493"/>
              <a:gd name="T19" fmla="*/ 317 h 646"/>
              <a:gd name="T20" fmla="*/ 211 w 493"/>
              <a:gd name="T21" fmla="*/ 332 h 646"/>
              <a:gd name="T22" fmla="*/ 34 w 493"/>
              <a:gd name="T23" fmla="*/ 579 h 646"/>
              <a:gd name="T24" fmla="*/ 34 w 493"/>
              <a:gd name="T25" fmla="*/ 646 h 646"/>
              <a:gd name="T26" fmla="*/ 493 w 493"/>
              <a:gd name="T27" fmla="*/ 612 h 646"/>
              <a:gd name="T28" fmla="*/ 404 w 493"/>
              <a:gd name="T29" fmla="*/ 479 h 646"/>
              <a:gd name="T30" fmla="*/ 285 w 493"/>
              <a:gd name="T31" fmla="*/ 348 h 646"/>
              <a:gd name="T32" fmla="*/ 14 w 493"/>
              <a:gd name="T33" fmla="*/ 33 h 646"/>
              <a:gd name="T34" fmla="*/ 460 w 493"/>
              <a:gd name="T35" fmla="*/ 14 h 646"/>
              <a:gd name="T36" fmla="*/ 460 w 493"/>
              <a:gd name="T37" fmla="*/ 53 h 646"/>
              <a:gd name="T38" fmla="*/ 14 w 493"/>
              <a:gd name="T39" fmla="*/ 33 h 646"/>
              <a:gd name="T40" fmla="*/ 412 w 493"/>
              <a:gd name="T41" fmla="*/ 156 h 646"/>
              <a:gd name="T42" fmla="*/ 85 w 493"/>
              <a:gd name="T43" fmla="*/ 156 h 646"/>
              <a:gd name="T44" fmla="*/ 439 w 493"/>
              <a:gd name="T45" fmla="*/ 67 h 646"/>
              <a:gd name="T46" fmla="*/ 211 w 493"/>
              <a:gd name="T47" fmla="*/ 490 h 646"/>
              <a:gd name="T48" fmla="*/ 211 w 493"/>
              <a:gd name="T49" fmla="*/ 348 h 646"/>
              <a:gd name="T50" fmla="*/ 156 w 493"/>
              <a:gd name="T51" fmla="*/ 509 h 646"/>
              <a:gd name="T52" fmla="*/ 219 w 493"/>
              <a:gd name="T53" fmla="*/ 503 h 646"/>
              <a:gd name="T54" fmla="*/ 225 w 493"/>
              <a:gd name="T55" fmla="*/ 336 h 646"/>
              <a:gd name="T56" fmla="*/ 225 w 493"/>
              <a:gd name="T57" fmla="*/ 313 h 646"/>
              <a:gd name="T58" fmla="*/ 94 w 493"/>
              <a:gd name="T59" fmla="*/ 175 h 646"/>
              <a:gd name="T60" fmla="*/ 259 w 493"/>
              <a:gd name="T61" fmla="*/ 169 h 646"/>
              <a:gd name="T62" fmla="*/ 274 w 493"/>
              <a:gd name="T63" fmla="*/ 307 h 646"/>
              <a:gd name="T64" fmla="*/ 271 w 493"/>
              <a:gd name="T65" fmla="*/ 321 h 646"/>
              <a:gd name="T66" fmla="*/ 271 w 493"/>
              <a:gd name="T67" fmla="*/ 483 h 646"/>
              <a:gd name="T68" fmla="*/ 278 w 493"/>
              <a:gd name="T69" fmla="*/ 493 h 646"/>
              <a:gd name="T70" fmla="*/ 437 w 493"/>
              <a:gd name="T71" fmla="*/ 579 h 646"/>
              <a:gd name="T72" fmla="*/ 84 w 493"/>
              <a:gd name="T73" fmla="*/ 495 h 646"/>
              <a:gd name="T74" fmla="*/ 34 w 493"/>
              <a:gd name="T75" fmla="*/ 632 h 646"/>
              <a:gd name="T76" fmla="*/ 34 w 493"/>
              <a:gd name="T77" fmla="*/ 593 h 646"/>
              <a:gd name="T78" fmla="*/ 479 w 493"/>
              <a:gd name="T79" fmla="*/ 612 h 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93" h="646">
                <a:moveTo>
                  <a:pt x="460" y="579"/>
                </a:moveTo>
                <a:cubicBezTo>
                  <a:pt x="451" y="579"/>
                  <a:pt x="451" y="579"/>
                  <a:pt x="451" y="579"/>
                </a:cubicBezTo>
                <a:cubicBezTo>
                  <a:pt x="435" y="462"/>
                  <a:pt x="357" y="372"/>
                  <a:pt x="285" y="332"/>
                </a:cubicBezTo>
                <a:cubicBezTo>
                  <a:pt x="285" y="321"/>
                  <a:pt x="285" y="321"/>
                  <a:pt x="285" y="321"/>
                </a:cubicBezTo>
                <a:cubicBezTo>
                  <a:pt x="285" y="317"/>
                  <a:pt x="285" y="317"/>
                  <a:pt x="285" y="317"/>
                </a:cubicBezTo>
                <a:cubicBezTo>
                  <a:pt x="334" y="291"/>
                  <a:pt x="385" y="241"/>
                  <a:pt x="419" y="174"/>
                </a:cubicBezTo>
                <a:cubicBezTo>
                  <a:pt x="421" y="174"/>
                  <a:pt x="422" y="173"/>
                  <a:pt x="423" y="172"/>
                </a:cubicBezTo>
                <a:cubicBezTo>
                  <a:pt x="424" y="170"/>
                  <a:pt x="424" y="167"/>
                  <a:pt x="424" y="165"/>
                </a:cubicBezTo>
                <a:cubicBezTo>
                  <a:pt x="438" y="135"/>
                  <a:pt x="448" y="102"/>
                  <a:pt x="453" y="67"/>
                </a:cubicBezTo>
                <a:cubicBezTo>
                  <a:pt x="460" y="67"/>
                  <a:pt x="460" y="67"/>
                  <a:pt x="460" y="67"/>
                </a:cubicBezTo>
                <a:cubicBezTo>
                  <a:pt x="478" y="67"/>
                  <a:pt x="493" y="52"/>
                  <a:pt x="493" y="33"/>
                </a:cubicBezTo>
                <a:cubicBezTo>
                  <a:pt x="493" y="15"/>
                  <a:pt x="478" y="0"/>
                  <a:pt x="460" y="0"/>
                </a:cubicBezTo>
                <a:cubicBezTo>
                  <a:pt x="34" y="0"/>
                  <a:pt x="34" y="0"/>
                  <a:pt x="34" y="0"/>
                </a:cubicBezTo>
                <a:cubicBezTo>
                  <a:pt x="15" y="0"/>
                  <a:pt x="0" y="15"/>
                  <a:pt x="0" y="33"/>
                </a:cubicBezTo>
                <a:cubicBezTo>
                  <a:pt x="0" y="52"/>
                  <a:pt x="15" y="67"/>
                  <a:pt x="34" y="67"/>
                </a:cubicBezTo>
                <a:cubicBezTo>
                  <a:pt x="44" y="67"/>
                  <a:pt x="44" y="67"/>
                  <a:pt x="44" y="67"/>
                </a:cubicBezTo>
                <a:cubicBezTo>
                  <a:pt x="48" y="100"/>
                  <a:pt x="58" y="130"/>
                  <a:pt x="70" y="158"/>
                </a:cubicBezTo>
                <a:cubicBezTo>
                  <a:pt x="69" y="161"/>
                  <a:pt x="70" y="165"/>
                  <a:pt x="73" y="166"/>
                </a:cubicBezTo>
                <a:cubicBezTo>
                  <a:pt x="73" y="166"/>
                  <a:pt x="74" y="167"/>
                  <a:pt x="74" y="167"/>
                </a:cubicBezTo>
                <a:cubicBezTo>
                  <a:pt x="107" y="237"/>
                  <a:pt x="160" y="290"/>
                  <a:pt x="211" y="317"/>
                </a:cubicBezTo>
                <a:cubicBezTo>
                  <a:pt x="211" y="330"/>
                  <a:pt x="211" y="330"/>
                  <a:pt x="211" y="330"/>
                </a:cubicBezTo>
                <a:cubicBezTo>
                  <a:pt x="211" y="332"/>
                  <a:pt x="211" y="332"/>
                  <a:pt x="211" y="332"/>
                </a:cubicBezTo>
                <a:cubicBezTo>
                  <a:pt x="140" y="371"/>
                  <a:pt x="62" y="462"/>
                  <a:pt x="44" y="579"/>
                </a:cubicBezTo>
                <a:cubicBezTo>
                  <a:pt x="34" y="579"/>
                  <a:pt x="34" y="579"/>
                  <a:pt x="34" y="579"/>
                </a:cubicBezTo>
                <a:cubicBezTo>
                  <a:pt x="15" y="579"/>
                  <a:pt x="0" y="594"/>
                  <a:pt x="0" y="612"/>
                </a:cubicBezTo>
                <a:cubicBezTo>
                  <a:pt x="0" y="631"/>
                  <a:pt x="15" y="646"/>
                  <a:pt x="34" y="646"/>
                </a:cubicBezTo>
                <a:cubicBezTo>
                  <a:pt x="460" y="646"/>
                  <a:pt x="460" y="646"/>
                  <a:pt x="460" y="646"/>
                </a:cubicBezTo>
                <a:cubicBezTo>
                  <a:pt x="478" y="646"/>
                  <a:pt x="493" y="631"/>
                  <a:pt x="493" y="612"/>
                </a:cubicBezTo>
                <a:cubicBezTo>
                  <a:pt x="493" y="594"/>
                  <a:pt x="478" y="579"/>
                  <a:pt x="460" y="579"/>
                </a:cubicBezTo>
                <a:close/>
                <a:moveTo>
                  <a:pt x="404" y="479"/>
                </a:moveTo>
                <a:cubicBezTo>
                  <a:pt x="371" y="466"/>
                  <a:pt x="329" y="470"/>
                  <a:pt x="285" y="478"/>
                </a:cubicBezTo>
                <a:cubicBezTo>
                  <a:pt x="285" y="348"/>
                  <a:pt x="285" y="348"/>
                  <a:pt x="285" y="348"/>
                </a:cubicBezTo>
                <a:cubicBezTo>
                  <a:pt x="328" y="374"/>
                  <a:pt x="373" y="420"/>
                  <a:pt x="404" y="479"/>
                </a:cubicBezTo>
                <a:close/>
                <a:moveTo>
                  <a:pt x="14" y="33"/>
                </a:moveTo>
                <a:cubicBezTo>
                  <a:pt x="14" y="23"/>
                  <a:pt x="23" y="14"/>
                  <a:pt x="34" y="14"/>
                </a:cubicBezTo>
                <a:cubicBezTo>
                  <a:pt x="460" y="14"/>
                  <a:pt x="460" y="14"/>
                  <a:pt x="460" y="14"/>
                </a:cubicBezTo>
                <a:cubicBezTo>
                  <a:pt x="471" y="14"/>
                  <a:pt x="479" y="23"/>
                  <a:pt x="479" y="33"/>
                </a:cubicBezTo>
                <a:cubicBezTo>
                  <a:pt x="479" y="44"/>
                  <a:pt x="471" y="53"/>
                  <a:pt x="460" y="53"/>
                </a:cubicBezTo>
                <a:cubicBezTo>
                  <a:pt x="34" y="53"/>
                  <a:pt x="34" y="53"/>
                  <a:pt x="34" y="53"/>
                </a:cubicBezTo>
                <a:cubicBezTo>
                  <a:pt x="23" y="53"/>
                  <a:pt x="14" y="44"/>
                  <a:pt x="14" y="33"/>
                </a:cubicBezTo>
                <a:close/>
                <a:moveTo>
                  <a:pt x="439" y="67"/>
                </a:moveTo>
                <a:cubicBezTo>
                  <a:pt x="434" y="99"/>
                  <a:pt x="425" y="129"/>
                  <a:pt x="412" y="156"/>
                </a:cubicBezTo>
                <a:cubicBezTo>
                  <a:pt x="372" y="134"/>
                  <a:pt x="315" y="145"/>
                  <a:pt x="256" y="156"/>
                </a:cubicBezTo>
                <a:cubicBezTo>
                  <a:pt x="196" y="167"/>
                  <a:pt x="134" y="178"/>
                  <a:pt x="85" y="156"/>
                </a:cubicBezTo>
                <a:cubicBezTo>
                  <a:pt x="72" y="129"/>
                  <a:pt x="63" y="99"/>
                  <a:pt x="58" y="67"/>
                </a:cubicBezTo>
                <a:lnTo>
                  <a:pt x="439" y="67"/>
                </a:lnTo>
                <a:close/>
                <a:moveTo>
                  <a:pt x="211" y="348"/>
                </a:moveTo>
                <a:cubicBezTo>
                  <a:pt x="211" y="490"/>
                  <a:pt x="211" y="490"/>
                  <a:pt x="211" y="490"/>
                </a:cubicBezTo>
                <a:cubicBezTo>
                  <a:pt x="171" y="496"/>
                  <a:pt x="127" y="499"/>
                  <a:pt x="90" y="483"/>
                </a:cubicBezTo>
                <a:cubicBezTo>
                  <a:pt x="121" y="422"/>
                  <a:pt x="168" y="374"/>
                  <a:pt x="211" y="348"/>
                </a:cubicBezTo>
                <a:close/>
                <a:moveTo>
                  <a:pt x="84" y="495"/>
                </a:moveTo>
                <a:cubicBezTo>
                  <a:pt x="107" y="505"/>
                  <a:pt x="131" y="509"/>
                  <a:pt x="156" y="509"/>
                </a:cubicBezTo>
                <a:cubicBezTo>
                  <a:pt x="178" y="509"/>
                  <a:pt x="199" y="506"/>
                  <a:pt x="219" y="503"/>
                </a:cubicBezTo>
                <a:cubicBezTo>
                  <a:pt x="219" y="503"/>
                  <a:pt x="219" y="503"/>
                  <a:pt x="219" y="503"/>
                </a:cubicBezTo>
                <a:cubicBezTo>
                  <a:pt x="222" y="503"/>
                  <a:pt x="225" y="500"/>
                  <a:pt x="225" y="496"/>
                </a:cubicBezTo>
                <a:cubicBezTo>
                  <a:pt x="225" y="336"/>
                  <a:pt x="225" y="336"/>
                  <a:pt x="225" y="336"/>
                </a:cubicBezTo>
                <a:cubicBezTo>
                  <a:pt x="225" y="330"/>
                  <a:pt x="225" y="330"/>
                  <a:pt x="225" y="330"/>
                </a:cubicBezTo>
                <a:cubicBezTo>
                  <a:pt x="225" y="313"/>
                  <a:pt x="225" y="313"/>
                  <a:pt x="225" y="313"/>
                </a:cubicBezTo>
                <a:cubicBezTo>
                  <a:pt x="225" y="311"/>
                  <a:pt x="224" y="308"/>
                  <a:pt x="221" y="307"/>
                </a:cubicBezTo>
                <a:cubicBezTo>
                  <a:pt x="177" y="284"/>
                  <a:pt x="127" y="237"/>
                  <a:pt x="94" y="175"/>
                </a:cubicBezTo>
                <a:cubicBezTo>
                  <a:pt x="112" y="180"/>
                  <a:pt x="131" y="183"/>
                  <a:pt x="151" y="183"/>
                </a:cubicBezTo>
                <a:cubicBezTo>
                  <a:pt x="186" y="183"/>
                  <a:pt x="223" y="176"/>
                  <a:pt x="259" y="169"/>
                </a:cubicBezTo>
                <a:cubicBezTo>
                  <a:pt x="316" y="159"/>
                  <a:pt x="370" y="149"/>
                  <a:pt x="406" y="169"/>
                </a:cubicBezTo>
                <a:cubicBezTo>
                  <a:pt x="372" y="234"/>
                  <a:pt x="321" y="283"/>
                  <a:pt x="274" y="307"/>
                </a:cubicBezTo>
                <a:cubicBezTo>
                  <a:pt x="272" y="308"/>
                  <a:pt x="271" y="311"/>
                  <a:pt x="271" y="313"/>
                </a:cubicBezTo>
                <a:cubicBezTo>
                  <a:pt x="271" y="321"/>
                  <a:pt x="271" y="321"/>
                  <a:pt x="271" y="321"/>
                </a:cubicBezTo>
                <a:cubicBezTo>
                  <a:pt x="271" y="336"/>
                  <a:pt x="271" y="336"/>
                  <a:pt x="271" y="336"/>
                </a:cubicBezTo>
                <a:cubicBezTo>
                  <a:pt x="271" y="483"/>
                  <a:pt x="271" y="483"/>
                  <a:pt x="271" y="483"/>
                </a:cubicBezTo>
                <a:cubicBezTo>
                  <a:pt x="270" y="484"/>
                  <a:pt x="270" y="486"/>
                  <a:pt x="270" y="487"/>
                </a:cubicBezTo>
                <a:cubicBezTo>
                  <a:pt x="271" y="491"/>
                  <a:pt x="274" y="494"/>
                  <a:pt x="278" y="493"/>
                </a:cubicBezTo>
                <a:cubicBezTo>
                  <a:pt x="331" y="484"/>
                  <a:pt x="381" y="477"/>
                  <a:pt x="414" y="499"/>
                </a:cubicBezTo>
                <a:cubicBezTo>
                  <a:pt x="425" y="524"/>
                  <a:pt x="433" y="551"/>
                  <a:pt x="437" y="579"/>
                </a:cubicBezTo>
                <a:cubicBezTo>
                  <a:pt x="58" y="579"/>
                  <a:pt x="58" y="579"/>
                  <a:pt x="58" y="579"/>
                </a:cubicBezTo>
                <a:cubicBezTo>
                  <a:pt x="63" y="549"/>
                  <a:pt x="72" y="521"/>
                  <a:pt x="84" y="495"/>
                </a:cubicBezTo>
                <a:close/>
                <a:moveTo>
                  <a:pt x="460" y="632"/>
                </a:moveTo>
                <a:cubicBezTo>
                  <a:pt x="34" y="632"/>
                  <a:pt x="34" y="632"/>
                  <a:pt x="34" y="632"/>
                </a:cubicBezTo>
                <a:cubicBezTo>
                  <a:pt x="23" y="632"/>
                  <a:pt x="14" y="623"/>
                  <a:pt x="14" y="612"/>
                </a:cubicBezTo>
                <a:cubicBezTo>
                  <a:pt x="14" y="601"/>
                  <a:pt x="23" y="593"/>
                  <a:pt x="34" y="593"/>
                </a:cubicBezTo>
                <a:cubicBezTo>
                  <a:pt x="460" y="593"/>
                  <a:pt x="460" y="593"/>
                  <a:pt x="460" y="593"/>
                </a:cubicBezTo>
                <a:cubicBezTo>
                  <a:pt x="471" y="593"/>
                  <a:pt x="479" y="601"/>
                  <a:pt x="479" y="612"/>
                </a:cubicBezTo>
                <a:cubicBezTo>
                  <a:pt x="479" y="623"/>
                  <a:pt x="471" y="632"/>
                  <a:pt x="460" y="632"/>
                </a:cubicBez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22" name="Oval 23"/>
          <p:cNvSpPr>
            <a:spLocks noChangeArrowheads="1"/>
          </p:cNvSpPr>
          <p:nvPr/>
        </p:nvSpPr>
        <p:spPr bwMode="auto">
          <a:xfrm>
            <a:off x="1315706" y="1528549"/>
            <a:ext cx="1119124" cy="1119124"/>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9296" name="Freeform 109"/>
          <p:cNvSpPr>
            <a:spLocks noEditPoints="1"/>
          </p:cNvSpPr>
          <p:nvPr/>
        </p:nvSpPr>
        <p:spPr bwMode="auto">
          <a:xfrm>
            <a:off x="1509875" y="1723691"/>
            <a:ext cx="729607" cy="728841"/>
          </a:xfrm>
          <a:custGeom>
            <a:avLst/>
            <a:gdLst>
              <a:gd name="T0" fmla="*/ 431 w 692"/>
              <a:gd name="T1" fmla="*/ 165 h 693"/>
              <a:gd name="T2" fmla="*/ 350 w 692"/>
              <a:gd name="T3" fmla="*/ 245 h 693"/>
              <a:gd name="T4" fmla="*/ 349 w 692"/>
              <a:gd name="T5" fmla="*/ 246 h 693"/>
              <a:gd name="T6" fmla="*/ 348 w 692"/>
              <a:gd name="T7" fmla="*/ 246 h 693"/>
              <a:gd name="T8" fmla="*/ 345 w 692"/>
              <a:gd name="T9" fmla="*/ 246 h 693"/>
              <a:gd name="T10" fmla="*/ 343 w 692"/>
              <a:gd name="T11" fmla="*/ 246 h 693"/>
              <a:gd name="T12" fmla="*/ 342 w 692"/>
              <a:gd name="T13" fmla="*/ 245 h 693"/>
              <a:gd name="T14" fmla="*/ 262 w 692"/>
              <a:gd name="T15" fmla="*/ 165 h 693"/>
              <a:gd name="T16" fmla="*/ 272 w 692"/>
              <a:gd name="T17" fmla="*/ 155 h 693"/>
              <a:gd name="T18" fmla="*/ 339 w 692"/>
              <a:gd name="T19" fmla="*/ 7 h 693"/>
              <a:gd name="T20" fmla="*/ 353 w 692"/>
              <a:gd name="T21" fmla="*/ 7 h 693"/>
              <a:gd name="T22" fmla="*/ 421 w 692"/>
              <a:gd name="T23" fmla="*/ 155 h 693"/>
              <a:gd name="T24" fmla="*/ 351 w 692"/>
              <a:gd name="T25" fmla="*/ 449 h 693"/>
              <a:gd name="T26" fmla="*/ 341 w 692"/>
              <a:gd name="T27" fmla="*/ 449 h 693"/>
              <a:gd name="T28" fmla="*/ 262 w 692"/>
              <a:gd name="T29" fmla="*/ 539 h 693"/>
              <a:gd name="T30" fmla="*/ 339 w 692"/>
              <a:gd name="T31" fmla="*/ 471 h 693"/>
              <a:gd name="T32" fmla="*/ 346 w 692"/>
              <a:gd name="T33" fmla="*/ 693 h 693"/>
              <a:gd name="T34" fmla="*/ 353 w 692"/>
              <a:gd name="T35" fmla="*/ 471 h 693"/>
              <a:gd name="T36" fmla="*/ 426 w 692"/>
              <a:gd name="T37" fmla="*/ 541 h 693"/>
              <a:gd name="T38" fmla="*/ 431 w 692"/>
              <a:gd name="T39" fmla="*/ 529 h 693"/>
              <a:gd name="T40" fmla="*/ 685 w 692"/>
              <a:gd name="T41" fmla="*/ 340 h 693"/>
              <a:gd name="T42" fmla="*/ 538 w 692"/>
              <a:gd name="T43" fmla="*/ 272 h 693"/>
              <a:gd name="T44" fmla="*/ 528 w 692"/>
              <a:gd name="T45" fmla="*/ 262 h 693"/>
              <a:gd name="T46" fmla="*/ 448 w 692"/>
              <a:gd name="T47" fmla="*/ 343 h 693"/>
              <a:gd name="T48" fmla="*/ 447 w 692"/>
              <a:gd name="T49" fmla="*/ 344 h 693"/>
              <a:gd name="T50" fmla="*/ 447 w 692"/>
              <a:gd name="T51" fmla="*/ 345 h 693"/>
              <a:gd name="T52" fmla="*/ 447 w 692"/>
              <a:gd name="T53" fmla="*/ 348 h 693"/>
              <a:gd name="T54" fmla="*/ 447 w 692"/>
              <a:gd name="T55" fmla="*/ 349 h 693"/>
              <a:gd name="T56" fmla="*/ 448 w 692"/>
              <a:gd name="T57" fmla="*/ 351 h 693"/>
              <a:gd name="T58" fmla="*/ 528 w 692"/>
              <a:gd name="T59" fmla="*/ 431 h 693"/>
              <a:gd name="T60" fmla="*/ 538 w 692"/>
              <a:gd name="T61" fmla="*/ 431 h 693"/>
              <a:gd name="T62" fmla="*/ 471 w 692"/>
              <a:gd name="T63" fmla="*/ 354 h 693"/>
              <a:gd name="T64" fmla="*/ 692 w 692"/>
              <a:gd name="T65" fmla="*/ 347 h 693"/>
              <a:gd name="T66" fmla="*/ 245 w 692"/>
              <a:gd name="T67" fmla="*/ 349 h 693"/>
              <a:gd name="T68" fmla="*/ 246 w 692"/>
              <a:gd name="T69" fmla="*/ 348 h 693"/>
              <a:gd name="T70" fmla="*/ 246 w 692"/>
              <a:gd name="T71" fmla="*/ 345 h 693"/>
              <a:gd name="T72" fmla="*/ 245 w 692"/>
              <a:gd name="T73" fmla="*/ 344 h 693"/>
              <a:gd name="T74" fmla="*/ 244 w 692"/>
              <a:gd name="T75" fmla="*/ 343 h 693"/>
              <a:gd name="T76" fmla="*/ 164 w 692"/>
              <a:gd name="T77" fmla="*/ 262 h 693"/>
              <a:gd name="T78" fmla="*/ 154 w 692"/>
              <a:gd name="T79" fmla="*/ 272 h 693"/>
              <a:gd name="T80" fmla="*/ 7 w 692"/>
              <a:gd name="T81" fmla="*/ 340 h 693"/>
              <a:gd name="T82" fmla="*/ 7 w 692"/>
              <a:gd name="T83" fmla="*/ 354 h 693"/>
              <a:gd name="T84" fmla="*/ 154 w 692"/>
              <a:gd name="T85" fmla="*/ 421 h 693"/>
              <a:gd name="T86" fmla="*/ 159 w 692"/>
              <a:gd name="T87" fmla="*/ 433 h 693"/>
              <a:gd name="T88" fmla="*/ 244 w 692"/>
              <a:gd name="T89" fmla="*/ 352 h 693"/>
              <a:gd name="T90" fmla="*/ 245 w 692"/>
              <a:gd name="T91" fmla="*/ 350 h 693"/>
              <a:gd name="T92" fmla="*/ 346 w 692"/>
              <a:gd name="T93" fmla="*/ 371 h 693"/>
              <a:gd name="T94" fmla="*/ 346 w 692"/>
              <a:gd name="T95" fmla="*/ 323 h 693"/>
              <a:gd name="T96" fmla="*/ 346 w 692"/>
              <a:gd name="T97" fmla="*/ 371 h 693"/>
              <a:gd name="T98" fmla="*/ 356 w 692"/>
              <a:gd name="T99" fmla="*/ 347 h 693"/>
              <a:gd name="T100" fmla="*/ 336 w 692"/>
              <a:gd name="T101" fmla="*/ 347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92" h="693">
                <a:moveTo>
                  <a:pt x="431" y="155"/>
                </a:moveTo>
                <a:cubicBezTo>
                  <a:pt x="433" y="158"/>
                  <a:pt x="433" y="162"/>
                  <a:pt x="431" y="165"/>
                </a:cubicBezTo>
                <a:cubicBezTo>
                  <a:pt x="351" y="244"/>
                  <a:pt x="351" y="244"/>
                  <a:pt x="351" y="244"/>
                </a:cubicBezTo>
                <a:cubicBezTo>
                  <a:pt x="351" y="245"/>
                  <a:pt x="350" y="245"/>
                  <a:pt x="350" y="245"/>
                </a:cubicBezTo>
                <a:cubicBezTo>
                  <a:pt x="350" y="245"/>
                  <a:pt x="350" y="245"/>
                  <a:pt x="350" y="245"/>
                </a:cubicBezTo>
                <a:cubicBezTo>
                  <a:pt x="349" y="246"/>
                  <a:pt x="349" y="246"/>
                  <a:pt x="349" y="246"/>
                </a:cubicBezTo>
                <a:cubicBezTo>
                  <a:pt x="349" y="246"/>
                  <a:pt x="348" y="246"/>
                  <a:pt x="348" y="246"/>
                </a:cubicBezTo>
                <a:cubicBezTo>
                  <a:pt x="348" y="246"/>
                  <a:pt x="348" y="246"/>
                  <a:pt x="348" y="246"/>
                </a:cubicBezTo>
                <a:cubicBezTo>
                  <a:pt x="347" y="246"/>
                  <a:pt x="347" y="246"/>
                  <a:pt x="346" y="246"/>
                </a:cubicBezTo>
                <a:cubicBezTo>
                  <a:pt x="346" y="246"/>
                  <a:pt x="345" y="246"/>
                  <a:pt x="345" y="246"/>
                </a:cubicBezTo>
                <a:cubicBezTo>
                  <a:pt x="345" y="246"/>
                  <a:pt x="344" y="246"/>
                  <a:pt x="344" y="246"/>
                </a:cubicBezTo>
                <a:cubicBezTo>
                  <a:pt x="344" y="246"/>
                  <a:pt x="344" y="246"/>
                  <a:pt x="343" y="246"/>
                </a:cubicBezTo>
                <a:cubicBezTo>
                  <a:pt x="343" y="246"/>
                  <a:pt x="343" y="246"/>
                  <a:pt x="343" y="245"/>
                </a:cubicBezTo>
                <a:cubicBezTo>
                  <a:pt x="343" y="245"/>
                  <a:pt x="342" y="245"/>
                  <a:pt x="342" y="245"/>
                </a:cubicBezTo>
                <a:cubicBezTo>
                  <a:pt x="342" y="245"/>
                  <a:pt x="342" y="245"/>
                  <a:pt x="341" y="244"/>
                </a:cubicBezTo>
                <a:cubicBezTo>
                  <a:pt x="262" y="165"/>
                  <a:pt x="262" y="165"/>
                  <a:pt x="262" y="165"/>
                </a:cubicBezTo>
                <a:cubicBezTo>
                  <a:pt x="259" y="162"/>
                  <a:pt x="259" y="158"/>
                  <a:pt x="262" y="155"/>
                </a:cubicBezTo>
                <a:cubicBezTo>
                  <a:pt x="264" y="152"/>
                  <a:pt x="269" y="152"/>
                  <a:pt x="272" y="155"/>
                </a:cubicBezTo>
                <a:cubicBezTo>
                  <a:pt x="339" y="222"/>
                  <a:pt x="339" y="222"/>
                  <a:pt x="339" y="222"/>
                </a:cubicBezTo>
                <a:cubicBezTo>
                  <a:pt x="339" y="7"/>
                  <a:pt x="339" y="7"/>
                  <a:pt x="339" y="7"/>
                </a:cubicBezTo>
                <a:cubicBezTo>
                  <a:pt x="339" y="4"/>
                  <a:pt x="342" y="0"/>
                  <a:pt x="346" y="0"/>
                </a:cubicBezTo>
                <a:cubicBezTo>
                  <a:pt x="350" y="0"/>
                  <a:pt x="353" y="4"/>
                  <a:pt x="353" y="7"/>
                </a:cubicBezTo>
                <a:cubicBezTo>
                  <a:pt x="353" y="222"/>
                  <a:pt x="353" y="222"/>
                  <a:pt x="353" y="222"/>
                </a:cubicBezTo>
                <a:cubicBezTo>
                  <a:pt x="421" y="155"/>
                  <a:pt x="421" y="155"/>
                  <a:pt x="421" y="155"/>
                </a:cubicBezTo>
                <a:cubicBezTo>
                  <a:pt x="423" y="152"/>
                  <a:pt x="428" y="152"/>
                  <a:pt x="431" y="155"/>
                </a:cubicBezTo>
                <a:close/>
                <a:moveTo>
                  <a:pt x="351" y="449"/>
                </a:moveTo>
                <a:cubicBezTo>
                  <a:pt x="350" y="448"/>
                  <a:pt x="348" y="447"/>
                  <a:pt x="346" y="447"/>
                </a:cubicBezTo>
                <a:cubicBezTo>
                  <a:pt x="344" y="447"/>
                  <a:pt x="342" y="448"/>
                  <a:pt x="341" y="449"/>
                </a:cubicBezTo>
                <a:cubicBezTo>
                  <a:pt x="262" y="529"/>
                  <a:pt x="262" y="529"/>
                  <a:pt x="262" y="529"/>
                </a:cubicBezTo>
                <a:cubicBezTo>
                  <a:pt x="259" y="532"/>
                  <a:pt x="259" y="536"/>
                  <a:pt x="262" y="539"/>
                </a:cubicBezTo>
                <a:cubicBezTo>
                  <a:pt x="264" y="542"/>
                  <a:pt x="269" y="542"/>
                  <a:pt x="272" y="539"/>
                </a:cubicBezTo>
                <a:cubicBezTo>
                  <a:pt x="339" y="471"/>
                  <a:pt x="339" y="471"/>
                  <a:pt x="339" y="471"/>
                </a:cubicBezTo>
                <a:cubicBezTo>
                  <a:pt x="339" y="686"/>
                  <a:pt x="339" y="686"/>
                  <a:pt x="339" y="686"/>
                </a:cubicBezTo>
                <a:cubicBezTo>
                  <a:pt x="339" y="690"/>
                  <a:pt x="342" y="693"/>
                  <a:pt x="346" y="693"/>
                </a:cubicBezTo>
                <a:cubicBezTo>
                  <a:pt x="350" y="693"/>
                  <a:pt x="353" y="690"/>
                  <a:pt x="353" y="686"/>
                </a:cubicBezTo>
                <a:cubicBezTo>
                  <a:pt x="353" y="471"/>
                  <a:pt x="353" y="471"/>
                  <a:pt x="353" y="471"/>
                </a:cubicBezTo>
                <a:cubicBezTo>
                  <a:pt x="421" y="539"/>
                  <a:pt x="421" y="539"/>
                  <a:pt x="421" y="539"/>
                </a:cubicBezTo>
                <a:cubicBezTo>
                  <a:pt x="422" y="540"/>
                  <a:pt x="424" y="541"/>
                  <a:pt x="426" y="541"/>
                </a:cubicBezTo>
                <a:cubicBezTo>
                  <a:pt x="427" y="541"/>
                  <a:pt x="429" y="540"/>
                  <a:pt x="431" y="539"/>
                </a:cubicBezTo>
                <a:cubicBezTo>
                  <a:pt x="433" y="536"/>
                  <a:pt x="433" y="532"/>
                  <a:pt x="431" y="529"/>
                </a:cubicBezTo>
                <a:lnTo>
                  <a:pt x="351" y="449"/>
                </a:lnTo>
                <a:close/>
                <a:moveTo>
                  <a:pt x="685" y="340"/>
                </a:moveTo>
                <a:cubicBezTo>
                  <a:pt x="471" y="340"/>
                  <a:pt x="471" y="340"/>
                  <a:pt x="471" y="340"/>
                </a:cubicBezTo>
                <a:cubicBezTo>
                  <a:pt x="538" y="272"/>
                  <a:pt x="538" y="272"/>
                  <a:pt x="538" y="272"/>
                </a:cubicBezTo>
                <a:cubicBezTo>
                  <a:pt x="541" y="269"/>
                  <a:pt x="541" y="265"/>
                  <a:pt x="538" y="262"/>
                </a:cubicBezTo>
                <a:cubicBezTo>
                  <a:pt x="535" y="260"/>
                  <a:pt x="531" y="260"/>
                  <a:pt x="528" y="262"/>
                </a:cubicBezTo>
                <a:cubicBezTo>
                  <a:pt x="449" y="342"/>
                  <a:pt x="449" y="342"/>
                  <a:pt x="449" y="342"/>
                </a:cubicBezTo>
                <a:cubicBezTo>
                  <a:pt x="448" y="342"/>
                  <a:pt x="448" y="343"/>
                  <a:pt x="448" y="343"/>
                </a:cubicBezTo>
                <a:cubicBezTo>
                  <a:pt x="448" y="343"/>
                  <a:pt x="448" y="343"/>
                  <a:pt x="448" y="343"/>
                </a:cubicBezTo>
                <a:cubicBezTo>
                  <a:pt x="448" y="343"/>
                  <a:pt x="447" y="344"/>
                  <a:pt x="447" y="344"/>
                </a:cubicBezTo>
                <a:cubicBezTo>
                  <a:pt x="447" y="344"/>
                  <a:pt x="447" y="344"/>
                  <a:pt x="447" y="344"/>
                </a:cubicBezTo>
                <a:cubicBezTo>
                  <a:pt x="447" y="345"/>
                  <a:pt x="447" y="345"/>
                  <a:pt x="447" y="345"/>
                </a:cubicBezTo>
                <a:cubicBezTo>
                  <a:pt x="447" y="346"/>
                  <a:pt x="447" y="346"/>
                  <a:pt x="447" y="347"/>
                </a:cubicBezTo>
                <a:cubicBezTo>
                  <a:pt x="447" y="347"/>
                  <a:pt x="447" y="348"/>
                  <a:pt x="447" y="348"/>
                </a:cubicBezTo>
                <a:cubicBezTo>
                  <a:pt x="447" y="349"/>
                  <a:pt x="447" y="349"/>
                  <a:pt x="447" y="349"/>
                </a:cubicBezTo>
                <a:cubicBezTo>
                  <a:pt x="447" y="349"/>
                  <a:pt x="447" y="349"/>
                  <a:pt x="447" y="349"/>
                </a:cubicBezTo>
                <a:cubicBezTo>
                  <a:pt x="447" y="350"/>
                  <a:pt x="448" y="350"/>
                  <a:pt x="448" y="351"/>
                </a:cubicBezTo>
                <a:cubicBezTo>
                  <a:pt x="448" y="351"/>
                  <a:pt x="448" y="351"/>
                  <a:pt x="448" y="351"/>
                </a:cubicBezTo>
                <a:cubicBezTo>
                  <a:pt x="448" y="351"/>
                  <a:pt x="448" y="351"/>
                  <a:pt x="449" y="352"/>
                </a:cubicBezTo>
                <a:cubicBezTo>
                  <a:pt x="528" y="431"/>
                  <a:pt x="528" y="431"/>
                  <a:pt x="528" y="431"/>
                </a:cubicBezTo>
                <a:cubicBezTo>
                  <a:pt x="530" y="433"/>
                  <a:pt x="531" y="433"/>
                  <a:pt x="533" y="433"/>
                </a:cubicBezTo>
                <a:cubicBezTo>
                  <a:pt x="535" y="433"/>
                  <a:pt x="537" y="433"/>
                  <a:pt x="538" y="431"/>
                </a:cubicBezTo>
                <a:cubicBezTo>
                  <a:pt x="541" y="429"/>
                  <a:pt x="541" y="424"/>
                  <a:pt x="538" y="421"/>
                </a:cubicBezTo>
                <a:cubicBezTo>
                  <a:pt x="471" y="354"/>
                  <a:pt x="471" y="354"/>
                  <a:pt x="471" y="354"/>
                </a:cubicBezTo>
                <a:cubicBezTo>
                  <a:pt x="685" y="354"/>
                  <a:pt x="685" y="354"/>
                  <a:pt x="685" y="354"/>
                </a:cubicBezTo>
                <a:cubicBezTo>
                  <a:pt x="689" y="354"/>
                  <a:pt x="692" y="351"/>
                  <a:pt x="692" y="347"/>
                </a:cubicBezTo>
                <a:cubicBezTo>
                  <a:pt x="692" y="343"/>
                  <a:pt x="689" y="340"/>
                  <a:pt x="685" y="340"/>
                </a:cubicBezTo>
                <a:close/>
                <a:moveTo>
                  <a:pt x="245" y="349"/>
                </a:moveTo>
                <a:cubicBezTo>
                  <a:pt x="245" y="349"/>
                  <a:pt x="245" y="349"/>
                  <a:pt x="245" y="349"/>
                </a:cubicBezTo>
                <a:cubicBezTo>
                  <a:pt x="245" y="349"/>
                  <a:pt x="245" y="349"/>
                  <a:pt x="246" y="348"/>
                </a:cubicBezTo>
                <a:cubicBezTo>
                  <a:pt x="246" y="348"/>
                  <a:pt x="246" y="347"/>
                  <a:pt x="246" y="347"/>
                </a:cubicBezTo>
                <a:cubicBezTo>
                  <a:pt x="246" y="346"/>
                  <a:pt x="246" y="346"/>
                  <a:pt x="246" y="345"/>
                </a:cubicBezTo>
                <a:cubicBezTo>
                  <a:pt x="245" y="345"/>
                  <a:pt x="245" y="345"/>
                  <a:pt x="245" y="344"/>
                </a:cubicBezTo>
                <a:cubicBezTo>
                  <a:pt x="245" y="344"/>
                  <a:pt x="245" y="344"/>
                  <a:pt x="245" y="344"/>
                </a:cubicBezTo>
                <a:cubicBezTo>
                  <a:pt x="245" y="344"/>
                  <a:pt x="245" y="343"/>
                  <a:pt x="245" y="343"/>
                </a:cubicBezTo>
                <a:cubicBezTo>
                  <a:pt x="245" y="343"/>
                  <a:pt x="245" y="343"/>
                  <a:pt x="244" y="343"/>
                </a:cubicBezTo>
                <a:cubicBezTo>
                  <a:pt x="244" y="343"/>
                  <a:pt x="244" y="342"/>
                  <a:pt x="244" y="342"/>
                </a:cubicBezTo>
                <a:cubicBezTo>
                  <a:pt x="164" y="262"/>
                  <a:pt x="164" y="262"/>
                  <a:pt x="164" y="262"/>
                </a:cubicBezTo>
                <a:cubicBezTo>
                  <a:pt x="161" y="260"/>
                  <a:pt x="157" y="260"/>
                  <a:pt x="154" y="262"/>
                </a:cubicBezTo>
                <a:cubicBezTo>
                  <a:pt x="151" y="265"/>
                  <a:pt x="151" y="269"/>
                  <a:pt x="154" y="272"/>
                </a:cubicBezTo>
                <a:cubicBezTo>
                  <a:pt x="222" y="340"/>
                  <a:pt x="222" y="340"/>
                  <a:pt x="222" y="340"/>
                </a:cubicBezTo>
                <a:cubicBezTo>
                  <a:pt x="7" y="340"/>
                  <a:pt x="7" y="340"/>
                  <a:pt x="7" y="340"/>
                </a:cubicBezTo>
                <a:cubicBezTo>
                  <a:pt x="3" y="340"/>
                  <a:pt x="0" y="343"/>
                  <a:pt x="0" y="347"/>
                </a:cubicBezTo>
                <a:cubicBezTo>
                  <a:pt x="0" y="351"/>
                  <a:pt x="3" y="354"/>
                  <a:pt x="7" y="354"/>
                </a:cubicBezTo>
                <a:cubicBezTo>
                  <a:pt x="222" y="354"/>
                  <a:pt x="222" y="354"/>
                  <a:pt x="222" y="354"/>
                </a:cubicBezTo>
                <a:cubicBezTo>
                  <a:pt x="154" y="421"/>
                  <a:pt x="154" y="421"/>
                  <a:pt x="154" y="421"/>
                </a:cubicBezTo>
                <a:cubicBezTo>
                  <a:pt x="151" y="424"/>
                  <a:pt x="151" y="429"/>
                  <a:pt x="154" y="431"/>
                </a:cubicBezTo>
                <a:cubicBezTo>
                  <a:pt x="156" y="433"/>
                  <a:pt x="157" y="433"/>
                  <a:pt x="159" y="433"/>
                </a:cubicBezTo>
                <a:cubicBezTo>
                  <a:pt x="161" y="433"/>
                  <a:pt x="163" y="433"/>
                  <a:pt x="164" y="431"/>
                </a:cubicBezTo>
                <a:cubicBezTo>
                  <a:pt x="244" y="352"/>
                  <a:pt x="244" y="352"/>
                  <a:pt x="244" y="352"/>
                </a:cubicBezTo>
                <a:cubicBezTo>
                  <a:pt x="244" y="351"/>
                  <a:pt x="244" y="351"/>
                  <a:pt x="244" y="351"/>
                </a:cubicBezTo>
                <a:cubicBezTo>
                  <a:pt x="245" y="351"/>
                  <a:pt x="245" y="351"/>
                  <a:pt x="245" y="350"/>
                </a:cubicBezTo>
                <a:cubicBezTo>
                  <a:pt x="245" y="350"/>
                  <a:pt x="245" y="350"/>
                  <a:pt x="245" y="349"/>
                </a:cubicBezTo>
                <a:close/>
                <a:moveTo>
                  <a:pt x="346" y="371"/>
                </a:moveTo>
                <a:cubicBezTo>
                  <a:pt x="333" y="371"/>
                  <a:pt x="322" y="360"/>
                  <a:pt x="322" y="347"/>
                </a:cubicBezTo>
                <a:cubicBezTo>
                  <a:pt x="322" y="333"/>
                  <a:pt x="333" y="323"/>
                  <a:pt x="346" y="323"/>
                </a:cubicBezTo>
                <a:cubicBezTo>
                  <a:pt x="359" y="323"/>
                  <a:pt x="370" y="333"/>
                  <a:pt x="370" y="347"/>
                </a:cubicBezTo>
                <a:cubicBezTo>
                  <a:pt x="370" y="360"/>
                  <a:pt x="359" y="371"/>
                  <a:pt x="346" y="371"/>
                </a:cubicBezTo>
                <a:close/>
                <a:moveTo>
                  <a:pt x="346" y="357"/>
                </a:moveTo>
                <a:cubicBezTo>
                  <a:pt x="352" y="357"/>
                  <a:pt x="356" y="352"/>
                  <a:pt x="356" y="347"/>
                </a:cubicBezTo>
                <a:cubicBezTo>
                  <a:pt x="356" y="341"/>
                  <a:pt x="352" y="337"/>
                  <a:pt x="346" y="337"/>
                </a:cubicBezTo>
                <a:cubicBezTo>
                  <a:pt x="341" y="337"/>
                  <a:pt x="336" y="341"/>
                  <a:pt x="336" y="347"/>
                </a:cubicBezTo>
                <a:cubicBezTo>
                  <a:pt x="336" y="352"/>
                  <a:pt x="341" y="357"/>
                  <a:pt x="346" y="357"/>
                </a:cubicBez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21" name="Oval 22"/>
          <p:cNvSpPr>
            <a:spLocks noChangeArrowheads="1"/>
          </p:cNvSpPr>
          <p:nvPr/>
        </p:nvSpPr>
        <p:spPr bwMode="auto">
          <a:xfrm>
            <a:off x="3073678" y="1528549"/>
            <a:ext cx="1119124" cy="1119124"/>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9297" name="Freeform 110"/>
          <p:cNvSpPr>
            <a:spLocks noEditPoints="1"/>
          </p:cNvSpPr>
          <p:nvPr/>
        </p:nvSpPr>
        <p:spPr bwMode="auto">
          <a:xfrm>
            <a:off x="3268819" y="1723691"/>
            <a:ext cx="728841" cy="728841"/>
          </a:xfrm>
          <a:custGeom>
            <a:avLst/>
            <a:gdLst>
              <a:gd name="T0" fmla="*/ 431 w 693"/>
              <a:gd name="T1" fmla="*/ 92 h 693"/>
              <a:gd name="T2" fmla="*/ 353 w 693"/>
              <a:gd name="T3" fmla="*/ 24 h 693"/>
              <a:gd name="T4" fmla="*/ 346 w 693"/>
              <a:gd name="T5" fmla="*/ 246 h 693"/>
              <a:gd name="T6" fmla="*/ 339 w 693"/>
              <a:gd name="T7" fmla="*/ 24 h 693"/>
              <a:gd name="T8" fmla="*/ 267 w 693"/>
              <a:gd name="T9" fmla="*/ 94 h 693"/>
              <a:gd name="T10" fmla="*/ 262 w 693"/>
              <a:gd name="T11" fmla="*/ 82 h 693"/>
              <a:gd name="T12" fmla="*/ 343 w 693"/>
              <a:gd name="T13" fmla="*/ 2 h 693"/>
              <a:gd name="T14" fmla="*/ 344 w 693"/>
              <a:gd name="T15" fmla="*/ 1 h 693"/>
              <a:gd name="T16" fmla="*/ 345 w 693"/>
              <a:gd name="T17" fmla="*/ 1 h 693"/>
              <a:gd name="T18" fmla="*/ 348 w 693"/>
              <a:gd name="T19" fmla="*/ 1 h 693"/>
              <a:gd name="T20" fmla="*/ 349 w 693"/>
              <a:gd name="T21" fmla="*/ 1 h 693"/>
              <a:gd name="T22" fmla="*/ 350 w 693"/>
              <a:gd name="T23" fmla="*/ 2 h 693"/>
              <a:gd name="T24" fmla="*/ 431 w 693"/>
              <a:gd name="T25" fmla="*/ 82 h 693"/>
              <a:gd name="T26" fmla="*/ 353 w 693"/>
              <a:gd name="T27" fmla="*/ 669 h 693"/>
              <a:gd name="T28" fmla="*/ 346 w 693"/>
              <a:gd name="T29" fmla="*/ 447 h 693"/>
              <a:gd name="T30" fmla="*/ 339 w 693"/>
              <a:gd name="T31" fmla="*/ 669 h 693"/>
              <a:gd name="T32" fmla="*/ 262 w 693"/>
              <a:gd name="T33" fmla="*/ 602 h 693"/>
              <a:gd name="T34" fmla="*/ 342 w 693"/>
              <a:gd name="T35" fmla="*/ 691 h 693"/>
              <a:gd name="T36" fmla="*/ 343 w 693"/>
              <a:gd name="T37" fmla="*/ 692 h 693"/>
              <a:gd name="T38" fmla="*/ 344 w 693"/>
              <a:gd name="T39" fmla="*/ 693 h 693"/>
              <a:gd name="T40" fmla="*/ 346 w 693"/>
              <a:gd name="T41" fmla="*/ 693 h 693"/>
              <a:gd name="T42" fmla="*/ 349 w 693"/>
              <a:gd name="T43" fmla="*/ 693 h 693"/>
              <a:gd name="T44" fmla="*/ 350 w 693"/>
              <a:gd name="T45" fmla="*/ 692 h 693"/>
              <a:gd name="T46" fmla="*/ 351 w 693"/>
              <a:gd name="T47" fmla="*/ 691 h 693"/>
              <a:gd name="T48" fmla="*/ 431 w 693"/>
              <a:gd name="T49" fmla="*/ 602 h 693"/>
              <a:gd name="T50" fmla="*/ 692 w 693"/>
              <a:gd name="T51" fmla="*/ 351 h 693"/>
              <a:gd name="T52" fmla="*/ 692 w 693"/>
              <a:gd name="T53" fmla="*/ 349 h 693"/>
              <a:gd name="T54" fmla="*/ 693 w 693"/>
              <a:gd name="T55" fmla="*/ 348 h 693"/>
              <a:gd name="T56" fmla="*/ 693 w 693"/>
              <a:gd name="T57" fmla="*/ 345 h 693"/>
              <a:gd name="T58" fmla="*/ 692 w 693"/>
              <a:gd name="T59" fmla="*/ 344 h 693"/>
              <a:gd name="T60" fmla="*/ 692 w 693"/>
              <a:gd name="T61" fmla="*/ 343 h 693"/>
              <a:gd name="T62" fmla="*/ 611 w 693"/>
              <a:gd name="T63" fmla="*/ 262 h 693"/>
              <a:gd name="T64" fmla="*/ 601 w 693"/>
              <a:gd name="T65" fmla="*/ 272 h 693"/>
              <a:gd name="T66" fmla="*/ 454 w 693"/>
              <a:gd name="T67" fmla="*/ 340 h 693"/>
              <a:gd name="T68" fmla="*/ 454 w 693"/>
              <a:gd name="T69" fmla="*/ 354 h 693"/>
              <a:gd name="T70" fmla="*/ 601 w 693"/>
              <a:gd name="T71" fmla="*/ 421 h 693"/>
              <a:gd name="T72" fmla="*/ 606 w 693"/>
              <a:gd name="T73" fmla="*/ 433 h 693"/>
              <a:gd name="T74" fmla="*/ 691 w 693"/>
              <a:gd name="T75" fmla="*/ 352 h 693"/>
              <a:gd name="T76" fmla="*/ 239 w 693"/>
              <a:gd name="T77" fmla="*/ 340 h 693"/>
              <a:gd name="T78" fmla="*/ 92 w 693"/>
              <a:gd name="T79" fmla="*/ 272 h 693"/>
              <a:gd name="T80" fmla="*/ 82 w 693"/>
              <a:gd name="T81" fmla="*/ 262 h 693"/>
              <a:gd name="T82" fmla="*/ 1 w 693"/>
              <a:gd name="T83" fmla="*/ 343 h 693"/>
              <a:gd name="T84" fmla="*/ 1 w 693"/>
              <a:gd name="T85" fmla="*/ 344 h 693"/>
              <a:gd name="T86" fmla="*/ 0 w 693"/>
              <a:gd name="T87" fmla="*/ 345 h 693"/>
              <a:gd name="T88" fmla="*/ 0 w 693"/>
              <a:gd name="T89" fmla="*/ 349 h 693"/>
              <a:gd name="T90" fmla="*/ 1 w 693"/>
              <a:gd name="T91" fmla="*/ 350 h 693"/>
              <a:gd name="T92" fmla="*/ 2 w 693"/>
              <a:gd name="T93" fmla="*/ 352 h 693"/>
              <a:gd name="T94" fmla="*/ 87 w 693"/>
              <a:gd name="T95" fmla="*/ 433 h 693"/>
              <a:gd name="T96" fmla="*/ 92 w 693"/>
              <a:gd name="T97" fmla="*/ 421 h 693"/>
              <a:gd name="T98" fmla="*/ 239 w 693"/>
              <a:gd name="T99" fmla="*/ 354 h 693"/>
              <a:gd name="T100" fmla="*/ 239 w 693"/>
              <a:gd name="T101" fmla="*/ 340 h 693"/>
              <a:gd name="T102" fmla="*/ 322 w 693"/>
              <a:gd name="T103" fmla="*/ 347 h 693"/>
              <a:gd name="T104" fmla="*/ 371 w 693"/>
              <a:gd name="T105" fmla="*/ 347 h 693"/>
              <a:gd name="T106" fmla="*/ 346 w 693"/>
              <a:gd name="T107" fmla="*/ 357 h 693"/>
              <a:gd name="T108" fmla="*/ 346 w 693"/>
              <a:gd name="T109" fmla="*/ 337 h 693"/>
              <a:gd name="T110" fmla="*/ 346 w 693"/>
              <a:gd name="T111" fmla="*/ 357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93" h="693">
                <a:moveTo>
                  <a:pt x="431" y="82"/>
                </a:moveTo>
                <a:cubicBezTo>
                  <a:pt x="434" y="85"/>
                  <a:pt x="434" y="89"/>
                  <a:pt x="431" y="92"/>
                </a:cubicBezTo>
                <a:cubicBezTo>
                  <a:pt x="428" y="95"/>
                  <a:pt x="424" y="95"/>
                  <a:pt x="421" y="92"/>
                </a:cubicBezTo>
                <a:cubicBezTo>
                  <a:pt x="353" y="24"/>
                  <a:pt x="353" y="24"/>
                  <a:pt x="353" y="24"/>
                </a:cubicBezTo>
                <a:cubicBezTo>
                  <a:pt x="353" y="239"/>
                  <a:pt x="353" y="239"/>
                  <a:pt x="353" y="239"/>
                </a:cubicBezTo>
                <a:cubicBezTo>
                  <a:pt x="353" y="243"/>
                  <a:pt x="350" y="246"/>
                  <a:pt x="346" y="246"/>
                </a:cubicBezTo>
                <a:cubicBezTo>
                  <a:pt x="343" y="246"/>
                  <a:pt x="339" y="243"/>
                  <a:pt x="339" y="239"/>
                </a:cubicBezTo>
                <a:cubicBezTo>
                  <a:pt x="339" y="24"/>
                  <a:pt x="339" y="24"/>
                  <a:pt x="339" y="24"/>
                </a:cubicBezTo>
                <a:cubicBezTo>
                  <a:pt x="272" y="92"/>
                  <a:pt x="272" y="92"/>
                  <a:pt x="272" y="92"/>
                </a:cubicBezTo>
                <a:cubicBezTo>
                  <a:pt x="271" y="93"/>
                  <a:pt x="269" y="94"/>
                  <a:pt x="267" y="94"/>
                </a:cubicBezTo>
                <a:cubicBezTo>
                  <a:pt x="265" y="94"/>
                  <a:pt x="263" y="93"/>
                  <a:pt x="262" y="92"/>
                </a:cubicBezTo>
                <a:cubicBezTo>
                  <a:pt x="259" y="89"/>
                  <a:pt x="259" y="85"/>
                  <a:pt x="262" y="82"/>
                </a:cubicBezTo>
                <a:cubicBezTo>
                  <a:pt x="342" y="3"/>
                  <a:pt x="342" y="3"/>
                  <a:pt x="342" y="3"/>
                </a:cubicBezTo>
                <a:cubicBezTo>
                  <a:pt x="342" y="2"/>
                  <a:pt x="342" y="2"/>
                  <a:pt x="343" y="2"/>
                </a:cubicBezTo>
                <a:cubicBezTo>
                  <a:pt x="343" y="2"/>
                  <a:pt x="343" y="2"/>
                  <a:pt x="343" y="2"/>
                </a:cubicBezTo>
                <a:cubicBezTo>
                  <a:pt x="343" y="1"/>
                  <a:pt x="343" y="1"/>
                  <a:pt x="344" y="1"/>
                </a:cubicBezTo>
                <a:cubicBezTo>
                  <a:pt x="344" y="1"/>
                  <a:pt x="344" y="1"/>
                  <a:pt x="344" y="1"/>
                </a:cubicBezTo>
                <a:cubicBezTo>
                  <a:pt x="344" y="1"/>
                  <a:pt x="345" y="1"/>
                  <a:pt x="345" y="1"/>
                </a:cubicBezTo>
                <a:cubicBezTo>
                  <a:pt x="346" y="1"/>
                  <a:pt x="346" y="0"/>
                  <a:pt x="346" y="0"/>
                </a:cubicBezTo>
                <a:cubicBezTo>
                  <a:pt x="347" y="0"/>
                  <a:pt x="347" y="1"/>
                  <a:pt x="348" y="1"/>
                </a:cubicBezTo>
                <a:cubicBezTo>
                  <a:pt x="348" y="1"/>
                  <a:pt x="348" y="1"/>
                  <a:pt x="349" y="1"/>
                </a:cubicBezTo>
                <a:cubicBezTo>
                  <a:pt x="349" y="1"/>
                  <a:pt x="349" y="1"/>
                  <a:pt x="349" y="1"/>
                </a:cubicBezTo>
                <a:cubicBezTo>
                  <a:pt x="350" y="1"/>
                  <a:pt x="350" y="1"/>
                  <a:pt x="350" y="2"/>
                </a:cubicBezTo>
                <a:cubicBezTo>
                  <a:pt x="350" y="2"/>
                  <a:pt x="350" y="2"/>
                  <a:pt x="350" y="2"/>
                </a:cubicBezTo>
                <a:cubicBezTo>
                  <a:pt x="351" y="2"/>
                  <a:pt x="351" y="2"/>
                  <a:pt x="351" y="3"/>
                </a:cubicBezTo>
                <a:lnTo>
                  <a:pt x="431" y="82"/>
                </a:lnTo>
                <a:close/>
                <a:moveTo>
                  <a:pt x="421" y="602"/>
                </a:moveTo>
                <a:cubicBezTo>
                  <a:pt x="353" y="669"/>
                  <a:pt x="353" y="669"/>
                  <a:pt x="353" y="669"/>
                </a:cubicBezTo>
                <a:cubicBezTo>
                  <a:pt x="353" y="454"/>
                  <a:pt x="353" y="454"/>
                  <a:pt x="353" y="454"/>
                </a:cubicBezTo>
                <a:cubicBezTo>
                  <a:pt x="353" y="450"/>
                  <a:pt x="350" y="447"/>
                  <a:pt x="346" y="447"/>
                </a:cubicBezTo>
                <a:cubicBezTo>
                  <a:pt x="343" y="447"/>
                  <a:pt x="339" y="450"/>
                  <a:pt x="339" y="454"/>
                </a:cubicBezTo>
                <a:cubicBezTo>
                  <a:pt x="339" y="669"/>
                  <a:pt x="339" y="669"/>
                  <a:pt x="339" y="669"/>
                </a:cubicBezTo>
                <a:cubicBezTo>
                  <a:pt x="272" y="602"/>
                  <a:pt x="272" y="602"/>
                  <a:pt x="272" y="602"/>
                </a:cubicBezTo>
                <a:cubicBezTo>
                  <a:pt x="269" y="599"/>
                  <a:pt x="265" y="599"/>
                  <a:pt x="262" y="602"/>
                </a:cubicBezTo>
                <a:cubicBezTo>
                  <a:pt x="259" y="604"/>
                  <a:pt x="259" y="609"/>
                  <a:pt x="262" y="612"/>
                </a:cubicBezTo>
                <a:cubicBezTo>
                  <a:pt x="342" y="691"/>
                  <a:pt x="342" y="691"/>
                  <a:pt x="342" y="691"/>
                </a:cubicBezTo>
                <a:cubicBezTo>
                  <a:pt x="342" y="691"/>
                  <a:pt x="342" y="692"/>
                  <a:pt x="343" y="692"/>
                </a:cubicBezTo>
                <a:cubicBezTo>
                  <a:pt x="343" y="692"/>
                  <a:pt x="343" y="692"/>
                  <a:pt x="343" y="692"/>
                </a:cubicBezTo>
                <a:cubicBezTo>
                  <a:pt x="343" y="692"/>
                  <a:pt x="343" y="692"/>
                  <a:pt x="344" y="693"/>
                </a:cubicBezTo>
                <a:cubicBezTo>
                  <a:pt x="344" y="693"/>
                  <a:pt x="344" y="693"/>
                  <a:pt x="344" y="693"/>
                </a:cubicBezTo>
                <a:cubicBezTo>
                  <a:pt x="344" y="693"/>
                  <a:pt x="345" y="693"/>
                  <a:pt x="345" y="693"/>
                </a:cubicBezTo>
                <a:cubicBezTo>
                  <a:pt x="346" y="693"/>
                  <a:pt x="346" y="693"/>
                  <a:pt x="346" y="693"/>
                </a:cubicBezTo>
                <a:cubicBezTo>
                  <a:pt x="347" y="693"/>
                  <a:pt x="347" y="693"/>
                  <a:pt x="348" y="693"/>
                </a:cubicBezTo>
                <a:cubicBezTo>
                  <a:pt x="348" y="693"/>
                  <a:pt x="348" y="693"/>
                  <a:pt x="349" y="693"/>
                </a:cubicBezTo>
                <a:cubicBezTo>
                  <a:pt x="349" y="693"/>
                  <a:pt x="349" y="693"/>
                  <a:pt x="349" y="693"/>
                </a:cubicBezTo>
                <a:cubicBezTo>
                  <a:pt x="350" y="692"/>
                  <a:pt x="350" y="692"/>
                  <a:pt x="350" y="692"/>
                </a:cubicBezTo>
                <a:cubicBezTo>
                  <a:pt x="350" y="692"/>
                  <a:pt x="350" y="692"/>
                  <a:pt x="350" y="692"/>
                </a:cubicBezTo>
                <a:cubicBezTo>
                  <a:pt x="351" y="692"/>
                  <a:pt x="351" y="691"/>
                  <a:pt x="351" y="691"/>
                </a:cubicBezTo>
                <a:cubicBezTo>
                  <a:pt x="431" y="612"/>
                  <a:pt x="431" y="612"/>
                  <a:pt x="431" y="612"/>
                </a:cubicBezTo>
                <a:cubicBezTo>
                  <a:pt x="434" y="609"/>
                  <a:pt x="434" y="604"/>
                  <a:pt x="431" y="602"/>
                </a:cubicBezTo>
                <a:cubicBezTo>
                  <a:pt x="428" y="599"/>
                  <a:pt x="424" y="599"/>
                  <a:pt x="421" y="602"/>
                </a:cubicBezTo>
                <a:close/>
                <a:moveTo>
                  <a:pt x="692" y="351"/>
                </a:moveTo>
                <a:cubicBezTo>
                  <a:pt x="692" y="351"/>
                  <a:pt x="692" y="351"/>
                  <a:pt x="692" y="351"/>
                </a:cubicBezTo>
                <a:cubicBezTo>
                  <a:pt x="692" y="350"/>
                  <a:pt x="692" y="350"/>
                  <a:pt x="692" y="349"/>
                </a:cubicBezTo>
                <a:cubicBezTo>
                  <a:pt x="692" y="349"/>
                  <a:pt x="692" y="349"/>
                  <a:pt x="692" y="349"/>
                </a:cubicBezTo>
                <a:cubicBezTo>
                  <a:pt x="692" y="349"/>
                  <a:pt x="693" y="349"/>
                  <a:pt x="693" y="348"/>
                </a:cubicBezTo>
                <a:cubicBezTo>
                  <a:pt x="693" y="348"/>
                  <a:pt x="693" y="347"/>
                  <a:pt x="693" y="347"/>
                </a:cubicBezTo>
                <a:cubicBezTo>
                  <a:pt x="693" y="346"/>
                  <a:pt x="693" y="346"/>
                  <a:pt x="693" y="345"/>
                </a:cubicBezTo>
                <a:cubicBezTo>
                  <a:pt x="693" y="345"/>
                  <a:pt x="692" y="345"/>
                  <a:pt x="692" y="344"/>
                </a:cubicBezTo>
                <a:cubicBezTo>
                  <a:pt x="692" y="344"/>
                  <a:pt x="692" y="344"/>
                  <a:pt x="692" y="344"/>
                </a:cubicBezTo>
                <a:cubicBezTo>
                  <a:pt x="692" y="344"/>
                  <a:pt x="692" y="343"/>
                  <a:pt x="692" y="343"/>
                </a:cubicBezTo>
                <a:cubicBezTo>
                  <a:pt x="692" y="343"/>
                  <a:pt x="692" y="343"/>
                  <a:pt x="692" y="343"/>
                </a:cubicBezTo>
                <a:cubicBezTo>
                  <a:pt x="691" y="343"/>
                  <a:pt x="691" y="342"/>
                  <a:pt x="691" y="342"/>
                </a:cubicBezTo>
                <a:cubicBezTo>
                  <a:pt x="611" y="262"/>
                  <a:pt x="611" y="262"/>
                  <a:pt x="611" y="262"/>
                </a:cubicBezTo>
                <a:cubicBezTo>
                  <a:pt x="608" y="260"/>
                  <a:pt x="604" y="260"/>
                  <a:pt x="601" y="262"/>
                </a:cubicBezTo>
                <a:cubicBezTo>
                  <a:pt x="599" y="265"/>
                  <a:pt x="599" y="269"/>
                  <a:pt x="601" y="272"/>
                </a:cubicBezTo>
                <a:cubicBezTo>
                  <a:pt x="669" y="340"/>
                  <a:pt x="669" y="340"/>
                  <a:pt x="669" y="340"/>
                </a:cubicBezTo>
                <a:cubicBezTo>
                  <a:pt x="454" y="340"/>
                  <a:pt x="454" y="340"/>
                  <a:pt x="454" y="340"/>
                </a:cubicBezTo>
                <a:cubicBezTo>
                  <a:pt x="450" y="340"/>
                  <a:pt x="447" y="343"/>
                  <a:pt x="447" y="347"/>
                </a:cubicBezTo>
                <a:cubicBezTo>
                  <a:pt x="447" y="351"/>
                  <a:pt x="450" y="354"/>
                  <a:pt x="454" y="354"/>
                </a:cubicBezTo>
                <a:cubicBezTo>
                  <a:pt x="669" y="354"/>
                  <a:pt x="669" y="354"/>
                  <a:pt x="669" y="354"/>
                </a:cubicBezTo>
                <a:cubicBezTo>
                  <a:pt x="601" y="421"/>
                  <a:pt x="601" y="421"/>
                  <a:pt x="601" y="421"/>
                </a:cubicBezTo>
                <a:cubicBezTo>
                  <a:pt x="599" y="424"/>
                  <a:pt x="599" y="429"/>
                  <a:pt x="601" y="431"/>
                </a:cubicBezTo>
                <a:cubicBezTo>
                  <a:pt x="603" y="433"/>
                  <a:pt x="604" y="433"/>
                  <a:pt x="606" y="433"/>
                </a:cubicBezTo>
                <a:cubicBezTo>
                  <a:pt x="608" y="433"/>
                  <a:pt x="610" y="433"/>
                  <a:pt x="611" y="431"/>
                </a:cubicBezTo>
                <a:cubicBezTo>
                  <a:pt x="691" y="352"/>
                  <a:pt x="691" y="352"/>
                  <a:pt x="691" y="352"/>
                </a:cubicBezTo>
                <a:cubicBezTo>
                  <a:pt x="691" y="351"/>
                  <a:pt x="691" y="351"/>
                  <a:pt x="692" y="351"/>
                </a:cubicBezTo>
                <a:close/>
                <a:moveTo>
                  <a:pt x="239" y="340"/>
                </a:moveTo>
                <a:cubicBezTo>
                  <a:pt x="24" y="340"/>
                  <a:pt x="24" y="340"/>
                  <a:pt x="24" y="340"/>
                </a:cubicBezTo>
                <a:cubicBezTo>
                  <a:pt x="92" y="272"/>
                  <a:pt x="92" y="272"/>
                  <a:pt x="92" y="272"/>
                </a:cubicBezTo>
                <a:cubicBezTo>
                  <a:pt x="94" y="269"/>
                  <a:pt x="94" y="265"/>
                  <a:pt x="92" y="262"/>
                </a:cubicBezTo>
                <a:cubicBezTo>
                  <a:pt x="89" y="260"/>
                  <a:pt x="84" y="260"/>
                  <a:pt x="82" y="262"/>
                </a:cubicBezTo>
                <a:cubicBezTo>
                  <a:pt x="2" y="342"/>
                  <a:pt x="2" y="342"/>
                  <a:pt x="2" y="342"/>
                </a:cubicBezTo>
                <a:cubicBezTo>
                  <a:pt x="2" y="342"/>
                  <a:pt x="2" y="343"/>
                  <a:pt x="1" y="343"/>
                </a:cubicBezTo>
                <a:cubicBezTo>
                  <a:pt x="1" y="343"/>
                  <a:pt x="1" y="343"/>
                  <a:pt x="1" y="343"/>
                </a:cubicBezTo>
                <a:cubicBezTo>
                  <a:pt x="1" y="344"/>
                  <a:pt x="1" y="344"/>
                  <a:pt x="1" y="344"/>
                </a:cubicBezTo>
                <a:cubicBezTo>
                  <a:pt x="1" y="344"/>
                  <a:pt x="1" y="345"/>
                  <a:pt x="0" y="345"/>
                </a:cubicBezTo>
                <a:cubicBezTo>
                  <a:pt x="0" y="345"/>
                  <a:pt x="0" y="345"/>
                  <a:pt x="0" y="345"/>
                </a:cubicBezTo>
                <a:cubicBezTo>
                  <a:pt x="0" y="346"/>
                  <a:pt x="0" y="347"/>
                  <a:pt x="0" y="348"/>
                </a:cubicBezTo>
                <a:cubicBezTo>
                  <a:pt x="0" y="348"/>
                  <a:pt x="0" y="349"/>
                  <a:pt x="0" y="349"/>
                </a:cubicBezTo>
                <a:cubicBezTo>
                  <a:pt x="1" y="349"/>
                  <a:pt x="1" y="349"/>
                  <a:pt x="1" y="349"/>
                </a:cubicBezTo>
                <a:cubicBezTo>
                  <a:pt x="1" y="350"/>
                  <a:pt x="1" y="350"/>
                  <a:pt x="1" y="350"/>
                </a:cubicBezTo>
                <a:cubicBezTo>
                  <a:pt x="1" y="350"/>
                  <a:pt x="1" y="351"/>
                  <a:pt x="1" y="351"/>
                </a:cubicBezTo>
                <a:cubicBezTo>
                  <a:pt x="2" y="351"/>
                  <a:pt x="2" y="351"/>
                  <a:pt x="2" y="352"/>
                </a:cubicBezTo>
                <a:cubicBezTo>
                  <a:pt x="82" y="431"/>
                  <a:pt x="82" y="431"/>
                  <a:pt x="82" y="431"/>
                </a:cubicBezTo>
                <a:cubicBezTo>
                  <a:pt x="83" y="433"/>
                  <a:pt x="85" y="433"/>
                  <a:pt x="87" y="433"/>
                </a:cubicBezTo>
                <a:cubicBezTo>
                  <a:pt x="88" y="433"/>
                  <a:pt x="90" y="433"/>
                  <a:pt x="92" y="431"/>
                </a:cubicBezTo>
                <a:cubicBezTo>
                  <a:pt x="94" y="429"/>
                  <a:pt x="94" y="424"/>
                  <a:pt x="92" y="421"/>
                </a:cubicBezTo>
                <a:cubicBezTo>
                  <a:pt x="24" y="354"/>
                  <a:pt x="24" y="354"/>
                  <a:pt x="24" y="354"/>
                </a:cubicBezTo>
                <a:cubicBezTo>
                  <a:pt x="239" y="354"/>
                  <a:pt x="239" y="354"/>
                  <a:pt x="239" y="354"/>
                </a:cubicBezTo>
                <a:cubicBezTo>
                  <a:pt x="243" y="354"/>
                  <a:pt x="246" y="351"/>
                  <a:pt x="246" y="347"/>
                </a:cubicBezTo>
                <a:cubicBezTo>
                  <a:pt x="246" y="343"/>
                  <a:pt x="243" y="340"/>
                  <a:pt x="239" y="340"/>
                </a:cubicBezTo>
                <a:close/>
                <a:moveTo>
                  <a:pt x="346" y="371"/>
                </a:moveTo>
                <a:cubicBezTo>
                  <a:pt x="333" y="371"/>
                  <a:pt x="322" y="360"/>
                  <a:pt x="322" y="347"/>
                </a:cubicBezTo>
                <a:cubicBezTo>
                  <a:pt x="322" y="333"/>
                  <a:pt x="333" y="323"/>
                  <a:pt x="346" y="323"/>
                </a:cubicBezTo>
                <a:cubicBezTo>
                  <a:pt x="360" y="323"/>
                  <a:pt x="371" y="333"/>
                  <a:pt x="371" y="347"/>
                </a:cubicBezTo>
                <a:cubicBezTo>
                  <a:pt x="371" y="360"/>
                  <a:pt x="360" y="371"/>
                  <a:pt x="346" y="371"/>
                </a:cubicBezTo>
                <a:close/>
                <a:moveTo>
                  <a:pt x="346" y="357"/>
                </a:moveTo>
                <a:cubicBezTo>
                  <a:pt x="352" y="357"/>
                  <a:pt x="357" y="352"/>
                  <a:pt x="357" y="347"/>
                </a:cubicBezTo>
                <a:cubicBezTo>
                  <a:pt x="357" y="341"/>
                  <a:pt x="352" y="337"/>
                  <a:pt x="346" y="337"/>
                </a:cubicBezTo>
                <a:cubicBezTo>
                  <a:pt x="341" y="337"/>
                  <a:pt x="336" y="341"/>
                  <a:pt x="336" y="347"/>
                </a:cubicBezTo>
                <a:cubicBezTo>
                  <a:pt x="336" y="352"/>
                  <a:pt x="341" y="357"/>
                  <a:pt x="346" y="357"/>
                </a:cubicBez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13" name="Oval 14"/>
          <p:cNvSpPr>
            <a:spLocks noChangeArrowheads="1"/>
          </p:cNvSpPr>
          <p:nvPr/>
        </p:nvSpPr>
        <p:spPr bwMode="auto">
          <a:xfrm>
            <a:off x="10105564" y="1528549"/>
            <a:ext cx="1119124" cy="1119124"/>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9300" name="Freeform 113"/>
          <p:cNvSpPr>
            <a:spLocks noEditPoints="1"/>
          </p:cNvSpPr>
          <p:nvPr/>
        </p:nvSpPr>
        <p:spPr bwMode="auto">
          <a:xfrm>
            <a:off x="10364185" y="1788345"/>
            <a:ext cx="612463" cy="598355"/>
          </a:xfrm>
          <a:custGeom>
            <a:avLst/>
            <a:gdLst>
              <a:gd name="T0" fmla="*/ 530 w 582"/>
              <a:gd name="T1" fmla="*/ 0 h 569"/>
              <a:gd name="T2" fmla="*/ 237 w 582"/>
              <a:gd name="T3" fmla="*/ 196 h 569"/>
              <a:gd name="T4" fmla="*/ 44 w 582"/>
              <a:gd name="T5" fmla="*/ 285 h 569"/>
              <a:gd name="T6" fmla="*/ 52 w 582"/>
              <a:gd name="T7" fmla="*/ 295 h 569"/>
              <a:gd name="T8" fmla="*/ 138 w 582"/>
              <a:gd name="T9" fmla="*/ 305 h 569"/>
              <a:gd name="T10" fmla="*/ 109 w 582"/>
              <a:gd name="T11" fmla="*/ 362 h 569"/>
              <a:gd name="T12" fmla="*/ 197 w 582"/>
              <a:gd name="T13" fmla="*/ 466 h 569"/>
              <a:gd name="T14" fmla="*/ 238 w 582"/>
              <a:gd name="T15" fmla="*/ 432 h 569"/>
              <a:gd name="T16" fmla="*/ 265 w 582"/>
              <a:gd name="T17" fmla="*/ 432 h 569"/>
              <a:gd name="T18" fmla="*/ 275 w 582"/>
              <a:gd name="T19" fmla="*/ 518 h 569"/>
              <a:gd name="T20" fmla="*/ 282 w 582"/>
              <a:gd name="T21" fmla="*/ 527 h 569"/>
              <a:gd name="T22" fmla="*/ 366 w 582"/>
              <a:gd name="T23" fmla="*/ 454 h 569"/>
              <a:gd name="T24" fmla="*/ 481 w 582"/>
              <a:gd name="T25" fmla="*/ 235 h 569"/>
              <a:gd name="T26" fmla="*/ 63 w 582"/>
              <a:gd name="T27" fmla="*/ 278 h 569"/>
              <a:gd name="T28" fmla="*/ 225 w 582"/>
              <a:gd name="T29" fmla="*/ 210 h 569"/>
              <a:gd name="T30" fmla="*/ 63 w 582"/>
              <a:gd name="T31" fmla="*/ 278 h 569"/>
              <a:gd name="T32" fmla="*/ 149 w 582"/>
              <a:gd name="T33" fmla="*/ 421 h 569"/>
              <a:gd name="T34" fmla="*/ 145 w 582"/>
              <a:gd name="T35" fmla="*/ 345 h 569"/>
              <a:gd name="T36" fmla="*/ 225 w 582"/>
              <a:gd name="T37" fmla="*/ 425 h 569"/>
              <a:gd name="T38" fmla="*/ 353 w 582"/>
              <a:gd name="T39" fmla="*/ 449 h 569"/>
              <a:gd name="T40" fmla="*/ 285 w 582"/>
              <a:gd name="T41" fmla="*/ 414 h 569"/>
              <a:gd name="T42" fmla="*/ 353 w 582"/>
              <a:gd name="T43" fmla="*/ 449 h 569"/>
              <a:gd name="T44" fmla="*/ 271 w 582"/>
              <a:gd name="T45" fmla="*/ 407 h 569"/>
              <a:gd name="T46" fmla="*/ 254 w 582"/>
              <a:gd name="T47" fmla="*/ 422 h 569"/>
              <a:gd name="T48" fmla="*/ 149 w 582"/>
              <a:gd name="T49" fmla="*/ 314 h 569"/>
              <a:gd name="T50" fmla="*/ 163 w 582"/>
              <a:gd name="T51" fmla="*/ 298 h 569"/>
              <a:gd name="T52" fmla="*/ 530 w 582"/>
              <a:gd name="T53" fmla="*/ 14 h 569"/>
              <a:gd name="T54" fmla="*/ 472 w 582"/>
              <a:gd name="T55" fmla="*/ 225 h 569"/>
              <a:gd name="T56" fmla="*/ 396 w 582"/>
              <a:gd name="T57" fmla="*/ 126 h 569"/>
              <a:gd name="T58" fmla="*/ 363 w 582"/>
              <a:gd name="T59" fmla="*/ 207 h 569"/>
              <a:gd name="T60" fmla="*/ 430 w 582"/>
              <a:gd name="T61" fmla="*/ 207 h 569"/>
              <a:gd name="T62" fmla="*/ 396 w 582"/>
              <a:gd name="T63" fmla="*/ 126 h 569"/>
              <a:gd name="T64" fmla="*/ 396 w 582"/>
              <a:gd name="T65" fmla="*/ 207 h 569"/>
              <a:gd name="T66" fmla="*/ 373 w 582"/>
              <a:gd name="T67" fmla="*/ 150 h 569"/>
              <a:gd name="T68" fmla="*/ 420 w 582"/>
              <a:gd name="T69" fmla="*/ 150 h 569"/>
              <a:gd name="T70" fmla="*/ 149 w 582"/>
              <a:gd name="T71" fmla="*/ 468 h 569"/>
              <a:gd name="T72" fmla="*/ 53 w 582"/>
              <a:gd name="T73" fmla="*/ 560 h 569"/>
              <a:gd name="T74" fmla="*/ 8 w 582"/>
              <a:gd name="T75" fmla="*/ 569 h 569"/>
              <a:gd name="T76" fmla="*/ 1 w 582"/>
              <a:gd name="T77" fmla="*/ 560 h 569"/>
              <a:gd name="T78" fmla="*/ 38 w 582"/>
              <a:gd name="T79" fmla="*/ 442 h 569"/>
              <a:gd name="T80" fmla="*/ 107 w 582"/>
              <a:gd name="T81" fmla="*/ 430 h 569"/>
              <a:gd name="T82" fmla="*/ 48 w 582"/>
              <a:gd name="T83" fmla="*/ 452 h 569"/>
              <a:gd name="T84" fmla="*/ 18 w 582"/>
              <a:gd name="T85" fmla="*/ 552 h 569"/>
              <a:gd name="T86" fmla="*/ 118 w 582"/>
              <a:gd name="T87" fmla="*/ 522 h 569"/>
              <a:gd name="T88" fmla="*/ 140 w 582"/>
              <a:gd name="T89" fmla="*/ 463 h 5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82" h="569">
                <a:moveTo>
                  <a:pt x="562" y="8"/>
                </a:moveTo>
                <a:cubicBezTo>
                  <a:pt x="556" y="3"/>
                  <a:pt x="546" y="0"/>
                  <a:pt x="530" y="0"/>
                </a:cubicBezTo>
                <a:cubicBezTo>
                  <a:pt x="493" y="0"/>
                  <a:pt x="405" y="19"/>
                  <a:pt x="335" y="89"/>
                </a:cubicBezTo>
                <a:cubicBezTo>
                  <a:pt x="237" y="196"/>
                  <a:pt x="237" y="196"/>
                  <a:pt x="237" y="196"/>
                </a:cubicBezTo>
                <a:cubicBezTo>
                  <a:pt x="221" y="195"/>
                  <a:pt x="153" y="191"/>
                  <a:pt x="117" y="205"/>
                </a:cubicBezTo>
                <a:cubicBezTo>
                  <a:pt x="74" y="220"/>
                  <a:pt x="45" y="283"/>
                  <a:pt x="44" y="285"/>
                </a:cubicBezTo>
                <a:cubicBezTo>
                  <a:pt x="42" y="288"/>
                  <a:pt x="43" y="291"/>
                  <a:pt x="45" y="293"/>
                </a:cubicBezTo>
                <a:cubicBezTo>
                  <a:pt x="46" y="295"/>
                  <a:pt x="49" y="296"/>
                  <a:pt x="52" y="295"/>
                </a:cubicBezTo>
                <a:cubicBezTo>
                  <a:pt x="90" y="283"/>
                  <a:pt x="128" y="292"/>
                  <a:pt x="145" y="297"/>
                </a:cubicBezTo>
                <a:cubicBezTo>
                  <a:pt x="138" y="305"/>
                  <a:pt x="138" y="305"/>
                  <a:pt x="138" y="305"/>
                </a:cubicBezTo>
                <a:cubicBezTo>
                  <a:pt x="133" y="311"/>
                  <a:pt x="134" y="321"/>
                  <a:pt x="138" y="332"/>
                </a:cubicBezTo>
                <a:cubicBezTo>
                  <a:pt x="109" y="362"/>
                  <a:pt x="109" y="362"/>
                  <a:pt x="109" y="362"/>
                </a:cubicBezTo>
                <a:cubicBezTo>
                  <a:pt x="96" y="376"/>
                  <a:pt x="115" y="407"/>
                  <a:pt x="139" y="431"/>
                </a:cubicBezTo>
                <a:cubicBezTo>
                  <a:pt x="158" y="449"/>
                  <a:pt x="181" y="466"/>
                  <a:pt x="197" y="466"/>
                </a:cubicBezTo>
                <a:cubicBezTo>
                  <a:pt x="201" y="466"/>
                  <a:pt x="205" y="464"/>
                  <a:pt x="208" y="461"/>
                </a:cubicBezTo>
                <a:cubicBezTo>
                  <a:pt x="238" y="432"/>
                  <a:pt x="238" y="432"/>
                  <a:pt x="238" y="432"/>
                </a:cubicBezTo>
                <a:cubicBezTo>
                  <a:pt x="244" y="434"/>
                  <a:pt x="250" y="436"/>
                  <a:pt x="254" y="436"/>
                </a:cubicBezTo>
                <a:cubicBezTo>
                  <a:pt x="260" y="436"/>
                  <a:pt x="263" y="433"/>
                  <a:pt x="265" y="432"/>
                </a:cubicBezTo>
                <a:cubicBezTo>
                  <a:pt x="274" y="424"/>
                  <a:pt x="274" y="424"/>
                  <a:pt x="274" y="424"/>
                </a:cubicBezTo>
                <a:cubicBezTo>
                  <a:pt x="279" y="442"/>
                  <a:pt x="287" y="480"/>
                  <a:pt x="275" y="518"/>
                </a:cubicBezTo>
                <a:cubicBezTo>
                  <a:pt x="275" y="521"/>
                  <a:pt x="275" y="524"/>
                  <a:pt x="277" y="526"/>
                </a:cubicBezTo>
                <a:cubicBezTo>
                  <a:pt x="279" y="527"/>
                  <a:pt x="280" y="527"/>
                  <a:pt x="282" y="527"/>
                </a:cubicBezTo>
                <a:cubicBezTo>
                  <a:pt x="283" y="527"/>
                  <a:pt x="284" y="527"/>
                  <a:pt x="285" y="527"/>
                </a:cubicBezTo>
                <a:cubicBezTo>
                  <a:pt x="288" y="526"/>
                  <a:pt x="350" y="496"/>
                  <a:pt x="366" y="454"/>
                </a:cubicBezTo>
                <a:cubicBezTo>
                  <a:pt x="379" y="417"/>
                  <a:pt x="375" y="349"/>
                  <a:pt x="374" y="333"/>
                </a:cubicBezTo>
                <a:cubicBezTo>
                  <a:pt x="481" y="235"/>
                  <a:pt x="481" y="235"/>
                  <a:pt x="481" y="235"/>
                </a:cubicBezTo>
                <a:cubicBezTo>
                  <a:pt x="565" y="151"/>
                  <a:pt x="582" y="28"/>
                  <a:pt x="562" y="8"/>
                </a:cubicBezTo>
                <a:close/>
                <a:moveTo>
                  <a:pt x="63" y="278"/>
                </a:moveTo>
                <a:cubicBezTo>
                  <a:pt x="74" y="259"/>
                  <a:pt x="95" y="227"/>
                  <a:pt x="121" y="218"/>
                </a:cubicBezTo>
                <a:cubicBezTo>
                  <a:pt x="150" y="207"/>
                  <a:pt x="200" y="208"/>
                  <a:pt x="225" y="210"/>
                </a:cubicBezTo>
                <a:cubicBezTo>
                  <a:pt x="156" y="286"/>
                  <a:pt x="156" y="286"/>
                  <a:pt x="156" y="286"/>
                </a:cubicBezTo>
                <a:cubicBezTo>
                  <a:pt x="143" y="281"/>
                  <a:pt x="105" y="270"/>
                  <a:pt x="63" y="278"/>
                </a:cubicBezTo>
                <a:close/>
                <a:moveTo>
                  <a:pt x="199" y="451"/>
                </a:moveTo>
                <a:cubicBezTo>
                  <a:pt x="195" y="454"/>
                  <a:pt x="174" y="446"/>
                  <a:pt x="149" y="421"/>
                </a:cubicBezTo>
                <a:cubicBezTo>
                  <a:pt x="124" y="396"/>
                  <a:pt x="116" y="375"/>
                  <a:pt x="119" y="372"/>
                </a:cubicBezTo>
                <a:cubicBezTo>
                  <a:pt x="145" y="345"/>
                  <a:pt x="145" y="345"/>
                  <a:pt x="145" y="345"/>
                </a:cubicBezTo>
                <a:cubicBezTo>
                  <a:pt x="155" y="361"/>
                  <a:pt x="169" y="377"/>
                  <a:pt x="181" y="389"/>
                </a:cubicBezTo>
                <a:cubicBezTo>
                  <a:pt x="196" y="404"/>
                  <a:pt x="212" y="417"/>
                  <a:pt x="225" y="425"/>
                </a:cubicBezTo>
                <a:lnTo>
                  <a:pt x="199" y="451"/>
                </a:lnTo>
                <a:close/>
                <a:moveTo>
                  <a:pt x="353" y="449"/>
                </a:moveTo>
                <a:cubicBezTo>
                  <a:pt x="343" y="475"/>
                  <a:pt x="311" y="496"/>
                  <a:pt x="293" y="507"/>
                </a:cubicBezTo>
                <a:cubicBezTo>
                  <a:pt x="301" y="465"/>
                  <a:pt x="290" y="427"/>
                  <a:pt x="285" y="414"/>
                </a:cubicBezTo>
                <a:cubicBezTo>
                  <a:pt x="361" y="345"/>
                  <a:pt x="361" y="345"/>
                  <a:pt x="361" y="345"/>
                </a:cubicBezTo>
                <a:cubicBezTo>
                  <a:pt x="362" y="370"/>
                  <a:pt x="363" y="421"/>
                  <a:pt x="353" y="449"/>
                </a:cubicBezTo>
                <a:close/>
                <a:moveTo>
                  <a:pt x="273" y="406"/>
                </a:moveTo>
                <a:cubicBezTo>
                  <a:pt x="272" y="406"/>
                  <a:pt x="272" y="407"/>
                  <a:pt x="271" y="407"/>
                </a:cubicBezTo>
                <a:cubicBezTo>
                  <a:pt x="256" y="421"/>
                  <a:pt x="256" y="421"/>
                  <a:pt x="256" y="421"/>
                </a:cubicBezTo>
                <a:cubicBezTo>
                  <a:pt x="256" y="421"/>
                  <a:pt x="255" y="422"/>
                  <a:pt x="254" y="422"/>
                </a:cubicBezTo>
                <a:cubicBezTo>
                  <a:pt x="244" y="422"/>
                  <a:pt x="219" y="407"/>
                  <a:pt x="191" y="379"/>
                </a:cubicBezTo>
                <a:cubicBezTo>
                  <a:pt x="158" y="346"/>
                  <a:pt x="146" y="319"/>
                  <a:pt x="149" y="314"/>
                </a:cubicBezTo>
                <a:cubicBezTo>
                  <a:pt x="162" y="299"/>
                  <a:pt x="162" y="299"/>
                  <a:pt x="162" y="299"/>
                </a:cubicBezTo>
                <a:cubicBezTo>
                  <a:pt x="163" y="299"/>
                  <a:pt x="163" y="299"/>
                  <a:pt x="163" y="298"/>
                </a:cubicBezTo>
                <a:cubicBezTo>
                  <a:pt x="345" y="98"/>
                  <a:pt x="345" y="98"/>
                  <a:pt x="345" y="98"/>
                </a:cubicBezTo>
                <a:cubicBezTo>
                  <a:pt x="407" y="37"/>
                  <a:pt x="490" y="14"/>
                  <a:pt x="530" y="14"/>
                </a:cubicBezTo>
                <a:cubicBezTo>
                  <a:pt x="544" y="14"/>
                  <a:pt x="550" y="17"/>
                  <a:pt x="552" y="18"/>
                </a:cubicBezTo>
                <a:cubicBezTo>
                  <a:pt x="565" y="31"/>
                  <a:pt x="552" y="144"/>
                  <a:pt x="472" y="225"/>
                </a:cubicBezTo>
                <a:lnTo>
                  <a:pt x="273" y="406"/>
                </a:lnTo>
                <a:close/>
                <a:moveTo>
                  <a:pt x="396" y="126"/>
                </a:moveTo>
                <a:cubicBezTo>
                  <a:pt x="384" y="126"/>
                  <a:pt x="372" y="131"/>
                  <a:pt x="363" y="140"/>
                </a:cubicBezTo>
                <a:cubicBezTo>
                  <a:pt x="344" y="158"/>
                  <a:pt x="344" y="189"/>
                  <a:pt x="363" y="207"/>
                </a:cubicBezTo>
                <a:cubicBezTo>
                  <a:pt x="372" y="216"/>
                  <a:pt x="384" y="221"/>
                  <a:pt x="396" y="221"/>
                </a:cubicBezTo>
                <a:cubicBezTo>
                  <a:pt x="409" y="221"/>
                  <a:pt x="421" y="216"/>
                  <a:pt x="430" y="207"/>
                </a:cubicBezTo>
                <a:cubicBezTo>
                  <a:pt x="449" y="189"/>
                  <a:pt x="449" y="158"/>
                  <a:pt x="430" y="140"/>
                </a:cubicBezTo>
                <a:cubicBezTo>
                  <a:pt x="421" y="131"/>
                  <a:pt x="409" y="126"/>
                  <a:pt x="396" y="126"/>
                </a:cubicBezTo>
                <a:close/>
                <a:moveTo>
                  <a:pt x="420" y="197"/>
                </a:moveTo>
                <a:cubicBezTo>
                  <a:pt x="414" y="204"/>
                  <a:pt x="405" y="207"/>
                  <a:pt x="396" y="207"/>
                </a:cubicBezTo>
                <a:cubicBezTo>
                  <a:pt x="387" y="207"/>
                  <a:pt x="379" y="204"/>
                  <a:pt x="373" y="197"/>
                </a:cubicBezTo>
                <a:cubicBezTo>
                  <a:pt x="359" y="184"/>
                  <a:pt x="359" y="163"/>
                  <a:pt x="373" y="150"/>
                </a:cubicBezTo>
                <a:cubicBezTo>
                  <a:pt x="379" y="143"/>
                  <a:pt x="387" y="140"/>
                  <a:pt x="396" y="140"/>
                </a:cubicBezTo>
                <a:cubicBezTo>
                  <a:pt x="405" y="140"/>
                  <a:pt x="414" y="143"/>
                  <a:pt x="420" y="150"/>
                </a:cubicBezTo>
                <a:cubicBezTo>
                  <a:pt x="433" y="163"/>
                  <a:pt x="433" y="184"/>
                  <a:pt x="420" y="197"/>
                </a:cubicBezTo>
                <a:close/>
                <a:moveTo>
                  <a:pt x="149" y="468"/>
                </a:moveTo>
                <a:cubicBezTo>
                  <a:pt x="154" y="490"/>
                  <a:pt x="147" y="513"/>
                  <a:pt x="128" y="532"/>
                </a:cubicBezTo>
                <a:cubicBezTo>
                  <a:pt x="108" y="552"/>
                  <a:pt x="80" y="556"/>
                  <a:pt x="53" y="560"/>
                </a:cubicBezTo>
                <a:cubicBezTo>
                  <a:pt x="38" y="562"/>
                  <a:pt x="23" y="564"/>
                  <a:pt x="10" y="569"/>
                </a:cubicBezTo>
                <a:cubicBezTo>
                  <a:pt x="9" y="569"/>
                  <a:pt x="9" y="569"/>
                  <a:pt x="8" y="569"/>
                </a:cubicBezTo>
                <a:cubicBezTo>
                  <a:pt x="6" y="569"/>
                  <a:pt x="4" y="569"/>
                  <a:pt x="3" y="567"/>
                </a:cubicBezTo>
                <a:cubicBezTo>
                  <a:pt x="1" y="566"/>
                  <a:pt x="0" y="563"/>
                  <a:pt x="1" y="560"/>
                </a:cubicBezTo>
                <a:cubicBezTo>
                  <a:pt x="4" y="549"/>
                  <a:pt x="6" y="536"/>
                  <a:pt x="8" y="523"/>
                </a:cubicBezTo>
                <a:cubicBezTo>
                  <a:pt x="13" y="494"/>
                  <a:pt x="17" y="463"/>
                  <a:pt x="38" y="442"/>
                </a:cubicBezTo>
                <a:cubicBezTo>
                  <a:pt x="57" y="423"/>
                  <a:pt x="80" y="416"/>
                  <a:pt x="102" y="422"/>
                </a:cubicBezTo>
                <a:cubicBezTo>
                  <a:pt x="105" y="423"/>
                  <a:pt x="108" y="426"/>
                  <a:pt x="107" y="430"/>
                </a:cubicBezTo>
                <a:cubicBezTo>
                  <a:pt x="106" y="434"/>
                  <a:pt x="102" y="436"/>
                  <a:pt x="98" y="435"/>
                </a:cubicBezTo>
                <a:cubicBezTo>
                  <a:pt x="81" y="431"/>
                  <a:pt x="64" y="436"/>
                  <a:pt x="48" y="452"/>
                </a:cubicBezTo>
                <a:cubicBezTo>
                  <a:pt x="30" y="470"/>
                  <a:pt x="26" y="498"/>
                  <a:pt x="22" y="525"/>
                </a:cubicBezTo>
                <a:cubicBezTo>
                  <a:pt x="21" y="534"/>
                  <a:pt x="19" y="543"/>
                  <a:pt x="18" y="552"/>
                </a:cubicBezTo>
                <a:cubicBezTo>
                  <a:pt x="29" y="549"/>
                  <a:pt x="40" y="547"/>
                  <a:pt x="51" y="546"/>
                </a:cubicBezTo>
                <a:cubicBezTo>
                  <a:pt x="77" y="542"/>
                  <a:pt x="101" y="538"/>
                  <a:pt x="118" y="522"/>
                </a:cubicBezTo>
                <a:cubicBezTo>
                  <a:pt x="134" y="506"/>
                  <a:pt x="140" y="489"/>
                  <a:pt x="135" y="472"/>
                </a:cubicBezTo>
                <a:cubicBezTo>
                  <a:pt x="134" y="468"/>
                  <a:pt x="136" y="464"/>
                  <a:pt x="140" y="463"/>
                </a:cubicBezTo>
                <a:cubicBezTo>
                  <a:pt x="144" y="462"/>
                  <a:pt x="148" y="465"/>
                  <a:pt x="149" y="468"/>
                </a:cubicBez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17" name="Oval 18"/>
          <p:cNvSpPr>
            <a:spLocks noChangeArrowheads="1"/>
          </p:cNvSpPr>
          <p:nvPr/>
        </p:nvSpPr>
        <p:spPr bwMode="auto">
          <a:xfrm>
            <a:off x="6589621" y="3120088"/>
            <a:ext cx="1119124" cy="1119124"/>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9301" name="Freeform 114"/>
          <p:cNvSpPr>
            <a:spLocks noEditPoints="1"/>
          </p:cNvSpPr>
          <p:nvPr/>
        </p:nvSpPr>
        <p:spPr bwMode="auto">
          <a:xfrm>
            <a:off x="6780060" y="3344617"/>
            <a:ext cx="738246" cy="671240"/>
          </a:xfrm>
          <a:custGeom>
            <a:avLst/>
            <a:gdLst>
              <a:gd name="T0" fmla="*/ 589 w 701"/>
              <a:gd name="T1" fmla="*/ 526 h 638"/>
              <a:gd name="T2" fmla="*/ 375 w 701"/>
              <a:gd name="T3" fmla="*/ 310 h 638"/>
              <a:gd name="T4" fmla="*/ 436 w 701"/>
              <a:gd name="T5" fmla="*/ 280 h 638"/>
              <a:gd name="T6" fmla="*/ 563 w 701"/>
              <a:gd name="T7" fmla="*/ 257 h 638"/>
              <a:gd name="T8" fmla="*/ 432 w 701"/>
              <a:gd name="T9" fmla="*/ 257 h 638"/>
              <a:gd name="T10" fmla="*/ 371 w 701"/>
              <a:gd name="T11" fmla="*/ 282 h 638"/>
              <a:gd name="T12" fmla="*/ 382 w 701"/>
              <a:gd name="T13" fmla="*/ 128 h 638"/>
              <a:gd name="T14" fmla="*/ 469 w 701"/>
              <a:gd name="T15" fmla="*/ 66 h 638"/>
              <a:gd name="T16" fmla="*/ 338 w 701"/>
              <a:gd name="T17" fmla="*/ 66 h 638"/>
              <a:gd name="T18" fmla="*/ 319 w 701"/>
              <a:gd name="T19" fmla="*/ 229 h 638"/>
              <a:gd name="T20" fmla="*/ 206 w 701"/>
              <a:gd name="T21" fmla="*/ 283 h 638"/>
              <a:gd name="T22" fmla="*/ 131 w 701"/>
              <a:gd name="T23" fmla="*/ 257 h 638"/>
              <a:gd name="T24" fmla="*/ 0 w 701"/>
              <a:gd name="T25" fmla="*/ 257 h 638"/>
              <a:gd name="T26" fmla="*/ 127 w 701"/>
              <a:gd name="T27" fmla="*/ 280 h 638"/>
              <a:gd name="T28" fmla="*/ 201 w 701"/>
              <a:gd name="T29" fmla="*/ 310 h 638"/>
              <a:gd name="T30" fmla="*/ 210 w 701"/>
              <a:gd name="T31" fmla="*/ 472 h 638"/>
              <a:gd name="T32" fmla="*/ 131 w 701"/>
              <a:gd name="T33" fmla="*/ 536 h 638"/>
              <a:gd name="T34" fmla="*/ 262 w 701"/>
              <a:gd name="T35" fmla="*/ 536 h 638"/>
              <a:gd name="T36" fmla="*/ 259 w 701"/>
              <a:gd name="T37" fmla="*/ 392 h 638"/>
              <a:gd name="T38" fmla="*/ 348 w 701"/>
              <a:gd name="T39" fmla="*/ 374 h 638"/>
              <a:gd name="T40" fmla="*/ 570 w 701"/>
              <a:gd name="T41" fmla="*/ 572 h 638"/>
              <a:gd name="T42" fmla="*/ 701 w 701"/>
              <a:gd name="T43" fmla="*/ 572 h 638"/>
              <a:gd name="T44" fmla="*/ 498 w 701"/>
              <a:gd name="T45" fmla="*/ 206 h 638"/>
              <a:gd name="T46" fmla="*/ 498 w 701"/>
              <a:gd name="T47" fmla="*/ 309 h 638"/>
              <a:gd name="T48" fmla="*/ 448 w 701"/>
              <a:gd name="T49" fmla="*/ 270 h 638"/>
              <a:gd name="T50" fmla="*/ 446 w 701"/>
              <a:gd name="T51" fmla="*/ 257 h 638"/>
              <a:gd name="T52" fmla="*/ 352 w 701"/>
              <a:gd name="T53" fmla="*/ 66 h 638"/>
              <a:gd name="T54" fmla="*/ 455 w 701"/>
              <a:gd name="T55" fmla="*/ 66 h 638"/>
              <a:gd name="T56" fmla="*/ 352 w 701"/>
              <a:gd name="T57" fmla="*/ 66 h 638"/>
              <a:gd name="T58" fmla="*/ 14 w 701"/>
              <a:gd name="T59" fmla="*/ 257 h 638"/>
              <a:gd name="T60" fmla="*/ 117 w 701"/>
              <a:gd name="T61" fmla="*/ 257 h 638"/>
              <a:gd name="T62" fmla="*/ 248 w 701"/>
              <a:gd name="T63" fmla="*/ 536 h 638"/>
              <a:gd name="T64" fmla="*/ 145 w 701"/>
              <a:gd name="T65" fmla="*/ 536 h 638"/>
              <a:gd name="T66" fmla="*/ 248 w 701"/>
              <a:gd name="T67" fmla="*/ 536 h 638"/>
              <a:gd name="T68" fmla="*/ 288 w 701"/>
              <a:gd name="T69" fmla="*/ 237 h 638"/>
              <a:gd name="T70" fmla="*/ 288 w 701"/>
              <a:gd name="T71" fmla="*/ 383 h 638"/>
              <a:gd name="T72" fmla="*/ 636 w 701"/>
              <a:gd name="T73" fmla="*/ 624 h 638"/>
              <a:gd name="T74" fmla="*/ 636 w 701"/>
              <a:gd name="T75" fmla="*/ 520 h 638"/>
              <a:gd name="T76" fmla="*/ 636 w 701"/>
              <a:gd name="T77" fmla="*/ 624 h 6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01" h="638">
                <a:moveTo>
                  <a:pt x="636" y="506"/>
                </a:moveTo>
                <a:cubicBezTo>
                  <a:pt x="617" y="506"/>
                  <a:pt x="600" y="514"/>
                  <a:pt x="589" y="526"/>
                </a:cubicBezTo>
                <a:cubicBezTo>
                  <a:pt x="357" y="363"/>
                  <a:pt x="357" y="363"/>
                  <a:pt x="357" y="363"/>
                </a:cubicBezTo>
                <a:cubicBezTo>
                  <a:pt x="369" y="349"/>
                  <a:pt x="375" y="330"/>
                  <a:pt x="375" y="310"/>
                </a:cubicBezTo>
                <a:cubicBezTo>
                  <a:pt x="375" y="305"/>
                  <a:pt x="375" y="300"/>
                  <a:pt x="374" y="296"/>
                </a:cubicBezTo>
                <a:cubicBezTo>
                  <a:pt x="436" y="280"/>
                  <a:pt x="436" y="280"/>
                  <a:pt x="436" y="280"/>
                </a:cubicBezTo>
                <a:cubicBezTo>
                  <a:pt x="445" y="305"/>
                  <a:pt x="469" y="323"/>
                  <a:pt x="498" y="323"/>
                </a:cubicBezTo>
                <a:cubicBezTo>
                  <a:pt x="534" y="323"/>
                  <a:pt x="563" y="294"/>
                  <a:pt x="563" y="257"/>
                </a:cubicBezTo>
                <a:cubicBezTo>
                  <a:pt x="563" y="221"/>
                  <a:pt x="534" y="192"/>
                  <a:pt x="498" y="192"/>
                </a:cubicBezTo>
                <a:cubicBezTo>
                  <a:pt x="461" y="192"/>
                  <a:pt x="432" y="221"/>
                  <a:pt x="432" y="257"/>
                </a:cubicBezTo>
                <a:cubicBezTo>
                  <a:pt x="432" y="261"/>
                  <a:pt x="432" y="264"/>
                  <a:pt x="433" y="267"/>
                </a:cubicBezTo>
                <a:cubicBezTo>
                  <a:pt x="371" y="282"/>
                  <a:pt x="371" y="282"/>
                  <a:pt x="371" y="282"/>
                </a:cubicBezTo>
                <a:cubicBezTo>
                  <a:pt x="364" y="262"/>
                  <a:pt x="350" y="245"/>
                  <a:pt x="332" y="235"/>
                </a:cubicBezTo>
                <a:cubicBezTo>
                  <a:pt x="382" y="128"/>
                  <a:pt x="382" y="128"/>
                  <a:pt x="382" y="128"/>
                </a:cubicBezTo>
                <a:cubicBezTo>
                  <a:pt x="389" y="130"/>
                  <a:pt x="396" y="131"/>
                  <a:pt x="403" y="131"/>
                </a:cubicBezTo>
                <a:cubicBezTo>
                  <a:pt x="440" y="131"/>
                  <a:pt x="469" y="102"/>
                  <a:pt x="469" y="66"/>
                </a:cubicBezTo>
                <a:cubicBezTo>
                  <a:pt x="469" y="29"/>
                  <a:pt x="440" y="0"/>
                  <a:pt x="403" y="0"/>
                </a:cubicBezTo>
                <a:cubicBezTo>
                  <a:pt x="367" y="0"/>
                  <a:pt x="338" y="29"/>
                  <a:pt x="338" y="66"/>
                </a:cubicBezTo>
                <a:cubicBezTo>
                  <a:pt x="338" y="89"/>
                  <a:pt x="350" y="110"/>
                  <a:pt x="369" y="122"/>
                </a:cubicBezTo>
                <a:cubicBezTo>
                  <a:pt x="319" y="229"/>
                  <a:pt x="319" y="229"/>
                  <a:pt x="319" y="229"/>
                </a:cubicBezTo>
                <a:cubicBezTo>
                  <a:pt x="309" y="225"/>
                  <a:pt x="299" y="223"/>
                  <a:pt x="288" y="223"/>
                </a:cubicBezTo>
                <a:cubicBezTo>
                  <a:pt x="250" y="223"/>
                  <a:pt x="217" y="248"/>
                  <a:pt x="206" y="283"/>
                </a:cubicBezTo>
                <a:cubicBezTo>
                  <a:pt x="130" y="266"/>
                  <a:pt x="130" y="266"/>
                  <a:pt x="130" y="266"/>
                </a:cubicBezTo>
                <a:cubicBezTo>
                  <a:pt x="131" y="263"/>
                  <a:pt x="131" y="260"/>
                  <a:pt x="131" y="257"/>
                </a:cubicBezTo>
                <a:cubicBezTo>
                  <a:pt x="131" y="221"/>
                  <a:pt x="102" y="192"/>
                  <a:pt x="65" y="192"/>
                </a:cubicBezTo>
                <a:cubicBezTo>
                  <a:pt x="29" y="192"/>
                  <a:pt x="0" y="221"/>
                  <a:pt x="0" y="257"/>
                </a:cubicBezTo>
                <a:cubicBezTo>
                  <a:pt x="0" y="294"/>
                  <a:pt x="29" y="323"/>
                  <a:pt x="65" y="323"/>
                </a:cubicBezTo>
                <a:cubicBezTo>
                  <a:pt x="94" y="323"/>
                  <a:pt x="118" y="305"/>
                  <a:pt x="127" y="280"/>
                </a:cubicBezTo>
                <a:cubicBezTo>
                  <a:pt x="202" y="297"/>
                  <a:pt x="202" y="297"/>
                  <a:pt x="202" y="297"/>
                </a:cubicBezTo>
                <a:cubicBezTo>
                  <a:pt x="201" y="301"/>
                  <a:pt x="201" y="306"/>
                  <a:pt x="201" y="310"/>
                </a:cubicBezTo>
                <a:cubicBezTo>
                  <a:pt x="201" y="343"/>
                  <a:pt x="219" y="371"/>
                  <a:pt x="246" y="386"/>
                </a:cubicBezTo>
                <a:cubicBezTo>
                  <a:pt x="210" y="472"/>
                  <a:pt x="210" y="472"/>
                  <a:pt x="210" y="472"/>
                </a:cubicBezTo>
                <a:cubicBezTo>
                  <a:pt x="206" y="471"/>
                  <a:pt x="201" y="470"/>
                  <a:pt x="196" y="470"/>
                </a:cubicBezTo>
                <a:cubicBezTo>
                  <a:pt x="160" y="470"/>
                  <a:pt x="131" y="500"/>
                  <a:pt x="131" y="536"/>
                </a:cubicBezTo>
                <a:cubicBezTo>
                  <a:pt x="131" y="572"/>
                  <a:pt x="160" y="602"/>
                  <a:pt x="196" y="602"/>
                </a:cubicBezTo>
                <a:cubicBezTo>
                  <a:pt x="232" y="602"/>
                  <a:pt x="262" y="572"/>
                  <a:pt x="262" y="536"/>
                </a:cubicBezTo>
                <a:cubicBezTo>
                  <a:pt x="262" y="510"/>
                  <a:pt x="246" y="487"/>
                  <a:pt x="224" y="476"/>
                </a:cubicBezTo>
                <a:cubicBezTo>
                  <a:pt x="259" y="392"/>
                  <a:pt x="259" y="392"/>
                  <a:pt x="259" y="392"/>
                </a:cubicBezTo>
                <a:cubicBezTo>
                  <a:pt x="268" y="396"/>
                  <a:pt x="278" y="397"/>
                  <a:pt x="288" y="397"/>
                </a:cubicBezTo>
                <a:cubicBezTo>
                  <a:pt x="311" y="397"/>
                  <a:pt x="332" y="388"/>
                  <a:pt x="348" y="374"/>
                </a:cubicBezTo>
                <a:cubicBezTo>
                  <a:pt x="580" y="537"/>
                  <a:pt x="580" y="537"/>
                  <a:pt x="580" y="537"/>
                </a:cubicBezTo>
                <a:cubicBezTo>
                  <a:pt x="574" y="547"/>
                  <a:pt x="570" y="559"/>
                  <a:pt x="570" y="572"/>
                </a:cubicBezTo>
                <a:cubicBezTo>
                  <a:pt x="570" y="608"/>
                  <a:pt x="599" y="638"/>
                  <a:pt x="636" y="638"/>
                </a:cubicBezTo>
                <a:cubicBezTo>
                  <a:pt x="672" y="638"/>
                  <a:pt x="701" y="608"/>
                  <a:pt x="701" y="572"/>
                </a:cubicBezTo>
                <a:cubicBezTo>
                  <a:pt x="701" y="536"/>
                  <a:pt x="672" y="506"/>
                  <a:pt x="636" y="506"/>
                </a:cubicBezTo>
                <a:close/>
                <a:moveTo>
                  <a:pt x="498" y="206"/>
                </a:moveTo>
                <a:cubicBezTo>
                  <a:pt x="526" y="206"/>
                  <a:pt x="549" y="229"/>
                  <a:pt x="549" y="257"/>
                </a:cubicBezTo>
                <a:cubicBezTo>
                  <a:pt x="549" y="286"/>
                  <a:pt x="526" y="309"/>
                  <a:pt x="498" y="309"/>
                </a:cubicBezTo>
                <a:cubicBezTo>
                  <a:pt x="474" y="309"/>
                  <a:pt x="453" y="292"/>
                  <a:pt x="448" y="270"/>
                </a:cubicBezTo>
                <a:cubicBezTo>
                  <a:pt x="448" y="270"/>
                  <a:pt x="448" y="270"/>
                  <a:pt x="448" y="270"/>
                </a:cubicBezTo>
                <a:cubicBezTo>
                  <a:pt x="448" y="270"/>
                  <a:pt x="448" y="270"/>
                  <a:pt x="448" y="270"/>
                </a:cubicBezTo>
                <a:cubicBezTo>
                  <a:pt x="447" y="266"/>
                  <a:pt x="446" y="262"/>
                  <a:pt x="446" y="257"/>
                </a:cubicBezTo>
                <a:cubicBezTo>
                  <a:pt x="446" y="229"/>
                  <a:pt x="469" y="206"/>
                  <a:pt x="498" y="206"/>
                </a:cubicBezTo>
                <a:close/>
                <a:moveTo>
                  <a:pt x="352" y="66"/>
                </a:moveTo>
                <a:cubicBezTo>
                  <a:pt x="352" y="37"/>
                  <a:pt x="375" y="14"/>
                  <a:pt x="403" y="14"/>
                </a:cubicBezTo>
                <a:cubicBezTo>
                  <a:pt x="432" y="14"/>
                  <a:pt x="455" y="37"/>
                  <a:pt x="455" y="66"/>
                </a:cubicBezTo>
                <a:cubicBezTo>
                  <a:pt x="455" y="94"/>
                  <a:pt x="432" y="117"/>
                  <a:pt x="403" y="117"/>
                </a:cubicBezTo>
                <a:cubicBezTo>
                  <a:pt x="375" y="117"/>
                  <a:pt x="352" y="94"/>
                  <a:pt x="352" y="66"/>
                </a:cubicBezTo>
                <a:close/>
                <a:moveTo>
                  <a:pt x="65" y="309"/>
                </a:moveTo>
                <a:cubicBezTo>
                  <a:pt x="37" y="309"/>
                  <a:pt x="14" y="286"/>
                  <a:pt x="14" y="257"/>
                </a:cubicBezTo>
                <a:cubicBezTo>
                  <a:pt x="14" y="229"/>
                  <a:pt x="37" y="206"/>
                  <a:pt x="65" y="206"/>
                </a:cubicBezTo>
                <a:cubicBezTo>
                  <a:pt x="94" y="206"/>
                  <a:pt x="117" y="229"/>
                  <a:pt x="117" y="257"/>
                </a:cubicBezTo>
                <a:cubicBezTo>
                  <a:pt x="117" y="286"/>
                  <a:pt x="94" y="309"/>
                  <a:pt x="65" y="309"/>
                </a:cubicBezTo>
                <a:close/>
                <a:moveTo>
                  <a:pt x="248" y="536"/>
                </a:moveTo>
                <a:cubicBezTo>
                  <a:pt x="248" y="564"/>
                  <a:pt x="225" y="588"/>
                  <a:pt x="196" y="588"/>
                </a:cubicBezTo>
                <a:cubicBezTo>
                  <a:pt x="168" y="588"/>
                  <a:pt x="145" y="564"/>
                  <a:pt x="145" y="536"/>
                </a:cubicBezTo>
                <a:cubicBezTo>
                  <a:pt x="145" y="508"/>
                  <a:pt x="168" y="484"/>
                  <a:pt x="196" y="484"/>
                </a:cubicBezTo>
                <a:cubicBezTo>
                  <a:pt x="225" y="484"/>
                  <a:pt x="248" y="508"/>
                  <a:pt x="248" y="536"/>
                </a:cubicBezTo>
                <a:close/>
                <a:moveTo>
                  <a:pt x="215" y="310"/>
                </a:moveTo>
                <a:cubicBezTo>
                  <a:pt x="215" y="270"/>
                  <a:pt x="248" y="237"/>
                  <a:pt x="288" y="237"/>
                </a:cubicBezTo>
                <a:cubicBezTo>
                  <a:pt x="329" y="237"/>
                  <a:pt x="361" y="270"/>
                  <a:pt x="361" y="310"/>
                </a:cubicBezTo>
                <a:cubicBezTo>
                  <a:pt x="361" y="351"/>
                  <a:pt x="329" y="383"/>
                  <a:pt x="288" y="383"/>
                </a:cubicBezTo>
                <a:cubicBezTo>
                  <a:pt x="248" y="383"/>
                  <a:pt x="215" y="351"/>
                  <a:pt x="215" y="310"/>
                </a:cubicBezTo>
                <a:close/>
                <a:moveTo>
                  <a:pt x="636" y="624"/>
                </a:moveTo>
                <a:cubicBezTo>
                  <a:pt x="607" y="624"/>
                  <a:pt x="584" y="600"/>
                  <a:pt x="584" y="572"/>
                </a:cubicBezTo>
                <a:cubicBezTo>
                  <a:pt x="584" y="544"/>
                  <a:pt x="607" y="520"/>
                  <a:pt x="636" y="520"/>
                </a:cubicBezTo>
                <a:cubicBezTo>
                  <a:pt x="664" y="520"/>
                  <a:pt x="687" y="544"/>
                  <a:pt x="687" y="572"/>
                </a:cubicBezTo>
                <a:cubicBezTo>
                  <a:pt x="687" y="600"/>
                  <a:pt x="664" y="624"/>
                  <a:pt x="636" y="624"/>
                </a:cubicBez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20" name="Oval 21"/>
          <p:cNvSpPr>
            <a:spLocks noChangeArrowheads="1"/>
          </p:cNvSpPr>
          <p:nvPr/>
        </p:nvSpPr>
        <p:spPr bwMode="auto">
          <a:xfrm>
            <a:off x="1315706" y="3120088"/>
            <a:ext cx="1119124" cy="1119124"/>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9302" name="Freeform 115"/>
          <p:cNvSpPr>
            <a:spLocks noEditPoints="1"/>
          </p:cNvSpPr>
          <p:nvPr/>
        </p:nvSpPr>
        <p:spPr bwMode="auto">
          <a:xfrm>
            <a:off x="1539061" y="3352847"/>
            <a:ext cx="673591" cy="653606"/>
          </a:xfrm>
          <a:custGeom>
            <a:avLst/>
            <a:gdLst>
              <a:gd name="T0" fmla="*/ 492 w 640"/>
              <a:gd name="T1" fmla="*/ 256 h 621"/>
              <a:gd name="T2" fmla="*/ 421 w 640"/>
              <a:gd name="T3" fmla="*/ 285 h 621"/>
              <a:gd name="T4" fmla="*/ 334 w 640"/>
              <a:gd name="T5" fmla="*/ 147 h 621"/>
              <a:gd name="T6" fmla="*/ 327 w 640"/>
              <a:gd name="T7" fmla="*/ 0 h 621"/>
              <a:gd name="T8" fmla="*/ 320 w 640"/>
              <a:gd name="T9" fmla="*/ 147 h 621"/>
              <a:gd name="T10" fmla="*/ 234 w 640"/>
              <a:gd name="T11" fmla="*/ 286 h 621"/>
              <a:gd name="T12" fmla="*/ 147 w 640"/>
              <a:gd name="T13" fmla="*/ 256 h 621"/>
              <a:gd name="T14" fmla="*/ 0 w 640"/>
              <a:gd name="T15" fmla="*/ 256 h 621"/>
              <a:gd name="T16" fmla="*/ 143 w 640"/>
              <a:gd name="T17" fmla="*/ 281 h 621"/>
              <a:gd name="T18" fmla="*/ 229 w 640"/>
              <a:gd name="T19" fmla="*/ 316 h 621"/>
              <a:gd name="T20" fmla="*/ 206 w 640"/>
              <a:gd name="T21" fmla="*/ 483 h 621"/>
              <a:gd name="T22" fmla="*/ 97 w 640"/>
              <a:gd name="T23" fmla="*/ 548 h 621"/>
              <a:gd name="T24" fmla="*/ 245 w 640"/>
              <a:gd name="T25" fmla="*/ 548 h 621"/>
              <a:gd name="T26" fmla="*/ 278 w 640"/>
              <a:gd name="T27" fmla="*/ 401 h 621"/>
              <a:gd name="T28" fmla="*/ 372 w 640"/>
              <a:gd name="T29" fmla="*/ 404 h 621"/>
              <a:gd name="T30" fmla="*/ 394 w 640"/>
              <a:gd name="T31" fmla="*/ 548 h 621"/>
              <a:gd name="T32" fmla="*/ 542 w 640"/>
              <a:gd name="T33" fmla="*/ 548 h 621"/>
              <a:gd name="T34" fmla="*/ 436 w 640"/>
              <a:gd name="T35" fmla="*/ 481 h 621"/>
              <a:gd name="T36" fmla="*/ 426 w 640"/>
              <a:gd name="T37" fmla="*/ 316 h 621"/>
              <a:gd name="T38" fmla="*/ 496 w 640"/>
              <a:gd name="T39" fmla="*/ 281 h 621"/>
              <a:gd name="T40" fmla="*/ 640 w 640"/>
              <a:gd name="T41" fmla="*/ 256 h 621"/>
              <a:gd name="T42" fmla="*/ 73 w 640"/>
              <a:gd name="T43" fmla="*/ 316 h 621"/>
              <a:gd name="T44" fmla="*/ 73 w 640"/>
              <a:gd name="T45" fmla="*/ 196 h 621"/>
              <a:gd name="T46" fmla="*/ 73 w 640"/>
              <a:gd name="T47" fmla="*/ 316 h 621"/>
              <a:gd name="T48" fmla="*/ 171 w 640"/>
              <a:gd name="T49" fmla="*/ 607 h 621"/>
              <a:gd name="T50" fmla="*/ 171 w 640"/>
              <a:gd name="T51" fmla="*/ 488 h 621"/>
              <a:gd name="T52" fmla="*/ 528 w 640"/>
              <a:gd name="T53" fmla="*/ 548 h 621"/>
              <a:gd name="T54" fmla="*/ 408 w 640"/>
              <a:gd name="T55" fmla="*/ 548 h 621"/>
              <a:gd name="T56" fmla="*/ 528 w 640"/>
              <a:gd name="T57" fmla="*/ 548 h 621"/>
              <a:gd name="T58" fmla="*/ 327 w 640"/>
              <a:gd name="T59" fmla="*/ 14 h 621"/>
              <a:gd name="T60" fmla="*/ 327 w 640"/>
              <a:gd name="T61" fmla="*/ 134 h 621"/>
              <a:gd name="T62" fmla="*/ 327 w 640"/>
              <a:gd name="T63" fmla="*/ 400 h 621"/>
              <a:gd name="T64" fmla="*/ 327 w 640"/>
              <a:gd name="T65" fmla="*/ 232 h 621"/>
              <a:gd name="T66" fmla="*/ 327 w 640"/>
              <a:gd name="T67" fmla="*/ 400 h 621"/>
              <a:gd name="T68" fmla="*/ 508 w 640"/>
              <a:gd name="T69" fmla="*/ 271 h 621"/>
              <a:gd name="T70" fmla="*/ 508 w 640"/>
              <a:gd name="T71" fmla="*/ 271 h 621"/>
              <a:gd name="T72" fmla="*/ 566 w 640"/>
              <a:gd name="T73" fmla="*/ 196 h 621"/>
              <a:gd name="T74" fmla="*/ 566 w 640"/>
              <a:gd name="T75" fmla="*/ 316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40" h="621">
                <a:moveTo>
                  <a:pt x="566" y="182"/>
                </a:moveTo>
                <a:cubicBezTo>
                  <a:pt x="525" y="182"/>
                  <a:pt x="492" y="215"/>
                  <a:pt x="492" y="256"/>
                </a:cubicBezTo>
                <a:cubicBezTo>
                  <a:pt x="492" y="260"/>
                  <a:pt x="492" y="264"/>
                  <a:pt x="493" y="267"/>
                </a:cubicBezTo>
                <a:cubicBezTo>
                  <a:pt x="421" y="285"/>
                  <a:pt x="421" y="285"/>
                  <a:pt x="421" y="285"/>
                </a:cubicBezTo>
                <a:cubicBezTo>
                  <a:pt x="408" y="248"/>
                  <a:pt x="375" y="221"/>
                  <a:pt x="334" y="218"/>
                </a:cubicBezTo>
                <a:cubicBezTo>
                  <a:pt x="334" y="147"/>
                  <a:pt x="334" y="147"/>
                  <a:pt x="334" y="147"/>
                </a:cubicBezTo>
                <a:cubicBezTo>
                  <a:pt x="372" y="144"/>
                  <a:pt x="401" y="112"/>
                  <a:pt x="401" y="74"/>
                </a:cubicBezTo>
                <a:cubicBezTo>
                  <a:pt x="401" y="33"/>
                  <a:pt x="368" y="0"/>
                  <a:pt x="327" y="0"/>
                </a:cubicBezTo>
                <a:cubicBezTo>
                  <a:pt x="287" y="0"/>
                  <a:pt x="254" y="33"/>
                  <a:pt x="254" y="74"/>
                </a:cubicBezTo>
                <a:cubicBezTo>
                  <a:pt x="254" y="112"/>
                  <a:pt x="283" y="144"/>
                  <a:pt x="320" y="147"/>
                </a:cubicBezTo>
                <a:cubicBezTo>
                  <a:pt x="320" y="218"/>
                  <a:pt x="320" y="218"/>
                  <a:pt x="320" y="218"/>
                </a:cubicBezTo>
                <a:cubicBezTo>
                  <a:pt x="280" y="221"/>
                  <a:pt x="246" y="249"/>
                  <a:pt x="234" y="286"/>
                </a:cubicBezTo>
                <a:cubicBezTo>
                  <a:pt x="146" y="267"/>
                  <a:pt x="146" y="267"/>
                  <a:pt x="146" y="267"/>
                </a:cubicBezTo>
                <a:cubicBezTo>
                  <a:pt x="147" y="263"/>
                  <a:pt x="147" y="260"/>
                  <a:pt x="147" y="256"/>
                </a:cubicBezTo>
                <a:cubicBezTo>
                  <a:pt x="147" y="215"/>
                  <a:pt x="114" y="182"/>
                  <a:pt x="73" y="182"/>
                </a:cubicBezTo>
                <a:cubicBezTo>
                  <a:pt x="33" y="182"/>
                  <a:pt x="0" y="215"/>
                  <a:pt x="0" y="256"/>
                </a:cubicBezTo>
                <a:cubicBezTo>
                  <a:pt x="0" y="297"/>
                  <a:pt x="33" y="330"/>
                  <a:pt x="73" y="330"/>
                </a:cubicBezTo>
                <a:cubicBezTo>
                  <a:pt x="105" y="330"/>
                  <a:pt x="133" y="309"/>
                  <a:pt x="143" y="281"/>
                </a:cubicBezTo>
                <a:cubicBezTo>
                  <a:pt x="230" y="300"/>
                  <a:pt x="230" y="300"/>
                  <a:pt x="230" y="300"/>
                </a:cubicBezTo>
                <a:cubicBezTo>
                  <a:pt x="229" y="305"/>
                  <a:pt x="229" y="311"/>
                  <a:pt x="229" y="316"/>
                </a:cubicBezTo>
                <a:cubicBezTo>
                  <a:pt x="229" y="348"/>
                  <a:pt x="244" y="375"/>
                  <a:pt x="267" y="394"/>
                </a:cubicBezTo>
                <a:cubicBezTo>
                  <a:pt x="206" y="483"/>
                  <a:pt x="206" y="483"/>
                  <a:pt x="206" y="483"/>
                </a:cubicBezTo>
                <a:cubicBezTo>
                  <a:pt x="196" y="477"/>
                  <a:pt x="184" y="474"/>
                  <a:pt x="171" y="474"/>
                </a:cubicBezTo>
                <a:cubicBezTo>
                  <a:pt x="130" y="474"/>
                  <a:pt x="97" y="507"/>
                  <a:pt x="97" y="548"/>
                </a:cubicBezTo>
                <a:cubicBezTo>
                  <a:pt x="97" y="588"/>
                  <a:pt x="130" y="621"/>
                  <a:pt x="171" y="621"/>
                </a:cubicBezTo>
                <a:cubicBezTo>
                  <a:pt x="212" y="621"/>
                  <a:pt x="245" y="588"/>
                  <a:pt x="245" y="548"/>
                </a:cubicBezTo>
                <a:cubicBezTo>
                  <a:pt x="245" y="525"/>
                  <a:pt x="234" y="504"/>
                  <a:pt x="218" y="491"/>
                </a:cubicBezTo>
                <a:cubicBezTo>
                  <a:pt x="278" y="401"/>
                  <a:pt x="278" y="401"/>
                  <a:pt x="278" y="401"/>
                </a:cubicBezTo>
                <a:cubicBezTo>
                  <a:pt x="293" y="410"/>
                  <a:pt x="309" y="414"/>
                  <a:pt x="327" y="414"/>
                </a:cubicBezTo>
                <a:cubicBezTo>
                  <a:pt x="343" y="414"/>
                  <a:pt x="359" y="411"/>
                  <a:pt x="372" y="404"/>
                </a:cubicBezTo>
                <a:cubicBezTo>
                  <a:pt x="424" y="489"/>
                  <a:pt x="424" y="489"/>
                  <a:pt x="424" y="489"/>
                </a:cubicBezTo>
                <a:cubicBezTo>
                  <a:pt x="406" y="502"/>
                  <a:pt x="394" y="523"/>
                  <a:pt x="394" y="548"/>
                </a:cubicBezTo>
                <a:cubicBezTo>
                  <a:pt x="394" y="588"/>
                  <a:pt x="427" y="621"/>
                  <a:pt x="468" y="621"/>
                </a:cubicBezTo>
                <a:cubicBezTo>
                  <a:pt x="509" y="621"/>
                  <a:pt x="542" y="588"/>
                  <a:pt x="542" y="548"/>
                </a:cubicBezTo>
                <a:cubicBezTo>
                  <a:pt x="542" y="507"/>
                  <a:pt x="509" y="474"/>
                  <a:pt x="468" y="474"/>
                </a:cubicBezTo>
                <a:cubicBezTo>
                  <a:pt x="456" y="474"/>
                  <a:pt x="446" y="477"/>
                  <a:pt x="436" y="481"/>
                </a:cubicBezTo>
                <a:cubicBezTo>
                  <a:pt x="384" y="396"/>
                  <a:pt x="384" y="396"/>
                  <a:pt x="384" y="396"/>
                </a:cubicBezTo>
                <a:cubicBezTo>
                  <a:pt x="409" y="378"/>
                  <a:pt x="426" y="349"/>
                  <a:pt x="426" y="316"/>
                </a:cubicBezTo>
                <a:cubicBezTo>
                  <a:pt x="426" y="310"/>
                  <a:pt x="425" y="305"/>
                  <a:pt x="424" y="299"/>
                </a:cubicBezTo>
                <a:cubicBezTo>
                  <a:pt x="496" y="281"/>
                  <a:pt x="496" y="281"/>
                  <a:pt x="496" y="281"/>
                </a:cubicBezTo>
                <a:cubicBezTo>
                  <a:pt x="507" y="309"/>
                  <a:pt x="534" y="330"/>
                  <a:pt x="566" y="330"/>
                </a:cubicBezTo>
                <a:cubicBezTo>
                  <a:pt x="606" y="330"/>
                  <a:pt x="640" y="297"/>
                  <a:pt x="640" y="256"/>
                </a:cubicBezTo>
                <a:cubicBezTo>
                  <a:pt x="640" y="215"/>
                  <a:pt x="606" y="182"/>
                  <a:pt x="566" y="182"/>
                </a:cubicBezTo>
                <a:close/>
                <a:moveTo>
                  <a:pt x="73" y="316"/>
                </a:moveTo>
                <a:cubicBezTo>
                  <a:pt x="40" y="316"/>
                  <a:pt x="14" y="289"/>
                  <a:pt x="14" y="256"/>
                </a:cubicBezTo>
                <a:cubicBezTo>
                  <a:pt x="14" y="223"/>
                  <a:pt x="40" y="196"/>
                  <a:pt x="73" y="196"/>
                </a:cubicBezTo>
                <a:cubicBezTo>
                  <a:pt x="106" y="196"/>
                  <a:pt x="133" y="223"/>
                  <a:pt x="133" y="256"/>
                </a:cubicBezTo>
                <a:cubicBezTo>
                  <a:pt x="133" y="289"/>
                  <a:pt x="106" y="316"/>
                  <a:pt x="73" y="316"/>
                </a:cubicBezTo>
                <a:close/>
                <a:moveTo>
                  <a:pt x="231" y="548"/>
                </a:moveTo>
                <a:cubicBezTo>
                  <a:pt x="231" y="581"/>
                  <a:pt x="204" y="607"/>
                  <a:pt x="171" y="607"/>
                </a:cubicBezTo>
                <a:cubicBezTo>
                  <a:pt x="138" y="607"/>
                  <a:pt x="111" y="581"/>
                  <a:pt x="111" y="548"/>
                </a:cubicBezTo>
                <a:cubicBezTo>
                  <a:pt x="111" y="515"/>
                  <a:pt x="138" y="488"/>
                  <a:pt x="171" y="488"/>
                </a:cubicBezTo>
                <a:cubicBezTo>
                  <a:pt x="204" y="488"/>
                  <a:pt x="231" y="515"/>
                  <a:pt x="231" y="548"/>
                </a:cubicBezTo>
                <a:close/>
                <a:moveTo>
                  <a:pt x="528" y="548"/>
                </a:moveTo>
                <a:cubicBezTo>
                  <a:pt x="528" y="581"/>
                  <a:pt x="501" y="607"/>
                  <a:pt x="468" y="607"/>
                </a:cubicBezTo>
                <a:cubicBezTo>
                  <a:pt x="435" y="607"/>
                  <a:pt x="408" y="581"/>
                  <a:pt x="408" y="548"/>
                </a:cubicBezTo>
                <a:cubicBezTo>
                  <a:pt x="408" y="515"/>
                  <a:pt x="435" y="488"/>
                  <a:pt x="468" y="488"/>
                </a:cubicBezTo>
                <a:cubicBezTo>
                  <a:pt x="501" y="488"/>
                  <a:pt x="528" y="515"/>
                  <a:pt x="528" y="548"/>
                </a:cubicBezTo>
                <a:close/>
                <a:moveTo>
                  <a:pt x="268" y="74"/>
                </a:moveTo>
                <a:cubicBezTo>
                  <a:pt x="268" y="41"/>
                  <a:pt x="294" y="14"/>
                  <a:pt x="327" y="14"/>
                </a:cubicBezTo>
                <a:cubicBezTo>
                  <a:pt x="360" y="14"/>
                  <a:pt x="387" y="41"/>
                  <a:pt x="387" y="74"/>
                </a:cubicBezTo>
                <a:cubicBezTo>
                  <a:pt x="387" y="107"/>
                  <a:pt x="360" y="134"/>
                  <a:pt x="327" y="134"/>
                </a:cubicBezTo>
                <a:cubicBezTo>
                  <a:pt x="294" y="134"/>
                  <a:pt x="268" y="107"/>
                  <a:pt x="268" y="74"/>
                </a:cubicBezTo>
                <a:close/>
                <a:moveTo>
                  <a:pt x="327" y="400"/>
                </a:moveTo>
                <a:cubicBezTo>
                  <a:pt x="281" y="400"/>
                  <a:pt x="243" y="363"/>
                  <a:pt x="243" y="316"/>
                </a:cubicBezTo>
                <a:cubicBezTo>
                  <a:pt x="243" y="270"/>
                  <a:pt x="281" y="232"/>
                  <a:pt x="327" y="232"/>
                </a:cubicBezTo>
                <a:cubicBezTo>
                  <a:pt x="374" y="232"/>
                  <a:pt x="412" y="270"/>
                  <a:pt x="412" y="316"/>
                </a:cubicBezTo>
                <a:cubicBezTo>
                  <a:pt x="412" y="363"/>
                  <a:pt x="374" y="400"/>
                  <a:pt x="327" y="400"/>
                </a:cubicBezTo>
                <a:close/>
                <a:moveTo>
                  <a:pt x="566" y="316"/>
                </a:moveTo>
                <a:cubicBezTo>
                  <a:pt x="538" y="316"/>
                  <a:pt x="514" y="297"/>
                  <a:pt x="508" y="271"/>
                </a:cubicBezTo>
                <a:cubicBezTo>
                  <a:pt x="508" y="271"/>
                  <a:pt x="508" y="271"/>
                  <a:pt x="508" y="271"/>
                </a:cubicBezTo>
                <a:cubicBezTo>
                  <a:pt x="508" y="271"/>
                  <a:pt x="508" y="271"/>
                  <a:pt x="508" y="271"/>
                </a:cubicBezTo>
                <a:cubicBezTo>
                  <a:pt x="507" y="266"/>
                  <a:pt x="506" y="261"/>
                  <a:pt x="506" y="256"/>
                </a:cubicBezTo>
                <a:cubicBezTo>
                  <a:pt x="506" y="223"/>
                  <a:pt x="533" y="196"/>
                  <a:pt x="566" y="196"/>
                </a:cubicBezTo>
                <a:cubicBezTo>
                  <a:pt x="599" y="196"/>
                  <a:pt x="626" y="223"/>
                  <a:pt x="626" y="256"/>
                </a:cubicBezTo>
                <a:cubicBezTo>
                  <a:pt x="626" y="289"/>
                  <a:pt x="599" y="316"/>
                  <a:pt x="566" y="316"/>
                </a:cubicBez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23" name="Oval 24"/>
          <p:cNvSpPr>
            <a:spLocks noChangeArrowheads="1"/>
          </p:cNvSpPr>
          <p:nvPr/>
        </p:nvSpPr>
        <p:spPr bwMode="auto">
          <a:xfrm>
            <a:off x="6589621" y="4711628"/>
            <a:ext cx="1119124" cy="1119124"/>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9303" name="Freeform 116"/>
          <p:cNvSpPr>
            <a:spLocks noEditPoints="1"/>
          </p:cNvSpPr>
          <p:nvPr/>
        </p:nvSpPr>
        <p:spPr bwMode="auto">
          <a:xfrm>
            <a:off x="6811801" y="4926980"/>
            <a:ext cx="674766" cy="688420"/>
          </a:xfrm>
          <a:custGeom>
            <a:avLst/>
            <a:gdLst>
              <a:gd name="T0" fmla="*/ 566 w 641"/>
              <a:gd name="T1" fmla="*/ 533 h 653"/>
              <a:gd name="T2" fmla="*/ 525 w 641"/>
              <a:gd name="T3" fmla="*/ 323 h 653"/>
              <a:gd name="T4" fmla="*/ 439 w 641"/>
              <a:gd name="T5" fmla="*/ 267 h 653"/>
              <a:gd name="T6" fmla="*/ 381 w 641"/>
              <a:gd name="T7" fmla="*/ 61 h 653"/>
              <a:gd name="T8" fmla="*/ 259 w 641"/>
              <a:gd name="T9" fmla="*/ 61 h 653"/>
              <a:gd name="T10" fmla="*/ 202 w 641"/>
              <a:gd name="T11" fmla="*/ 267 h 653"/>
              <a:gd name="T12" fmla="*/ 115 w 641"/>
              <a:gd name="T13" fmla="*/ 323 h 653"/>
              <a:gd name="T14" fmla="*/ 74 w 641"/>
              <a:gd name="T15" fmla="*/ 533 h 653"/>
              <a:gd name="T16" fmla="*/ 0 w 641"/>
              <a:gd name="T17" fmla="*/ 592 h 653"/>
              <a:gd name="T18" fmla="*/ 122 w 641"/>
              <a:gd name="T19" fmla="*/ 592 h 653"/>
              <a:gd name="T20" fmla="*/ 162 w 641"/>
              <a:gd name="T21" fmla="*/ 382 h 653"/>
              <a:gd name="T22" fmla="*/ 188 w 641"/>
              <a:gd name="T23" fmla="*/ 382 h 653"/>
              <a:gd name="T24" fmla="*/ 173 w 641"/>
              <a:gd name="T25" fmla="*/ 592 h 653"/>
              <a:gd name="T26" fmla="*/ 295 w 641"/>
              <a:gd name="T27" fmla="*/ 592 h 653"/>
              <a:gd name="T28" fmla="*/ 233 w 641"/>
              <a:gd name="T29" fmla="*/ 531 h 653"/>
              <a:gd name="T30" fmla="*/ 237 w 641"/>
              <a:gd name="T31" fmla="*/ 323 h 653"/>
              <a:gd name="T32" fmla="*/ 294 w 641"/>
              <a:gd name="T33" fmla="*/ 116 h 653"/>
              <a:gd name="T34" fmla="*/ 346 w 641"/>
              <a:gd name="T35" fmla="*/ 116 h 653"/>
              <a:gd name="T36" fmla="*/ 404 w 641"/>
              <a:gd name="T37" fmla="*/ 323 h 653"/>
              <a:gd name="T38" fmla="*/ 408 w 641"/>
              <a:gd name="T39" fmla="*/ 531 h 653"/>
              <a:gd name="T40" fmla="*/ 346 w 641"/>
              <a:gd name="T41" fmla="*/ 592 h 653"/>
              <a:gd name="T42" fmla="*/ 468 w 641"/>
              <a:gd name="T43" fmla="*/ 592 h 653"/>
              <a:gd name="T44" fmla="*/ 452 w 641"/>
              <a:gd name="T45" fmla="*/ 382 h 653"/>
              <a:gd name="T46" fmla="*/ 478 w 641"/>
              <a:gd name="T47" fmla="*/ 382 h 653"/>
              <a:gd name="T48" fmla="*/ 519 w 641"/>
              <a:gd name="T49" fmla="*/ 592 h 653"/>
              <a:gd name="T50" fmla="*/ 641 w 641"/>
              <a:gd name="T51" fmla="*/ 592 h 653"/>
              <a:gd name="T52" fmla="*/ 108 w 641"/>
              <a:gd name="T53" fmla="*/ 592 h 653"/>
              <a:gd name="T54" fmla="*/ 14 w 641"/>
              <a:gd name="T55" fmla="*/ 592 h 653"/>
              <a:gd name="T56" fmla="*/ 108 w 641"/>
              <a:gd name="T57" fmla="*/ 592 h 653"/>
              <a:gd name="T58" fmla="*/ 234 w 641"/>
              <a:gd name="T59" fmla="*/ 639 h 653"/>
              <a:gd name="T60" fmla="*/ 234 w 641"/>
              <a:gd name="T61" fmla="*/ 545 h 653"/>
              <a:gd name="T62" fmla="*/ 223 w 641"/>
              <a:gd name="T63" fmla="*/ 323 h 653"/>
              <a:gd name="T64" fmla="*/ 129 w 641"/>
              <a:gd name="T65" fmla="*/ 323 h 653"/>
              <a:gd name="T66" fmla="*/ 223 w 641"/>
              <a:gd name="T67" fmla="*/ 323 h 653"/>
              <a:gd name="T68" fmla="*/ 320 w 641"/>
              <a:gd name="T69" fmla="*/ 14 h 653"/>
              <a:gd name="T70" fmla="*/ 320 w 641"/>
              <a:gd name="T71" fmla="*/ 108 h 653"/>
              <a:gd name="T72" fmla="*/ 454 w 641"/>
              <a:gd name="T73" fmla="*/ 592 h 653"/>
              <a:gd name="T74" fmla="*/ 360 w 641"/>
              <a:gd name="T75" fmla="*/ 592 h 653"/>
              <a:gd name="T76" fmla="*/ 454 w 641"/>
              <a:gd name="T77" fmla="*/ 592 h 653"/>
              <a:gd name="T78" fmla="*/ 464 w 641"/>
              <a:gd name="T79" fmla="*/ 276 h 653"/>
              <a:gd name="T80" fmla="*/ 464 w 641"/>
              <a:gd name="T81" fmla="*/ 369 h 653"/>
              <a:gd name="T82" fmla="*/ 580 w 641"/>
              <a:gd name="T83" fmla="*/ 639 h 653"/>
              <a:gd name="T84" fmla="*/ 580 w 641"/>
              <a:gd name="T85" fmla="*/ 545 h 653"/>
              <a:gd name="T86" fmla="*/ 580 w 641"/>
              <a:gd name="T87" fmla="*/ 639 h 6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41" h="653">
                <a:moveTo>
                  <a:pt x="580" y="531"/>
                </a:moveTo>
                <a:cubicBezTo>
                  <a:pt x="575" y="531"/>
                  <a:pt x="571" y="532"/>
                  <a:pt x="566" y="533"/>
                </a:cubicBezTo>
                <a:cubicBezTo>
                  <a:pt x="491" y="377"/>
                  <a:pt x="491" y="377"/>
                  <a:pt x="491" y="377"/>
                </a:cubicBezTo>
                <a:cubicBezTo>
                  <a:pt x="511" y="367"/>
                  <a:pt x="525" y="346"/>
                  <a:pt x="525" y="323"/>
                </a:cubicBezTo>
                <a:cubicBezTo>
                  <a:pt x="525" y="289"/>
                  <a:pt x="498" y="262"/>
                  <a:pt x="464" y="262"/>
                </a:cubicBezTo>
                <a:cubicBezTo>
                  <a:pt x="455" y="262"/>
                  <a:pt x="447" y="264"/>
                  <a:pt x="439" y="267"/>
                </a:cubicBezTo>
                <a:cubicBezTo>
                  <a:pt x="358" y="109"/>
                  <a:pt x="358" y="109"/>
                  <a:pt x="358" y="109"/>
                </a:cubicBezTo>
                <a:cubicBezTo>
                  <a:pt x="372" y="97"/>
                  <a:pt x="381" y="80"/>
                  <a:pt x="381" y="61"/>
                </a:cubicBezTo>
                <a:cubicBezTo>
                  <a:pt x="381" y="28"/>
                  <a:pt x="354" y="0"/>
                  <a:pt x="320" y="0"/>
                </a:cubicBezTo>
                <a:cubicBezTo>
                  <a:pt x="287" y="0"/>
                  <a:pt x="259" y="28"/>
                  <a:pt x="259" y="61"/>
                </a:cubicBezTo>
                <a:cubicBezTo>
                  <a:pt x="259" y="80"/>
                  <a:pt x="268" y="97"/>
                  <a:pt x="282" y="109"/>
                </a:cubicBezTo>
                <a:cubicBezTo>
                  <a:pt x="202" y="267"/>
                  <a:pt x="202" y="267"/>
                  <a:pt x="202" y="267"/>
                </a:cubicBezTo>
                <a:cubicBezTo>
                  <a:pt x="194" y="264"/>
                  <a:pt x="185" y="262"/>
                  <a:pt x="176" y="262"/>
                </a:cubicBezTo>
                <a:cubicBezTo>
                  <a:pt x="143" y="262"/>
                  <a:pt x="115" y="289"/>
                  <a:pt x="115" y="323"/>
                </a:cubicBezTo>
                <a:cubicBezTo>
                  <a:pt x="115" y="346"/>
                  <a:pt x="129" y="367"/>
                  <a:pt x="149" y="377"/>
                </a:cubicBezTo>
                <a:cubicBezTo>
                  <a:pt x="74" y="533"/>
                  <a:pt x="74" y="533"/>
                  <a:pt x="74" y="533"/>
                </a:cubicBezTo>
                <a:cubicBezTo>
                  <a:pt x="70" y="532"/>
                  <a:pt x="65" y="531"/>
                  <a:pt x="61" y="531"/>
                </a:cubicBezTo>
                <a:cubicBezTo>
                  <a:pt x="27" y="531"/>
                  <a:pt x="0" y="558"/>
                  <a:pt x="0" y="592"/>
                </a:cubicBezTo>
                <a:cubicBezTo>
                  <a:pt x="0" y="625"/>
                  <a:pt x="27" y="653"/>
                  <a:pt x="61" y="653"/>
                </a:cubicBezTo>
                <a:cubicBezTo>
                  <a:pt x="94" y="653"/>
                  <a:pt x="122" y="625"/>
                  <a:pt x="122" y="592"/>
                </a:cubicBezTo>
                <a:cubicBezTo>
                  <a:pt x="122" y="568"/>
                  <a:pt x="108" y="547"/>
                  <a:pt x="87" y="537"/>
                </a:cubicBezTo>
                <a:cubicBezTo>
                  <a:pt x="162" y="382"/>
                  <a:pt x="162" y="382"/>
                  <a:pt x="162" y="382"/>
                </a:cubicBezTo>
                <a:cubicBezTo>
                  <a:pt x="167" y="383"/>
                  <a:pt x="171" y="383"/>
                  <a:pt x="176" y="383"/>
                </a:cubicBezTo>
                <a:cubicBezTo>
                  <a:pt x="180" y="383"/>
                  <a:pt x="184" y="383"/>
                  <a:pt x="188" y="382"/>
                </a:cubicBezTo>
                <a:cubicBezTo>
                  <a:pt x="219" y="533"/>
                  <a:pt x="219" y="533"/>
                  <a:pt x="219" y="533"/>
                </a:cubicBezTo>
                <a:cubicBezTo>
                  <a:pt x="192" y="540"/>
                  <a:pt x="173" y="564"/>
                  <a:pt x="173" y="592"/>
                </a:cubicBezTo>
                <a:cubicBezTo>
                  <a:pt x="173" y="625"/>
                  <a:pt x="200" y="653"/>
                  <a:pt x="234" y="653"/>
                </a:cubicBezTo>
                <a:cubicBezTo>
                  <a:pt x="267" y="653"/>
                  <a:pt x="295" y="625"/>
                  <a:pt x="295" y="592"/>
                </a:cubicBezTo>
                <a:cubicBezTo>
                  <a:pt x="295" y="558"/>
                  <a:pt x="267" y="531"/>
                  <a:pt x="234" y="531"/>
                </a:cubicBezTo>
                <a:cubicBezTo>
                  <a:pt x="233" y="531"/>
                  <a:pt x="233" y="531"/>
                  <a:pt x="233" y="531"/>
                </a:cubicBezTo>
                <a:cubicBezTo>
                  <a:pt x="202" y="378"/>
                  <a:pt x="202" y="378"/>
                  <a:pt x="202" y="378"/>
                </a:cubicBezTo>
                <a:cubicBezTo>
                  <a:pt x="222" y="368"/>
                  <a:pt x="237" y="347"/>
                  <a:pt x="237" y="323"/>
                </a:cubicBezTo>
                <a:cubicBezTo>
                  <a:pt x="237" y="303"/>
                  <a:pt x="228" y="286"/>
                  <a:pt x="213" y="275"/>
                </a:cubicBezTo>
                <a:cubicBezTo>
                  <a:pt x="294" y="116"/>
                  <a:pt x="294" y="116"/>
                  <a:pt x="294" y="116"/>
                </a:cubicBezTo>
                <a:cubicBezTo>
                  <a:pt x="302" y="120"/>
                  <a:pt x="311" y="122"/>
                  <a:pt x="320" y="122"/>
                </a:cubicBezTo>
                <a:cubicBezTo>
                  <a:pt x="330" y="122"/>
                  <a:pt x="338" y="120"/>
                  <a:pt x="346" y="116"/>
                </a:cubicBezTo>
                <a:cubicBezTo>
                  <a:pt x="427" y="275"/>
                  <a:pt x="427" y="275"/>
                  <a:pt x="427" y="275"/>
                </a:cubicBezTo>
                <a:cubicBezTo>
                  <a:pt x="413" y="286"/>
                  <a:pt x="404" y="303"/>
                  <a:pt x="404" y="323"/>
                </a:cubicBezTo>
                <a:cubicBezTo>
                  <a:pt x="404" y="347"/>
                  <a:pt x="418" y="368"/>
                  <a:pt x="439" y="378"/>
                </a:cubicBezTo>
                <a:cubicBezTo>
                  <a:pt x="408" y="531"/>
                  <a:pt x="408" y="531"/>
                  <a:pt x="408" y="531"/>
                </a:cubicBezTo>
                <a:cubicBezTo>
                  <a:pt x="408" y="531"/>
                  <a:pt x="407" y="531"/>
                  <a:pt x="407" y="531"/>
                </a:cubicBezTo>
                <a:cubicBezTo>
                  <a:pt x="373" y="531"/>
                  <a:pt x="346" y="558"/>
                  <a:pt x="346" y="592"/>
                </a:cubicBezTo>
                <a:cubicBezTo>
                  <a:pt x="346" y="625"/>
                  <a:pt x="373" y="653"/>
                  <a:pt x="407" y="653"/>
                </a:cubicBezTo>
                <a:cubicBezTo>
                  <a:pt x="440" y="653"/>
                  <a:pt x="468" y="625"/>
                  <a:pt x="468" y="592"/>
                </a:cubicBezTo>
                <a:cubicBezTo>
                  <a:pt x="468" y="564"/>
                  <a:pt x="448" y="540"/>
                  <a:pt x="422" y="533"/>
                </a:cubicBezTo>
                <a:cubicBezTo>
                  <a:pt x="452" y="382"/>
                  <a:pt x="452" y="382"/>
                  <a:pt x="452" y="382"/>
                </a:cubicBezTo>
                <a:cubicBezTo>
                  <a:pt x="456" y="383"/>
                  <a:pt x="460" y="383"/>
                  <a:pt x="464" y="383"/>
                </a:cubicBezTo>
                <a:cubicBezTo>
                  <a:pt x="469" y="383"/>
                  <a:pt x="474" y="383"/>
                  <a:pt x="478" y="382"/>
                </a:cubicBezTo>
                <a:cubicBezTo>
                  <a:pt x="553" y="537"/>
                  <a:pt x="553" y="537"/>
                  <a:pt x="553" y="537"/>
                </a:cubicBezTo>
                <a:cubicBezTo>
                  <a:pt x="533" y="547"/>
                  <a:pt x="519" y="568"/>
                  <a:pt x="519" y="592"/>
                </a:cubicBezTo>
                <a:cubicBezTo>
                  <a:pt x="519" y="625"/>
                  <a:pt x="546" y="653"/>
                  <a:pt x="580" y="653"/>
                </a:cubicBezTo>
                <a:cubicBezTo>
                  <a:pt x="613" y="653"/>
                  <a:pt x="641" y="625"/>
                  <a:pt x="641" y="592"/>
                </a:cubicBezTo>
                <a:cubicBezTo>
                  <a:pt x="641" y="558"/>
                  <a:pt x="613" y="531"/>
                  <a:pt x="580" y="531"/>
                </a:cubicBezTo>
                <a:close/>
                <a:moveTo>
                  <a:pt x="108" y="592"/>
                </a:moveTo>
                <a:cubicBezTo>
                  <a:pt x="108" y="618"/>
                  <a:pt x="87" y="639"/>
                  <a:pt x="61" y="639"/>
                </a:cubicBezTo>
                <a:cubicBezTo>
                  <a:pt x="35" y="639"/>
                  <a:pt x="14" y="618"/>
                  <a:pt x="14" y="592"/>
                </a:cubicBezTo>
                <a:cubicBezTo>
                  <a:pt x="14" y="566"/>
                  <a:pt x="35" y="545"/>
                  <a:pt x="61" y="545"/>
                </a:cubicBezTo>
                <a:cubicBezTo>
                  <a:pt x="87" y="545"/>
                  <a:pt x="108" y="566"/>
                  <a:pt x="108" y="592"/>
                </a:cubicBezTo>
                <a:close/>
                <a:moveTo>
                  <a:pt x="281" y="592"/>
                </a:moveTo>
                <a:cubicBezTo>
                  <a:pt x="281" y="618"/>
                  <a:pt x="260" y="639"/>
                  <a:pt x="234" y="639"/>
                </a:cubicBezTo>
                <a:cubicBezTo>
                  <a:pt x="208" y="639"/>
                  <a:pt x="187" y="618"/>
                  <a:pt x="187" y="592"/>
                </a:cubicBezTo>
                <a:cubicBezTo>
                  <a:pt x="187" y="566"/>
                  <a:pt x="208" y="545"/>
                  <a:pt x="234" y="545"/>
                </a:cubicBezTo>
                <a:cubicBezTo>
                  <a:pt x="260" y="545"/>
                  <a:pt x="281" y="566"/>
                  <a:pt x="281" y="592"/>
                </a:cubicBezTo>
                <a:close/>
                <a:moveTo>
                  <a:pt x="223" y="323"/>
                </a:moveTo>
                <a:cubicBezTo>
                  <a:pt x="223" y="348"/>
                  <a:pt x="202" y="369"/>
                  <a:pt x="176" y="369"/>
                </a:cubicBezTo>
                <a:cubicBezTo>
                  <a:pt x="150" y="369"/>
                  <a:pt x="129" y="348"/>
                  <a:pt x="129" y="323"/>
                </a:cubicBezTo>
                <a:cubicBezTo>
                  <a:pt x="129" y="297"/>
                  <a:pt x="150" y="276"/>
                  <a:pt x="176" y="276"/>
                </a:cubicBezTo>
                <a:cubicBezTo>
                  <a:pt x="202" y="276"/>
                  <a:pt x="223" y="297"/>
                  <a:pt x="223" y="323"/>
                </a:cubicBezTo>
                <a:close/>
                <a:moveTo>
                  <a:pt x="273" y="61"/>
                </a:moveTo>
                <a:cubicBezTo>
                  <a:pt x="273" y="35"/>
                  <a:pt x="294" y="14"/>
                  <a:pt x="320" y="14"/>
                </a:cubicBezTo>
                <a:cubicBezTo>
                  <a:pt x="346" y="14"/>
                  <a:pt x="367" y="35"/>
                  <a:pt x="367" y="61"/>
                </a:cubicBezTo>
                <a:cubicBezTo>
                  <a:pt x="367" y="87"/>
                  <a:pt x="346" y="108"/>
                  <a:pt x="320" y="108"/>
                </a:cubicBezTo>
                <a:cubicBezTo>
                  <a:pt x="294" y="108"/>
                  <a:pt x="273" y="87"/>
                  <a:pt x="273" y="61"/>
                </a:cubicBezTo>
                <a:close/>
                <a:moveTo>
                  <a:pt x="454" y="592"/>
                </a:moveTo>
                <a:cubicBezTo>
                  <a:pt x="454" y="618"/>
                  <a:pt x="433" y="639"/>
                  <a:pt x="407" y="639"/>
                </a:cubicBezTo>
                <a:cubicBezTo>
                  <a:pt x="381" y="639"/>
                  <a:pt x="360" y="618"/>
                  <a:pt x="360" y="592"/>
                </a:cubicBezTo>
                <a:cubicBezTo>
                  <a:pt x="360" y="566"/>
                  <a:pt x="381" y="545"/>
                  <a:pt x="407" y="545"/>
                </a:cubicBezTo>
                <a:cubicBezTo>
                  <a:pt x="433" y="545"/>
                  <a:pt x="454" y="566"/>
                  <a:pt x="454" y="592"/>
                </a:cubicBezTo>
                <a:close/>
                <a:moveTo>
                  <a:pt x="418" y="323"/>
                </a:moveTo>
                <a:cubicBezTo>
                  <a:pt x="418" y="297"/>
                  <a:pt x="439" y="276"/>
                  <a:pt x="464" y="276"/>
                </a:cubicBezTo>
                <a:cubicBezTo>
                  <a:pt x="490" y="276"/>
                  <a:pt x="511" y="297"/>
                  <a:pt x="511" y="323"/>
                </a:cubicBezTo>
                <a:cubicBezTo>
                  <a:pt x="511" y="348"/>
                  <a:pt x="490" y="369"/>
                  <a:pt x="464" y="369"/>
                </a:cubicBezTo>
                <a:cubicBezTo>
                  <a:pt x="439" y="369"/>
                  <a:pt x="418" y="348"/>
                  <a:pt x="418" y="323"/>
                </a:cubicBezTo>
                <a:close/>
                <a:moveTo>
                  <a:pt x="580" y="639"/>
                </a:moveTo>
                <a:cubicBezTo>
                  <a:pt x="554" y="639"/>
                  <a:pt x="533" y="618"/>
                  <a:pt x="533" y="592"/>
                </a:cubicBezTo>
                <a:cubicBezTo>
                  <a:pt x="533" y="566"/>
                  <a:pt x="554" y="545"/>
                  <a:pt x="580" y="545"/>
                </a:cubicBezTo>
                <a:cubicBezTo>
                  <a:pt x="606" y="545"/>
                  <a:pt x="627" y="566"/>
                  <a:pt x="627" y="592"/>
                </a:cubicBezTo>
                <a:cubicBezTo>
                  <a:pt x="627" y="618"/>
                  <a:pt x="606" y="639"/>
                  <a:pt x="580" y="639"/>
                </a:cubicBez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24" name="Oval 25"/>
          <p:cNvSpPr>
            <a:spLocks noChangeArrowheads="1"/>
          </p:cNvSpPr>
          <p:nvPr/>
        </p:nvSpPr>
        <p:spPr bwMode="auto">
          <a:xfrm>
            <a:off x="4831649" y="4711628"/>
            <a:ext cx="1119124" cy="1119124"/>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9304" name="Freeform 117"/>
          <p:cNvSpPr>
            <a:spLocks noEditPoints="1"/>
          </p:cNvSpPr>
          <p:nvPr/>
        </p:nvSpPr>
        <p:spPr bwMode="auto">
          <a:xfrm>
            <a:off x="5070287" y="4995232"/>
            <a:ext cx="643026" cy="551913"/>
          </a:xfrm>
          <a:custGeom>
            <a:avLst/>
            <a:gdLst>
              <a:gd name="T0" fmla="*/ 611 w 611"/>
              <a:gd name="T1" fmla="*/ 143 h 523"/>
              <a:gd name="T2" fmla="*/ 610 w 611"/>
              <a:gd name="T3" fmla="*/ 143 h 523"/>
              <a:gd name="T4" fmla="*/ 610 w 611"/>
              <a:gd name="T5" fmla="*/ 142 h 523"/>
              <a:gd name="T6" fmla="*/ 610 w 611"/>
              <a:gd name="T7" fmla="*/ 141 h 523"/>
              <a:gd name="T8" fmla="*/ 609 w 611"/>
              <a:gd name="T9" fmla="*/ 140 h 523"/>
              <a:gd name="T10" fmla="*/ 609 w 611"/>
              <a:gd name="T11" fmla="*/ 140 h 523"/>
              <a:gd name="T12" fmla="*/ 609 w 611"/>
              <a:gd name="T13" fmla="*/ 140 h 523"/>
              <a:gd name="T14" fmla="*/ 609 w 611"/>
              <a:gd name="T15" fmla="*/ 140 h 523"/>
              <a:gd name="T16" fmla="*/ 522 w 611"/>
              <a:gd name="T17" fmla="*/ 4 h 523"/>
              <a:gd name="T18" fmla="*/ 516 w 611"/>
              <a:gd name="T19" fmla="*/ 0 h 523"/>
              <a:gd name="T20" fmla="*/ 95 w 611"/>
              <a:gd name="T21" fmla="*/ 0 h 523"/>
              <a:gd name="T22" fmla="*/ 89 w 611"/>
              <a:gd name="T23" fmla="*/ 4 h 523"/>
              <a:gd name="T24" fmla="*/ 1 w 611"/>
              <a:gd name="T25" fmla="*/ 140 h 523"/>
              <a:gd name="T26" fmla="*/ 1 w 611"/>
              <a:gd name="T27" fmla="*/ 140 h 523"/>
              <a:gd name="T28" fmla="*/ 1 w 611"/>
              <a:gd name="T29" fmla="*/ 140 h 523"/>
              <a:gd name="T30" fmla="*/ 1 w 611"/>
              <a:gd name="T31" fmla="*/ 140 h 523"/>
              <a:gd name="T32" fmla="*/ 0 w 611"/>
              <a:gd name="T33" fmla="*/ 141 h 523"/>
              <a:gd name="T34" fmla="*/ 0 w 611"/>
              <a:gd name="T35" fmla="*/ 142 h 523"/>
              <a:gd name="T36" fmla="*/ 0 w 611"/>
              <a:gd name="T37" fmla="*/ 143 h 523"/>
              <a:gd name="T38" fmla="*/ 0 w 611"/>
              <a:gd name="T39" fmla="*/ 143 h 523"/>
              <a:gd name="T40" fmla="*/ 0 w 611"/>
              <a:gd name="T41" fmla="*/ 143 h 523"/>
              <a:gd name="T42" fmla="*/ 0 w 611"/>
              <a:gd name="T43" fmla="*/ 516 h 523"/>
              <a:gd name="T44" fmla="*/ 7 w 611"/>
              <a:gd name="T45" fmla="*/ 523 h 523"/>
              <a:gd name="T46" fmla="*/ 604 w 611"/>
              <a:gd name="T47" fmla="*/ 523 h 523"/>
              <a:gd name="T48" fmla="*/ 611 w 611"/>
              <a:gd name="T49" fmla="*/ 516 h 523"/>
              <a:gd name="T50" fmla="*/ 611 w 611"/>
              <a:gd name="T51" fmla="*/ 143 h 523"/>
              <a:gd name="T52" fmla="*/ 611 w 611"/>
              <a:gd name="T53" fmla="*/ 143 h 523"/>
              <a:gd name="T54" fmla="*/ 98 w 611"/>
              <a:gd name="T55" fmla="*/ 14 h 523"/>
              <a:gd name="T56" fmla="*/ 512 w 611"/>
              <a:gd name="T57" fmla="*/ 14 h 523"/>
              <a:gd name="T58" fmla="*/ 591 w 611"/>
              <a:gd name="T59" fmla="*/ 136 h 523"/>
              <a:gd name="T60" fmla="*/ 20 w 611"/>
              <a:gd name="T61" fmla="*/ 136 h 523"/>
              <a:gd name="T62" fmla="*/ 98 w 611"/>
              <a:gd name="T63" fmla="*/ 14 h 523"/>
              <a:gd name="T64" fmla="*/ 597 w 611"/>
              <a:gd name="T65" fmla="*/ 509 h 523"/>
              <a:gd name="T66" fmla="*/ 14 w 611"/>
              <a:gd name="T67" fmla="*/ 509 h 523"/>
              <a:gd name="T68" fmla="*/ 14 w 611"/>
              <a:gd name="T69" fmla="*/ 150 h 523"/>
              <a:gd name="T70" fmla="*/ 597 w 611"/>
              <a:gd name="T71" fmla="*/ 150 h 523"/>
              <a:gd name="T72" fmla="*/ 597 w 611"/>
              <a:gd name="T73" fmla="*/ 509 h 523"/>
              <a:gd name="T74" fmla="*/ 177 w 611"/>
              <a:gd name="T75" fmla="*/ 310 h 523"/>
              <a:gd name="T76" fmla="*/ 433 w 611"/>
              <a:gd name="T77" fmla="*/ 310 h 523"/>
              <a:gd name="T78" fmla="*/ 470 w 611"/>
              <a:gd name="T79" fmla="*/ 273 h 523"/>
              <a:gd name="T80" fmla="*/ 433 w 611"/>
              <a:gd name="T81" fmla="*/ 236 h 523"/>
              <a:gd name="T82" fmla="*/ 177 w 611"/>
              <a:gd name="T83" fmla="*/ 236 h 523"/>
              <a:gd name="T84" fmla="*/ 140 w 611"/>
              <a:gd name="T85" fmla="*/ 273 h 523"/>
              <a:gd name="T86" fmla="*/ 177 w 611"/>
              <a:gd name="T87" fmla="*/ 310 h 523"/>
              <a:gd name="T88" fmla="*/ 177 w 611"/>
              <a:gd name="T89" fmla="*/ 250 h 523"/>
              <a:gd name="T90" fmla="*/ 433 w 611"/>
              <a:gd name="T91" fmla="*/ 250 h 523"/>
              <a:gd name="T92" fmla="*/ 456 w 611"/>
              <a:gd name="T93" fmla="*/ 273 h 523"/>
              <a:gd name="T94" fmla="*/ 433 w 611"/>
              <a:gd name="T95" fmla="*/ 296 h 523"/>
              <a:gd name="T96" fmla="*/ 177 w 611"/>
              <a:gd name="T97" fmla="*/ 296 h 523"/>
              <a:gd name="T98" fmla="*/ 154 w 611"/>
              <a:gd name="T99" fmla="*/ 273 h 523"/>
              <a:gd name="T100" fmla="*/ 177 w 611"/>
              <a:gd name="T101" fmla="*/ 250 h 5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11" h="523">
                <a:moveTo>
                  <a:pt x="611" y="143"/>
                </a:moveTo>
                <a:cubicBezTo>
                  <a:pt x="611" y="143"/>
                  <a:pt x="610" y="143"/>
                  <a:pt x="610" y="143"/>
                </a:cubicBezTo>
                <a:cubicBezTo>
                  <a:pt x="610" y="142"/>
                  <a:pt x="610" y="142"/>
                  <a:pt x="610" y="142"/>
                </a:cubicBezTo>
                <a:cubicBezTo>
                  <a:pt x="610" y="141"/>
                  <a:pt x="610" y="141"/>
                  <a:pt x="610" y="141"/>
                </a:cubicBezTo>
                <a:cubicBezTo>
                  <a:pt x="610" y="141"/>
                  <a:pt x="610" y="140"/>
                  <a:pt x="609" y="140"/>
                </a:cubicBezTo>
                <a:cubicBezTo>
                  <a:pt x="609" y="140"/>
                  <a:pt x="609" y="140"/>
                  <a:pt x="609" y="140"/>
                </a:cubicBezTo>
                <a:cubicBezTo>
                  <a:pt x="609" y="140"/>
                  <a:pt x="609" y="140"/>
                  <a:pt x="609" y="140"/>
                </a:cubicBezTo>
                <a:cubicBezTo>
                  <a:pt x="609" y="140"/>
                  <a:pt x="609" y="140"/>
                  <a:pt x="609" y="140"/>
                </a:cubicBezTo>
                <a:cubicBezTo>
                  <a:pt x="522" y="4"/>
                  <a:pt x="522" y="4"/>
                  <a:pt x="522" y="4"/>
                </a:cubicBezTo>
                <a:cubicBezTo>
                  <a:pt x="520" y="2"/>
                  <a:pt x="518" y="0"/>
                  <a:pt x="516" y="0"/>
                </a:cubicBezTo>
                <a:cubicBezTo>
                  <a:pt x="95" y="0"/>
                  <a:pt x="95" y="0"/>
                  <a:pt x="95" y="0"/>
                </a:cubicBezTo>
                <a:cubicBezTo>
                  <a:pt x="92" y="0"/>
                  <a:pt x="90" y="2"/>
                  <a:pt x="89" y="4"/>
                </a:cubicBezTo>
                <a:cubicBezTo>
                  <a:pt x="1" y="140"/>
                  <a:pt x="1" y="140"/>
                  <a:pt x="1" y="140"/>
                </a:cubicBezTo>
                <a:cubicBezTo>
                  <a:pt x="1" y="140"/>
                  <a:pt x="1" y="140"/>
                  <a:pt x="1" y="140"/>
                </a:cubicBezTo>
                <a:cubicBezTo>
                  <a:pt x="1" y="140"/>
                  <a:pt x="1" y="140"/>
                  <a:pt x="1" y="140"/>
                </a:cubicBezTo>
                <a:cubicBezTo>
                  <a:pt x="1" y="140"/>
                  <a:pt x="1" y="140"/>
                  <a:pt x="1" y="140"/>
                </a:cubicBezTo>
                <a:cubicBezTo>
                  <a:pt x="1" y="140"/>
                  <a:pt x="0" y="141"/>
                  <a:pt x="0" y="141"/>
                </a:cubicBezTo>
                <a:cubicBezTo>
                  <a:pt x="0" y="141"/>
                  <a:pt x="0" y="141"/>
                  <a:pt x="0" y="142"/>
                </a:cubicBezTo>
                <a:cubicBezTo>
                  <a:pt x="0" y="142"/>
                  <a:pt x="0" y="142"/>
                  <a:pt x="0" y="143"/>
                </a:cubicBezTo>
                <a:cubicBezTo>
                  <a:pt x="0" y="143"/>
                  <a:pt x="0" y="143"/>
                  <a:pt x="0" y="143"/>
                </a:cubicBezTo>
                <a:cubicBezTo>
                  <a:pt x="0" y="143"/>
                  <a:pt x="0" y="143"/>
                  <a:pt x="0" y="143"/>
                </a:cubicBezTo>
                <a:cubicBezTo>
                  <a:pt x="0" y="516"/>
                  <a:pt x="0" y="516"/>
                  <a:pt x="0" y="516"/>
                </a:cubicBezTo>
                <a:cubicBezTo>
                  <a:pt x="0" y="520"/>
                  <a:pt x="3" y="523"/>
                  <a:pt x="7" y="523"/>
                </a:cubicBezTo>
                <a:cubicBezTo>
                  <a:pt x="604" y="523"/>
                  <a:pt x="604" y="523"/>
                  <a:pt x="604" y="523"/>
                </a:cubicBezTo>
                <a:cubicBezTo>
                  <a:pt x="607" y="523"/>
                  <a:pt x="611" y="520"/>
                  <a:pt x="611" y="516"/>
                </a:cubicBezTo>
                <a:cubicBezTo>
                  <a:pt x="611" y="143"/>
                  <a:pt x="611" y="143"/>
                  <a:pt x="611" y="143"/>
                </a:cubicBezTo>
                <a:cubicBezTo>
                  <a:pt x="611" y="143"/>
                  <a:pt x="611" y="143"/>
                  <a:pt x="611" y="143"/>
                </a:cubicBezTo>
                <a:close/>
                <a:moveTo>
                  <a:pt x="98" y="14"/>
                </a:moveTo>
                <a:cubicBezTo>
                  <a:pt x="512" y="14"/>
                  <a:pt x="512" y="14"/>
                  <a:pt x="512" y="14"/>
                </a:cubicBezTo>
                <a:cubicBezTo>
                  <a:pt x="591" y="136"/>
                  <a:pt x="591" y="136"/>
                  <a:pt x="591" y="136"/>
                </a:cubicBezTo>
                <a:cubicBezTo>
                  <a:pt x="20" y="136"/>
                  <a:pt x="20" y="136"/>
                  <a:pt x="20" y="136"/>
                </a:cubicBezTo>
                <a:lnTo>
                  <a:pt x="98" y="14"/>
                </a:lnTo>
                <a:close/>
                <a:moveTo>
                  <a:pt x="597" y="509"/>
                </a:moveTo>
                <a:cubicBezTo>
                  <a:pt x="14" y="509"/>
                  <a:pt x="14" y="509"/>
                  <a:pt x="14" y="509"/>
                </a:cubicBezTo>
                <a:cubicBezTo>
                  <a:pt x="14" y="150"/>
                  <a:pt x="14" y="150"/>
                  <a:pt x="14" y="150"/>
                </a:cubicBezTo>
                <a:cubicBezTo>
                  <a:pt x="597" y="150"/>
                  <a:pt x="597" y="150"/>
                  <a:pt x="597" y="150"/>
                </a:cubicBezTo>
                <a:lnTo>
                  <a:pt x="597" y="509"/>
                </a:lnTo>
                <a:close/>
                <a:moveTo>
                  <a:pt x="177" y="310"/>
                </a:moveTo>
                <a:cubicBezTo>
                  <a:pt x="433" y="310"/>
                  <a:pt x="433" y="310"/>
                  <a:pt x="433" y="310"/>
                </a:cubicBezTo>
                <a:cubicBezTo>
                  <a:pt x="454" y="310"/>
                  <a:pt x="470" y="293"/>
                  <a:pt x="470" y="273"/>
                </a:cubicBezTo>
                <a:cubicBezTo>
                  <a:pt x="470" y="252"/>
                  <a:pt x="454" y="236"/>
                  <a:pt x="433" y="236"/>
                </a:cubicBezTo>
                <a:cubicBezTo>
                  <a:pt x="177" y="236"/>
                  <a:pt x="177" y="236"/>
                  <a:pt x="177" y="236"/>
                </a:cubicBezTo>
                <a:cubicBezTo>
                  <a:pt x="157" y="236"/>
                  <a:pt x="140" y="252"/>
                  <a:pt x="140" y="273"/>
                </a:cubicBezTo>
                <a:cubicBezTo>
                  <a:pt x="140" y="293"/>
                  <a:pt x="157" y="310"/>
                  <a:pt x="177" y="310"/>
                </a:cubicBezTo>
                <a:close/>
                <a:moveTo>
                  <a:pt x="177" y="250"/>
                </a:moveTo>
                <a:cubicBezTo>
                  <a:pt x="433" y="250"/>
                  <a:pt x="433" y="250"/>
                  <a:pt x="433" y="250"/>
                </a:cubicBezTo>
                <a:cubicBezTo>
                  <a:pt x="446" y="250"/>
                  <a:pt x="456" y="260"/>
                  <a:pt x="456" y="273"/>
                </a:cubicBezTo>
                <a:cubicBezTo>
                  <a:pt x="456" y="285"/>
                  <a:pt x="446" y="296"/>
                  <a:pt x="433" y="296"/>
                </a:cubicBezTo>
                <a:cubicBezTo>
                  <a:pt x="177" y="296"/>
                  <a:pt x="177" y="296"/>
                  <a:pt x="177" y="296"/>
                </a:cubicBezTo>
                <a:cubicBezTo>
                  <a:pt x="164" y="296"/>
                  <a:pt x="154" y="285"/>
                  <a:pt x="154" y="273"/>
                </a:cubicBezTo>
                <a:cubicBezTo>
                  <a:pt x="154" y="260"/>
                  <a:pt x="164" y="250"/>
                  <a:pt x="177" y="250"/>
                </a:cubicBez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31" name="Oval 32"/>
          <p:cNvSpPr>
            <a:spLocks noChangeArrowheads="1"/>
          </p:cNvSpPr>
          <p:nvPr/>
        </p:nvSpPr>
        <p:spPr bwMode="auto">
          <a:xfrm>
            <a:off x="10105564" y="3120088"/>
            <a:ext cx="1119124" cy="1119124"/>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9305" name="Freeform 118"/>
          <p:cNvSpPr>
            <a:spLocks noEditPoints="1"/>
          </p:cNvSpPr>
          <p:nvPr/>
        </p:nvSpPr>
        <p:spPr bwMode="auto">
          <a:xfrm>
            <a:off x="10412383" y="3346031"/>
            <a:ext cx="504312" cy="667238"/>
          </a:xfrm>
          <a:custGeom>
            <a:avLst/>
            <a:gdLst>
              <a:gd name="T0" fmla="*/ 240 w 479"/>
              <a:gd name="T1" fmla="*/ 633 h 633"/>
              <a:gd name="T2" fmla="*/ 238 w 479"/>
              <a:gd name="T3" fmla="*/ 633 h 633"/>
              <a:gd name="T4" fmla="*/ 103 w 479"/>
              <a:gd name="T5" fmla="*/ 553 h 633"/>
              <a:gd name="T6" fmla="*/ 0 w 479"/>
              <a:gd name="T7" fmla="*/ 435 h 633"/>
              <a:gd name="T8" fmla="*/ 0 w 479"/>
              <a:gd name="T9" fmla="*/ 45 h 633"/>
              <a:gd name="T10" fmla="*/ 5 w 479"/>
              <a:gd name="T11" fmla="*/ 39 h 633"/>
              <a:gd name="T12" fmla="*/ 239 w 479"/>
              <a:gd name="T13" fmla="*/ 0 h 633"/>
              <a:gd name="T14" fmla="*/ 474 w 479"/>
              <a:gd name="T15" fmla="*/ 39 h 633"/>
              <a:gd name="T16" fmla="*/ 479 w 479"/>
              <a:gd name="T17" fmla="*/ 45 h 633"/>
              <a:gd name="T18" fmla="*/ 479 w 479"/>
              <a:gd name="T19" fmla="*/ 435 h 633"/>
              <a:gd name="T20" fmla="*/ 374 w 479"/>
              <a:gd name="T21" fmla="*/ 560 h 633"/>
              <a:gd name="T22" fmla="*/ 241 w 479"/>
              <a:gd name="T23" fmla="*/ 633 h 633"/>
              <a:gd name="T24" fmla="*/ 240 w 479"/>
              <a:gd name="T25" fmla="*/ 633 h 633"/>
              <a:gd name="T26" fmla="*/ 14 w 479"/>
              <a:gd name="T27" fmla="*/ 51 h 633"/>
              <a:gd name="T28" fmla="*/ 14 w 479"/>
              <a:gd name="T29" fmla="*/ 435 h 633"/>
              <a:gd name="T30" fmla="*/ 111 w 479"/>
              <a:gd name="T31" fmla="*/ 542 h 633"/>
              <a:gd name="T32" fmla="*/ 240 w 479"/>
              <a:gd name="T33" fmla="*/ 619 h 633"/>
              <a:gd name="T34" fmla="*/ 465 w 479"/>
              <a:gd name="T35" fmla="*/ 435 h 633"/>
              <a:gd name="T36" fmla="*/ 465 w 479"/>
              <a:gd name="T37" fmla="*/ 51 h 633"/>
              <a:gd name="T38" fmla="*/ 239 w 479"/>
              <a:gd name="T39" fmla="*/ 14 h 633"/>
              <a:gd name="T40" fmla="*/ 14 w 479"/>
              <a:gd name="T41" fmla="*/ 51 h 633"/>
              <a:gd name="T42" fmla="*/ 419 w 479"/>
              <a:gd name="T43" fmla="*/ 522 h 633"/>
              <a:gd name="T44" fmla="*/ 415 w 479"/>
              <a:gd name="T45" fmla="*/ 520 h 633"/>
              <a:gd name="T46" fmla="*/ 3 w 479"/>
              <a:gd name="T47" fmla="*/ 207 h 633"/>
              <a:gd name="T48" fmla="*/ 0 w 479"/>
              <a:gd name="T49" fmla="*/ 201 h 633"/>
              <a:gd name="T50" fmla="*/ 0 w 479"/>
              <a:gd name="T51" fmla="*/ 45 h 633"/>
              <a:gd name="T52" fmla="*/ 5 w 479"/>
              <a:gd name="T53" fmla="*/ 39 h 633"/>
              <a:gd name="T54" fmla="*/ 59 w 479"/>
              <a:gd name="T55" fmla="*/ 24 h 633"/>
              <a:gd name="T56" fmla="*/ 65 w 479"/>
              <a:gd name="T57" fmla="*/ 25 h 633"/>
              <a:gd name="T58" fmla="*/ 476 w 479"/>
              <a:gd name="T59" fmla="*/ 338 h 633"/>
              <a:gd name="T60" fmla="*/ 479 w 479"/>
              <a:gd name="T61" fmla="*/ 343 h 633"/>
              <a:gd name="T62" fmla="*/ 479 w 479"/>
              <a:gd name="T63" fmla="*/ 435 h 633"/>
              <a:gd name="T64" fmla="*/ 424 w 479"/>
              <a:gd name="T65" fmla="*/ 520 h 633"/>
              <a:gd name="T66" fmla="*/ 419 w 479"/>
              <a:gd name="T67" fmla="*/ 522 h 633"/>
              <a:gd name="T68" fmla="*/ 14 w 479"/>
              <a:gd name="T69" fmla="*/ 198 h 633"/>
              <a:gd name="T70" fmla="*/ 419 w 479"/>
              <a:gd name="T71" fmla="*/ 506 h 633"/>
              <a:gd name="T72" fmla="*/ 465 w 479"/>
              <a:gd name="T73" fmla="*/ 435 h 633"/>
              <a:gd name="T74" fmla="*/ 465 w 479"/>
              <a:gd name="T75" fmla="*/ 347 h 633"/>
              <a:gd name="T76" fmla="*/ 59 w 479"/>
              <a:gd name="T77" fmla="*/ 38 h 633"/>
              <a:gd name="T78" fmla="*/ 14 w 479"/>
              <a:gd name="T79" fmla="*/ 51 h 633"/>
              <a:gd name="T80" fmla="*/ 14 w 479"/>
              <a:gd name="T81" fmla="*/ 198 h 6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79" h="633">
                <a:moveTo>
                  <a:pt x="240" y="633"/>
                </a:moveTo>
                <a:cubicBezTo>
                  <a:pt x="239" y="633"/>
                  <a:pt x="239" y="633"/>
                  <a:pt x="238" y="633"/>
                </a:cubicBezTo>
                <a:cubicBezTo>
                  <a:pt x="215" y="628"/>
                  <a:pt x="155" y="593"/>
                  <a:pt x="103" y="553"/>
                </a:cubicBezTo>
                <a:cubicBezTo>
                  <a:pt x="13" y="486"/>
                  <a:pt x="0" y="450"/>
                  <a:pt x="0" y="435"/>
                </a:cubicBezTo>
                <a:cubicBezTo>
                  <a:pt x="0" y="45"/>
                  <a:pt x="0" y="45"/>
                  <a:pt x="0" y="45"/>
                </a:cubicBezTo>
                <a:cubicBezTo>
                  <a:pt x="0" y="42"/>
                  <a:pt x="2" y="40"/>
                  <a:pt x="5" y="39"/>
                </a:cubicBezTo>
                <a:cubicBezTo>
                  <a:pt x="91" y="13"/>
                  <a:pt x="168" y="0"/>
                  <a:pt x="239" y="0"/>
                </a:cubicBezTo>
                <a:cubicBezTo>
                  <a:pt x="327" y="0"/>
                  <a:pt x="415" y="21"/>
                  <a:pt x="474" y="39"/>
                </a:cubicBezTo>
                <a:cubicBezTo>
                  <a:pt x="477" y="40"/>
                  <a:pt x="479" y="42"/>
                  <a:pt x="479" y="45"/>
                </a:cubicBezTo>
                <a:cubicBezTo>
                  <a:pt x="479" y="435"/>
                  <a:pt x="479" y="435"/>
                  <a:pt x="479" y="435"/>
                </a:cubicBezTo>
                <a:cubicBezTo>
                  <a:pt x="479" y="476"/>
                  <a:pt x="422" y="526"/>
                  <a:pt x="374" y="560"/>
                </a:cubicBezTo>
                <a:cubicBezTo>
                  <a:pt x="321" y="598"/>
                  <a:pt x="261" y="629"/>
                  <a:pt x="241" y="633"/>
                </a:cubicBezTo>
                <a:cubicBezTo>
                  <a:pt x="241" y="633"/>
                  <a:pt x="240" y="633"/>
                  <a:pt x="240" y="633"/>
                </a:cubicBezTo>
                <a:close/>
                <a:moveTo>
                  <a:pt x="14" y="51"/>
                </a:moveTo>
                <a:cubicBezTo>
                  <a:pt x="14" y="435"/>
                  <a:pt x="14" y="435"/>
                  <a:pt x="14" y="435"/>
                </a:cubicBezTo>
                <a:cubicBezTo>
                  <a:pt x="14" y="456"/>
                  <a:pt x="50" y="496"/>
                  <a:pt x="111" y="542"/>
                </a:cubicBezTo>
                <a:cubicBezTo>
                  <a:pt x="166" y="583"/>
                  <a:pt x="220" y="614"/>
                  <a:pt x="240" y="619"/>
                </a:cubicBezTo>
                <a:cubicBezTo>
                  <a:pt x="280" y="609"/>
                  <a:pt x="465" y="499"/>
                  <a:pt x="465" y="435"/>
                </a:cubicBezTo>
                <a:cubicBezTo>
                  <a:pt x="465" y="51"/>
                  <a:pt x="465" y="51"/>
                  <a:pt x="465" y="51"/>
                </a:cubicBezTo>
                <a:cubicBezTo>
                  <a:pt x="407" y="34"/>
                  <a:pt x="322" y="14"/>
                  <a:pt x="239" y="14"/>
                </a:cubicBezTo>
                <a:cubicBezTo>
                  <a:pt x="171" y="14"/>
                  <a:pt x="97" y="26"/>
                  <a:pt x="14" y="51"/>
                </a:cubicBezTo>
                <a:close/>
                <a:moveTo>
                  <a:pt x="419" y="522"/>
                </a:moveTo>
                <a:cubicBezTo>
                  <a:pt x="418" y="522"/>
                  <a:pt x="417" y="521"/>
                  <a:pt x="415" y="520"/>
                </a:cubicBezTo>
                <a:cubicBezTo>
                  <a:pt x="3" y="207"/>
                  <a:pt x="3" y="207"/>
                  <a:pt x="3" y="207"/>
                </a:cubicBezTo>
                <a:cubicBezTo>
                  <a:pt x="1" y="206"/>
                  <a:pt x="0" y="203"/>
                  <a:pt x="0" y="201"/>
                </a:cubicBezTo>
                <a:cubicBezTo>
                  <a:pt x="0" y="45"/>
                  <a:pt x="0" y="45"/>
                  <a:pt x="0" y="45"/>
                </a:cubicBezTo>
                <a:cubicBezTo>
                  <a:pt x="0" y="42"/>
                  <a:pt x="2" y="40"/>
                  <a:pt x="5" y="39"/>
                </a:cubicBezTo>
                <a:cubicBezTo>
                  <a:pt x="23" y="33"/>
                  <a:pt x="41" y="28"/>
                  <a:pt x="59" y="24"/>
                </a:cubicBezTo>
                <a:cubicBezTo>
                  <a:pt x="61" y="23"/>
                  <a:pt x="63" y="24"/>
                  <a:pt x="65" y="25"/>
                </a:cubicBezTo>
                <a:cubicBezTo>
                  <a:pt x="476" y="338"/>
                  <a:pt x="476" y="338"/>
                  <a:pt x="476" y="338"/>
                </a:cubicBezTo>
                <a:cubicBezTo>
                  <a:pt x="478" y="339"/>
                  <a:pt x="479" y="341"/>
                  <a:pt x="479" y="343"/>
                </a:cubicBezTo>
                <a:cubicBezTo>
                  <a:pt x="479" y="435"/>
                  <a:pt x="479" y="435"/>
                  <a:pt x="479" y="435"/>
                </a:cubicBezTo>
                <a:cubicBezTo>
                  <a:pt x="479" y="458"/>
                  <a:pt x="460" y="487"/>
                  <a:pt x="424" y="520"/>
                </a:cubicBezTo>
                <a:cubicBezTo>
                  <a:pt x="423" y="521"/>
                  <a:pt x="421" y="522"/>
                  <a:pt x="419" y="522"/>
                </a:cubicBezTo>
                <a:close/>
                <a:moveTo>
                  <a:pt x="14" y="198"/>
                </a:moveTo>
                <a:cubicBezTo>
                  <a:pt x="419" y="506"/>
                  <a:pt x="419" y="506"/>
                  <a:pt x="419" y="506"/>
                </a:cubicBezTo>
                <a:cubicBezTo>
                  <a:pt x="449" y="477"/>
                  <a:pt x="465" y="453"/>
                  <a:pt x="465" y="435"/>
                </a:cubicBezTo>
                <a:cubicBezTo>
                  <a:pt x="465" y="347"/>
                  <a:pt x="465" y="347"/>
                  <a:pt x="465" y="347"/>
                </a:cubicBezTo>
                <a:cubicBezTo>
                  <a:pt x="59" y="38"/>
                  <a:pt x="59" y="38"/>
                  <a:pt x="59" y="38"/>
                </a:cubicBezTo>
                <a:cubicBezTo>
                  <a:pt x="44" y="42"/>
                  <a:pt x="29" y="46"/>
                  <a:pt x="14" y="51"/>
                </a:cubicBezTo>
                <a:lnTo>
                  <a:pt x="14" y="198"/>
                </a:ln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29" name="Oval 30"/>
          <p:cNvSpPr>
            <a:spLocks noChangeArrowheads="1"/>
          </p:cNvSpPr>
          <p:nvPr/>
        </p:nvSpPr>
        <p:spPr bwMode="auto">
          <a:xfrm>
            <a:off x="10105564" y="4711628"/>
            <a:ext cx="1119124" cy="1119124"/>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9330" name="Freeform 143"/>
          <p:cNvSpPr>
            <a:spLocks noEditPoints="1"/>
          </p:cNvSpPr>
          <p:nvPr/>
        </p:nvSpPr>
        <p:spPr bwMode="auto">
          <a:xfrm>
            <a:off x="10371239" y="5022301"/>
            <a:ext cx="587776" cy="497781"/>
          </a:xfrm>
          <a:custGeom>
            <a:avLst/>
            <a:gdLst>
              <a:gd name="T0" fmla="*/ 527 w 559"/>
              <a:gd name="T1" fmla="*/ 473 h 473"/>
              <a:gd name="T2" fmla="*/ 33 w 559"/>
              <a:gd name="T3" fmla="*/ 473 h 473"/>
              <a:gd name="T4" fmla="*/ 6 w 559"/>
              <a:gd name="T5" fmla="*/ 458 h 473"/>
              <a:gd name="T6" fmla="*/ 6 w 559"/>
              <a:gd name="T7" fmla="*/ 426 h 473"/>
              <a:gd name="T8" fmla="*/ 253 w 559"/>
              <a:gd name="T9" fmla="*/ 15 h 473"/>
              <a:gd name="T10" fmla="*/ 280 w 559"/>
              <a:gd name="T11" fmla="*/ 0 h 473"/>
              <a:gd name="T12" fmla="*/ 306 w 559"/>
              <a:gd name="T13" fmla="*/ 15 h 473"/>
              <a:gd name="T14" fmla="*/ 553 w 559"/>
              <a:gd name="T15" fmla="*/ 426 h 473"/>
              <a:gd name="T16" fmla="*/ 554 w 559"/>
              <a:gd name="T17" fmla="*/ 458 h 473"/>
              <a:gd name="T18" fmla="*/ 527 w 559"/>
              <a:gd name="T19" fmla="*/ 473 h 473"/>
              <a:gd name="T20" fmla="*/ 280 w 559"/>
              <a:gd name="T21" fmla="*/ 14 h 473"/>
              <a:gd name="T22" fmla="*/ 265 w 559"/>
              <a:gd name="T23" fmla="*/ 22 h 473"/>
              <a:gd name="T24" fmla="*/ 18 w 559"/>
              <a:gd name="T25" fmla="*/ 434 h 473"/>
              <a:gd name="T26" fmla="*/ 18 w 559"/>
              <a:gd name="T27" fmla="*/ 451 h 473"/>
              <a:gd name="T28" fmla="*/ 33 w 559"/>
              <a:gd name="T29" fmla="*/ 459 h 473"/>
              <a:gd name="T30" fmla="*/ 527 w 559"/>
              <a:gd name="T31" fmla="*/ 459 h 473"/>
              <a:gd name="T32" fmla="*/ 542 w 559"/>
              <a:gd name="T33" fmla="*/ 451 h 473"/>
              <a:gd name="T34" fmla="*/ 541 w 559"/>
              <a:gd name="T35" fmla="*/ 434 h 473"/>
              <a:gd name="T36" fmla="*/ 294 w 559"/>
              <a:gd name="T37" fmla="*/ 22 h 473"/>
              <a:gd name="T38" fmla="*/ 280 w 559"/>
              <a:gd name="T39" fmla="*/ 14 h 473"/>
              <a:gd name="T40" fmla="*/ 287 w 559"/>
              <a:gd name="T41" fmla="*/ 310 h 473"/>
              <a:gd name="T42" fmla="*/ 287 w 559"/>
              <a:gd name="T43" fmla="*/ 139 h 473"/>
              <a:gd name="T44" fmla="*/ 280 w 559"/>
              <a:gd name="T45" fmla="*/ 132 h 473"/>
              <a:gd name="T46" fmla="*/ 273 w 559"/>
              <a:gd name="T47" fmla="*/ 139 h 473"/>
              <a:gd name="T48" fmla="*/ 273 w 559"/>
              <a:gd name="T49" fmla="*/ 310 h 473"/>
              <a:gd name="T50" fmla="*/ 280 w 559"/>
              <a:gd name="T51" fmla="*/ 317 h 473"/>
              <a:gd name="T52" fmla="*/ 287 w 559"/>
              <a:gd name="T53" fmla="*/ 310 h 473"/>
              <a:gd name="T54" fmla="*/ 280 w 559"/>
              <a:gd name="T55" fmla="*/ 401 h 473"/>
              <a:gd name="T56" fmla="*/ 260 w 559"/>
              <a:gd name="T57" fmla="*/ 381 h 473"/>
              <a:gd name="T58" fmla="*/ 280 w 559"/>
              <a:gd name="T59" fmla="*/ 362 h 473"/>
              <a:gd name="T60" fmla="*/ 299 w 559"/>
              <a:gd name="T61" fmla="*/ 381 h 473"/>
              <a:gd name="T62" fmla="*/ 280 w 559"/>
              <a:gd name="T63" fmla="*/ 401 h 473"/>
              <a:gd name="T64" fmla="*/ 280 w 559"/>
              <a:gd name="T65" fmla="*/ 376 h 473"/>
              <a:gd name="T66" fmla="*/ 274 w 559"/>
              <a:gd name="T67" fmla="*/ 381 h 473"/>
              <a:gd name="T68" fmla="*/ 280 w 559"/>
              <a:gd name="T69" fmla="*/ 387 h 473"/>
              <a:gd name="T70" fmla="*/ 285 w 559"/>
              <a:gd name="T71" fmla="*/ 381 h 473"/>
              <a:gd name="T72" fmla="*/ 280 w 559"/>
              <a:gd name="T73" fmla="*/ 376 h 4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59" h="473">
                <a:moveTo>
                  <a:pt x="527" y="473"/>
                </a:moveTo>
                <a:cubicBezTo>
                  <a:pt x="33" y="473"/>
                  <a:pt x="33" y="473"/>
                  <a:pt x="33" y="473"/>
                </a:cubicBezTo>
                <a:cubicBezTo>
                  <a:pt x="22" y="473"/>
                  <a:pt x="11" y="467"/>
                  <a:pt x="6" y="458"/>
                </a:cubicBezTo>
                <a:cubicBezTo>
                  <a:pt x="0" y="448"/>
                  <a:pt x="0" y="436"/>
                  <a:pt x="6" y="426"/>
                </a:cubicBezTo>
                <a:cubicBezTo>
                  <a:pt x="253" y="15"/>
                  <a:pt x="253" y="15"/>
                  <a:pt x="253" y="15"/>
                </a:cubicBezTo>
                <a:cubicBezTo>
                  <a:pt x="259" y="5"/>
                  <a:pt x="269" y="0"/>
                  <a:pt x="280" y="0"/>
                </a:cubicBezTo>
                <a:cubicBezTo>
                  <a:pt x="291" y="0"/>
                  <a:pt x="301" y="5"/>
                  <a:pt x="306" y="15"/>
                </a:cubicBezTo>
                <a:cubicBezTo>
                  <a:pt x="553" y="426"/>
                  <a:pt x="553" y="426"/>
                  <a:pt x="553" y="426"/>
                </a:cubicBezTo>
                <a:cubicBezTo>
                  <a:pt x="559" y="436"/>
                  <a:pt x="559" y="448"/>
                  <a:pt x="554" y="458"/>
                </a:cubicBezTo>
                <a:cubicBezTo>
                  <a:pt x="548" y="467"/>
                  <a:pt x="538" y="473"/>
                  <a:pt x="527" y="473"/>
                </a:cubicBezTo>
                <a:close/>
                <a:moveTo>
                  <a:pt x="280" y="14"/>
                </a:moveTo>
                <a:cubicBezTo>
                  <a:pt x="274" y="14"/>
                  <a:pt x="268" y="17"/>
                  <a:pt x="265" y="22"/>
                </a:cubicBezTo>
                <a:cubicBezTo>
                  <a:pt x="18" y="434"/>
                  <a:pt x="18" y="434"/>
                  <a:pt x="18" y="434"/>
                </a:cubicBezTo>
                <a:cubicBezTo>
                  <a:pt x="15" y="439"/>
                  <a:pt x="15" y="445"/>
                  <a:pt x="18" y="451"/>
                </a:cubicBezTo>
                <a:cubicBezTo>
                  <a:pt x="21" y="456"/>
                  <a:pt x="27" y="459"/>
                  <a:pt x="33" y="459"/>
                </a:cubicBezTo>
                <a:cubicBezTo>
                  <a:pt x="527" y="459"/>
                  <a:pt x="527" y="459"/>
                  <a:pt x="527" y="459"/>
                </a:cubicBezTo>
                <a:cubicBezTo>
                  <a:pt x="533" y="459"/>
                  <a:pt x="539" y="456"/>
                  <a:pt x="542" y="451"/>
                </a:cubicBezTo>
                <a:cubicBezTo>
                  <a:pt x="545" y="445"/>
                  <a:pt x="545" y="439"/>
                  <a:pt x="541" y="434"/>
                </a:cubicBezTo>
                <a:cubicBezTo>
                  <a:pt x="294" y="22"/>
                  <a:pt x="294" y="22"/>
                  <a:pt x="294" y="22"/>
                </a:cubicBezTo>
                <a:cubicBezTo>
                  <a:pt x="291" y="17"/>
                  <a:pt x="286" y="14"/>
                  <a:pt x="280" y="14"/>
                </a:cubicBezTo>
                <a:close/>
                <a:moveTo>
                  <a:pt x="287" y="310"/>
                </a:moveTo>
                <a:cubicBezTo>
                  <a:pt x="287" y="139"/>
                  <a:pt x="287" y="139"/>
                  <a:pt x="287" y="139"/>
                </a:cubicBezTo>
                <a:cubicBezTo>
                  <a:pt x="287" y="135"/>
                  <a:pt x="284" y="132"/>
                  <a:pt x="280" y="132"/>
                </a:cubicBezTo>
                <a:cubicBezTo>
                  <a:pt x="276" y="132"/>
                  <a:pt x="273" y="135"/>
                  <a:pt x="273" y="139"/>
                </a:cubicBezTo>
                <a:cubicBezTo>
                  <a:pt x="273" y="310"/>
                  <a:pt x="273" y="310"/>
                  <a:pt x="273" y="310"/>
                </a:cubicBezTo>
                <a:cubicBezTo>
                  <a:pt x="273" y="314"/>
                  <a:pt x="276" y="317"/>
                  <a:pt x="280" y="317"/>
                </a:cubicBezTo>
                <a:cubicBezTo>
                  <a:pt x="284" y="317"/>
                  <a:pt x="287" y="314"/>
                  <a:pt x="287" y="310"/>
                </a:cubicBezTo>
                <a:close/>
                <a:moveTo>
                  <a:pt x="280" y="401"/>
                </a:moveTo>
                <a:cubicBezTo>
                  <a:pt x="269" y="401"/>
                  <a:pt x="260" y="392"/>
                  <a:pt x="260" y="381"/>
                </a:cubicBezTo>
                <a:cubicBezTo>
                  <a:pt x="260" y="370"/>
                  <a:pt x="269" y="362"/>
                  <a:pt x="280" y="362"/>
                </a:cubicBezTo>
                <a:cubicBezTo>
                  <a:pt x="291" y="362"/>
                  <a:pt x="299" y="370"/>
                  <a:pt x="299" y="381"/>
                </a:cubicBezTo>
                <a:cubicBezTo>
                  <a:pt x="299" y="392"/>
                  <a:pt x="291" y="401"/>
                  <a:pt x="280" y="401"/>
                </a:cubicBezTo>
                <a:close/>
                <a:moveTo>
                  <a:pt x="280" y="376"/>
                </a:moveTo>
                <a:cubicBezTo>
                  <a:pt x="277" y="376"/>
                  <a:pt x="274" y="378"/>
                  <a:pt x="274" y="381"/>
                </a:cubicBezTo>
                <a:cubicBezTo>
                  <a:pt x="274" y="384"/>
                  <a:pt x="277" y="387"/>
                  <a:pt x="280" y="387"/>
                </a:cubicBezTo>
                <a:cubicBezTo>
                  <a:pt x="283" y="387"/>
                  <a:pt x="285" y="384"/>
                  <a:pt x="285" y="381"/>
                </a:cubicBezTo>
                <a:cubicBezTo>
                  <a:pt x="285" y="378"/>
                  <a:pt x="283" y="376"/>
                  <a:pt x="280" y="376"/>
                </a:cubicBez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endParaRPr lang="en-US" sz="1836"/>
          </a:p>
        </p:txBody>
      </p:sp>
    </p:spTree>
    <p:extLst>
      <p:ext uri="{BB962C8B-B14F-4D97-AF65-F5344CB8AC3E}">
        <p14:creationId xmlns:p14="http://schemas.microsoft.com/office/powerpoint/2010/main" val="2561212387"/>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2" cstate="screen">
            <a:extLst>
              <a:ext uri="{BEBA8EAE-BF5A-486C-A8C5-ECC9F3942E4B}">
                <a14:imgProps xmlns:a14="http://schemas.microsoft.com/office/drawing/2010/main">
                  <a14:imgLayer r:embed="rId3">
                    <a14:imgEffect>
                      <a14:brightnessContrast bright="-40000" contrast="-20000"/>
                    </a14:imgEffect>
                  </a14:imgLayer>
                </a14:imgProps>
              </a:ext>
              <a:ext uri="{28A0092B-C50C-407E-A947-70E740481C1C}">
                <a14:useLocalDpi xmlns:a14="http://schemas.microsoft.com/office/drawing/2010/main"/>
              </a:ext>
            </a:extLst>
          </a:blip>
          <a:srcRect/>
          <a:stretch/>
        </p:blipFill>
        <p:spPr>
          <a:xfrm>
            <a:off x="0" y="0"/>
            <a:ext cx="12434712" cy="6994525"/>
          </a:xfrm>
          <a:prstGeom prst="rect">
            <a:avLst/>
          </a:prstGeom>
        </p:spPr>
      </p:pic>
      <p:sp>
        <p:nvSpPr>
          <p:cNvPr id="8" name="Title 7"/>
          <p:cNvSpPr>
            <a:spLocks noGrp="1"/>
          </p:cNvSpPr>
          <p:nvPr>
            <p:ph type="title"/>
          </p:nvPr>
        </p:nvSpPr>
        <p:spPr/>
        <p:txBody>
          <a:bodyPr/>
          <a:lstStyle/>
          <a:p>
            <a:r>
              <a:rPr lang="en-US" dirty="0"/>
              <a:t>Decision</a:t>
            </a:r>
          </a:p>
        </p:txBody>
      </p:sp>
    </p:spTree>
    <p:extLst>
      <p:ext uri="{BB962C8B-B14F-4D97-AF65-F5344CB8AC3E}">
        <p14:creationId xmlns:p14="http://schemas.microsoft.com/office/powerpoint/2010/main" val="185731392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20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General</a:t>
            </a:r>
          </a:p>
        </p:txBody>
      </p:sp>
      <p:sp>
        <p:nvSpPr>
          <p:cNvPr id="9225" name="Oval 42"/>
          <p:cNvSpPr>
            <a:spLocks noChangeArrowheads="1"/>
          </p:cNvSpPr>
          <p:nvPr/>
        </p:nvSpPr>
        <p:spPr bwMode="auto">
          <a:xfrm>
            <a:off x="6589621" y="1528549"/>
            <a:ext cx="1119124" cy="1119124"/>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9220" name="Oval 37"/>
          <p:cNvSpPr>
            <a:spLocks noChangeArrowheads="1"/>
          </p:cNvSpPr>
          <p:nvPr/>
        </p:nvSpPr>
        <p:spPr bwMode="auto">
          <a:xfrm>
            <a:off x="8347593" y="1528549"/>
            <a:ext cx="1119124" cy="1119124"/>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6147" name="Freeform 79"/>
          <p:cNvSpPr>
            <a:spLocks noEditPoints="1"/>
          </p:cNvSpPr>
          <p:nvPr/>
        </p:nvSpPr>
        <p:spPr bwMode="auto">
          <a:xfrm>
            <a:off x="8725341" y="1744851"/>
            <a:ext cx="364804" cy="686521"/>
          </a:xfrm>
          <a:custGeom>
            <a:avLst/>
            <a:gdLst>
              <a:gd name="T0" fmla="*/ 313 w 346"/>
              <a:gd name="T1" fmla="*/ 653 h 653"/>
              <a:gd name="T2" fmla="*/ 32 w 346"/>
              <a:gd name="T3" fmla="*/ 653 h 653"/>
              <a:gd name="T4" fmla="*/ 8 w 346"/>
              <a:gd name="T5" fmla="*/ 642 h 653"/>
              <a:gd name="T6" fmla="*/ 2 w 346"/>
              <a:gd name="T7" fmla="*/ 616 h 653"/>
              <a:gd name="T8" fmla="*/ 65 w 346"/>
              <a:gd name="T9" fmla="*/ 303 h 653"/>
              <a:gd name="T10" fmla="*/ 2 w 346"/>
              <a:gd name="T11" fmla="*/ 171 h 653"/>
              <a:gd name="T12" fmla="*/ 173 w 346"/>
              <a:gd name="T13" fmla="*/ 0 h 653"/>
              <a:gd name="T14" fmla="*/ 344 w 346"/>
              <a:gd name="T15" fmla="*/ 171 h 653"/>
              <a:gd name="T16" fmla="*/ 281 w 346"/>
              <a:gd name="T17" fmla="*/ 303 h 653"/>
              <a:gd name="T18" fmla="*/ 344 w 346"/>
              <a:gd name="T19" fmla="*/ 616 h 653"/>
              <a:gd name="T20" fmla="*/ 338 w 346"/>
              <a:gd name="T21" fmla="*/ 641 h 653"/>
              <a:gd name="T22" fmla="*/ 313 w 346"/>
              <a:gd name="T23" fmla="*/ 653 h 653"/>
              <a:gd name="T24" fmla="*/ 173 w 346"/>
              <a:gd name="T25" fmla="*/ 14 h 653"/>
              <a:gd name="T26" fmla="*/ 16 w 346"/>
              <a:gd name="T27" fmla="*/ 171 h 653"/>
              <a:gd name="T28" fmla="*/ 77 w 346"/>
              <a:gd name="T29" fmla="*/ 294 h 653"/>
              <a:gd name="T30" fmla="*/ 79 w 346"/>
              <a:gd name="T31" fmla="*/ 301 h 653"/>
              <a:gd name="T32" fmla="*/ 16 w 346"/>
              <a:gd name="T33" fmla="*/ 618 h 653"/>
              <a:gd name="T34" fmla="*/ 19 w 346"/>
              <a:gd name="T35" fmla="*/ 633 h 653"/>
              <a:gd name="T36" fmla="*/ 32 w 346"/>
              <a:gd name="T37" fmla="*/ 639 h 653"/>
              <a:gd name="T38" fmla="*/ 313 w 346"/>
              <a:gd name="T39" fmla="*/ 639 h 653"/>
              <a:gd name="T40" fmla="*/ 327 w 346"/>
              <a:gd name="T41" fmla="*/ 633 h 653"/>
              <a:gd name="T42" fmla="*/ 330 w 346"/>
              <a:gd name="T43" fmla="*/ 618 h 653"/>
              <a:gd name="T44" fmla="*/ 266 w 346"/>
              <a:gd name="T45" fmla="*/ 301 h 653"/>
              <a:gd name="T46" fmla="*/ 269 w 346"/>
              <a:gd name="T47" fmla="*/ 294 h 653"/>
              <a:gd name="T48" fmla="*/ 330 w 346"/>
              <a:gd name="T49" fmla="*/ 171 h 653"/>
              <a:gd name="T50" fmla="*/ 173 w 346"/>
              <a:gd name="T51" fmla="*/ 14 h 6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46" h="653">
                <a:moveTo>
                  <a:pt x="313" y="653"/>
                </a:moveTo>
                <a:cubicBezTo>
                  <a:pt x="32" y="653"/>
                  <a:pt x="32" y="653"/>
                  <a:pt x="32" y="653"/>
                </a:cubicBezTo>
                <a:cubicBezTo>
                  <a:pt x="23" y="653"/>
                  <a:pt x="14" y="649"/>
                  <a:pt x="8" y="642"/>
                </a:cubicBezTo>
                <a:cubicBezTo>
                  <a:pt x="2" y="634"/>
                  <a:pt x="0" y="625"/>
                  <a:pt x="2" y="616"/>
                </a:cubicBezTo>
                <a:cubicBezTo>
                  <a:pt x="65" y="303"/>
                  <a:pt x="65" y="303"/>
                  <a:pt x="65" y="303"/>
                </a:cubicBezTo>
                <a:cubicBezTo>
                  <a:pt x="25" y="270"/>
                  <a:pt x="2" y="222"/>
                  <a:pt x="2" y="171"/>
                </a:cubicBezTo>
                <a:cubicBezTo>
                  <a:pt x="2" y="77"/>
                  <a:pt x="79" y="0"/>
                  <a:pt x="173" y="0"/>
                </a:cubicBezTo>
                <a:cubicBezTo>
                  <a:pt x="267" y="0"/>
                  <a:pt x="344" y="77"/>
                  <a:pt x="344" y="171"/>
                </a:cubicBezTo>
                <a:cubicBezTo>
                  <a:pt x="344" y="222"/>
                  <a:pt x="321" y="270"/>
                  <a:pt x="281" y="303"/>
                </a:cubicBezTo>
                <a:cubicBezTo>
                  <a:pt x="344" y="616"/>
                  <a:pt x="344" y="616"/>
                  <a:pt x="344" y="616"/>
                </a:cubicBezTo>
                <a:cubicBezTo>
                  <a:pt x="346" y="625"/>
                  <a:pt x="343" y="634"/>
                  <a:pt x="338" y="641"/>
                </a:cubicBezTo>
                <a:cubicBezTo>
                  <a:pt x="332" y="649"/>
                  <a:pt x="323" y="653"/>
                  <a:pt x="313" y="653"/>
                </a:cubicBezTo>
                <a:close/>
                <a:moveTo>
                  <a:pt x="173" y="14"/>
                </a:moveTo>
                <a:cubicBezTo>
                  <a:pt x="87" y="14"/>
                  <a:pt x="16" y="84"/>
                  <a:pt x="16" y="171"/>
                </a:cubicBezTo>
                <a:cubicBezTo>
                  <a:pt x="16" y="219"/>
                  <a:pt x="38" y="264"/>
                  <a:pt x="77" y="294"/>
                </a:cubicBezTo>
                <a:cubicBezTo>
                  <a:pt x="79" y="296"/>
                  <a:pt x="80" y="299"/>
                  <a:pt x="79" y="301"/>
                </a:cubicBezTo>
                <a:cubicBezTo>
                  <a:pt x="16" y="618"/>
                  <a:pt x="16" y="618"/>
                  <a:pt x="16" y="618"/>
                </a:cubicBezTo>
                <a:cubicBezTo>
                  <a:pt x="15" y="623"/>
                  <a:pt x="16" y="629"/>
                  <a:pt x="19" y="633"/>
                </a:cubicBezTo>
                <a:cubicBezTo>
                  <a:pt x="22" y="637"/>
                  <a:pt x="27" y="639"/>
                  <a:pt x="32" y="639"/>
                </a:cubicBezTo>
                <a:cubicBezTo>
                  <a:pt x="313" y="639"/>
                  <a:pt x="313" y="639"/>
                  <a:pt x="313" y="639"/>
                </a:cubicBezTo>
                <a:cubicBezTo>
                  <a:pt x="319" y="639"/>
                  <a:pt x="323" y="637"/>
                  <a:pt x="327" y="633"/>
                </a:cubicBezTo>
                <a:cubicBezTo>
                  <a:pt x="330" y="629"/>
                  <a:pt x="331" y="623"/>
                  <a:pt x="330" y="618"/>
                </a:cubicBezTo>
                <a:cubicBezTo>
                  <a:pt x="266" y="301"/>
                  <a:pt x="266" y="301"/>
                  <a:pt x="266" y="301"/>
                </a:cubicBezTo>
                <a:cubicBezTo>
                  <a:pt x="266" y="299"/>
                  <a:pt x="267" y="296"/>
                  <a:pt x="269" y="294"/>
                </a:cubicBezTo>
                <a:cubicBezTo>
                  <a:pt x="308" y="264"/>
                  <a:pt x="330" y="219"/>
                  <a:pt x="330" y="171"/>
                </a:cubicBezTo>
                <a:cubicBezTo>
                  <a:pt x="330" y="84"/>
                  <a:pt x="259" y="14"/>
                  <a:pt x="173" y="14"/>
                </a:cubicBez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27" name="Oval 28"/>
          <p:cNvSpPr>
            <a:spLocks noChangeArrowheads="1"/>
          </p:cNvSpPr>
          <p:nvPr/>
        </p:nvSpPr>
        <p:spPr bwMode="auto">
          <a:xfrm>
            <a:off x="3073678" y="1528549"/>
            <a:ext cx="1119124" cy="1119124"/>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6148" name="Freeform 80"/>
          <p:cNvSpPr>
            <a:spLocks noEditPoints="1"/>
          </p:cNvSpPr>
          <p:nvPr/>
        </p:nvSpPr>
        <p:spPr bwMode="auto">
          <a:xfrm>
            <a:off x="3304086" y="1781558"/>
            <a:ext cx="660659" cy="613106"/>
          </a:xfrm>
          <a:custGeom>
            <a:avLst/>
            <a:gdLst>
              <a:gd name="T0" fmla="*/ 314 w 628"/>
              <a:gd name="T1" fmla="*/ 583 h 583"/>
              <a:gd name="T2" fmla="*/ 0 w 628"/>
              <a:gd name="T3" fmla="*/ 194 h 583"/>
              <a:gd name="T4" fmla="*/ 160 w 628"/>
              <a:gd name="T5" fmla="*/ 0 h 583"/>
              <a:gd name="T6" fmla="*/ 314 w 628"/>
              <a:gd name="T7" fmla="*/ 84 h 583"/>
              <a:gd name="T8" fmla="*/ 467 w 628"/>
              <a:gd name="T9" fmla="*/ 0 h 583"/>
              <a:gd name="T10" fmla="*/ 628 w 628"/>
              <a:gd name="T11" fmla="*/ 194 h 583"/>
              <a:gd name="T12" fmla="*/ 314 w 628"/>
              <a:gd name="T13" fmla="*/ 583 h 583"/>
              <a:gd name="T14" fmla="*/ 160 w 628"/>
              <a:gd name="T15" fmla="*/ 14 h 583"/>
              <a:gd name="T16" fmla="*/ 14 w 628"/>
              <a:gd name="T17" fmla="*/ 194 h 583"/>
              <a:gd name="T18" fmla="*/ 140 w 628"/>
              <a:gd name="T19" fmla="*/ 458 h 583"/>
              <a:gd name="T20" fmla="*/ 314 w 628"/>
              <a:gd name="T21" fmla="*/ 569 h 583"/>
              <a:gd name="T22" fmla="*/ 488 w 628"/>
              <a:gd name="T23" fmla="*/ 458 h 583"/>
              <a:gd name="T24" fmla="*/ 614 w 628"/>
              <a:gd name="T25" fmla="*/ 194 h 583"/>
              <a:gd name="T26" fmla="*/ 467 w 628"/>
              <a:gd name="T27" fmla="*/ 14 h 583"/>
              <a:gd name="T28" fmla="*/ 321 w 628"/>
              <a:gd name="T29" fmla="*/ 116 h 583"/>
              <a:gd name="T30" fmla="*/ 314 w 628"/>
              <a:gd name="T31" fmla="*/ 123 h 583"/>
              <a:gd name="T32" fmla="*/ 307 w 628"/>
              <a:gd name="T33" fmla="*/ 116 h 583"/>
              <a:gd name="T34" fmla="*/ 160 w 628"/>
              <a:gd name="T35" fmla="*/ 14 h 5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28" h="583">
                <a:moveTo>
                  <a:pt x="314" y="583"/>
                </a:moveTo>
                <a:cubicBezTo>
                  <a:pt x="239" y="583"/>
                  <a:pt x="0" y="403"/>
                  <a:pt x="0" y="194"/>
                </a:cubicBezTo>
                <a:cubicBezTo>
                  <a:pt x="0" y="102"/>
                  <a:pt x="68" y="0"/>
                  <a:pt x="160" y="0"/>
                </a:cubicBezTo>
                <a:cubicBezTo>
                  <a:pt x="230" y="0"/>
                  <a:pt x="294" y="37"/>
                  <a:pt x="314" y="84"/>
                </a:cubicBezTo>
                <a:cubicBezTo>
                  <a:pt x="335" y="37"/>
                  <a:pt x="398" y="0"/>
                  <a:pt x="467" y="0"/>
                </a:cubicBezTo>
                <a:cubicBezTo>
                  <a:pt x="559" y="0"/>
                  <a:pt x="628" y="102"/>
                  <a:pt x="628" y="194"/>
                </a:cubicBezTo>
                <a:cubicBezTo>
                  <a:pt x="628" y="403"/>
                  <a:pt x="388" y="583"/>
                  <a:pt x="314" y="583"/>
                </a:cubicBezTo>
                <a:close/>
                <a:moveTo>
                  <a:pt x="160" y="14"/>
                </a:moveTo>
                <a:cubicBezTo>
                  <a:pt x="91" y="14"/>
                  <a:pt x="14" y="91"/>
                  <a:pt x="14" y="194"/>
                </a:cubicBezTo>
                <a:cubicBezTo>
                  <a:pt x="14" y="312"/>
                  <a:pt x="93" y="410"/>
                  <a:pt x="140" y="458"/>
                </a:cubicBezTo>
                <a:cubicBezTo>
                  <a:pt x="207" y="526"/>
                  <a:pt x="282" y="569"/>
                  <a:pt x="314" y="569"/>
                </a:cubicBezTo>
                <a:cubicBezTo>
                  <a:pt x="345" y="569"/>
                  <a:pt x="421" y="526"/>
                  <a:pt x="488" y="458"/>
                </a:cubicBezTo>
                <a:cubicBezTo>
                  <a:pt x="535" y="410"/>
                  <a:pt x="614" y="312"/>
                  <a:pt x="614" y="194"/>
                </a:cubicBezTo>
                <a:cubicBezTo>
                  <a:pt x="614" y="91"/>
                  <a:pt x="536" y="14"/>
                  <a:pt x="467" y="14"/>
                </a:cubicBezTo>
                <a:cubicBezTo>
                  <a:pt x="383" y="14"/>
                  <a:pt x="321" y="68"/>
                  <a:pt x="321" y="116"/>
                </a:cubicBezTo>
                <a:cubicBezTo>
                  <a:pt x="321" y="120"/>
                  <a:pt x="318" y="123"/>
                  <a:pt x="314" y="123"/>
                </a:cubicBezTo>
                <a:cubicBezTo>
                  <a:pt x="310" y="123"/>
                  <a:pt x="307" y="120"/>
                  <a:pt x="307" y="116"/>
                </a:cubicBezTo>
                <a:cubicBezTo>
                  <a:pt x="307" y="58"/>
                  <a:pt x="229" y="14"/>
                  <a:pt x="160" y="14"/>
                </a:cubicBez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9219" name="Oval 36"/>
          <p:cNvSpPr>
            <a:spLocks noChangeArrowheads="1"/>
          </p:cNvSpPr>
          <p:nvPr/>
        </p:nvSpPr>
        <p:spPr bwMode="auto">
          <a:xfrm>
            <a:off x="10105564" y="1528549"/>
            <a:ext cx="1119124" cy="1119124"/>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6151" name="Freeform 82"/>
          <p:cNvSpPr>
            <a:spLocks noEditPoints="1"/>
          </p:cNvSpPr>
          <p:nvPr/>
        </p:nvSpPr>
        <p:spPr bwMode="auto">
          <a:xfrm>
            <a:off x="10404155" y="1704882"/>
            <a:ext cx="521945" cy="766458"/>
          </a:xfrm>
          <a:custGeom>
            <a:avLst/>
            <a:gdLst>
              <a:gd name="T0" fmla="*/ 42 w 496"/>
              <a:gd name="T1" fmla="*/ 729 h 729"/>
              <a:gd name="T2" fmla="*/ 39 w 496"/>
              <a:gd name="T3" fmla="*/ 619 h 729"/>
              <a:gd name="T4" fmla="*/ 64 w 496"/>
              <a:gd name="T5" fmla="*/ 514 h 729"/>
              <a:gd name="T6" fmla="*/ 105 w 496"/>
              <a:gd name="T7" fmla="*/ 472 h 729"/>
              <a:gd name="T8" fmla="*/ 55 w 496"/>
              <a:gd name="T9" fmla="*/ 297 h 729"/>
              <a:gd name="T10" fmla="*/ 271 w 496"/>
              <a:gd name="T11" fmla="*/ 0 h 729"/>
              <a:gd name="T12" fmla="*/ 279 w 496"/>
              <a:gd name="T13" fmla="*/ 8 h 729"/>
              <a:gd name="T14" fmla="*/ 309 w 496"/>
              <a:gd name="T15" fmla="*/ 87 h 729"/>
              <a:gd name="T16" fmla="*/ 349 w 496"/>
              <a:gd name="T17" fmla="*/ 100 h 729"/>
              <a:gd name="T18" fmla="*/ 447 w 496"/>
              <a:gd name="T19" fmla="*/ 196 h 729"/>
              <a:gd name="T20" fmla="*/ 459 w 496"/>
              <a:gd name="T21" fmla="*/ 273 h 729"/>
              <a:gd name="T22" fmla="*/ 410 w 496"/>
              <a:gd name="T23" fmla="*/ 318 h 729"/>
              <a:gd name="T24" fmla="*/ 386 w 496"/>
              <a:gd name="T25" fmla="*/ 306 h 729"/>
              <a:gd name="T26" fmla="*/ 337 w 496"/>
              <a:gd name="T27" fmla="*/ 298 h 729"/>
              <a:gd name="T28" fmla="*/ 296 w 496"/>
              <a:gd name="T29" fmla="*/ 310 h 729"/>
              <a:gd name="T30" fmla="*/ 412 w 496"/>
              <a:gd name="T31" fmla="*/ 514 h 729"/>
              <a:gd name="T32" fmla="*/ 487 w 496"/>
              <a:gd name="T33" fmla="*/ 569 h 729"/>
              <a:gd name="T34" fmla="*/ 496 w 496"/>
              <a:gd name="T35" fmla="*/ 687 h 729"/>
              <a:gd name="T36" fmla="*/ 64 w 496"/>
              <a:gd name="T37" fmla="*/ 528 h 729"/>
              <a:gd name="T38" fmla="*/ 53 w 496"/>
              <a:gd name="T39" fmla="*/ 609 h 729"/>
              <a:gd name="T40" fmla="*/ 56 w 496"/>
              <a:gd name="T41" fmla="*/ 620 h 729"/>
              <a:gd name="T42" fmla="*/ 42 w 496"/>
              <a:gd name="T43" fmla="*/ 715 h 729"/>
              <a:gd name="T44" fmla="*/ 482 w 496"/>
              <a:gd name="T45" fmla="*/ 687 h 729"/>
              <a:gd name="T46" fmla="*/ 438 w 496"/>
              <a:gd name="T47" fmla="*/ 614 h 729"/>
              <a:gd name="T48" fmla="*/ 473 w 496"/>
              <a:gd name="T49" fmla="*/ 569 h 729"/>
              <a:gd name="T50" fmla="*/ 405 w 496"/>
              <a:gd name="T51" fmla="*/ 528 h 729"/>
              <a:gd name="T52" fmla="*/ 398 w 496"/>
              <a:gd name="T53" fmla="*/ 521 h 729"/>
              <a:gd name="T54" fmla="*/ 387 w 496"/>
              <a:gd name="T55" fmla="*/ 445 h 729"/>
              <a:gd name="T56" fmla="*/ 269 w 496"/>
              <a:gd name="T57" fmla="*/ 300 h 729"/>
              <a:gd name="T58" fmla="*/ 290 w 496"/>
              <a:gd name="T59" fmla="*/ 296 h 729"/>
              <a:gd name="T60" fmla="*/ 330 w 496"/>
              <a:gd name="T61" fmla="*/ 286 h 729"/>
              <a:gd name="T62" fmla="*/ 395 w 496"/>
              <a:gd name="T63" fmla="*/ 295 h 729"/>
              <a:gd name="T64" fmla="*/ 410 w 496"/>
              <a:gd name="T65" fmla="*/ 304 h 729"/>
              <a:gd name="T66" fmla="*/ 451 w 496"/>
              <a:gd name="T67" fmla="*/ 261 h 729"/>
              <a:gd name="T68" fmla="*/ 373 w 496"/>
              <a:gd name="T69" fmla="*/ 143 h 729"/>
              <a:gd name="T70" fmla="*/ 334 w 496"/>
              <a:gd name="T71" fmla="*/ 105 h 729"/>
              <a:gd name="T72" fmla="*/ 272 w 496"/>
              <a:gd name="T73" fmla="*/ 92 h 729"/>
              <a:gd name="T74" fmla="*/ 184 w 496"/>
              <a:gd name="T75" fmla="*/ 120 h 729"/>
              <a:gd name="T76" fmla="*/ 69 w 496"/>
              <a:gd name="T77" fmla="*/ 297 h 729"/>
              <a:gd name="T78" fmla="*/ 119 w 496"/>
              <a:gd name="T79" fmla="*/ 469 h 729"/>
              <a:gd name="T80" fmla="*/ 113 w 496"/>
              <a:gd name="T81" fmla="*/ 528 h 7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96" h="729">
                <a:moveTo>
                  <a:pt x="453" y="729"/>
                </a:moveTo>
                <a:cubicBezTo>
                  <a:pt x="42" y="729"/>
                  <a:pt x="42" y="729"/>
                  <a:pt x="42" y="729"/>
                </a:cubicBezTo>
                <a:cubicBezTo>
                  <a:pt x="21" y="729"/>
                  <a:pt x="0" y="716"/>
                  <a:pt x="0" y="687"/>
                </a:cubicBezTo>
                <a:cubicBezTo>
                  <a:pt x="0" y="682"/>
                  <a:pt x="0" y="667"/>
                  <a:pt x="39" y="619"/>
                </a:cubicBezTo>
                <a:cubicBezTo>
                  <a:pt x="21" y="610"/>
                  <a:pt x="9" y="591"/>
                  <a:pt x="9" y="569"/>
                </a:cubicBezTo>
                <a:cubicBezTo>
                  <a:pt x="9" y="539"/>
                  <a:pt x="33" y="514"/>
                  <a:pt x="64" y="514"/>
                </a:cubicBezTo>
                <a:cubicBezTo>
                  <a:pt x="106" y="514"/>
                  <a:pt x="106" y="514"/>
                  <a:pt x="106" y="514"/>
                </a:cubicBezTo>
                <a:cubicBezTo>
                  <a:pt x="107" y="500"/>
                  <a:pt x="107" y="484"/>
                  <a:pt x="105" y="472"/>
                </a:cubicBezTo>
                <a:cubicBezTo>
                  <a:pt x="104" y="463"/>
                  <a:pt x="98" y="449"/>
                  <a:pt x="91" y="433"/>
                </a:cubicBezTo>
                <a:cubicBezTo>
                  <a:pt x="76" y="397"/>
                  <a:pt x="55" y="348"/>
                  <a:pt x="55" y="297"/>
                </a:cubicBezTo>
                <a:cubicBezTo>
                  <a:pt x="55" y="220"/>
                  <a:pt x="117" y="150"/>
                  <a:pt x="172" y="113"/>
                </a:cubicBezTo>
                <a:cubicBezTo>
                  <a:pt x="190" y="46"/>
                  <a:pt x="225" y="6"/>
                  <a:pt x="271" y="0"/>
                </a:cubicBezTo>
                <a:cubicBezTo>
                  <a:pt x="273" y="0"/>
                  <a:pt x="275" y="1"/>
                  <a:pt x="276" y="2"/>
                </a:cubicBezTo>
                <a:cubicBezTo>
                  <a:pt x="278" y="4"/>
                  <a:pt x="279" y="6"/>
                  <a:pt x="279" y="8"/>
                </a:cubicBezTo>
                <a:cubicBezTo>
                  <a:pt x="276" y="43"/>
                  <a:pt x="277" y="77"/>
                  <a:pt x="282" y="82"/>
                </a:cubicBezTo>
                <a:cubicBezTo>
                  <a:pt x="285" y="86"/>
                  <a:pt x="299" y="86"/>
                  <a:pt x="309" y="87"/>
                </a:cubicBezTo>
                <a:cubicBezTo>
                  <a:pt x="324" y="87"/>
                  <a:pt x="338" y="88"/>
                  <a:pt x="345" y="96"/>
                </a:cubicBezTo>
                <a:cubicBezTo>
                  <a:pt x="346" y="97"/>
                  <a:pt x="347" y="99"/>
                  <a:pt x="349" y="100"/>
                </a:cubicBezTo>
                <a:cubicBezTo>
                  <a:pt x="357" y="111"/>
                  <a:pt x="366" y="122"/>
                  <a:pt x="381" y="131"/>
                </a:cubicBezTo>
                <a:cubicBezTo>
                  <a:pt x="401" y="145"/>
                  <a:pt x="426" y="169"/>
                  <a:pt x="447" y="196"/>
                </a:cubicBezTo>
                <a:cubicBezTo>
                  <a:pt x="454" y="206"/>
                  <a:pt x="479" y="239"/>
                  <a:pt x="476" y="252"/>
                </a:cubicBezTo>
                <a:cubicBezTo>
                  <a:pt x="475" y="262"/>
                  <a:pt x="466" y="268"/>
                  <a:pt x="459" y="273"/>
                </a:cubicBezTo>
                <a:cubicBezTo>
                  <a:pt x="455" y="275"/>
                  <a:pt x="450" y="278"/>
                  <a:pt x="449" y="280"/>
                </a:cubicBezTo>
                <a:cubicBezTo>
                  <a:pt x="449" y="281"/>
                  <a:pt x="431" y="318"/>
                  <a:pt x="410" y="318"/>
                </a:cubicBezTo>
                <a:cubicBezTo>
                  <a:pt x="407" y="318"/>
                  <a:pt x="404" y="317"/>
                  <a:pt x="401" y="316"/>
                </a:cubicBezTo>
                <a:cubicBezTo>
                  <a:pt x="396" y="313"/>
                  <a:pt x="392" y="310"/>
                  <a:pt x="386" y="306"/>
                </a:cubicBezTo>
                <a:cubicBezTo>
                  <a:pt x="376" y="299"/>
                  <a:pt x="365" y="291"/>
                  <a:pt x="357" y="291"/>
                </a:cubicBezTo>
                <a:cubicBezTo>
                  <a:pt x="350" y="291"/>
                  <a:pt x="345" y="294"/>
                  <a:pt x="337" y="298"/>
                </a:cubicBezTo>
                <a:cubicBezTo>
                  <a:pt x="333" y="301"/>
                  <a:pt x="327" y="304"/>
                  <a:pt x="321" y="306"/>
                </a:cubicBezTo>
                <a:cubicBezTo>
                  <a:pt x="314" y="309"/>
                  <a:pt x="306" y="310"/>
                  <a:pt x="296" y="310"/>
                </a:cubicBezTo>
                <a:cubicBezTo>
                  <a:pt x="326" y="336"/>
                  <a:pt x="390" y="396"/>
                  <a:pt x="401" y="442"/>
                </a:cubicBezTo>
                <a:cubicBezTo>
                  <a:pt x="411" y="485"/>
                  <a:pt x="412" y="498"/>
                  <a:pt x="412" y="514"/>
                </a:cubicBezTo>
                <a:cubicBezTo>
                  <a:pt x="432" y="514"/>
                  <a:pt x="432" y="514"/>
                  <a:pt x="432" y="514"/>
                </a:cubicBezTo>
                <a:cubicBezTo>
                  <a:pt x="462" y="514"/>
                  <a:pt x="487" y="539"/>
                  <a:pt x="487" y="569"/>
                </a:cubicBezTo>
                <a:cubicBezTo>
                  <a:pt x="487" y="591"/>
                  <a:pt x="475" y="610"/>
                  <a:pt x="456" y="619"/>
                </a:cubicBezTo>
                <a:cubicBezTo>
                  <a:pt x="496" y="668"/>
                  <a:pt x="496" y="682"/>
                  <a:pt x="496" y="687"/>
                </a:cubicBezTo>
                <a:cubicBezTo>
                  <a:pt x="496" y="708"/>
                  <a:pt x="483" y="729"/>
                  <a:pt x="453" y="729"/>
                </a:cubicBezTo>
                <a:close/>
                <a:moveTo>
                  <a:pt x="64" y="528"/>
                </a:moveTo>
                <a:cubicBezTo>
                  <a:pt x="41" y="528"/>
                  <a:pt x="23" y="547"/>
                  <a:pt x="23" y="569"/>
                </a:cubicBezTo>
                <a:cubicBezTo>
                  <a:pt x="23" y="588"/>
                  <a:pt x="35" y="604"/>
                  <a:pt x="53" y="609"/>
                </a:cubicBezTo>
                <a:cubicBezTo>
                  <a:pt x="55" y="610"/>
                  <a:pt x="57" y="612"/>
                  <a:pt x="57" y="614"/>
                </a:cubicBezTo>
                <a:cubicBezTo>
                  <a:pt x="58" y="616"/>
                  <a:pt x="58" y="619"/>
                  <a:pt x="56" y="620"/>
                </a:cubicBezTo>
                <a:cubicBezTo>
                  <a:pt x="17" y="667"/>
                  <a:pt x="14" y="683"/>
                  <a:pt x="14" y="687"/>
                </a:cubicBezTo>
                <a:cubicBezTo>
                  <a:pt x="14" y="713"/>
                  <a:pt x="37" y="715"/>
                  <a:pt x="42" y="715"/>
                </a:cubicBezTo>
                <a:cubicBezTo>
                  <a:pt x="453" y="715"/>
                  <a:pt x="453" y="715"/>
                  <a:pt x="453" y="715"/>
                </a:cubicBezTo>
                <a:cubicBezTo>
                  <a:pt x="458" y="715"/>
                  <a:pt x="482" y="713"/>
                  <a:pt x="482" y="687"/>
                </a:cubicBezTo>
                <a:cubicBezTo>
                  <a:pt x="482" y="683"/>
                  <a:pt x="479" y="668"/>
                  <a:pt x="440" y="620"/>
                </a:cubicBezTo>
                <a:cubicBezTo>
                  <a:pt x="438" y="619"/>
                  <a:pt x="437" y="616"/>
                  <a:pt x="438" y="614"/>
                </a:cubicBezTo>
                <a:cubicBezTo>
                  <a:pt x="439" y="612"/>
                  <a:pt x="441" y="610"/>
                  <a:pt x="443" y="609"/>
                </a:cubicBezTo>
                <a:cubicBezTo>
                  <a:pt x="461" y="604"/>
                  <a:pt x="473" y="588"/>
                  <a:pt x="473" y="569"/>
                </a:cubicBezTo>
                <a:cubicBezTo>
                  <a:pt x="473" y="547"/>
                  <a:pt x="454" y="528"/>
                  <a:pt x="432" y="528"/>
                </a:cubicBezTo>
                <a:cubicBezTo>
                  <a:pt x="405" y="528"/>
                  <a:pt x="405" y="528"/>
                  <a:pt x="405" y="528"/>
                </a:cubicBezTo>
                <a:cubicBezTo>
                  <a:pt x="403" y="528"/>
                  <a:pt x="401" y="527"/>
                  <a:pt x="400" y="526"/>
                </a:cubicBezTo>
                <a:cubicBezTo>
                  <a:pt x="398" y="525"/>
                  <a:pt x="398" y="523"/>
                  <a:pt x="398" y="521"/>
                </a:cubicBezTo>
                <a:cubicBezTo>
                  <a:pt x="398" y="519"/>
                  <a:pt x="398" y="519"/>
                  <a:pt x="398" y="519"/>
                </a:cubicBezTo>
                <a:cubicBezTo>
                  <a:pt x="398" y="502"/>
                  <a:pt x="398" y="491"/>
                  <a:pt x="387" y="445"/>
                </a:cubicBezTo>
                <a:cubicBezTo>
                  <a:pt x="375" y="391"/>
                  <a:pt x="272" y="309"/>
                  <a:pt x="271" y="308"/>
                </a:cubicBezTo>
                <a:cubicBezTo>
                  <a:pt x="269" y="306"/>
                  <a:pt x="268" y="303"/>
                  <a:pt x="269" y="300"/>
                </a:cubicBezTo>
                <a:cubicBezTo>
                  <a:pt x="270" y="297"/>
                  <a:pt x="273" y="295"/>
                  <a:pt x="276" y="296"/>
                </a:cubicBezTo>
                <a:cubicBezTo>
                  <a:pt x="276" y="296"/>
                  <a:pt x="282" y="296"/>
                  <a:pt x="290" y="296"/>
                </a:cubicBezTo>
                <a:cubicBezTo>
                  <a:pt x="301" y="296"/>
                  <a:pt x="310" y="295"/>
                  <a:pt x="316" y="293"/>
                </a:cubicBezTo>
                <a:cubicBezTo>
                  <a:pt x="321" y="291"/>
                  <a:pt x="326" y="288"/>
                  <a:pt x="330" y="286"/>
                </a:cubicBezTo>
                <a:cubicBezTo>
                  <a:pt x="338" y="281"/>
                  <a:pt x="346" y="277"/>
                  <a:pt x="357" y="277"/>
                </a:cubicBezTo>
                <a:cubicBezTo>
                  <a:pt x="369" y="277"/>
                  <a:pt x="382" y="286"/>
                  <a:pt x="395" y="295"/>
                </a:cubicBezTo>
                <a:cubicBezTo>
                  <a:pt x="399" y="298"/>
                  <a:pt x="404" y="301"/>
                  <a:pt x="408" y="304"/>
                </a:cubicBezTo>
                <a:cubicBezTo>
                  <a:pt x="409" y="304"/>
                  <a:pt x="409" y="304"/>
                  <a:pt x="410" y="304"/>
                </a:cubicBezTo>
                <a:cubicBezTo>
                  <a:pt x="418" y="304"/>
                  <a:pt x="432" y="285"/>
                  <a:pt x="436" y="275"/>
                </a:cubicBezTo>
                <a:cubicBezTo>
                  <a:pt x="439" y="269"/>
                  <a:pt x="445" y="265"/>
                  <a:pt x="451" y="261"/>
                </a:cubicBezTo>
                <a:cubicBezTo>
                  <a:pt x="456" y="258"/>
                  <a:pt x="462" y="254"/>
                  <a:pt x="463" y="250"/>
                </a:cubicBezTo>
                <a:cubicBezTo>
                  <a:pt x="462" y="239"/>
                  <a:pt x="418" y="172"/>
                  <a:pt x="373" y="143"/>
                </a:cubicBezTo>
                <a:cubicBezTo>
                  <a:pt x="357" y="133"/>
                  <a:pt x="346" y="120"/>
                  <a:pt x="338" y="109"/>
                </a:cubicBezTo>
                <a:cubicBezTo>
                  <a:pt x="336" y="107"/>
                  <a:pt x="335" y="106"/>
                  <a:pt x="334" y="105"/>
                </a:cubicBezTo>
                <a:cubicBezTo>
                  <a:pt x="332" y="101"/>
                  <a:pt x="318" y="101"/>
                  <a:pt x="308" y="101"/>
                </a:cubicBezTo>
                <a:cubicBezTo>
                  <a:pt x="293" y="100"/>
                  <a:pt x="279" y="99"/>
                  <a:pt x="272" y="92"/>
                </a:cubicBezTo>
                <a:cubicBezTo>
                  <a:pt x="262" y="81"/>
                  <a:pt x="263" y="38"/>
                  <a:pt x="264" y="16"/>
                </a:cubicBezTo>
                <a:cubicBezTo>
                  <a:pt x="228" y="24"/>
                  <a:pt x="200" y="61"/>
                  <a:pt x="184" y="120"/>
                </a:cubicBezTo>
                <a:cubicBezTo>
                  <a:pt x="184" y="121"/>
                  <a:pt x="183" y="123"/>
                  <a:pt x="182" y="124"/>
                </a:cubicBezTo>
                <a:cubicBezTo>
                  <a:pt x="130" y="158"/>
                  <a:pt x="69" y="224"/>
                  <a:pt x="69" y="297"/>
                </a:cubicBezTo>
                <a:cubicBezTo>
                  <a:pt x="69" y="346"/>
                  <a:pt x="89" y="393"/>
                  <a:pt x="104" y="427"/>
                </a:cubicBezTo>
                <a:cubicBezTo>
                  <a:pt x="111" y="445"/>
                  <a:pt x="117" y="459"/>
                  <a:pt x="119" y="469"/>
                </a:cubicBezTo>
                <a:cubicBezTo>
                  <a:pt x="121" y="485"/>
                  <a:pt x="121" y="506"/>
                  <a:pt x="120" y="521"/>
                </a:cubicBezTo>
                <a:cubicBezTo>
                  <a:pt x="120" y="525"/>
                  <a:pt x="117" y="528"/>
                  <a:pt x="113" y="528"/>
                </a:cubicBezTo>
                <a:lnTo>
                  <a:pt x="64" y="528"/>
                </a:ln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9217" name="Oval 34"/>
          <p:cNvSpPr>
            <a:spLocks noChangeArrowheads="1"/>
          </p:cNvSpPr>
          <p:nvPr/>
        </p:nvSpPr>
        <p:spPr bwMode="auto">
          <a:xfrm>
            <a:off x="3073678" y="3120088"/>
            <a:ext cx="1119124" cy="1119124"/>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6175" name="Freeform 97"/>
          <p:cNvSpPr>
            <a:spLocks noEditPoints="1"/>
          </p:cNvSpPr>
          <p:nvPr/>
        </p:nvSpPr>
        <p:spPr bwMode="auto">
          <a:xfrm>
            <a:off x="3354635" y="3339916"/>
            <a:ext cx="566616" cy="680644"/>
          </a:xfrm>
          <a:custGeom>
            <a:avLst/>
            <a:gdLst>
              <a:gd name="T0" fmla="*/ 316 w 538"/>
              <a:gd name="T1" fmla="*/ 52 h 647"/>
              <a:gd name="T2" fmla="*/ 212 w 538"/>
              <a:gd name="T3" fmla="*/ 52 h 647"/>
              <a:gd name="T4" fmla="*/ 264 w 538"/>
              <a:gd name="T5" fmla="*/ 14 h 647"/>
              <a:gd name="T6" fmla="*/ 264 w 538"/>
              <a:gd name="T7" fmla="*/ 90 h 647"/>
              <a:gd name="T8" fmla="*/ 264 w 538"/>
              <a:gd name="T9" fmla="*/ 14 h 647"/>
              <a:gd name="T10" fmla="*/ 413 w 538"/>
              <a:gd name="T11" fmla="*/ 90 h 647"/>
              <a:gd name="T12" fmla="*/ 335 w 538"/>
              <a:gd name="T13" fmla="*/ 133 h 647"/>
              <a:gd name="T14" fmla="*/ 190 w 538"/>
              <a:gd name="T15" fmla="*/ 134 h 647"/>
              <a:gd name="T16" fmla="*/ 50 w 538"/>
              <a:gd name="T17" fmla="*/ 125 h 647"/>
              <a:gd name="T18" fmla="*/ 15 w 538"/>
              <a:gd name="T19" fmla="*/ 242 h 647"/>
              <a:gd name="T20" fmla="*/ 23 w 538"/>
              <a:gd name="T21" fmla="*/ 364 h 647"/>
              <a:gd name="T22" fmla="*/ 48 w 538"/>
              <a:gd name="T23" fmla="*/ 637 h 647"/>
              <a:gd name="T24" fmla="*/ 54 w 538"/>
              <a:gd name="T25" fmla="*/ 647 h 647"/>
              <a:gd name="T26" fmla="*/ 114 w 538"/>
              <a:gd name="T27" fmla="*/ 552 h 647"/>
              <a:gd name="T28" fmla="*/ 415 w 538"/>
              <a:gd name="T29" fmla="*/ 552 h 647"/>
              <a:gd name="T30" fmla="*/ 475 w 538"/>
              <a:gd name="T31" fmla="*/ 647 h 647"/>
              <a:gd name="T32" fmla="*/ 481 w 538"/>
              <a:gd name="T33" fmla="*/ 637 h 647"/>
              <a:gd name="T34" fmla="*/ 506 w 538"/>
              <a:gd name="T35" fmla="*/ 364 h 647"/>
              <a:gd name="T36" fmla="*/ 514 w 538"/>
              <a:gd name="T37" fmla="*/ 238 h 647"/>
              <a:gd name="T38" fmla="*/ 25 w 538"/>
              <a:gd name="T39" fmla="*/ 233 h 647"/>
              <a:gd name="T40" fmla="*/ 59 w 538"/>
              <a:gd name="T41" fmla="*/ 136 h 647"/>
              <a:gd name="T42" fmla="*/ 176 w 538"/>
              <a:gd name="T43" fmla="*/ 139 h 647"/>
              <a:gd name="T44" fmla="*/ 25 w 538"/>
              <a:gd name="T45" fmla="*/ 233 h 647"/>
              <a:gd name="T46" fmla="*/ 37 w 538"/>
              <a:gd name="T47" fmla="*/ 364 h 647"/>
              <a:gd name="T48" fmla="*/ 492 w 538"/>
              <a:gd name="T49" fmla="*/ 364 h 647"/>
              <a:gd name="T50" fmla="*/ 503 w 538"/>
              <a:gd name="T51" fmla="*/ 229 h 647"/>
              <a:gd name="T52" fmla="*/ 350 w 538"/>
              <a:gd name="T53" fmla="*/ 138 h 647"/>
              <a:gd name="T54" fmla="*/ 411 w 538"/>
              <a:gd name="T55" fmla="*/ 104 h 647"/>
              <a:gd name="T56" fmla="*/ 503 w 538"/>
              <a:gd name="T57" fmla="*/ 229 h 647"/>
              <a:gd name="T58" fmla="*/ 271 w 538"/>
              <a:gd name="T59" fmla="*/ 183 h 647"/>
              <a:gd name="T60" fmla="*/ 257 w 538"/>
              <a:gd name="T61" fmla="*/ 183 h 647"/>
              <a:gd name="T62" fmla="*/ 235 w 538"/>
              <a:gd name="T63" fmla="*/ 364 h 647"/>
              <a:gd name="T64" fmla="*/ 202 w 538"/>
              <a:gd name="T65" fmla="*/ 454 h 647"/>
              <a:gd name="T66" fmla="*/ 208 w 538"/>
              <a:gd name="T67" fmla="*/ 464 h 647"/>
              <a:gd name="T68" fmla="*/ 255 w 538"/>
              <a:gd name="T69" fmla="*/ 392 h 647"/>
              <a:gd name="T70" fmla="*/ 294 w 538"/>
              <a:gd name="T71" fmla="*/ 364 h 647"/>
              <a:gd name="T72" fmla="*/ 264 w 538"/>
              <a:gd name="T73" fmla="*/ 379 h 647"/>
              <a:gd name="T74" fmla="*/ 264 w 538"/>
              <a:gd name="T75" fmla="*/ 348 h 647"/>
              <a:gd name="T76" fmla="*/ 264 w 538"/>
              <a:gd name="T77" fmla="*/ 379 h 6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38" h="647">
                <a:moveTo>
                  <a:pt x="264" y="104"/>
                </a:moveTo>
                <a:cubicBezTo>
                  <a:pt x="293" y="104"/>
                  <a:pt x="316" y="81"/>
                  <a:pt x="316" y="52"/>
                </a:cubicBezTo>
                <a:cubicBezTo>
                  <a:pt x="316" y="23"/>
                  <a:pt x="293" y="0"/>
                  <a:pt x="264" y="0"/>
                </a:cubicBezTo>
                <a:cubicBezTo>
                  <a:pt x="236" y="0"/>
                  <a:pt x="212" y="23"/>
                  <a:pt x="212" y="52"/>
                </a:cubicBezTo>
                <a:cubicBezTo>
                  <a:pt x="212" y="81"/>
                  <a:pt x="236" y="104"/>
                  <a:pt x="264" y="104"/>
                </a:cubicBezTo>
                <a:close/>
                <a:moveTo>
                  <a:pt x="264" y="14"/>
                </a:moveTo>
                <a:cubicBezTo>
                  <a:pt x="285" y="14"/>
                  <a:pt x="302" y="31"/>
                  <a:pt x="302" y="52"/>
                </a:cubicBezTo>
                <a:cubicBezTo>
                  <a:pt x="302" y="73"/>
                  <a:pt x="285" y="90"/>
                  <a:pt x="264" y="90"/>
                </a:cubicBezTo>
                <a:cubicBezTo>
                  <a:pt x="243" y="90"/>
                  <a:pt x="226" y="73"/>
                  <a:pt x="226" y="52"/>
                </a:cubicBezTo>
                <a:cubicBezTo>
                  <a:pt x="226" y="31"/>
                  <a:pt x="243" y="14"/>
                  <a:pt x="264" y="14"/>
                </a:cubicBezTo>
                <a:close/>
                <a:moveTo>
                  <a:pt x="479" y="121"/>
                </a:moveTo>
                <a:cubicBezTo>
                  <a:pt x="459" y="104"/>
                  <a:pt x="435" y="93"/>
                  <a:pt x="413" y="90"/>
                </a:cubicBezTo>
                <a:cubicBezTo>
                  <a:pt x="389" y="87"/>
                  <a:pt x="369" y="93"/>
                  <a:pt x="357" y="107"/>
                </a:cubicBezTo>
                <a:cubicBezTo>
                  <a:pt x="335" y="133"/>
                  <a:pt x="335" y="133"/>
                  <a:pt x="335" y="133"/>
                </a:cubicBezTo>
                <a:cubicBezTo>
                  <a:pt x="313" y="126"/>
                  <a:pt x="289" y="122"/>
                  <a:pt x="264" y="122"/>
                </a:cubicBezTo>
                <a:cubicBezTo>
                  <a:pt x="239" y="122"/>
                  <a:pt x="214" y="126"/>
                  <a:pt x="190" y="134"/>
                </a:cubicBezTo>
                <a:cubicBezTo>
                  <a:pt x="171" y="111"/>
                  <a:pt x="171" y="111"/>
                  <a:pt x="171" y="111"/>
                </a:cubicBezTo>
                <a:cubicBezTo>
                  <a:pt x="147" y="82"/>
                  <a:pt x="93" y="89"/>
                  <a:pt x="50" y="125"/>
                </a:cubicBezTo>
                <a:cubicBezTo>
                  <a:pt x="29" y="142"/>
                  <a:pt x="14" y="163"/>
                  <a:pt x="7" y="185"/>
                </a:cubicBezTo>
                <a:cubicBezTo>
                  <a:pt x="0" y="208"/>
                  <a:pt x="3" y="228"/>
                  <a:pt x="15" y="242"/>
                </a:cubicBezTo>
                <a:cubicBezTo>
                  <a:pt x="41" y="273"/>
                  <a:pt x="41" y="273"/>
                  <a:pt x="41" y="273"/>
                </a:cubicBezTo>
                <a:cubicBezTo>
                  <a:pt x="29" y="301"/>
                  <a:pt x="23" y="332"/>
                  <a:pt x="23" y="364"/>
                </a:cubicBezTo>
                <a:cubicBezTo>
                  <a:pt x="23" y="434"/>
                  <a:pt x="54" y="498"/>
                  <a:pt x="103" y="542"/>
                </a:cubicBezTo>
                <a:cubicBezTo>
                  <a:pt x="48" y="637"/>
                  <a:pt x="48" y="637"/>
                  <a:pt x="48" y="637"/>
                </a:cubicBezTo>
                <a:cubicBezTo>
                  <a:pt x="46" y="640"/>
                  <a:pt x="47" y="644"/>
                  <a:pt x="50" y="646"/>
                </a:cubicBezTo>
                <a:cubicBezTo>
                  <a:pt x="51" y="647"/>
                  <a:pt x="53" y="647"/>
                  <a:pt x="54" y="647"/>
                </a:cubicBezTo>
                <a:cubicBezTo>
                  <a:pt x="56" y="647"/>
                  <a:pt x="59" y="646"/>
                  <a:pt x="60" y="644"/>
                </a:cubicBezTo>
                <a:cubicBezTo>
                  <a:pt x="114" y="552"/>
                  <a:pt x="114" y="552"/>
                  <a:pt x="114" y="552"/>
                </a:cubicBezTo>
                <a:cubicBezTo>
                  <a:pt x="155" y="585"/>
                  <a:pt x="207" y="605"/>
                  <a:pt x="264" y="605"/>
                </a:cubicBezTo>
                <a:cubicBezTo>
                  <a:pt x="321" y="605"/>
                  <a:pt x="374" y="585"/>
                  <a:pt x="415" y="552"/>
                </a:cubicBezTo>
                <a:cubicBezTo>
                  <a:pt x="469" y="644"/>
                  <a:pt x="469" y="644"/>
                  <a:pt x="469" y="644"/>
                </a:cubicBezTo>
                <a:cubicBezTo>
                  <a:pt x="470" y="646"/>
                  <a:pt x="472" y="647"/>
                  <a:pt x="475" y="647"/>
                </a:cubicBezTo>
                <a:cubicBezTo>
                  <a:pt x="476" y="647"/>
                  <a:pt x="477" y="647"/>
                  <a:pt x="478" y="646"/>
                </a:cubicBezTo>
                <a:cubicBezTo>
                  <a:pt x="482" y="644"/>
                  <a:pt x="483" y="640"/>
                  <a:pt x="481" y="637"/>
                </a:cubicBezTo>
                <a:cubicBezTo>
                  <a:pt x="426" y="542"/>
                  <a:pt x="426" y="542"/>
                  <a:pt x="426" y="542"/>
                </a:cubicBezTo>
                <a:cubicBezTo>
                  <a:pt x="475" y="498"/>
                  <a:pt x="506" y="434"/>
                  <a:pt x="506" y="364"/>
                </a:cubicBezTo>
                <a:cubicBezTo>
                  <a:pt x="506" y="331"/>
                  <a:pt x="499" y="299"/>
                  <a:pt x="487" y="271"/>
                </a:cubicBezTo>
                <a:cubicBezTo>
                  <a:pt x="514" y="238"/>
                  <a:pt x="514" y="238"/>
                  <a:pt x="514" y="238"/>
                </a:cubicBezTo>
                <a:cubicBezTo>
                  <a:pt x="538" y="210"/>
                  <a:pt x="522" y="157"/>
                  <a:pt x="479" y="121"/>
                </a:cubicBezTo>
                <a:close/>
                <a:moveTo>
                  <a:pt x="25" y="233"/>
                </a:moveTo>
                <a:cubicBezTo>
                  <a:pt x="17" y="223"/>
                  <a:pt x="15" y="207"/>
                  <a:pt x="21" y="189"/>
                </a:cubicBezTo>
                <a:cubicBezTo>
                  <a:pt x="27" y="170"/>
                  <a:pt x="40" y="151"/>
                  <a:pt x="59" y="136"/>
                </a:cubicBezTo>
                <a:cubicBezTo>
                  <a:pt x="96" y="104"/>
                  <a:pt x="142" y="97"/>
                  <a:pt x="160" y="120"/>
                </a:cubicBezTo>
                <a:cubicBezTo>
                  <a:pt x="176" y="139"/>
                  <a:pt x="176" y="139"/>
                  <a:pt x="176" y="139"/>
                </a:cubicBezTo>
                <a:cubicBezTo>
                  <a:pt x="120" y="161"/>
                  <a:pt x="73" y="204"/>
                  <a:pt x="47" y="259"/>
                </a:cubicBezTo>
                <a:lnTo>
                  <a:pt x="25" y="233"/>
                </a:lnTo>
                <a:close/>
                <a:moveTo>
                  <a:pt x="264" y="591"/>
                </a:moveTo>
                <a:cubicBezTo>
                  <a:pt x="139" y="591"/>
                  <a:pt x="37" y="489"/>
                  <a:pt x="37" y="364"/>
                </a:cubicBezTo>
                <a:cubicBezTo>
                  <a:pt x="37" y="238"/>
                  <a:pt x="139" y="136"/>
                  <a:pt x="264" y="136"/>
                </a:cubicBezTo>
                <a:cubicBezTo>
                  <a:pt x="390" y="136"/>
                  <a:pt x="492" y="238"/>
                  <a:pt x="492" y="364"/>
                </a:cubicBezTo>
                <a:cubicBezTo>
                  <a:pt x="492" y="489"/>
                  <a:pt x="390" y="591"/>
                  <a:pt x="264" y="591"/>
                </a:cubicBezTo>
                <a:close/>
                <a:moveTo>
                  <a:pt x="503" y="229"/>
                </a:moveTo>
                <a:cubicBezTo>
                  <a:pt x="480" y="257"/>
                  <a:pt x="480" y="257"/>
                  <a:pt x="480" y="257"/>
                </a:cubicBezTo>
                <a:cubicBezTo>
                  <a:pt x="453" y="202"/>
                  <a:pt x="407" y="160"/>
                  <a:pt x="350" y="138"/>
                </a:cubicBezTo>
                <a:cubicBezTo>
                  <a:pt x="368" y="116"/>
                  <a:pt x="368" y="116"/>
                  <a:pt x="368" y="116"/>
                </a:cubicBezTo>
                <a:cubicBezTo>
                  <a:pt x="377" y="105"/>
                  <a:pt x="392" y="101"/>
                  <a:pt x="411" y="104"/>
                </a:cubicBezTo>
                <a:cubicBezTo>
                  <a:pt x="430" y="106"/>
                  <a:pt x="452" y="116"/>
                  <a:pt x="470" y="132"/>
                </a:cubicBezTo>
                <a:cubicBezTo>
                  <a:pt x="507" y="163"/>
                  <a:pt x="522" y="207"/>
                  <a:pt x="503" y="229"/>
                </a:cubicBezTo>
                <a:close/>
                <a:moveTo>
                  <a:pt x="271" y="335"/>
                </a:moveTo>
                <a:cubicBezTo>
                  <a:pt x="271" y="183"/>
                  <a:pt x="271" y="183"/>
                  <a:pt x="271" y="183"/>
                </a:cubicBezTo>
                <a:cubicBezTo>
                  <a:pt x="271" y="179"/>
                  <a:pt x="268" y="176"/>
                  <a:pt x="264" y="176"/>
                </a:cubicBezTo>
                <a:cubicBezTo>
                  <a:pt x="260" y="176"/>
                  <a:pt x="257" y="179"/>
                  <a:pt x="257" y="183"/>
                </a:cubicBezTo>
                <a:cubicBezTo>
                  <a:pt x="257" y="335"/>
                  <a:pt x="257" y="335"/>
                  <a:pt x="257" y="335"/>
                </a:cubicBezTo>
                <a:cubicBezTo>
                  <a:pt x="244" y="338"/>
                  <a:pt x="235" y="350"/>
                  <a:pt x="235" y="364"/>
                </a:cubicBezTo>
                <a:cubicBezTo>
                  <a:pt x="235" y="372"/>
                  <a:pt x="238" y="379"/>
                  <a:pt x="243" y="385"/>
                </a:cubicBezTo>
                <a:cubicBezTo>
                  <a:pt x="202" y="454"/>
                  <a:pt x="202" y="454"/>
                  <a:pt x="202" y="454"/>
                </a:cubicBezTo>
                <a:cubicBezTo>
                  <a:pt x="200" y="457"/>
                  <a:pt x="201" y="461"/>
                  <a:pt x="204" y="463"/>
                </a:cubicBezTo>
                <a:cubicBezTo>
                  <a:pt x="205" y="464"/>
                  <a:pt x="207" y="464"/>
                  <a:pt x="208" y="464"/>
                </a:cubicBezTo>
                <a:cubicBezTo>
                  <a:pt x="210" y="464"/>
                  <a:pt x="212" y="463"/>
                  <a:pt x="214" y="461"/>
                </a:cubicBezTo>
                <a:cubicBezTo>
                  <a:pt x="255" y="392"/>
                  <a:pt x="255" y="392"/>
                  <a:pt x="255" y="392"/>
                </a:cubicBezTo>
                <a:cubicBezTo>
                  <a:pt x="258" y="393"/>
                  <a:pt x="261" y="393"/>
                  <a:pt x="264" y="393"/>
                </a:cubicBezTo>
                <a:cubicBezTo>
                  <a:pt x="281" y="393"/>
                  <a:pt x="294" y="380"/>
                  <a:pt x="294" y="364"/>
                </a:cubicBezTo>
                <a:cubicBezTo>
                  <a:pt x="294" y="350"/>
                  <a:pt x="284" y="338"/>
                  <a:pt x="271" y="335"/>
                </a:cubicBezTo>
                <a:close/>
                <a:moveTo>
                  <a:pt x="264" y="379"/>
                </a:moveTo>
                <a:cubicBezTo>
                  <a:pt x="256" y="379"/>
                  <a:pt x="249" y="372"/>
                  <a:pt x="249" y="364"/>
                </a:cubicBezTo>
                <a:cubicBezTo>
                  <a:pt x="249" y="355"/>
                  <a:pt x="256" y="348"/>
                  <a:pt x="264" y="348"/>
                </a:cubicBezTo>
                <a:cubicBezTo>
                  <a:pt x="273" y="348"/>
                  <a:pt x="280" y="355"/>
                  <a:pt x="280" y="364"/>
                </a:cubicBezTo>
                <a:cubicBezTo>
                  <a:pt x="280" y="372"/>
                  <a:pt x="273" y="379"/>
                  <a:pt x="264" y="379"/>
                </a:cubicBez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9224" name="Oval 41"/>
          <p:cNvSpPr>
            <a:spLocks noChangeArrowheads="1"/>
          </p:cNvSpPr>
          <p:nvPr/>
        </p:nvSpPr>
        <p:spPr bwMode="auto">
          <a:xfrm>
            <a:off x="4831649" y="3120088"/>
            <a:ext cx="1119124" cy="1119124"/>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9280" name="Freeform 98"/>
          <p:cNvSpPr>
            <a:spLocks noEditPoints="1"/>
          </p:cNvSpPr>
          <p:nvPr/>
        </p:nvSpPr>
        <p:spPr bwMode="auto">
          <a:xfrm>
            <a:off x="5016211" y="3303474"/>
            <a:ext cx="751177" cy="752352"/>
          </a:xfrm>
          <a:custGeom>
            <a:avLst/>
            <a:gdLst>
              <a:gd name="T0" fmla="*/ 486 w 714"/>
              <a:gd name="T1" fmla="*/ 214 h 715"/>
              <a:gd name="T2" fmla="*/ 375 w 714"/>
              <a:gd name="T3" fmla="*/ 329 h 715"/>
              <a:gd name="T4" fmla="*/ 357 w 714"/>
              <a:gd name="T5" fmla="*/ 324 h 715"/>
              <a:gd name="T6" fmla="*/ 342 w 714"/>
              <a:gd name="T7" fmla="*/ 327 h 715"/>
              <a:gd name="T8" fmla="*/ 183 w 714"/>
              <a:gd name="T9" fmla="*/ 124 h 715"/>
              <a:gd name="T10" fmla="*/ 173 w 714"/>
              <a:gd name="T11" fmla="*/ 123 h 715"/>
              <a:gd name="T12" fmla="*/ 172 w 714"/>
              <a:gd name="T13" fmla="*/ 133 h 715"/>
              <a:gd name="T14" fmla="*/ 331 w 714"/>
              <a:gd name="T15" fmla="*/ 336 h 715"/>
              <a:gd name="T16" fmla="*/ 323 w 714"/>
              <a:gd name="T17" fmla="*/ 358 h 715"/>
              <a:gd name="T18" fmla="*/ 357 w 714"/>
              <a:gd name="T19" fmla="*/ 391 h 715"/>
              <a:gd name="T20" fmla="*/ 390 w 714"/>
              <a:gd name="T21" fmla="*/ 358 h 715"/>
              <a:gd name="T22" fmla="*/ 385 w 714"/>
              <a:gd name="T23" fmla="*/ 339 h 715"/>
              <a:gd name="T24" fmla="*/ 496 w 714"/>
              <a:gd name="T25" fmla="*/ 223 h 715"/>
              <a:gd name="T26" fmla="*/ 496 w 714"/>
              <a:gd name="T27" fmla="*/ 213 h 715"/>
              <a:gd name="T28" fmla="*/ 486 w 714"/>
              <a:gd name="T29" fmla="*/ 214 h 715"/>
              <a:gd name="T30" fmla="*/ 357 w 714"/>
              <a:gd name="T31" fmla="*/ 377 h 715"/>
              <a:gd name="T32" fmla="*/ 337 w 714"/>
              <a:gd name="T33" fmla="*/ 358 h 715"/>
              <a:gd name="T34" fmla="*/ 357 w 714"/>
              <a:gd name="T35" fmla="*/ 338 h 715"/>
              <a:gd name="T36" fmla="*/ 376 w 714"/>
              <a:gd name="T37" fmla="*/ 358 h 715"/>
              <a:gd name="T38" fmla="*/ 357 w 714"/>
              <a:gd name="T39" fmla="*/ 377 h 715"/>
              <a:gd name="T40" fmla="*/ 714 w 714"/>
              <a:gd name="T41" fmla="*/ 358 h 715"/>
              <a:gd name="T42" fmla="*/ 714 w 714"/>
              <a:gd name="T43" fmla="*/ 358 h 715"/>
              <a:gd name="T44" fmla="*/ 357 w 714"/>
              <a:gd name="T45" fmla="*/ 0 h 715"/>
              <a:gd name="T46" fmla="*/ 357 w 714"/>
              <a:gd name="T47" fmla="*/ 0 h 715"/>
              <a:gd name="T48" fmla="*/ 357 w 714"/>
              <a:gd name="T49" fmla="*/ 0 h 715"/>
              <a:gd name="T50" fmla="*/ 357 w 714"/>
              <a:gd name="T51" fmla="*/ 0 h 715"/>
              <a:gd name="T52" fmla="*/ 0 w 714"/>
              <a:gd name="T53" fmla="*/ 358 h 715"/>
              <a:gd name="T54" fmla="*/ 0 w 714"/>
              <a:gd name="T55" fmla="*/ 358 h 715"/>
              <a:gd name="T56" fmla="*/ 0 w 714"/>
              <a:gd name="T57" fmla="*/ 358 h 715"/>
              <a:gd name="T58" fmla="*/ 0 w 714"/>
              <a:gd name="T59" fmla="*/ 358 h 715"/>
              <a:gd name="T60" fmla="*/ 357 w 714"/>
              <a:gd name="T61" fmla="*/ 715 h 715"/>
              <a:gd name="T62" fmla="*/ 357 w 714"/>
              <a:gd name="T63" fmla="*/ 715 h 715"/>
              <a:gd name="T64" fmla="*/ 357 w 714"/>
              <a:gd name="T65" fmla="*/ 715 h 715"/>
              <a:gd name="T66" fmla="*/ 357 w 714"/>
              <a:gd name="T67" fmla="*/ 715 h 715"/>
              <a:gd name="T68" fmla="*/ 714 w 714"/>
              <a:gd name="T69" fmla="*/ 358 h 715"/>
              <a:gd name="T70" fmla="*/ 714 w 714"/>
              <a:gd name="T71" fmla="*/ 358 h 715"/>
              <a:gd name="T72" fmla="*/ 364 w 714"/>
              <a:gd name="T73" fmla="*/ 700 h 715"/>
              <a:gd name="T74" fmla="*/ 364 w 714"/>
              <a:gd name="T75" fmla="*/ 662 h 715"/>
              <a:gd name="T76" fmla="*/ 357 w 714"/>
              <a:gd name="T77" fmla="*/ 655 h 715"/>
              <a:gd name="T78" fmla="*/ 350 w 714"/>
              <a:gd name="T79" fmla="*/ 662 h 715"/>
              <a:gd name="T80" fmla="*/ 350 w 714"/>
              <a:gd name="T81" fmla="*/ 700 h 715"/>
              <a:gd name="T82" fmla="*/ 14 w 714"/>
              <a:gd name="T83" fmla="*/ 365 h 715"/>
              <a:gd name="T84" fmla="*/ 52 w 714"/>
              <a:gd name="T85" fmla="*/ 365 h 715"/>
              <a:gd name="T86" fmla="*/ 59 w 714"/>
              <a:gd name="T87" fmla="*/ 358 h 715"/>
              <a:gd name="T88" fmla="*/ 52 w 714"/>
              <a:gd name="T89" fmla="*/ 351 h 715"/>
              <a:gd name="T90" fmla="*/ 14 w 714"/>
              <a:gd name="T91" fmla="*/ 351 h 715"/>
              <a:gd name="T92" fmla="*/ 350 w 714"/>
              <a:gd name="T93" fmla="*/ 15 h 715"/>
              <a:gd name="T94" fmla="*/ 350 w 714"/>
              <a:gd name="T95" fmla="*/ 53 h 715"/>
              <a:gd name="T96" fmla="*/ 357 w 714"/>
              <a:gd name="T97" fmla="*/ 60 h 715"/>
              <a:gd name="T98" fmla="*/ 364 w 714"/>
              <a:gd name="T99" fmla="*/ 53 h 715"/>
              <a:gd name="T100" fmla="*/ 364 w 714"/>
              <a:gd name="T101" fmla="*/ 15 h 715"/>
              <a:gd name="T102" fmla="*/ 699 w 714"/>
              <a:gd name="T103" fmla="*/ 351 h 715"/>
              <a:gd name="T104" fmla="*/ 661 w 714"/>
              <a:gd name="T105" fmla="*/ 351 h 715"/>
              <a:gd name="T106" fmla="*/ 654 w 714"/>
              <a:gd name="T107" fmla="*/ 358 h 715"/>
              <a:gd name="T108" fmla="*/ 661 w 714"/>
              <a:gd name="T109" fmla="*/ 365 h 715"/>
              <a:gd name="T110" fmla="*/ 699 w 714"/>
              <a:gd name="T111" fmla="*/ 365 h 715"/>
              <a:gd name="T112" fmla="*/ 364 w 714"/>
              <a:gd name="T113" fmla="*/ 700 h 7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14" h="715">
                <a:moveTo>
                  <a:pt x="486" y="214"/>
                </a:moveTo>
                <a:cubicBezTo>
                  <a:pt x="375" y="329"/>
                  <a:pt x="375" y="329"/>
                  <a:pt x="375" y="329"/>
                </a:cubicBezTo>
                <a:cubicBezTo>
                  <a:pt x="369" y="326"/>
                  <a:pt x="363" y="324"/>
                  <a:pt x="357" y="324"/>
                </a:cubicBezTo>
                <a:cubicBezTo>
                  <a:pt x="351" y="324"/>
                  <a:pt x="346" y="325"/>
                  <a:pt x="342" y="327"/>
                </a:cubicBezTo>
                <a:cubicBezTo>
                  <a:pt x="183" y="124"/>
                  <a:pt x="183" y="124"/>
                  <a:pt x="183" y="124"/>
                </a:cubicBezTo>
                <a:cubicBezTo>
                  <a:pt x="180" y="121"/>
                  <a:pt x="176" y="121"/>
                  <a:pt x="173" y="123"/>
                </a:cubicBezTo>
                <a:cubicBezTo>
                  <a:pt x="170" y="126"/>
                  <a:pt x="169" y="130"/>
                  <a:pt x="172" y="133"/>
                </a:cubicBezTo>
                <a:cubicBezTo>
                  <a:pt x="331" y="336"/>
                  <a:pt x="331" y="336"/>
                  <a:pt x="331" y="336"/>
                </a:cubicBezTo>
                <a:cubicBezTo>
                  <a:pt x="326" y="342"/>
                  <a:pt x="323" y="349"/>
                  <a:pt x="323" y="358"/>
                </a:cubicBezTo>
                <a:cubicBezTo>
                  <a:pt x="323" y="376"/>
                  <a:pt x="338" y="391"/>
                  <a:pt x="357" y="391"/>
                </a:cubicBezTo>
                <a:cubicBezTo>
                  <a:pt x="375" y="391"/>
                  <a:pt x="390" y="376"/>
                  <a:pt x="390" y="358"/>
                </a:cubicBezTo>
                <a:cubicBezTo>
                  <a:pt x="390" y="351"/>
                  <a:pt x="388" y="344"/>
                  <a:pt x="385" y="339"/>
                </a:cubicBezTo>
                <a:cubicBezTo>
                  <a:pt x="496" y="223"/>
                  <a:pt x="496" y="223"/>
                  <a:pt x="496" y="223"/>
                </a:cubicBezTo>
                <a:cubicBezTo>
                  <a:pt x="499" y="220"/>
                  <a:pt x="499" y="216"/>
                  <a:pt x="496" y="213"/>
                </a:cubicBezTo>
                <a:cubicBezTo>
                  <a:pt x="493" y="211"/>
                  <a:pt x="489" y="211"/>
                  <a:pt x="486" y="214"/>
                </a:cubicBezTo>
                <a:close/>
                <a:moveTo>
                  <a:pt x="357" y="377"/>
                </a:moveTo>
                <a:cubicBezTo>
                  <a:pt x="346" y="377"/>
                  <a:pt x="337" y="368"/>
                  <a:pt x="337" y="358"/>
                </a:cubicBezTo>
                <a:cubicBezTo>
                  <a:pt x="337" y="347"/>
                  <a:pt x="346" y="338"/>
                  <a:pt x="357" y="338"/>
                </a:cubicBezTo>
                <a:cubicBezTo>
                  <a:pt x="368" y="338"/>
                  <a:pt x="376" y="347"/>
                  <a:pt x="376" y="358"/>
                </a:cubicBezTo>
                <a:cubicBezTo>
                  <a:pt x="376" y="368"/>
                  <a:pt x="368" y="377"/>
                  <a:pt x="357" y="377"/>
                </a:cubicBezTo>
                <a:close/>
                <a:moveTo>
                  <a:pt x="714" y="358"/>
                </a:moveTo>
                <a:cubicBezTo>
                  <a:pt x="714" y="358"/>
                  <a:pt x="714" y="358"/>
                  <a:pt x="714" y="358"/>
                </a:cubicBezTo>
                <a:cubicBezTo>
                  <a:pt x="714" y="161"/>
                  <a:pt x="553" y="0"/>
                  <a:pt x="357" y="0"/>
                </a:cubicBezTo>
                <a:cubicBezTo>
                  <a:pt x="357" y="0"/>
                  <a:pt x="357" y="0"/>
                  <a:pt x="357" y="0"/>
                </a:cubicBezTo>
                <a:cubicBezTo>
                  <a:pt x="357" y="0"/>
                  <a:pt x="357" y="0"/>
                  <a:pt x="357" y="0"/>
                </a:cubicBezTo>
                <a:cubicBezTo>
                  <a:pt x="357" y="0"/>
                  <a:pt x="357" y="0"/>
                  <a:pt x="357" y="0"/>
                </a:cubicBezTo>
                <a:cubicBezTo>
                  <a:pt x="160" y="0"/>
                  <a:pt x="0" y="161"/>
                  <a:pt x="0" y="358"/>
                </a:cubicBezTo>
                <a:cubicBezTo>
                  <a:pt x="0" y="358"/>
                  <a:pt x="0" y="358"/>
                  <a:pt x="0" y="358"/>
                </a:cubicBezTo>
                <a:cubicBezTo>
                  <a:pt x="0" y="358"/>
                  <a:pt x="0" y="358"/>
                  <a:pt x="0" y="358"/>
                </a:cubicBezTo>
                <a:cubicBezTo>
                  <a:pt x="0" y="358"/>
                  <a:pt x="0" y="358"/>
                  <a:pt x="0" y="358"/>
                </a:cubicBezTo>
                <a:cubicBezTo>
                  <a:pt x="0" y="554"/>
                  <a:pt x="160" y="715"/>
                  <a:pt x="357" y="715"/>
                </a:cubicBezTo>
                <a:cubicBezTo>
                  <a:pt x="357" y="715"/>
                  <a:pt x="357" y="715"/>
                  <a:pt x="357" y="715"/>
                </a:cubicBezTo>
                <a:cubicBezTo>
                  <a:pt x="357" y="715"/>
                  <a:pt x="357" y="715"/>
                  <a:pt x="357" y="715"/>
                </a:cubicBezTo>
                <a:cubicBezTo>
                  <a:pt x="357" y="715"/>
                  <a:pt x="357" y="715"/>
                  <a:pt x="357" y="715"/>
                </a:cubicBezTo>
                <a:cubicBezTo>
                  <a:pt x="553" y="715"/>
                  <a:pt x="714" y="554"/>
                  <a:pt x="714" y="358"/>
                </a:cubicBezTo>
                <a:cubicBezTo>
                  <a:pt x="714" y="358"/>
                  <a:pt x="714" y="358"/>
                  <a:pt x="714" y="358"/>
                </a:cubicBezTo>
                <a:close/>
                <a:moveTo>
                  <a:pt x="364" y="700"/>
                </a:moveTo>
                <a:cubicBezTo>
                  <a:pt x="364" y="662"/>
                  <a:pt x="364" y="662"/>
                  <a:pt x="364" y="662"/>
                </a:cubicBezTo>
                <a:cubicBezTo>
                  <a:pt x="364" y="658"/>
                  <a:pt x="360" y="655"/>
                  <a:pt x="357" y="655"/>
                </a:cubicBezTo>
                <a:cubicBezTo>
                  <a:pt x="353" y="655"/>
                  <a:pt x="350" y="658"/>
                  <a:pt x="350" y="662"/>
                </a:cubicBezTo>
                <a:cubicBezTo>
                  <a:pt x="350" y="700"/>
                  <a:pt x="350" y="700"/>
                  <a:pt x="350" y="700"/>
                </a:cubicBezTo>
                <a:cubicBezTo>
                  <a:pt x="166" y="697"/>
                  <a:pt x="17" y="548"/>
                  <a:pt x="14" y="365"/>
                </a:cubicBezTo>
                <a:cubicBezTo>
                  <a:pt x="52" y="365"/>
                  <a:pt x="52" y="365"/>
                  <a:pt x="52" y="365"/>
                </a:cubicBezTo>
                <a:cubicBezTo>
                  <a:pt x="56" y="365"/>
                  <a:pt x="59" y="361"/>
                  <a:pt x="59" y="358"/>
                </a:cubicBezTo>
                <a:cubicBezTo>
                  <a:pt x="59" y="354"/>
                  <a:pt x="56" y="351"/>
                  <a:pt x="52" y="351"/>
                </a:cubicBezTo>
                <a:cubicBezTo>
                  <a:pt x="14" y="351"/>
                  <a:pt x="14" y="351"/>
                  <a:pt x="14" y="351"/>
                </a:cubicBezTo>
                <a:cubicBezTo>
                  <a:pt x="17" y="167"/>
                  <a:pt x="166" y="18"/>
                  <a:pt x="350" y="15"/>
                </a:cubicBezTo>
                <a:cubicBezTo>
                  <a:pt x="350" y="53"/>
                  <a:pt x="350" y="53"/>
                  <a:pt x="350" y="53"/>
                </a:cubicBezTo>
                <a:cubicBezTo>
                  <a:pt x="350" y="57"/>
                  <a:pt x="353" y="60"/>
                  <a:pt x="357" y="60"/>
                </a:cubicBezTo>
                <a:cubicBezTo>
                  <a:pt x="360" y="60"/>
                  <a:pt x="364" y="57"/>
                  <a:pt x="364" y="53"/>
                </a:cubicBezTo>
                <a:cubicBezTo>
                  <a:pt x="364" y="15"/>
                  <a:pt x="364" y="15"/>
                  <a:pt x="364" y="15"/>
                </a:cubicBezTo>
                <a:cubicBezTo>
                  <a:pt x="547" y="18"/>
                  <a:pt x="696" y="167"/>
                  <a:pt x="699" y="351"/>
                </a:cubicBezTo>
                <a:cubicBezTo>
                  <a:pt x="661" y="351"/>
                  <a:pt x="661" y="351"/>
                  <a:pt x="661" y="351"/>
                </a:cubicBezTo>
                <a:cubicBezTo>
                  <a:pt x="657" y="351"/>
                  <a:pt x="654" y="354"/>
                  <a:pt x="654" y="358"/>
                </a:cubicBezTo>
                <a:cubicBezTo>
                  <a:pt x="654" y="361"/>
                  <a:pt x="657" y="365"/>
                  <a:pt x="661" y="365"/>
                </a:cubicBezTo>
                <a:cubicBezTo>
                  <a:pt x="699" y="365"/>
                  <a:pt x="699" y="365"/>
                  <a:pt x="699" y="365"/>
                </a:cubicBezTo>
                <a:cubicBezTo>
                  <a:pt x="696" y="548"/>
                  <a:pt x="547" y="697"/>
                  <a:pt x="364" y="700"/>
                </a:cubicBez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9223" name="Oval 40"/>
          <p:cNvSpPr>
            <a:spLocks noChangeArrowheads="1"/>
          </p:cNvSpPr>
          <p:nvPr/>
        </p:nvSpPr>
        <p:spPr bwMode="auto">
          <a:xfrm>
            <a:off x="6589621" y="3120088"/>
            <a:ext cx="1119124" cy="1119124"/>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9287" name="Freeform 100"/>
          <p:cNvSpPr>
            <a:spLocks noEditPoints="1"/>
          </p:cNvSpPr>
          <p:nvPr/>
        </p:nvSpPr>
        <p:spPr bwMode="auto">
          <a:xfrm>
            <a:off x="6749496" y="3309351"/>
            <a:ext cx="799374" cy="741773"/>
          </a:xfrm>
          <a:custGeom>
            <a:avLst/>
            <a:gdLst>
              <a:gd name="T0" fmla="*/ 387 w 759"/>
              <a:gd name="T1" fmla="*/ 56 h 705"/>
              <a:gd name="T2" fmla="*/ 387 w 759"/>
              <a:gd name="T3" fmla="*/ 7 h 705"/>
              <a:gd name="T4" fmla="*/ 380 w 759"/>
              <a:gd name="T5" fmla="*/ 0 h 705"/>
              <a:gd name="T6" fmla="*/ 373 w 759"/>
              <a:gd name="T7" fmla="*/ 7 h 705"/>
              <a:gd name="T8" fmla="*/ 373 w 759"/>
              <a:gd name="T9" fmla="*/ 56 h 705"/>
              <a:gd name="T10" fmla="*/ 0 w 759"/>
              <a:gd name="T11" fmla="*/ 404 h 705"/>
              <a:gd name="T12" fmla="*/ 0 w 759"/>
              <a:gd name="T13" fmla="*/ 405 h 705"/>
              <a:gd name="T14" fmla="*/ 5 w 759"/>
              <a:gd name="T15" fmla="*/ 411 h 705"/>
              <a:gd name="T16" fmla="*/ 13 w 759"/>
              <a:gd name="T17" fmla="*/ 409 h 705"/>
              <a:gd name="T18" fmla="*/ 131 w 759"/>
              <a:gd name="T19" fmla="*/ 346 h 705"/>
              <a:gd name="T20" fmla="*/ 250 w 759"/>
              <a:gd name="T21" fmla="*/ 409 h 705"/>
              <a:gd name="T22" fmla="*/ 261 w 759"/>
              <a:gd name="T23" fmla="*/ 409 h 705"/>
              <a:gd name="T24" fmla="*/ 373 w 759"/>
              <a:gd name="T25" fmla="*/ 346 h 705"/>
              <a:gd name="T26" fmla="*/ 373 w 759"/>
              <a:gd name="T27" fmla="*/ 631 h 705"/>
              <a:gd name="T28" fmla="*/ 308 w 759"/>
              <a:gd name="T29" fmla="*/ 691 h 705"/>
              <a:gd name="T30" fmla="*/ 243 w 759"/>
              <a:gd name="T31" fmla="*/ 631 h 705"/>
              <a:gd name="T32" fmla="*/ 236 w 759"/>
              <a:gd name="T33" fmla="*/ 624 h 705"/>
              <a:gd name="T34" fmla="*/ 229 w 759"/>
              <a:gd name="T35" fmla="*/ 631 h 705"/>
              <a:gd name="T36" fmla="*/ 308 w 759"/>
              <a:gd name="T37" fmla="*/ 705 h 705"/>
              <a:gd name="T38" fmla="*/ 387 w 759"/>
              <a:gd name="T39" fmla="*/ 631 h 705"/>
              <a:gd name="T40" fmla="*/ 387 w 759"/>
              <a:gd name="T41" fmla="*/ 346 h 705"/>
              <a:gd name="T42" fmla="*/ 498 w 759"/>
              <a:gd name="T43" fmla="*/ 409 h 705"/>
              <a:gd name="T44" fmla="*/ 504 w 759"/>
              <a:gd name="T45" fmla="*/ 412 h 705"/>
              <a:gd name="T46" fmla="*/ 510 w 759"/>
              <a:gd name="T47" fmla="*/ 409 h 705"/>
              <a:gd name="T48" fmla="*/ 628 w 759"/>
              <a:gd name="T49" fmla="*/ 346 h 705"/>
              <a:gd name="T50" fmla="*/ 747 w 759"/>
              <a:gd name="T51" fmla="*/ 409 h 705"/>
              <a:gd name="T52" fmla="*/ 752 w 759"/>
              <a:gd name="T53" fmla="*/ 412 h 705"/>
              <a:gd name="T54" fmla="*/ 754 w 759"/>
              <a:gd name="T55" fmla="*/ 411 h 705"/>
              <a:gd name="T56" fmla="*/ 759 w 759"/>
              <a:gd name="T57" fmla="*/ 405 h 705"/>
              <a:gd name="T58" fmla="*/ 759 w 759"/>
              <a:gd name="T59" fmla="*/ 404 h 705"/>
              <a:gd name="T60" fmla="*/ 387 w 759"/>
              <a:gd name="T61" fmla="*/ 56 h 705"/>
              <a:gd name="T62" fmla="*/ 628 w 759"/>
              <a:gd name="T63" fmla="*/ 332 h 705"/>
              <a:gd name="T64" fmla="*/ 504 w 759"/>
              <a:gd name="T65" fmla="*/ 393 h 705"/>
              <a:gd name="T66" fmla="*/ 380 w 759"/>
              <a:gd name="T67" fmla="*/ 332 h 705"/>
              <a:gd name="T68" fmla="*/ 256 w 759"/>
              <a:gd name="T69" fmla="*/ 393 h 705"/>
              <a:gd name="T70" fmla="*/ 131 w 759"/>
              <a:gd name="T71" fmla="*/ 332 h 705"/>
              <a:gd name="T72" fmla="*/ 15 w 759"/>
              <a:gd name="T73" fmla="*/ 384 h 705"/>
              <a:gd name="T74" fmla="*/ 380 w 759"/>
              <a:gd name="T75" fmla="*/ 70 h 705"/>
              <a:gd name="T76" fmla="*/ 745 w 759"/>
              <a:gd name="T77" fmla="*/ 384 h 705"/>
              <a:gd name="T78" fmla="*/ 628 w 759"/>
              <a:gd name="T79" fmla="*/ 332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59" h="705">
                <a:moveTo>
                  <a:pt x="387" y="56"/>
                </a:moveTo>
                <a:cubicBezTo>
                  <a:pt x="387" y="7"/>
                  <a:pt x="387" y="7"/>
                  <a:pt x="387" y="7"/>
                </a:cubicBezTo>
                <a:cubicBezTo>
                  <a:pt x="387" y="3"/>
                  <a:pt x="384" y="0"/>
                  <a:pt x="380" y="0"/>
                </a:cubicBezTo>
                <a:cubicBezTo>
                  <a:pt x="376" y="0"/>
                  <a:pt x="373" y="3"/>
                  <a:pt x="373" y="7"/>
                </a:cubicBezTo>
                <a:cubicBezTo>
                  <a:pt x="373" y="56"/>
                  <a:pt x="373" y="56"/>
                  <a:pt x="373" y="56"/>
                </a:cubicBezTo>
                <a:cubicBezTo>
                  <a:pt x="167" y="59"/>
                  <a:pt x="0" y="214"/>
                  <a:pt x="0" y="404"/>
                </a:cubicBezTo>
                <a:cubicBezTo>
                  <a:pt x="0" y="405"/>
                  <a:pt x="0" y="405"/>
                  <a:pt x="0" y="405"/>
                </a:cubicBezTo>
                <a:cubicBezTo>
                  <a:pt x="0" y="408"/>
                  <a:pt x="2" y="410"/>
                  <a:pt x="5" y="411"/>
                </a:cubicBezTo>
                <a:cubicBezTo>
                  <a:pt x="8" y="412"/>
                  <a:pt x="11" y="411"/>
                  <a:pt x="13" y="409"/>
                </a:cubicBezTo>
                <a:cubicBezTo>
                  <a:pt x="40" y="369"/>
                  <a:pt x="85" y="346"/>
                  <a:pt x="131" y="346"/>
                </a:cubicBezTo>
                <a:cubicBezTo>
                  <a:pt x="178" y="346"/>
                  <a:pt x="223" y="369"/>
                  <a:pt x="250" y="409"/>
                </a:cubicBezTo>
                <a:cubicBezTo>
                  <a:pt x="253" y="412"/>
                  <a:pt x="259" y="412"/>
                  <a:pt x="261" y="409"/>
                </a:cubicBezTo>
                <a:cubicBezTo>
                  <a:pt x="287" y="371"/>
                  <a:pt x="329" y="348"/>
                  <a:pt x="373" y="346"/>
                </a:cubicBezTo>
                <a:cubicBezTo>
                  <a:pt x="373" y="631"/>
                  <a:pt x="373" y="631"/>
                  <a:pt x="373" y="631"/>
                </a:cubicBezTo>
                <a:cubicBezTo>
                  <a:pt x="373" y="664"/>
                  <a:pt x="344" y="691"/>
                  <a:pt x="308" y="691"/>
                </a:cubicBezTo>
                <a:cubicBezTo>
                  <a:pt x="272" y="691"/>
                  <a:pt x="243" y="664"/>
                  <a:pt x="243" y="631"/>
                </a:cubicBezTo>
                <a:cubicBezTo>
                  <a:pt x="243" y="627"/>
                  <a:pt x="240" y="624"/>
                  <a:pt x="236" y="624"/>
                </a:cubicBezTo>
                <a:cubicBezTo>
                  <a:pt x="233" y="624"/>
                  <a:pt x="229" y="627"/>
                  <a:pt x="229" y="631"/>
                </a:cubicBezTo>
                <a:cubicBezTo>
                  <a:pt x="229" y="672"/>
                  <a:pt x="265" y="705"/>
                  <a:pt x="308" y="705"/>
                </a:cubicBezTo>
                <a:cubicBezTo>
                  <a:pt x="352" y="705"/>
                  <a:pt x="387" y="672"/>
                  <a:pt x="387" y="631"/>
                </a:cubicBezTo>
                <a:cubicBezTo>
                  <a:pt x="387" y="346"/>
                  <a:pt x="387" y="346"/>
                  <a:pt x="387" y="346"/>
                </a:cubicBezTo>
                <a:cubicBezTo>
                  <a:pt x="431" y="348"/>
                  <a:pt x="472" y="371"/>
                  <a:pt x="498" y="409"/>
                </a:cubicBezTo>
                <a:cubicBezTo>
                  <a:pt x="500" y="410"/>
                  <a:pt x="502" y="412"/>
                  <a:pt x="504" y="412"/>
                </a:cubicBezTo>
                <a:cubicBezTo>
                  <a:pt x="506" y="412"/>
                  <a:pt x="508" y="410"/>
                  <a:pt x="510" y="409"/>
                </a:cubicBezTo>
                <a:cubicBezTo>
                  <a:pt x="537" y="369"/>
                  <a:pt x="581" y="346"/>
                  <a:pt x="628" y="346"/>
                </a:cubicBezTo>
                <a:cubicBezTo>
                  <a:pt x="675" y="346"/>
                  <a:pt x="719" y="369"/>
                  <a:pt x="747" y="409"/>
                </a:cubicBezTo>
                <a:cubicBezTo>
                  <a:pt x="748" y="410"/>
                  <a:pt x="750" y="412"/>
                  <a:pt x="752" y="412"/>
                </a:cubicBezTo>
                <a:cubicBezTo>
                  <a:pt x="753" y="412"/>
                  <a:pt x="754" y="411"/>
                  <a:pt x="754" y="411"/>
                </a:cubicBezTo>
                <a:cubicBezTo>
                  <a:pt x="757" y="410"/>
                  <a:pt x="759" y="408"/>
                  <a:pt x="759" y="405"/>
                </a:cubicBezTo>
                <a:cubicBezTo>
                  <a:pt x="759" y="404"/>
                  <a:pt x="759" y="404"/>
                  <a:pt x="759" y="404"/>
                </a:cubicBezTo>
                <a:cubicBezTo>
                  <a:pt x="759" y="214"/>
                  <a:pt x="593" y="59"/>
                  <a:pt x="387" y="56"/>
                </a:cubicBezTo>
                <a:close/>
                <a:moveTo>
                  <a:pt x="628" y="332"/>
                </a:moveTo>
                <a:cubicBezTo>
                  <a:pt x="580" y="332"/>
                  <a:pt x="534" y="354"/>
                  <a:pt x="504" y="393"/>
                </a:cubicBezTo>
                <a:cubicBezTo>
                  <a:pt x="474" y="354"/>
                  <a:pt x="428" y="332"/>
                  <a:pt x="380" y="332"/>
                </a:cubicBezTo>
                <a:cubicBezTo>
                  <a:pt x="332" y="332"/>
                  <a:pt x="286" y="354"/>
                  <a:pt x="256" y="393"/>
                </a:cubicBezTo>
                <a:cubicBezTo>
                  <a:pt x="225" y="354"/>
                  <a:pt x="180" y="332"/>
                  <a:pt x="131" y="332"/>
                </a:cubicBezTo>
                <a:cubicBezTo>
                  <a:pt x="87" y="332"/>
                  <a:pt x="45" y="351"/>
                  <a:pt x="15" y="384"/>
                </a:cubicBezTo>
                <a:cubicBezTo>
                  <a:pt x="27" y="209"/>
                  <a:pt x="186" y="70"/>
                  <a:pt x="380" y="70"/>
                </a:cubicBezTo>
                <a:cubicBezTo>
                  <a:pt x="574" y="70"/>
                  <a:pt x="733" y="209"/>
                  <a:pt x="745" y="384"/>
                </a:cubicBezTo>
                <a:cubicBezTo>
                  <a:pt x="715" y="351"/>
                  <a:pt x="673" y="332"/>
                  <a:pt x="628" y="332"/>
                </a:cubicBez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28" name="Oval 29"/>
          <p:cNvSpPr>
            <a:spLocks noChangeArrowheads="1"/>
          </p:cNvSpPr>
          <p:nvPr/>
        </p:nvSpPr>
        <p:spPr bwMode="auto">
          <a:xfrm>
            <a:off x="1315706" y="1528549"/>
            <a:ext cx="1119124" cy="1119124"/>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9298" name="Freeform 111"/>
          <p:cNvSpPr>
            <a:spLocks noEditPoints="1"/>
          </p:cNvSpPr>
          <p:nvPr/>
        </p:nvSpPr>
        <p:spPr bwMode="auto">
          <a:xfrm>
            <a:off x="1693455" y="1727426"/>
            <a:ext cx="363628" cy="720193"/>
          </a:xfrm>
          <a:custGeom>
            <a:avLst/>
            <a:gdLst>
              <a:gd name="T0" fmla="*/ 84 w 345"/>
              <a:gd name="T1" fmla="*/ 684 h 684"/>
              <a:gd name="T2" fmla="*/ 81 w 345"/>
              <a:gd name="T3" fmla="*/ 683 h 684"/>
              <a:gd name="T4" fmla="*/ 77 w 345"/>
              <a:gd name="T5" fmla="*/ 675 h 684"/>
              <a:gd name="T6" fmla="*/ 137 w 345"/>
              <a:gd name="T7" fmla="*/ 396 h 684"/>
              <a:gd name="T8" fmla="*/ 7 w 345"/>
              <a:gd name="T9" fmla="*/ 396 h 684"/>
              <a:gd name="T10" fmla="*/ 1 w 345"/>
              <a:gd name="T11" fmla="*/ 392 h 684"/>
              <a:gd name="T12" fmla="*/ 1 w 345"/>
              <a:gd name="T13" fmla="*/ 385 h 684"/>
              <a:gd name="T14" fmla="*/ 255 w 345"/>
              <a:gd name="T15" fmla="*/ 4 h 684"/>
              <a:gd name="T16" fmla="*/ 263 w 345"/>
              <a:gd name="T17" fmla="*/ 2 h 684"/>
              <a:gd name="T18" fmla="*/ 267 w 345"/>
              <a:gd name="T19" fmla="*/ 10 h 684"/>
              <a:gd name="T20" fmla="*/ 207 w 345"/>
              <a:gd name="T21" fmla="*/ 289 h 684"/>
              <a:gd name="T22" fmla="*/ 337 w 345"/>
              <a:gd name="T23" fmla="*/ 289 h 684"/>
              <a:gd name="T24" fmla="*/ 343 w 345"/>
              <a:gd name="T25" fmla="*/ 293 h 684"/>
              <a:gd name="T26" fmla="*/ 343 w 345"/>
              <a:gd name="T27" fmla="*/ 300 h 684"/>
              <a:gd name="T28" fmla="*/ 90 w 345"/>
              <a:gd name="T29" fmla="*/ 681 h 684"/>
              <a:gd name="T30" fmla="*/ 84 w 345"/>
              <a:gd name="T31" fmla="*/ 684 h 684"/>
              <a:gd name="T32" fmla="*/ 20 w 345"/>
              <a:gd name="T33" fmla="*/ 382 h 684"/>
              <a:gd name="T34" fmla="*/ 146 w 345"/>
              <a:gd name="T35" fmla="*/ 382 h 684"/>
              <a:gd name="T36" fmla="*/ 151 w 345"/>
              <a:gd name="T37" fmla="*/ 384 h 684"/>
              <a:gd name="T38" fmla="*/ 153 w 345"/>
              <a:gd name="T39" fmla="*/ 390 h 684"/>
              <a:gd name="T40" fmla="*/ 99 w 345"/>
              <a:gd name="T41" fmla="*/ 642 h 684"/>
              <a:gd name="T42" fmla="*/ 324 w 345"/>
              <a:gd name="T43" fmla="*/ 303 h 684"/>
              <a:gd name="T44" fmla="*/ 199 w 345"/>
              <a:gd name="T45" fmla="*/ 303 h 684"/>
              <a:gd name="T46" fmla="*/ 193 w 345"/>
              <a:gd name="T47" fmla="*/ 301 h 684"/>
              <a:gd name="T48" fmla="*/ 192 w 345"/>
              <a:gd name="T49" fmla="*/ 295 h 684"/>
              <a:gd name="T50" fmla="*/ 246 w 345"/>
              <a:gd name="T51" fmla="*/ 43 h 684"/>
              <a:gd name="T52" fmla="*/ 20 w 345"/>
              <a:gd name="T53" fmla="*/ 382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45" h="684">
                <a:moveTo>
                  <a:pt x="84" y="684"/>
                </a:moveTo>
                <a:cubicBezTo>
                  <a:pt x="83" y="684"/>
                  <a:pt x="82" y="684"/>
                  <a:pt x="81" y="683"/>
                </a:cubicBezTo>
                <a:cubicBezTo>
                  <a:pt x="78" y="682"/>
                  <a:pt x="77" y="679"/>
                  <a:pt x="77" y="675"/>
                </a:cubicBezTo>
                <a:cubicBezTo>
                  <a:pt x="137" y="396"/>
                  <a:pt x="137" y="396"/>
                  <a:pt x="137" y="396"/>
                </a:cubicBezTo>
                <a:cubicBezTo>
                  <a:pt x="7" y="396"/>
                  <a:pt x="7" y="396"/>
                  <a:pt x="7" y="396"/>
                </a:cubicBezTo>
                <a:cubicBezTo>
                  <a:pt x="5" y="396"/>
                  <a:pt x="2" y="394"/>
                  <a:pt x="1" y="392"/>
                </a:cubicBezTo>
                <a:cubicBezTo>
                  <a:pt x="0" y="390"/>
                  <a:pt x="0" y="387"/>
                  <a:pt x="1" y="385"/>
                </a:cubicBezTo>
                <a:cubicBezTo>
                  <a:pt x="255" y="4"/>
                  <a:pt x="255" y="4"/>
                  <a:pt x="255" y="4"/>
                </a:cubicBezTo>
                <a:cubicBezTo>
                  <a:pt x="256" y="1"/>
                  <a:pt x="260" y="0"/>
                  <a:pt x="263" y="2"/>
                </a:cubicBezTo>
                <a:cubicBezTo>
                  <a:pt x="266" y="3"/>
                  <a:pt x="268" y="6"/>
                  <a:pt x="267" y="10"/>
                </a:cubicBezTo>
                <a:cubicBezTo>
                  <a:pt x="207" y="289"/>
                  <a:pt x="207" y="289"/>
                  <a:pt x="207" y="289"/>
                </a:cubicBezTo>
                <a:cubicBezTo>
                  <a:pt x="337" y="289"/>
                  <a:pt x="337" y="289"/>
                  <a:pt x="337" y="289"/>
                </a:cubicBezTo>
                <a:cubicBezTo>
                  <a:pt x="340" y="289"/>
                  <a:pt x="342" y="291"/>
                  <a:pt x="343" y="293"/>
                </a:cubicBezTo>
                <a:cubicBezTo>
                  <a:pt x="345" y="295"/>
                  <a:pt x="345" y="298"/>
                  <a:pt x="343" y="300"/>
                </a:cubicBezTo>
                <a:cubicBezTo>
                  <a:pt x="90" y="681"/>
                  <a:pt x="90" y="681"/>
                  <a:pt x="90" y="681"/>
                </a:cubicBezTo>
                <a:cubicBezTo>
                  <a:pt x="89" y="683"/>
                  <a:pt x="86" y="684"/>
                  <a:pt x="84" y="684"/>
                </a:cubicBezTo>
                <a:close/>
                <a:moveTo>
                  <a:pt x="20" y="382"/>
                </a:moveTo>
                <a:cubicBezTo>
                  <a:pt x="146" y="382"/>
                  <a:pt x="146" y="382"/>
                  <a:pt x="146" y="382"/>
                </a:cubicBezTo>
                <a:cubicBezTo>
                  <a:pt x="148" y="382"/>
                  <a:pt x="150" y="383"/>
                  <a:pt x="151" y="384"/>
                </a:cubicBezTo>
                <a:cubicBezTo>
                  <a:pt x="153" y="386"/>
                  <a:pt x="153" y="388"/>
                  <a:pt x="153" y="390"/>
                </a:cubicBezTo>
                <a:cubicBezTo>
                  <a:pt x="99" y="642"/>
                  <a:pt x="99" y="642"/>
                  <a:pt x="99" y="642"/>
                </a:cubicBezTo>
                <a:cubicBezTo>
                  <a:pt x="324" y="303"/>
                  <a:pt x="324" y="303"/>
                  <a:pt x="324" y="303"/>
                </a:cubicBezTo>
                <a:cubicBezTo>
                  <a:pt x="199" y="303"/>
                  <a:pt x="199" y="303"/>
                  <a:pt x="199" y="303"/>
                </a:cubicBezTo>
                <a:cubicBezTo>
                  <a:pt x="196" y="303"/>
                  <a:pt x="194" y="302"/>
                  <a:pt x="193" y="301"/>
                </a:cubicBezTo>
                <a:cubicBezTo>
                  <a:pt x="192" y="299"/>
                  <a:pt x="191" y="297"/>
                  <a:pt x="192" y="295"/>
                </a:cubicBezTo>
                <a:cubicBezTo>
                  <a:pt x="246" y="43"/>
                  <a:pt x="246" y="43"/>
                  <a:pt x="246" y="43"/>
                </a:cubicBezTo>
                <a:lnTo>
                  <a:pt x="20" y="382"/>
                </a:ln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9237" name="Oval 52"/>
          <p:cNvSpPr>
            <a:spLocks noChangeArrowheads="1"/>
          </p:cNvSpPr>
          <p:nvPr/>
        </p:nvSpPr>
        <p:spPr bwMode="auto">
          <a:xfrm>
            <a:off x="3073678" y="4711628"/>
            <a:ext cx="1119124" cy="1119124"/>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9306" name="Freeform 119"/>
          <p:cNvSpPr>
            <a:spLocks noEditPoints="1"/>
          </p:cNvSpPr>
          <p:nvPr/>
        </p:nvSpPr>
        <p:spPr bwMode="auto">
          <a:xfrm>
            <a:off x="3273522" y="4903647"/>
            <a:ext cx="713560" cy="729198"/>
          </a:xfrm>
          <a:custGeom>
            <a:avLst/>
            <a:gdLst>
              <a:gd name="T0" fmla="*/ 501 w 678"/>
              <a:gd name="T1" fmla="*/ 691 h 691"/>
              <a:gd name="T2" fmla="*/ 496 w 678"/>
              <a:gd name="T3" fmla="*/ 688 h 691"/>
              <a:gd name="T4" fmla="*/ 388 w 678"/>
              <a:gd name="T5" fmla="*/ 579 h 691"/>
              <a:gd name="T6" fmla="*/ 91 w 678"/>
              <a:gd name="T7" fmla="*/ 507 h 691"/>
              <a:gd name="T8" fmla="*/ 6 w 678"/>
              <a:gd name="T9" fmla="*/ 277 h 691"/>
              <a:gd name="T10" fmla="*/ 8 w 678"/>
              <a:gd name="T11" fmla="*/ 273 h 691"/>
              <a:gd name="T12" fmla="*/ 30 w 678"/>
              <a:gd name="T13" fmla="*/ 251 h 691"/>
              <a:gd name="T14" fmla="*/ 40 w 678"/>
              <a:gd name="T15" fmla="*/ 251 h 691"/>
              <a:gd name="T16" fmla="*/ 143 w 678"/>
              <a:gd name="T17" fmla="*/ 353 h 691"/>
              <a:gd name="T18" fmla="*/ 309 w 678"/>
              <a:gd name="T19" fmla="*/ 309 h 691"/>
              <a:gd name="T20" fmla="*/ 353 w 678"/>
              <a:gd name="T21" fmla="*/ 143 h 691"/>
              <a:gd name="T22" fmla="*/ 251 w 678"/>
              <a:gd name="T23" fmla="*/ 40 h 691"/>
              <a:gd name="T24" fmla="*/ 249 w 678"/>
              <a:gd name="T25" fmla="*/ 35 h 691"/>
              <a:gd name="T26" fmla="*/ 251 w 678"/>
              <a:gd name="T27" fmla="*/ 30 h 691"/>
              <a:gd name="T28" fmla="*/ 273 w 678"/>
              <a:gd name="T29" fmla="*/ 8 h 691"/>
              <a:gd name="T30" fmla="*/ 277 w 678"/>
              <a:gd name="T31" fmla="*/ 6 h 691"/>
              <a:gd name="T32" fmla="*/ 507 w 678"/>
              <a:gd name="T33" fmla="*/ 91 h 691"/>
              <a:gd name="T34" fmla="*/ 579 w 678"/>
              <a:gd name="T35" fmla="*/ 388 h 691"/>
              <a:gd name="T36" fmla="*/ 675 w 678"/>
              <a:gd name="T37" fmla="*/ 484 h 691"/>
              <a:gd name="T38" fmla="*/ 675 w 678"/>
              <a:gd name="T39" fmla="*/ 494 h 691"/>
              <a:gd name="T40" fmla="*/ 665 w 678"/>
              <a:gd name="T41" fmla="*/ 494 h 691"/>
              <a:gd name="T42" fmla="*/ 566 w 678"/>
              <a:gd name="T43" fmla="*/ 394 h 691"/>
              <a:gd name="T44" fmla="*/ 565 w 678"/>
              <a:gd name="T45" fmla="*/ 387 h 691"/>
              <a:gd name="T46" fmla="*/ 497 w 678"/>
              <a:gd name="T47" fmla="*/ 101 h 691"/>
              <a:gd name="T48" fmla="*/ 281 w 678"/>
              <a:gd name="T49" fmla="*/ 20 h 691"/>
              <a:gd name="T50" fmla="*/ 266 w 678"/>
              <a:gd name="T51" fmla="*/ 35 h 691"/>
              <a:gd name="T52" fmla="*/ 366 w 678"/>
              <a:gd name="T53" fmla="*/ 136 h 691"/>
              <a:gd name="T54" fmla="*/ 368 w 678"/>
              <a:gd name="T55" fmla="*/ 143 h 691"/>
              <a:gd name="T56" fmla="*/ 321 w 678"/>
              <a:gd name="T57" fmla="*/ 316 h 691"/>
              <a:gd name="T58" fmla="*/ 316 w 678"/>
              <a:gd name="T59" fmla="*/ 321 h 691"/>
              <a:gd name="T60" fmla="*/ 143 w 678"/>
              <a:gd name="T61" fmla="*/ 368 h 691"/>
              <a:gd name="T62" fmla="*/ 136 w 678"/>
              <a:gd name="T63" fmla="*/ 366 h 691"/>
              <a:gd name="T64" fmla="*/ 35 w 678"/>
              <a:gd name="T65" fmla="*/ 266 h 691"/>
              <a:gd name="T66" fmla="*/ 20 w 678"/>
              <a:gd name="T67" fmla="*/ 281 h 691"/>
              <a:gd name="T68" fmla="*/ 101 w 678"/>
              <a:gd name="T69" fmla="*/ 497 h 691"/>
              <a:gd name="T70" fmla="*/ 387 w 678"/>
              <a:gd name="T71" fmla="*/ 565 h 691"/>
              <a:gd name="T72" fmla="*/ 394 w 678"/>
              <a:gd name="T73" fmla="*/ 566 h 691"/>
              <a:gd name="T74" fmla="*/ 506 w 678"/>
              <a:gd name="T75" fmla="*/ 679 h 691"/>
              <a:gd name="T76" fmla="*/ 506 w 678"/>
              <a:gd name="T77" fmla="*/ 688 h 691"/>
              <a:gd name="T78" fmla="*/ 501 w 678"/>
              <a:gd name="T79" fmla="*/ 691 h 691"/>
              <a:gd name="T80" fmla="*/ 156 w 678"/>
              <a:gd name="T81" fmla="*/ 313 h 691"/>
              <a:gd name="T82" fmla="*/ 151 w 678"/>
              <a:gd name="T83" fmla="*/ 311 h 691"/>
              <a:gd name="T84" fmla="*/ 64 w 678"/>
              <a:gd name="T85" fmla="*/ 224 h 691"/>
              <a:gd name="T86" fmla="*/ 62 w 678"/>
              <a:gd name="T87" fmla="*/ 217 h 691"/>
              <a:gd name="T88" fmla="*/ 94 w 678"/>
              <a:gd name="T89" fmla="*/ 99 h 691"/>
              <a:gd name="T90" fmla="*/ 99 w 678"/>
              <a:gd name="T91" fmla="*/ 94 h 691"/>
              <a:gd name="T92" fmla="*/ 217 w 678"/>
              <a:gd name="T93" fmla="*/ 62 h 691"/>
              <a:gd name="T94" fmla="*/ 224 w 678"/>
              <a:gd name="T95" fmla="*/ 64 h 691"/>
              <a:gd name="T96" fmla="*/ 311 w 678"/>
              <a:gd name="T97" fmla="*/ 151 h 691"/>
              <a:gd name="T98" fmla="*/ 313 w 678"/>
              <a:gd name="T99" fmla="*/ 157 h 691"/>
              <a:gd name="T100" fmla="*/ 281 w 678"/>
              <a:gd name="T101" fmla="*/ 276 h 691"/>
              <a:gd name="T102" fmla="*/ 276 w 678"/>
              <a:gd name="T103" fmla="*/ 281 h 691"/>
              <a:gd name="T104" fmla="*/ 157 w 678"/>
              <a:gd name="T105" fmla="*/ 313 h 691"/>
              <a:gd name="T106" fmla="*/ 156 w 678"/>
              <a:gd name="T107" fmla="*/ 313 h 691"/>
              <a:gd name="T108" fmla="*/ 77 w 678"/>
              <a:gd name="T109" fmla="*/ 217 h 691"/>
              <a:gd name="T110" fmla="*/ 158 w 678"/>
              <a:gd name="T111" fmla="*/ 298 h 691"/>
              <a:gd name="T112" fmla="*/ 268 w 678"/>
              <a:gd name="T113" fmla="*/ 268 h 691"/>
              <a:gd name="T114" fmla="*/ 298 w 678"/>
              <a:gd name="T115" fmla="*/ 158 h 691"/>
              <a:gd name="T116" fmla="*/ 217 w 678"/>
              <a:gd name="T117" fmla="*/ 76 h 691"/>
              <a:gd name="T118" fmla="*/ 106 w 678"/>
              <a:gd name="T119" fmla="*/ 106 h 691"/>
              <a:gd name="T120" fmla="*/ 77 w 678"/>
              <a:gd name="T121" fmla="*/ 217 h 6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78" h="691">
                <a:moveTo>
                  <a:pt x="501" y="691"/>
                </a:moveTo>
                <a:cubicBezTo>
                  <a:pt x="500" y="691"/>
                  <a:pt x="498" y="690"/>
                  <a:pt x="496" y="688"/>
                </a:cubicBezTo>
                <a:cubicBezTo>
                  <a:pt x="388" y="579"/>
                  <a:pt x="388" y="579"/>
                  <a:pt x="388" y="579"/>
                </a:cubicBezTo>
                <a:cubicBezTo>
                  <a:pt x="283" y="612"/>
                  <a:pt x="170" y="585"/>
                  <a:pt x="91" y="507"/>
                </a:cubicBezTo>
                <a:cubicBezTo>
                  <a:pt x="31" y="446"/>
                  <a:pt x="0" y="363"/>
                  <a:pt x="6" y="277"/>
                </a:cubicBezTo>
                <a:cubicBezTo>
                  <a:pt x="6" y="276"/>
                  <a:pt x="7" y="274"/>
                  <a:pt x="8" y="273"/>
                </a:cubicBezTo>
                <a:cubicBezTo>
                  <a:pt x="30" y="251"/>
                  <a:pt x="30" y="251"/>
                  <a:pt x="30" y="251"/>
                </a:cubicBezTo>
                <a:cubicBezTo>
                  <a:pt x="33" y="248"/>
                  <a:pt x="38" y="248"/>
                  <a:pt x="40" y="251"/>
                </a:cubicBezTo>
                <a:cubicBezTo>
                  <a:pt x="143" y="353"/>
                  <a:pt x="143" y="353"/>
                  <a:pt x="143" y="353"/>
                </a:cubicBezTo>
                <a:cubicBezTo>
                  <a:pt x="309" y="309"/>
                  <a:pt x="309" y="309"/>
                  <a:pt x="309" y="309"/>
                </a:cubicBezTo>
                <a:cubicBezTo>
                  <a:pt x="353" y="143"/>
                  <a:pt x="353" y="143"/>
                  <a:pt x="353" y="143"/>
                </a:cubicBezTo>
                <a:cubicBezTo>
                  <a:pt x="251" y="40"/>
                  <a:pt x="251" y="40"/>
                  <a:pt x="251" y="40"/>
                </a:cubicBezTo>
                <a:cubicBezTo>
                  <a:pt x="250" y="39"/>
                  <a:pt x="249" y="37"/>
                  <a:pt x="249" y="35"/>
                </a:cubicBezTo>
                <a:cubicBezTo>
                  <a:pt x="249" y="33"/>
                  <a:pt x="250" y="32"/>
                  <a:pt x="251" y="30"/>
                </a:cubicBezTo>
                <a:cubicBezTo>
                  <a:pt x="273" y="8"/>
                  <a:pt x="273" y="8"/>
                  <a:pt x="273" y="8"/>
                </a:cubicBezTo>
                <a:cubicBezTo>
                  <a:pt x="274" y="7"/>
                  <a:pt x="276" y="6"/>
                  <a:pt x="277" y="6"/>
                </a:cubicBezTo>
                <a:cubicBezTo>
                  <a:pt x="363" y="0"/>
                  <a:pt x="446" y="31"/>
                  <a:pt x="507" y="91"/>
                </a:cubicBezTo>
                <a:cubicBezTo>
                  <a:pt x="585" y="169"/>
                  <a:pt x="613" y="283"/>
                  <a:pt x="579" y="388"/>
                </a:cubicBezTo>
                <a:cubicBezTo>
                  <a:pt x="675" y="484"/>
                  <a:pt x="675" y="484"/>
                  <a:pt x="675" y="484"/>
                </a:cubicBezTo>
                <a:cubicBezTo>
                  <a:pt x="678" y="486"/>
                  <a:pt x="678" y="491"/>
                  <a:pt x="675" y="494"/>
                </a:cubicBezTo>
                <a:cubicBezTo>
                  <a:pt x="673" y="496"/>
                  <a:pt x="668" y="496"/>
                  <a:pt x="665" y="494"/>
                </a:cubicBezTo>
                <a:cubicBezTo>
                  <a:pt x="566" y="394"/>
                  <a:pt x="566" y="394"/>
                  <a:pt x="566" y="394"/>
                </a:cubicBezTo>
                <a:cubicBezTo>
                  <a:pt x="565" y="393"/>
                  <a:pt x="564" y="390"/>
                  <a:pt x="565" y="387"/>
                </a:cubicBezTo>
                <a:cubicBezTo>
                  <a:pt x="598" y="286"/>
                  <a:pt x="572" y="177"/>
                  <a:pt x="497" y="101"/>
                </a:cubicBezTo>
                <a:cubicBezTo>
                  <a:pt x="440" y="44"/>
                  <a:pt x="361" y="15"/>
                  <a:pt x="281" y="20"/>
                </a:cubicBezTo>
                <a:cubicBezTo>
                  <a:pt x="266" y="35"/>
                  <a:pt x="266" y="35"/>
                  <a:pt x="266" y="35"/>
                </a:cubicBezTo>
                <a:cubicBezTo>
                  <a:pt x="366" y="136"/>
                  <a:pt x="366" y="136"/>
                  <a:pt x="366" y="136"/>
                </a:cubicBezTo>
                <a:cubicBezTo>
                  <a:pt x="368" y="138"/>
                  <a:pt x="369" y="140"/>
                  <a:pt x="368" y="143"/>
                </a:cubicBezTo>
                <a:cubicBezTo>
                  <a:pt x="321" y="316"/>
                  <a:pt x="321" y="316"/>
                  <a:pt x="321" y="316"/>
                </a:cubicBezTo>
                <a:cubicBezTo>
                  <a:pt x="321" y="319"/>
                  <a:pt x="319" y="321"/>
                  <a:pt x="316" y="321"/>
                </a:cubicBezTo>
                <a:cubicBezTo>
                  <a:pt x="143" y="368"/>
                  <a:pt x="143" y="368"/>
                  <a:pt x="143" y="368"/>
                </a:cubicBezTo>
                <a:cubicBezTo>
                  <a:pt x="140" y="369"/>
                  <a:pt x="138" y="368"/>
                  <a:pt x="136" y="366"/>
                </a:cubicBezTo>
                <a:cubicBezTo>
                  <a:pt x="35" y="266"/>
                  <a:pt x="35" y="266"/>
                  <a:pt x="35" y="266"/>
                </a:cubicBezTo>
                <a:cubicBezTo>
                  <a:pt x="20" y="281"/>
                  <a:pt x="20" y="281"/>
                  <a:pt x="20" y="281"/>
                </a:cubicBezTo>
                <a:cubicBezTo>
                  <a:pt x="15" y="361"/>
                  <a:pt x="44" y="440"/>
                  <a:pt x="101" y="497"/>
                </a:cubicBezTo>
                <a:cubicBezTo>
                  <a:pt x="177" y="572"/>
                  <a:pt x="286" y="598"/>
                  <a:pt x="387" y="565"/>
                </a:cubicBezTo>
                <a:cubicBezTo>
                  <a:pt x="390" y="564"/>
                  <a:pt x="393" y="565"/>
                  <a:pt x="394" y="566"/>
                </a:cubicBezTo>
                <a:cubicBezTo>
                  <a:pt x="506" y="679"/>
                  <a:pt x="506" y="679"/>
                  <a:pt x="506" y="679"/>
                </a:cubicBezTo>
                <a:cubicBezTo>
                  <a:pt x="509" y="681"/>
                  <a:pt x="509" y="686"/>
                  <a:pt x="506" y="688"/>
                </a:cubicBezTo>
                <a:cubicBezTo>
                  <a:pt x="505" y="690"/>
                  <a:pt x="503" y="691"/>
                  <a:pt x="501" y="691"/>
                </a:cubicBezTo>
                <a:close/>
                <a:moveTo>
                  <a:pt x="156" y="313"/>
                </a:moveTo>
                <a:cubicBezTo>
                  <a:pt x="154" y="313"/>
                  <a:pt x="152" y="312"/>
                  <a:pt x="151" y="311"/>
                </a:cubicBezTo>
                <a:cubicBezTo>
                  <a:pt x="64" y="224"/>
                  <a:pt x="64" y="224"/>
                  <a:pt x="64" y="224"/>
                </a:cubicBezTo>
                <a:cubicBezTo>
                  <a:pt x="62" y="222"/>
                  <a:pt x="61" y="220"/>
                  <a:pt x="62" y="217"/>
                </a:cubicBezTo>
                <a:cubicBezTo>
                  <a:pt x="94" y="99"/>
                  <a:pt x="94" y="99"/>
                  <a:pt x="94" y="99"/>
                </a:cubicBezTo>
                <a:cubicBezTo>
                  <a:pt x="94" y="96"/>
                  <a:pt x="96" y="94"/>
                  <a:pt x="99" y="94"/>
                </a:cubicBezTo>
                <a:cubicBezTo>
                  <a:pt x="217" y="62"/>
                  <a:pt x="217" y="62"/>
                  <a:pt x="217" y="62"/>
                </a:cubicBezTo>
                <a:cubicBezTo>
                  <a:pt x="220" y="61"/>
                  <a:pt x="222" y="62"/>
                  <a:pt x="224" y="64"/>
                </a:cubicBezTo>
                <a:cubicBezTo>
                  <a:pt x="311" y="151"/>
                  <a:pt x="311" y="151"/>
                  <a:pt x="311" y="151"/>
                </a:cubicBezTo>
                <a:cubicBezTo>
                  <a:pt x="313" y="152"/>
                  <a:pt x="313" y="155"/>
                  <a:pt x="313" y="157"/>
                </a:cubicBezTo>
                <a:cubicBezTo>
                  <a:pt x="281" y="276"/>
                  <a:pt x="281" y="276"/>
                  <a:pt x="281" y="276"/>
                </a:cubicBezTo>
                <a:cubicBezTo>
                  <a:pt x="280" y="278"/>
                  <a:pt x="278" y="280"/>
                  <a:pt x="276" y="281"/>
                </a:cubicBezTo>
                <a:cubicBezTo>
                  <a:pt x="157" y="313"/>
                  <a:pt x="157" y="313"/>
                  <a:pt x="157" y="313"/>
                </a:cubicBezTo>
                <a:cubicBezTo>
                  <a:pt x="157" y="313"/>
                  <a:pt x="156" y="313"/>
                  <a:pt x="156" y="313"/>
                </a:cubicBezTo>
                <a:close/>
                <a:moveTo>
                  <a:pt x="77" y="217"/>
                </a:moveTo>
                <a:cubicBezTo>
                  <a:pt x="158" y="298"/>
                  <a:pt x="158" y="298"/>
                  <a:pt x="158" y="298"/>
                </a:cubicBezTo>
                <a:cubicBezTo>
                  <a:pt x="268" y="268"/>
                  <a:pt x="268" y="268"/>
                  <a:pt x="268" y="268"/>
                </a:cubicBezTo>
                <a:cubicBezTo>
                  <a:pt x="298" y="158"/>
                  <a:pt x="298" y="158"/>
                  <a:pt x="298" y="158"/>
                </a:cubicBezTo>
                <a:cubicBezTo>
                  <a:pt x="217" y="76"/>
                  <a:pt x="217" y="76"/>
                  <a:pt x="217" y="76"/>
                </a:cubicBezTo>
                <a:cubicBezTo>
                  <a:pt x="106" y="106"/>
                  <a:pt x="106" y="106"/>
                  <a:pt x="106" y="106"/>
                </a:cubicBezTo>
                <a:lnTo>
                  <a:pt x="77" y="217"/>
                </a:ln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9238" name="Oval 53"/>
          <p:cNvSpPr>
            <a:spLocks noChangeArrowheads="1"/>
          </p:cNvSpPr>
          <p:nvPr/>
        </p:nvSpPr>
        <p:spPr bwMode="auto">
          <a:xfrm>
            <a:off x="1315706" y="4711628"/>
            <a:ext cx="1119124" cy="1119124"/>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9307" name="Freeform 120"/>
          <p:cNvSpPr>
            <a:spLocks/>
          </p:cNvSpPr>
          <p:nvPr/>
        </p:nvSpPr>
        <p:spPr bwMode="auto">
          <a:xfrm>
            <a:off x="1489871" y="4960191"/>
            <a:ext cx="766088" cy="621998"/>
          </a:xfrm>
          <a:custGeom>
            <a:avLst/>
            <a:gdLst>
              <a:gd name="T0" fmla="*/ 618 w 727"/>
              <a:gd name="T1" fmla="*/ 590 h 590"/>
              <a:gd name="T2" fmla="*/ 613 w 727"/>
              <a:gd name="T3" fmla="*/ 588 h 590"/>
              <a:gd name="T4" fmla="*/ 480 w 727"/>
              <a:gd name="T5" fmla="*/ 456 h 590"/>
              <a:gd name="T6" fmla="*/ 399 w 727"/>
              <a:gd name="T7" fmla="*/ 374 h 590"/>
              <a:gd name="T8" fmla="*/ 326 w 727"/>
              <a:gd name="T9" fmla="*/ 342 h 590"/>
              <a:gd name="T10" fmla="*/ 242 w 727"/>
              <a:gd name="T11" fmla="*/ 376 h 590"/>
              <a:gd name="T12" fmla="*/ 224 w 727"/>
              <a:gd name="T13" fmla="*/ 417 h 590"/>
              <a:gd name="T14" fmla="*/ 207 w 727"/>
              <a:gd name="T15" fmla="*/ 455 h 590"/>
              <a:gd name="T16" fmla="*/ 162 w 727"/>
              <a:gd name="T17" fmla="*/ 500 h 590"/>
              <a:gd name="T18" fmla="*/ 154 w 727"/>
              <a:gd name="T19" fmla="*/ 508 h 590"/>
              <a:gd name="T20" fmla="*/ 137 w 727"/>
              <a:gd name="T21" fmla="*/ 515 h 590"/>
              <a:gd name="T22" fmla="*/ 7 w 727"/>
              <a:gd name="T23" fmla="*/ 396 h 590"/>
              <a:gd name="T24" fmla="*/ 12 w 727"/>
              <a:gd name="T25" fmla="*/ 365 h 590"/>
              <a:gd name="T26" fmla="*/ 64 w 727"/>
              <a:gd name="T27" fmla="*/ 313 h 590"/>
              <a:gd name="T28" fmla="*/ 109 w 727"/>
              <a:gd name="T29" fmla="*/ 291 h 590"/>
              <a:gd name="T30" fmla="*/ 139 w 727"/>
              <a:gd name="T31" fmla="*/ 279 h 590"/>
              <a:gd name="T32" fmla="*/ 156 w 727"/>
              <a:gd name="T33" fmla="*/ 240 h 590"/>
              <a:gd name="T34" fmla="*/ 156 w 727"/>
              <a:gd name="T35" fmla="*/ 239 h 590"/>
              <a:gd name="T36" fmla="*/ 194 w 727"/>
              <a:gd name="T37" fmla="*/ 159 h 590"/>
              <a:gd name="T38" fmla="*/ 529 w 727"/>
              <a:gd name="T39" fmla="*/ 0 h 590"/>
              <a:gd name="T40" fmla="*/ 670 w 727"/>
              <a:gd name="T41" fmla="*/ 15 h 590"/>
              <a:gd name="T42" fmla="*/ 684 w 727"/>
              <a:gd name="T43" fmla="*/ 24 h 590"/>
              <a:gd name="T44" fmla="*/ 686 w 727"/>
              <a:gd name="T45" fmla="*/ 40 h 590"/>
              <a:gd name="T46" fmla="*/ 679 w 727"/>
              <a:gd name="T47" fmla="*/ 71 h 590"/>
              <a:gd name="T48" fmla="*/ 655 w 727"/>
              <a:gd name="T49" fmla="*/ 86 h 590"/>
              <a:gd name="T50" fmla="*/ 477 w 727"/>
              <a:gd name="T51" fmla="*/ 148 h 590"/>
              <a:gd name="T52" fmla="*/ 482 w 727"/>
              <a:gd name="T53" fmla="*/ 207 h 590"/>
              <a:gd name="T54" fmla="*/ 523 w 727"/>
              <a:gd name="T55" fmla="*/ 267 h 590"/>
              <a:gd name="T56" fmla="*/ 724 w 727"/>
              <a:gd name="T57" fmla="*/ 467 h 590"/>
              <a:gd name="T58" fmla="*/ 724 w 727"/>
              <a:gd name="T59" fmla="*/ 477 h 590"/>
              <a:gd name="T60" fmla="*/ 714 w 727"/>
              <a:gd name="T61" fmla="*/ 477 h 590"/>
              <a:gd name="T62" fmla="*/ 514 w 727"/>
              <a:gd name="T63" fmla="*/ 277 h 590"/>
              <a:gd name="T64" fmla="*/ 465 w 727"/>
              <a:gd name="T65" fmla="*/ 140 h 590"/>
              <a:gd name="T66" fmla="*/ 658 w 727"/>
              <a:gd name="T67" fmla="*/ 72 h 590"/>
              <a:gd name="T68" fmla="*/ 666 w 727"/>
              <a:gd name="T69" fmla="*/ 67 h 590"/>
              <a:gd name="T70" fmla="*/ 673 w 727"/>
              <a:gd name="T71" fmla="*/ 37 h 590"/>
              <a:gd name="T72" fmla="*/ 672 w 727"/>
              <a:gd name="T73" fmla="*/ 31 h 590"/>
              <a:gd name="T74" fmla="*/ 667 w 727"/>
              <a:gd name="T75" fmla="*/ 28 h 590"/>
              <a:gd name="T76" fmla="*/ 529 w 727"/>
              <a:gd name="T77" fmla="*/ 14 h 590"/>
              <a:gd name="T78" fmla="*/ 204 w 727"/>
              <a:gd name="T79" fmla="*/ 168 h 590"/>
              <a:gd name="T80" fmla="*/ 169 w 727"/>
              <a:gd name="T81" fmla="*/ 243 h 590"/>
              <a:gd name="T82" fmla="*/ 169 w 727"/>
              <a:gd name="T83" fmla="*/ 244 h 590"/>
              <a:gd name="T84" fmla="*/ 148 w 727"/>
              <a:gd name="T85" fmla="*/ 290 h 590"/>
              <a:gd name="T86" fmla="*/ 112 w 727"/>
              <a:gd name="T87" fmla="*/ 305 h 590"/>
              <a:gd name="T88" fmla="*/ 73 w 727"/>
              <a:gd name="T89" fmla="*/ 323 h 590"/>
              <a:gd name="T90" fmla="*/ 21 w 727"/>
              <a:gd name="T91" fmla="*/ 375 h 590"/>
              <a:gd name="T92" fmla="*/ 20 w 727"/>
              <a:gd name="T93" fmla="*/ 391 h 590"/>
              <a:gd name="T94" fmla="*/ 75 w 727"/>
              <a:gd name="T95" fmla="*/ 456 h 590"/>
              <a:gd name="T96" fmla="*/ 137 w 727"/>
              <a:gd name="T97" fmla="*/ 501 h 590"/>
              <a:gd name="T98" fmla="*/ 144 w 727"/>
              <a:gd name="T99" fmla="*/ 498 h 590"/>
              <a:gd name="T100" fmla="*/ 152 w 727"/>
              <a:gd name="T101" fmla="*/ 491 h 590"/>
              <a:gd name="T102" fmla="*/ 197 w 727"/>
              <a:gd name="T103" fmla="*/ 445 h 590"/>
              <a:gd name="T104" fmla="*/ 210 w 727"/>
              <a:gd name="T105" fmla="*/ 414 h 590"/>
              <a:gd name="T106" fmla="*/ 232 w 727"/>
              <a:gd name="T107" fmla="*/ 366 h 590"/>
              <a:gd name="T108" fmla="*/ 326 w 727"/>
              <a:gd name="T109" fmla="*/ 328 h 590"/>
              <a:gd name="T110" fmla="*/ 409 w 727"/>
              <a:gd name="T111" fmla="*/ 365 h 590"/>
              <a:gd name="T112" fmla="*/ 490 w 727"/>
              <a:gd name="T113" fmla="*/ 446 h 590"/>
              <a:gd name="T114" fmla="*/ 623 w 727"/>
              <a:gd name="T115" fmla="*/ 578 h 590"/>
              <a:gd name="T116" fmla="*/ 623 w 727"/>
              <a:gd name="T117" fmla="*/ 588 h 590"/>
              <a:gd name="T118" fmla="*/ 618 w 727"/>
              <a:gd name="T119" fmla="*/ 590 h 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27" h="590">
                <a:moveTo>
                  <a:pt x="618" y="590"/>
                </a:moveTo>
                <a:cubicBezTo>
                  <a:pt x="616" y="590"/>
                  <a:pt x="614" y="590"/>
                  <a:pt x="613" y="588"/>
                </a:cubicBezTo>
                <a:cubicBezTo>
                  <a:pt x="480" y="456"/>
                  <a:pt x="480" y="456"/>
                  <a:pt x="480" y="456"/>
                </a:cubicBezTo>
                <a:cubicBezTo>
                  <a:pt x="440" y="415"/>
                  <a:pt x="408" y="384"/>
                  <a:pt x="399" y="374"/>
                </a:cubicBezTo>
                <a:cubicBezTo>
                  <a:pt x="378" y="353"/>
                  <a:pt x="353" y="342"/>
                  <a:pt x="326" y="342"/>
                </a:cubicBezTo>
                <a:cubicBezTo>
                  <a:pt x="289" y="342"/>
                  <a:pt x="255" y="362"/>
                  <a:pt x="242" y="376"/>
                </a:cubicBezTo>
                <a:cubicBezTo>
                  <a:pt x="230" y="388"/>
                  <a:pt x="227" y="402"/>
                  <a:pt x="224" y="417"/>
                </a:cubicBezTo>
                <a:cubicBezTo>
                  <a:pt x="221" y="430"/>
                  <a:pt x="218" y="444"/>
                  <a:pt x="207" y="455"/>
                </a:cubicBezTo>
                <a:cubicBezTo>
                  <a:pt x="199" y="462"/>
                  <a:pt x="176" y="486"/>
                  <a:pt x="162" y="500"/>
                </a:cubicBezTo>
                <a:cubicBezTo>
                  <a:pt x="154" y="508"/>
                  <a:pt x="154" y="508"/>
                  <a:pt x="154" y="508"/>
                </a:cubicBezTo>
                <a:cubicBezTo>
                  <a:pt x="150" y="512"/>
                  <a:pt x="144" y="515"/>
                  <a:pt x="137" y="515"/>
                </a:cubicBezTo>
                <a:cubicBezTo>
                  <a:pt x="104" y="515"/>
                  <a:pt x="19" y="425"/>
                  <a:pt x="7" y="396"/>
                </a:cubicBezTo>
                <a:cubicBezTo>
                  <a:pt x="0" y="379"/>
                  <a:pt x="8" y="368"/>
                  <a:pt x="12" y="365"/>
                </a:cubicBezTo>
                <a:cubicBezTo>
                  <a:pt x="64" y="313"/>
                  <a:pt x="64" y="313"/>
                  <a:pt x="64" y="313"/>
                </a:cubicBezTo>
                <a:cubicBezTo>
                  <a:pt x="77" y="299"/>
                  <a:pt x="95" y="295"/>
                  <a:pt x="109" y="291"/>
                </a:cubicBezTo>
                <a:cubicBezTo>
                  <a:pt x="121" y="289"/>
                  <a:pt x="131" y="286"/>
                  <a:pt x="139" y="279"/>
                </a:cubicBezTo>
                <a:cubicBezTo>
                  <a:pt x="145" y="273"/>
                  <a:pt x="151" y="256"/>
                  <a:pt x="156" y="240"/>
                </a:cubicBezTo>
                <a:cubicBezTo>
                  <a:pt x="156" y="239"/>
                  <a:pt x="156" y="239"/>
                  <a:pt x="156" y="239"/>
                </a:cubicBezTo>
                <a:cubicBezTo>
                  <a:pt x="164" y="213"/>
                  <a:pt x="173" y="183"/>
                  <a:pt x="194" y="159"/>
                </a:cubicBezTo>
                <a:cubicBezTo>
                  <a:pt x="262" y="80"/>
                  <a:pt x="355" y="0"/>
                  <a:pt x="529" y="0"/>
                </a:cubicBezTo>
                <a:cubicBezTo>
                  <a:pt x="572" y="0"/>
                  <a:pt x="619" y="5"/>
                  <a:pt x="670" y="15"/>
                </a:cubicBezTo>
                <a:cubicBezTo>
                  <a:pt x="676" y="16"/>
                  <a:pt x="681" y="19"/>
                  <a:pt x="684" y="24"/>
                </a:cubicBezTo>
                <a:cubicBezTo>
                  <a:pt x="687" y="29"/>
                  <a:pt x="688" y="35"/>
                  <a:pt x="686" y="40"/>
                </a:cubicBezTo>
                <a:cubicBezTo>
                  <a:pt x="679" y="71"/>
                  <a:pt x="679" y="71"/>
                  <a:pt x="679" y="71"/>
                </a:cubicBezTo>
                <a:cubicBezTo>
                  <a:pt x="677" y="81"/>
                  <a:pt x="666" y="88"/>
                  <a:pt x="655" y="86"/>
                </a:cubicBezTo>
                <a:cubicBezTo>
                  <a:pt x="584" y="74"/>
                  <a:pt x="507" y="101"/>
                  <a:pt x="477" y="148"/>
                </a:cubicBezTo>
                <a:cubicBezTo>
                  <a:pt x="466" y="164"/>
                  <a:pt x="474" y="189"/>
                  <a:pt x="482" y="207"/>
                </a:cubicBezTo>
                <a:cubicBezTo>
                  <a:pt x="494" y="233"/>
                  <a:pt x="512" y="255"/>
                  <a:pt x="523" y="267"/>
                </a:cubicBezTo>
                <a:cubicBezTo>
                  <a:pt x="531" y="275"/>
                  <a:pt x="637" y="380"/>
                  <a:pt x="724" y="467"/>
                </a:cubicBezTo>
                <a:cubicBezTo>
                  <a:pt x="727" y="470"/>
                  <a:pt x="727" y="474"/>
                  <a:pt x="724" y="477"/>
                </a:cubicBezTo>
                <a:cubicBezTo>
                  <a:pt x="721" y="480"/>
                  <a:pt x="717" y="480"/>
                  <a:pt x="714" y="477"/>
                </a:cubicBezTo>
                <a:cubicBezTo>
                  <a:pt x="627" y="390"/>
                  <a:pt x="522" y="285"/>
                  <a:pt x="514" y="277"/>
                </a:cubicBezTo>
                <a:cubicBezTo>
                  <a:pt x="488" y="251"/>
                  <a:pt x="439" y="180"/>
                  <a:pt x="465" y="140"/>
                </a:cubicBezTo>
                <a:cubicBezTo>
                  <a:pt x="498" y="89"/>
                  <a:pt x="581" y="60"/>
                  <a:pt x="658" y="72"/>
                </a:cubicBezTo>
                <a:cubicBezTo>
                  <a:pt x="661" y="73"/>
                  <a:pt x="665" y="71"/>
                  <a:pt x="666" y="67"/>
                </a:cubicBezTo>
                <a:cubicBezTo>
                  <a:pt x="673" y="37"/>
                  <a:pt x="673" y="37"/>
                  <a:pt x="673" y="37"/>
                </a:cubicBezTo>
                <a:cubicBezTo>
                  <a:pt x="673" y="35"/>
                  <a:pt x="673" y="33"/>
                  <a:pt x="672" y="31"/>
                </a:cubicBezTo>
                <a:cubicBezTo>
                  <a:pt x="671" y="30"/>
                  <a:pt x="669" y="29"/>
                  <a:pt x="667" y="28"/>
                </a:cubicBezTo>
                <a:cubicBezTo>
                  <a:pt x="618" y="19"/>
                  <a:pt x="571" y="14"/>
                  <a:pt x="529" y="14"/>
                </a:cubicBezTo>
                <a:cubicBezTo>
                  <a:pt x="361" y="14"/>
                  <a:pt x="271" y="92"/>
                  <a:pt x="204" y="168"/>
                </a:cubicBezTo>
                <a:cubicBezTo>
                  <a:pt x="185" y="190"/>
                  <a:pt x="177" y="218"/>
                  <a:pt x="169" y="243"/>
                </a:cubicBezTo>
                <a:cubicBezTo>
                  <a:pt x="169" y="244"/>
                  <a:pt x="169" y="244"/>
                  <a:pt x="169" y="244"/>
                </a:cubicBezTo>
                <a:cubicBezTo>
                  <a:pt x="163" y="264"/>
                  <a:pt x="158" y="281"/>
                  <a:pt x="148" y="290"/>
                </a:cubicBezTo>
                <a:cubicBezTo>
                  <a:pt x="138" y="299"/>
                  <a:pt x="125" y="302"/>
                  <a:pt x="112" y="305"/>
                </a:cubicBezTo>
                <a:cubicBezTo>
                  <a:pt x="99" y="308"/>
                  <a:pt x="85" y="312"/>
                  <a:pt x="73" y="323"/>
                </a:cubicBezTo>
                <a:cubicBezTo>
                  <a:pt x="21" y="375"/>
                  <a:pt x="21" y="375"/>
                  <a:pt x="21" y="375"/>
                </a:cubicBezTo>
                <a:cubicBezTo>
                  <a:pt x="18" y="378"/>
                  <a:pt x="17" y="384"/>
                  <a:pt x="20" y="391"/>
                </a:cubicBezTo>
                <a:cubicBezTo>
                  <a:pt x="26" y="404"/>
                  <a:pt x="48" y="431"/>
                  <a:pt x="75" y="456"/>
                </a:cubicBezTo>
                <a:cubicBezTo>
                  <a:pt x="106" y="487"/>
                  <a:pt x="129" y="501"/>
                  <a:pt x="137" y="501"/>
                </a:cubicBezTo>
                <a:cubicBezTo>
                  <a:pt x="140" y="501"/>
                  <a:pt x="143" y="500"/>
                  <a:pt x="144" y="498"/>
                </a:cubicBezTo>
                <a:cubicBezTo>
                  <a:pt x="152" y="491"/>
                  <a:pt x="152" y="491"/>
                  <a:pt x="152" y="491"/>
                </a:cubicBezTo>
                <a:cubicBezTo>
                  <a:pt x="166" y="476"/>
                  <a:pt x="190" y="453"/>
                  <a:pt x="197" y="445"/>
                </a:cubicBezTo>
                <a:cubicBezTo>
                  <a:pt x="205" y="437"/>
                  <a:pt x="207" y="426"/>
                  <a:pt x="210" y="414"/>
                </a:cubicBezTo>
                <a:cubicBezTo>
                  <a:pt x="213" y="398"/>
                  <a:pt x="217" y="381"/>
                  <a:pt x="232" y="366"/>
                </a:cubicBezTo>
                <a:cubicBezTo>
                  <a:pt x="247" y="351"/>
                  <a:pt x="285" y="328"/>
                  <a:pt x="326" y="328"/>
                </a:cubicBezTo>
                <a:cubicBezTo>
                  <a:pt x="357" y="328"/>
                  <a:pt x="385" y="341"/>
                  <a:pt x="409" y="365"/>
                </a:cubicBezTo>
                <a:cubicBezTo>
                  <a:pt x="418" y="374"/>
                  <a:pt x="450" y="406"/>
                  <a:pt x="490" y="446"/>
                </a:cubicBezTo>
                <a:cubicBezTo>
                  <a:pt x="623" y="578"/>
                  <a:pt x="623" y="578"/>
                  <a:pt x="623" y="578"/>
                </a:cubicBezTo>
                <a:cubicBezTo>
                  <a:pt x="626" y="581"/>
                  <a:pt x="626" y="586"/>
                  <a:pt x="623" y="588"/>
                </a:cubicBezTo>
                <a:cubicBezTo>
                  <a:pt x="621" y="590"/>
                  <a:pt x="620" y="590"/>
                  <a:pt x="618" y="590"/>
                </a:cubicBez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9229" name="Oval 46"/>
          <p:cNvSpPr>
            <a:spLocks noChangeArrowheads="1"/>
          </p:cNvSpPr>
          <p:nvPr/>
        </p:nvSpPr>
        <p:spPr bwMode="auto">
          <a:xfrm>
            <a:off x="6589621" y="4711628"/>
            <a:ext cx="1119124" cy="1119124"/>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9308" name="Freeform 121"/>
          <p:cNvSpPr>
            <a:spLocks noEditPoints="1"/>
          </p:cNvSpPr>
          <p:nvPr/>
        </p:nvSpPr>
        <p:spPr bwMode="auto">
          <a:xfrm>
            <a:off x="6776535" y="4969616"/>
            <a:ext cx="740597" cy="603149"/>
          </a:xfrm>
          <a:custGeom>
            <a:avLst/>
            <a:gdLst>
              <a:gd name="T0" fmla="*/ 333 w 703"/>
              <a:gd name="T1" fmla="*/ 406 h 572"/>
              <a:gd name="T2" fmla="*/ 198 w 703"/>
              <a:gd name="T3" fmla="*/ 553 h 572"/>
              <a:gd name="T4" fmla="*/ 157 w 703"/>
              <a:gd name="T5" fmla="*/ 568 h 572"/>
              <a:gd name="T6" fmla="*/ 79 w 703"/>
              <a:gd name="T7" fmla="*/ 460 h 572"/>
              <a:gd name="T8" fmla="*/ 207 w 703"/>
              <a:gd name="T9" fmla="*/ 350 h 572"/>
              <a:gd name="T10" fmla="*/ 112 w 703"/>
              <a:gd name="T11" fmla="*/ 218 h 572"/>
              <a:gd name="T12" fmla="*/ 17 w 703"/>
              <a:gd name="T13" fmla="*/ 75 h 572"/>
              <a:gd name="T14" fmla="*/ 82 w 703"/>
              <a:gd name="T15" fmla="*/ 129 h 572"/>
              <a:gd name="T16" fmla="*/ 76 w 703"/>
              <a:gd name="T17" fmla="*/ 24 h 572"/>
              <a:gd name="T18" fmla="*/ 112 w 703"/>
              <a:gd name="T19" fmla="*/ 8 h 572"/>
              <a:gd name="T20" fmla="*/ 317 w 703"/>
              <a:gd name="T21" fmla="*/ 245 h 572"/>
              <a:gd name="T22" fmla="*/ 381 w 703"/>
              <a:gd name="T23" fmla="*/ 208 h 572"/>
              <a:gd name="T24" fmla="*/ 400 w 703"/>
              <a:gd name="T25" fmla="*/ 75 h 572"/>
              <a:gd name="T26" fmla="*/ 300 w 703"/>
              <a:gd name="T27" fmla="*/ 32 h 572"/>
              <a:gd name="T28" fmla="*/ 563 w 703"/>
              <a:gd name="T29" fmla="*/ 80 h 572"/>
              <a:gd name="T30" fmla="*/ 609 w 703"/>
              <a:gd name="T31" fmla="*/ 172 h 572"/>
              <a:gd name="T32" fmla="*/ 695 w 703"/>
              <a:gd name="T33" fmla="*/ 219 h 572"/>
              <a:gd name="T34" fmla="*/ 611 w 703"/>
              <a:gd name="T35" fmla="*/ 324 h 572"/>
              <a:gd name="T36" fmla="*/ 557 w 703"/>
              <a:gd name="T37" fmla="*/ 265 h 572"/>
              <a:gd name="T38" fmla="*/ 439 w 703"/>
              <a:gd name="T39" fmla="*/ 265 h 572"/>
              <a:gd name="T40" fmla="*/ 402 w 703"/>
              <a:gd name="T41" fmla="*/ 330 h 572"/>
              <a:gd name="T42" fmla="*/ 555 w 703"/>
              <a:gd name="T43" fmla="*/ 556 h 572"/>
              <a:gd name="T44" fmla="*/ 338 w 703"/>
              <a:gd name="T45" fmla="*/ 392 h 572"/>
              <a:gd name="T46" fmla="*/ 545 w 703"/>
              <a:gd name="T47" fmla="*/ 546 h 572"/>
              <a:gd name="T48" fmla="*/ 387 w 703"/>
              <a:gd name="T49" fmla="*/ 336 h 572"/>
              <a:gd name="T50" fmla="*/ 425 w 703"/>
              <a:gd name="T51" fmla="*/ 276 h 572"/>
              <a:gd name="T52" fmla="*/ 423 w 703"/>
              <a:gd name="T53" fmla="*/ 265 h 572"/>
              <a:gd name="T54" fmla="*/ 560 w 703"/>
              <a:gd name="T55" fmla="*/ 217 h 572"/>
              <a:gd name="T56" fmla="*/ 606 w 703"/>
              <a:gd name="T57" fmla="*/ 308 h 572"/>
              <a:gd name="T58" fmla="*/ 685 w 703"/>
              <a:gd name="T59" fmla="*/ 229 h 572"/>
              <a:gd name="T60" fmla="*/ 644 w 703"/>
              <a:gd name="T61" fmla="*/ 193 h 572"/>
              <a:gd name="T62" fmla="*/ 594 w 703"/>
              <a:gd name="T63" fmla="*/ 142 h 572"/>
              <a:gd name="T64" fmla="*/ 314 w 703"/>
              <a:gd name="T65" fmla="*/ 28 h 572"/>
              <a:gd name="T66" fmla="*/ 324 w 703"/>
              <a:gd name="T67" fmla="*/ 29 h 572"/>
              <a:gd name="T68" fmla="*/ 414 w 703"/>
              <a:gd name="T69" fmla="*/ 195 h 572"/>
              <a:gd name="T70" fmla="*/ 377 w 703"/>
              <a:gd name="T71" fmla="*/ 222 h 572"/>
              <a:gd name="T72" fmla="*/ 359 w 703"/>
              <a:gd name="T73" fmla="*/ 230 h 572"/>
              <a:gd name="T74" fmla="*/ 200 w 703"/>
              <a:gd name="T75" fmla="*/ 148 h 572"/>
              <a:gd name="T76" fmla="*/ 112 w 703"/>
              <a:gd name="T77" fmla="*/ 22 h 572"/>
              <a:gd name="T78" fmla="*/ 131 w 703"/>
              <a:gd name="T79" fmla="*/ 132 h 572"/>
              <a:gd name="T80" fmla="*/ 22 w 703"/>
              <a:gd name="T81" fmla="*/ 95 h 572"/>
              <a:gd name="T82" fmla="*/ 140 w 703"/>
              <a:gd name="T83" fmla="*/ 199 h 572"/>
              <a:gd name="T84" fmla="*/ 255 w 703"/>
              <a:gd name="T85" fmla="*/ 318 h 572"/>
              <a:gd name="T86" fmla="*/ 98 w 703"/>
              <a:gd name="T87" fmla="*/ 464 h 572"/>
              <a:gd name="T88" fmla="*/ 142 w 703"/>
              <a:gd name="T89" fmla="*/ 533 h 572"/>
              <a:gd name="T90" fmla="*/ 178 w 703"/>
              <a:gd name="T91" fmla="*/ 557 h 572"/>
              <a:gd name="T92" fmla="*/ 299 w 703"/>
              <a:gd name="T93" fmla="*/ 417 h 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703" h="572">
                <a:moveTo>
                  <a:pt x="518" y="572"/>
                </a:moveTo>
                <a:cubicBezTo>
                  <a:pt x="505" y="572"/>
                  <a:pt x="494" y="568"/>
                  <a:pt x="486" y="559"/>
                </a:cubicBezTo>
                <a:cubicBezTo>
                  <a:pt x="333" y="406"/>
                  <a:pt x="333" y="406"/>
                  <a:pt x="333" y="406"/>
                </a:cubicBezTo>
                <a:cubicBezTo>
                  <a:pt x="324" y="414"/>
                  <a:pt x="316" y="421"/>
                  <a:pt x="308" y="428"/>
                </a:cubicBezTo>
                <a:cubicBezTo>
                  <a:pt x="296" y="438"/>
                  <a:pt x="285" y="448"/>
                  <a:pt x="272" y="461"/>
                </a:cubicBezTo>
                <a:cubicBezTo>
                  <a:pt x="252" y="481"/>
                  <a:pt x="216" y="530"/>
                  <a:pt x="198" y="553"/>
                </a:cubicBezTo>
                <a:cubicBezTo>
                  <a:pt x="190" y="565"/>
                  <a:pt x="188" y="567"/>
                  <a:pt x="187" y="568"/>
                </a:cubicBezTo>
                <a:cubicBezTo>
                  <a:pt x="184" y="571"/>
                  <a:pt x="177" y="572"/>
                  <a:pt x="172" y="572"/>
                </a:cubicBezTo>
                <a:cubicBezTo>
                  <a:pt x="167" y="572"/>
                  <a:pt x="160" y="571"/>
                  <a:pt x="157" y="568"/>
                </a:cubicBezTo>
                <a:cubicBezTo>
                  <a:pt x="155" y="566"/>
                  <a:pt x="145" y="556"/>
                  <a:pt x="132" y="543"/>
                </a:cubicBezTo>
                <a:cubicBezTo>
                  <a:pt x="132" y="543"/>
                  <a:pt x="83" y="494"/>
                  <a:pt x="79" y="490"/>
                </a:cubicBezTo>
                <a:cubicBezTo>
                  <a:pt x="74" y="484"/>
                  <a:pt x="73" y="466"/>
                  <a:pt x="79" y="460"/>
                </a:cubicBezTo>
                <a:cubicBezTo>
                  <a:pt x="80" y="459"/>
                  <a:pt x="82" y="457"/>
                  <a:pt x="90" y="452"/>
                </a:cubicBezTo>
                <a:cubicBezTo>
                  <a:pt x="108" y="441"/>
                  <a:pt x="144" y="418"/>
                  <a:pt x="163" y="398"/>
                </a:cubicBezTo>
                <a:cubicBezTo>
                  <a:pt x="176" y="385"/>
                  <a:pt x="191" y="368"/>
                  <a:pt x="207" y="350"/>
                </a:cubicBezTo>
                <a:cubicBezTo>
                  <a:pt x="218" y="338"/>
                  <a:pt x="229" y="325"/>
                  <a:pt x="240" y="314"/>
                </a:cubicBezTo>
                <a:cubicBezTo>
                  <a:pt x="140" y="214"/>
                  <a:pt x="140" y="214"/>
                  <a:pt x="140" y="214"/>
                </a:cubicBezTo>
                <a:cubicBezTo>
                  <a:pt x="131" y="216"/>
                  <a:pt x="121" y="218"/>
                  <a:pt x="112" y="218"/>
                </a:cubicBezTo>
                <a:cubicBezTo>
                  <a:pt x="84" y="218"/>
                  <a:pt x="57" y="207"/>
                  <a:pt x="37" y="187"/>
                </a:cubicBezTo>
                <a:cubicBezTo>
                  <a:pt x="9" y="159"/>
                  <a:pt x="0" y="118"/>
                  <a:pt x="12" y="80"/>
                </a:cubicBezTo>
                <a:cubicBezTo>
                  <a:pt x="13" y="77"/>
                  <a:pt x="15" y="76"/>
                  <a:pt x="17" y="75"/>
                </a:cubicBezTo>
                <a:cubicBezTo>
                  <a:pt x="19" y="74"/>
                  <a:pt x="22" y="75"/>
                  <a:pt x="24" y="77"/>
                </a:cubicBezTo>
                <a:cubicBezTo>
                  <a:pt x="75" y="128"/>
                  <a:pt x="75" y="128"/>
                  <a:pt x="75" y="128"/>
                </a:cubicBezTo>
                <a:cubicBezTo>
                  <a:pt x="76" y="129"/>
                  <a:pt x="78" y="129"/>
                  <a:pt x="82" y="129"/>
                </a:cubicBezTo>
                <a:cubicBezTo>
                  <a:pt x="96" y="129"/>
                  <a:pt x="117" y="125"/>
                  <a:pt x="121" y="122"/>
                </a:cubicBezTo>
                <a:cubicBezTo>
                  <a:pt x="125" y="115"/>
                  <a:pt x="129" y="83"/>
                  <a:pt x="127" y="76"/>
                </a:cubicBezTo>
                <a:cubicBezTo>
                  <a:pt x="76" y="24"/>
                  <a:pt x="76" y="24"/>
                  <a:pt x="76" y="24"/>
                </a:cubicBezTo>
                <a:cubicBezTo>
                  <a:pt x="74" y="23"/>
                  <a:pt x="74" y="20"/>
                  <a:pt x="74" y="18"/>
                </a:cubicBezTo>
                <a:cubicBezTo>
                  <a:pt x="75" y="15"/>
                  <a:pt x="77" y="14"/>
                  <a:pt x="79" y="13"/>
                </a:cubicBezTo>
                <a:cubicBezTo>
                  <a:pt x="89" y="9"/>
                  <a:pt x="101" y="8"/>
                  <a:pt x="112" y="8"/>
                </a:cubicBezTo>
                <a:cubicBezTo>
                  <a:pt x="140" y="8"/>
                  <a:pt x="166" y="18"/>
                  <a:pt x="186" y="38"/>
                </a:cubicBezTo>
                <a:cubicBezTo>
                  <a:pt x="213" y="65"/>
                  <a:pt x="223" y="104"/>
                  <a:pt x="213" y="141"/>
                </a:cubicBezTo>
                <a:cubicBezTo>
                  <a:pt x="317" y="245"/>
                  <a:pt x="317" y="245"/>
                  <a:pt x="317" y="245"/>
                </a:cubicBezTo>
                <a:cubicBezTo>
                  <a:pt x="330" y="235"/>
                  <a:pt x="342" y="226"/>
                  <a:pt x="351" y="219"/>
                </a:cubicBezTo>
                <a:cubicBezTo>
                  <a:pt x="356" y="215"/>
                  <a:pt x="360" y="212"/>
                  <a:pt x="362" y="211"/>
                </a:cubicBezTo>
                <a:cubicBezTo>
                  <a:pt x="368" y="206"/>
                  <a:pt x="375" y="205"/>
                  <a:pt x="381" y="208"/>
                </a:cubicBezTo>
                <a:cubicBezTo>
                  <a:pt x="387" y="203"/>
                  <a:pt x="387" y="203"/>
                  <a:pt x="387" y="203"/>
                </a:cubicBezTo>
                <a:cubicBezTo>
                  <a:pt x="404" y="185"/>
                  <a:pt x="404" y="185"/>
                  <a:pt x="404" y="185"/>
                </a:cubicBezTo>
                <a:cubicBezTo>
                  <a:pt x="424" y="165"/>
                  <a:pt x="450" y="125"/>
                  <a:pt x="400" y="75"/>
                </a:cubicBezTo>
                <a:cubicBezTo>
                  <a:pt x="369" y="45"/>
                  <a:pt x="332" y="43"/>
                  <a:pt x="324" y="43"/>
                </a:cubicBezTo>
                <a:cubicBezTo>
                  <a:pt x="321" y="43"/>
                  <a:pt x="319" y="43"/>
                  <a:pt x="318" y="43"/>
                </a:cubicBezTo>
                <a:cubicBezTo>
                  <a:pt x="310" y="45"/>
                  <a:pt x="302" y="40"/>
                  <a:pt x="300" y="32"/>
                </a:cubicBezTo>
                <a:cubicBezTo>
                  <a:pt x="299" y="25"/>
                  <a:pt x="301" y="19"/>
                  <a:pt x="307" y="16"/>
                </a:cubicBezTo>
                <a:cubicBezTo>
                  <a:pt x="325" y="6"/>
                  <a:pt x="354" y="0"/>
                  <a:pt x="383" y="0"/>
                </a:cubicBezTo>
                <a:cubicBezTo>
                  <a:pt x="429" y="0"/>
                  <a:pt x="497" y="14"/>
                  <a:pt x="563" y="80"/>
                </a:cubicBezTo>
                <a:cubicBezTo>
                  <a:pt x="593" y="110"/>
                  <a:pt x="606" y="127"/>
                  <a:pt x="608" y="140"/>
                </a:cubicBezTo>
                <a:cubicBezTo>
                  <a:pt x="609" y="146"/>
                  <a:pt x="608" y="152"/>
                  <a:pt x="608" y="157"/>
                </a:cubicBezTo>
                <a:cubicBezTo>
                  <a:pt x="607" y="164"/>
                  <a:pt x="607" y="169"/>
                  <a:pt x="609" y="172"/>
                </a:cubicBezTo>
                <a:cubicBezTo>
                  <a:pt x="617" y="179"/>
                  <a:pt x="627" y="181"/>
                  <a:pt x="642" y="179"/>
                </a:cubicBezTo>
                <a:cubicBezTo>
                  <a:pt x="649" y="178"/>
                  <a:pt x="657" y="181"/>
                  <a:pt x="662" y="186"/>
                </a:cubicBezTo>
                <a:cubicBezTo>
                  <a:pt x="695" y="219"/>
                  <a:pt x="695" y="219"/>
                  <a:pt x="695" y="219"/>
                </a:cubicBezTo>
                <a:cubicBezTo>
                  <a:pt x="703" y="227"/>
                  <a:pt x="703" y="240"/>
                  <a:pt x="695" y="249"/>
                </a:cubicBezTo>
                <a:cubicBezTo>
                  <a:pt x="626" y="318"/>
                  <a:pt x="626" y="318"/>
                  <a:pt x="626" y="318"/>
                </a:cubicBezTo>
                <a:cubicBezTo>
                  <a:pt x="622" y="322"/>
                  <a:pt x="616" y="324"/>
                  <a:pt x="611" y="324"/>
                </a:cubicBezTo>
                <a:cubicBezTo>
                  <a:pt x="605" y="324"/>
                  <a:pt x="600" y="322"/>
                  <a:pt x="596" y="318"/>
                </a:cubicBezTo>
                <a:cubicBezTo>
                  <a:pt x="563" y="285"/>
                  <a:pt x="563" y="285"/>
                  <a:pt x="563" y="285"/>
                </a:cubicBezTo>
                <a:cubicBezTo>
                  <a:pt x="558" y="280"/>
                  <a:pt x="556" y="273"/>
                  <a:pt x="557" y="265"/>
                </a:cubicBezTo>
                <a:cubicBezTo>
                  <a:pt x="561" y="247"/>
                  <a:pt x="558" y="235"/>
                  <a:pt x="550" y="227"/>
                </a:cubicBezTo>
                <a:cubicBezTo>
                  <a:pt x="537" y="214"/>
                  <a:pt x="528" y="210"/>
                  <a:pt x="512" y="212"/>
                </a:cubicBezTo>
                <a:cubicBezTo>
                  <a:pt x="498" y="214"/>
                  <a:pt x="471" y="234"/>
                  <a:pt x="439" y="265"/>
                </a:cubicBezTo>
                <a:cubicBezTo>
                  <a:pt x="442" y="272"/>
                  <a:pt x="442" y="279"/>
                  <a:pt x="436" y="285"/>
                </a:cubicBezTo>
                <a:cubicBezTo>
                  <a:pt x="435" y="287"/>
                  <a:pt x="432" y="291"/>
                  <a:pt x="428" y="296"/>
                </a:cubicBezTo>
                <a:cubicBezTo>
                  <a:pt x="421" y="305"/>
                  <a:pt x="412" y="317"/>
                  <a:pt x="402" y="330"/>
                </a:cubicBezTo>
                <a:cubicBezTo>
                  <a:pt x="559" y="487"/>
                  <a:pt x="559" y="487"/>
                  <a:pt x="559" y="487"/>
                </a:cubicBezTo>
                <a:cubicBezTo>
                  <a:pt x="567" y="496"/>
                  <a:pt x="572" y="508"/>
                  <a:pt x="571" y="521"/>
                </a:cubicBezTo>
                <a:cubicBezTo>
                  <a:pt x="570" y="534"/>
                  <a:pt x="565" y="546"/>
                  <a:pt x="555" y="556"/>
                </a:cubicBezTo>
                <a:cubicBezTo>
                  <a:pt x="545" y="566"/>
                  <a:pt x="531" y="572"/>
                  <a:pt x="518" y="572"/>
                </a:cubicBezTo>
                <a:close/>
                <a:moveTo>
                  <a:pt x="333" y="390"/>
                </a:moveTo>
                <a:cubicBezTo>
                  <a:pt x="335" y="390"/>
                  <a:pt x="337" y="390"/>
                  <a:pt x="338" y="392"/>
                </a:cubicBezTo>
                <a:cubicBezTo>
                  <a:pt x="496" y="550"/>
                  <a:pt x="496" y="550"/>
                  <a:pt x="496" y="550"/>
                </a:cubicBezTo>
                <a:cubicBezTo>
                  <a:pt x="502" y="555"/>
                  <a:pt x="509" y="558"/>
                  <a:pt x="518" y="558"/>
                </a:cubicBezTo>
                <a:cubicBezTo>
                  <a:pt x="527" y="558"/>
                  <a:pt x="538" y="554"/>
                  <a:pt x="545" y="546"/>
                </a:cubicBezTo>
                <a:cubicBezTo>
                  <a:pt x="552" y="539"/>
                  <a:pt x="557" y="530"/>
                  <a:pt x="557" y="520"/>
                </a:cubicBezTo>
                <a:cubicBezTo>
                  <a:pt x="558" y="511"/>
                  <a:pt x="555" y="503"/>
                  <a:pt x="549" y="497"/>
                </a:cubicBezTo>
                <a:cubicBezTo>
                  <a:pt x="387" y="336"/>
                  <a:pt x="387" y="336"/>
                  <a:pt x="387" y="336"/>
                </a:cubicBezTo>
                <a:cubicBezTo>
                  <a:pt x="385" y="333"/>
                  <a:pt x="385" y="329"/>
                  <a:pt x="387" y="326"/>
                </a:cubicBezTo>
                <a:cubicBezTo>
                  <a:pt x="399" y="312"/>
                  <a:pt x="409" y="297"/>
                  <a:pt x="416" y="288"/>
                </a:cubicBezTo>
                <a:cubicBezTo>
                  <a:pt x="421" y="282"/>
                  <a:pt x="424" y="278"/>
                  <a:pt x="425" y="276"/>
                </a:cubicBezTo>
                <a:cubicBezTo>
                  <a:pt x="428" y="274"/>
                  <a:pt x="428" y="272"/>
                  <a:pt x="425" y="270"/>
                </a:cubicBezTo>
                <a:cubicBezTo>
                  <a:pt x="425" y="270"/>
                  <a:pt x="425" y="269"/>
                  <a:pt x="425" y="269"/>
                </a:cubicBezTo>
                <a:cubicBezTo>
                  <a:pt x="423" y="268"/>
                  <a:pt x="423" y="267"/>
                  <a:pt x="423" y="265"/>
                </a:cubicBezTo>
                <a:cubicBezTo>
                  <a:pt x="422" y="263"/>
                  <a:pt x="423" y="261"/>
                  <a:pt x="425" y="259"/>
                </a:cubicBezTo>
                <a:cubicBezTo>
                  <a:pt x="451" y="233"/>
                  <a:pt x="487" y="201"/>
                  <a:pt x="511" y="198"/>
                </a:cubicBezTo>
                <a:cubicBezTo>
                  <a:pt x="534" y="196"/>
                  <a:pt x="547" y="204"/>
                  <a:pt x="560" y="217"/>
                </a:cubicBezTo>
                <a:cubicBezTo>
                  <a:pt x="571" y="228"/>
                  <a:pt x="575" y="245"/>
                  <a:pt x="571" y="267"/>
                </a:cubicBezTo>
                <a:cubicBezTo>
                  <a:pt x="571" y="269"/>
                  <a:pt x="570" y="273"/>
                  <a:pt x="573" y="275"/>
                </a:cubicBezTo>
                <a:cubicBezTo>
                  <a:pt x="606" y="308"/>
                  <a:pt x="606" y="308"/>
                  <a:pt x="606" y="308"/>
                </a:cubicBezTo>
                <a:cubicBezTo>
                  <a:pt x="608" y="310"/>
                  <a:pt x="613" y="310"/>
                  <a:pt x="616" y="308"/>
                </a:cubicBezTo>
                <a:cubicBezTo>
                  <a:pt x="685" y="239"/>
                  <a:pt x="685" y="239"/>
                  <a:pt x="685" y="239"/>
                </a:cubicBezTo>
                <a:cubicBezTo>
                  <a:pt x="687" y="236"/>
                  <a:pt x="687" y="232"/>
                  <a:pt x="685" y="229"/>
                </a:cubicBezTo>
                <a:cubicBezTo>
                  <a:pt x="652" y="196"/>
                  <a:pt x="652" y="196"/>
                  <a:pt x="652" y="196"/>
                </a:cubicBezTo>
                <a:cubicBezTo>
                  <a:pt x="650" y="194"/>
                  <a:pt x="647" y="193"/>
                  <a:pt x="645" y="193"/>
                </a:cubicBezTo>
                <a:cubicBezTo>
                  <a:pt x="645" y="193"/>
                  <a:pt x="644" y="193"/>
                  <a:pt x="644" y="193"/>
                </a:cubicBezTo>
                <a:cubicBezTo>
                  <a:pt x="624" y="196"/>
                  <a:pt x="610" y="192"/>
                  <a:pt x="600" y="182"/>
                </a:cubicBezTo>
                <a:cubicBezTo>
                  <a:pt x="592" y="174"/>
                  <a:pt x="593" y="164"/>
                  <a:pt x="594" y="155"/>
                </a:cubicBezTo>
                <a:cubicBezTo>
                  <a:pt x="594" y="151"/>
                  <a:pt x="595" y="146"/>
                  <a:pt x="594" y="142"/>
                </a:cubicBezTo>
                <a:cubicBezTo>
                  <a:pt x="592" y="129"/>
                  <a:pt x="563" y="100"/>
                  <a:pt x="553" y="90"/>
                </a:cubicBezTo>
                <a:cubicBezTo>
                  <a:pt x="490" y="27"/>
                  <a:pt x="426" y="14"/>
                  <a:pt x="383" y="14"/>
                </a:cubicBezTo>
                <a:cubicBezTo>
                  <a:pt x="351" y="14"/>
                  <a:pt x="326" y="21"/>
                  <a:pt x="314" y="28"/>
                </a:cubicBezTo>
                <a:cubicBezTo>
                  <a:pt x="314" y="28"/>
                  <a:pt x="314" y="29"/>
                  <a:pt x="314" y="29"/>
                </a:cubicBezTo>
                <a:cubicBezTo>
                  <a:pt x="315" y="30"/>
                  <a:pt x="315" y="30"/>
                  <a:pt x="315" y="30"/>
                </a:cubicBezTo>
                <a:cubicBezTo>
                  <a:pt x="318" y="29"/>
                  <a:pt x="321" y="29"/>
                  <a:pt x="324" y="29"/>
                </a:cubicBezTo>
                <a:cubicBezTo>
                  <a:pt x="333" y="29"/>
                  <a:pt x="375" y="31"/>
                  <a:pt x="410" y="65"/>
                </a:cubicBezTo>
                <a:cubicBezTo>
                  <a:pt x="435" y="90"/>
                  <a:pt x="446" y="116"/>
                  <a:pt x="442" y="143"/>
                </a:cubicBezTo>
                <a:cubicBezTo>
                  <a:pt x="439" y="168"/>
                  <a:pt x="423" y="186"/>
                  <a:pt x="414" y="195"/>
                </a:cubicBezTo>
                <a:cubicBezTo>
                  <a:pt x="396" y="213"/>
                  <a:pt x="396" y="213"/>
                  <a:pt x="396" y="213"/>
                </a:cubicBezTo>
                <a:cubicBezTo>
                  <a:pt x="387" y="222"/>
                  <a:pt x="387" y="222"/>
                  <a:pt x="387" y="222"/>
                </a:cubicBezTo>
                <a:cubicBezTo>
                  <a:pt x="384" y="224"/>
                  <a:pt x="380" y="224"/>
                  <a:pt x="377" y="222"/>
                </a:cubicBezTo>
                <a:cubicBezTo>
                  <a:pt x="376" y="221"/>
                  <a:pt x="375" y="220"/>
                  <a:pt x="374" y="220"/>
                </a:cubicBezTo>
                <a:cubicBezTo>
                  <a:pt x="373" y="220"/>
                  <a:pt x="372" y="220"/>
                  <a:pt x="371" y="222"/>
                </a:cubicBezTo>
                <a:cubicBezTo>
                  <a:pt x="369" y="223"/>
                  <a:pt x="365" y="226"/>
                  <a:pt x="359" y="230"/>
                </a:cubicBezTo>
                <a:cubicBezTo>
                  <a:pt x="350" y="237"/>
                  <a:pt x="336" y="248"/>
                  <a:pt x="321" y="260"/>
                </a:cubicBezTo>
                <a:cubicBezTo>
                  <a:pt x="318" y="262"/>
                  <a:pt x="314" y="262"/>
                  <a:pt x="311" y="260"/>
                </a:cubicBezTo>
                <a:cubicBezTo>
                  <a:pt x="200" y="148"/>
                  <a:pt x="200" y="148"/>
                  <a:pt x="200" y="148"/>
                </a:cubicBezTo>
                <a:cubicBezTo>
                  <a:pt x="198" y="146"/>
                  <a:pt x="197" y="144"/>
                  <a:pt x="198" y="141"/>
                </a:cubicBezTo>
                <a:cubicBezTo>
                  <a:pt x="209" y="108"/>
                  <a:pt x="201" y="73"/>
                  <a:pt x="176" y="48"/>
                </a:cubicBezTo>
                <a:cubicBezTo>
                  <a:pt x="159" y="31"/>
                  <a:pt x="136" y="22"/>
                  <a:pt x="112" y="22"/>
                </a:cubicBezTo>
                <a:cubicBezTo>
                  <a:pt x="106" y="22"/>
                  <a:pt x="100" y="22"/>
                  <a:pt x="95" y="23"/>
                </a:cubicBezTo>
                <a:cubicBezTo>
                  <a:pt x="138" y="66"/>
                  <a:pt x="138" y="66"/>
                  <a:pt x="138" y="66"/>
                </a:cubicBezTo>
                <a:cubicBezTo>
                  <a:pt x="147" y="75"/>
                  <a:pt x="138" y="125"/>
                  <a:pt x="131" y="132"/>
                </a:cubicBezTo>
                <a:cubicBezTo>
                  <a:pt x="124" y="139"/>
                  <a:pt x="95" y="143"/>
                  <a:pt x="82" y="143"/>
                </a:cubicBezTo>
                <a:cubicBezTo>
                  <a:pt x="73" y="143"/>
                  <a:pt x="69" y="142"/>
                  <a:pt x="66" y="139"/>
                </a:cubicBezTo>
                <a:cubicBezTo>
                  <a:pt x="22" y="95"/>
                  <a:pt x="22" y="95"/>
                  <a:pt x="22" y="95"/>
                </a:cubicBezTo>
                <a:cubicBezTo>
                  <a:pt x="17" y="125"/>
                  <a:pt x="26" y="155"/>
                  <a:pt x="47" y="177"/>
                </a:cubicBezTo>
                <a:cubicBezTo>
                  <a:pt x="65" y="194"/>
                  <a:pt x="87" y="204"/>
                  <a:pt x="112" y="204"/>
                </a:cubicBezTo>
                <a:cubicBezTo>
                  <a:pt x="121" y="204"/>
                  <a:pt x="131" y="202"/>
                  <a:pt x="140" y="199"/>
                </a:cubicBezTo>
                <a:cubicBezTo>
                  <a:pt x="143" y="198"/>
                  <a:pt x="145" y="199"/>
                  <a:pt x="147" y="201"/>
                </a:cubicBezTo>
                <a:cubicBezTo>
                  <a:pt x="255" y="308"/>
                  <a:pt x="255" y="308"/>
                  <a:pt x="255" y="308"/>
                </a:cubicBezTo>
                <a:cubicBezTo>
                  <a:pt x="258" y="311"/>
                  <a:pt x="258" y="315"/>
                  <a:pt x="255" y="318"/>
                </a:cubicBezTo>
                <a:cubicBezTo>
                  <a:pt x="243" y="331"/>
                  <a:pt x="230" y="346"/>
                  <a:pt x="217" y="360"/>
                </a:cubicBezTo>
                <a:cubicBezTo>
                  <a:pt x="201" y="378"/>
                  <a:pt x="186" y="395"/>
                  <a:pt x="173" y="408"/>
                </a:cubicBezTo>
                <a:cubicBezTo>
                  <a:pt x="152" y="428"/>
                  <a:pt x="116" y="452"/>
                  <a:pt x="98" y="464"/>
                </a:cubicBezTo>
                <a:cubicBezTo>
                  <a:pt x="95" y="466"/>
                  <a:pt x="91" y="468"/>
                  <a:pt x="89" y="469"/>
                </a:cubicBezTo>
                <a:cubicBezTo>
                  <a:pt x="89" y="472"/>
                  <a:pt x="89" y="479"/>
                  <a:pt x="90" y="481"/>
                </a:cubicBezTo>
                <a:cubicBezTo>
                  <a:pt x="95" y="486"/>
                  <a:pt x="142" y="533"/>
                  <a:pt x="142" y="533"/>
                </a:cubicBezTo>
                <a:cubicBezTo>
                  <a:pt x="154" y="545"/>
                  <a:pt x="164" y="555"/>
                  <a:pt x="166" y="557"/>
                </a:cubicBezTo>
                <a:cubicBezTo>
                  <a:pt x="167" y="558"/>
                  <a:pt x="169" y="558"/>
                  <a:pt x="172" y="558"/>
                </a:cubicBezTo>
                <a:cubicBezTo>
                  <a:pt x="175" y="558"/>
                  <a:pt x="177" y="558"/>
                  <a:pt x="178" y="557"/>
                </a:cubicBezTo>
                <a:cubicBezTo>
                  <a:pt x="179" y="556"/>
                  <a:pt x="183" y="551"/>
                  <a:pt x="187" y="545"/>
                </a:cubicBezTo>
                <a:cubicBezTo>
                  <a:pt x="204" y="521"/>
                  <a:pt x="241" y="472"/>
                  <a:pt x="262" y="451"/>
                </a:cubicBezTo>
                <a:cubicBezTo>
                  <a:pt x="275" y="438"/>
                  <a:pt x="287" y="428"/>
                  <a:pt x="299" y="417"/>
                </a:cubicBezTo>
                <a:cubicBezTo>
                  <a:pt x="309" y="409"/>
                  <a:pt x="318" y="401"/>
                  <a:pt x="329" y="392"/>
                </a:cubicBezTo>
                <a:cubicBezTo>
                  <a:pt x="330" y="390"/>
                  <a:pt x="332" y="390"/>
                  <a:pt x="333" y="390"/>
                </a:cubicBez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9228" name="Oval 45"/>
          <p:cNvSpPr>
            <a:spLocks noChangeArrowheads="1"/>
          </p:cNvSpPr>
          <p:nvPr/>
        </p:nvSpPr>
        <p:spPr bwMode="auto">
          <a:xfrm>
            <a:off x="8347593" y="4711628"/>
            <a:ext cx="1119124" cy="1119124"/>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9309" name="Freeform 122"/>
          <p:cNvSpPr>
            <a:spLocks noEditPoints="1"/>
          </p:cNvSpPr>
          <p:nvPr/>
        </p:nvSpPr>
        <p:spPr bwMode="auto">
          <a:xfrm>
            <a:off x="8576826" y="4969616"/>
            <a:ext cx="661835" cy="603149"/>
          </a:xfrm>
          <a:custGeom>
            <a:avLst/>
            <a:gdLst>
              <a:gd name="T0" fmla="*/ 61 w 629"/>
              <a:gd name="T1" fmla="*/ 546 h 572"/>
              <a:gd name="T2" fmla="*/ 5 w 629"/>
              <a:gd name="T3" fmla="*/ 460 h 572"/>
              <a:gd name="T4" fmla="*/ 130 w 629"/>
              <a:gd name="T5" fmla="*/ 354 h 572"/>
              <a:gd name="T6" fmla="*/ 104 w 629"/>
              <a:gd name="T7" fmla="*/ 168 h 572"/>
              <a:gd name="T8" fmla="*/ 19 w 629"/>
              <a:gd name="T9" fmla="*/ 89 h 572"/>
              <a:gd name="T10" fmla="*/ 66 w 629"/>
              <a:gd name="T11" fmla="*/ 42 h 572"/>
              <a:gd name="T12" fmla="*/ 145 w 629"/>
              <a:gd name="T13" fmla="*/ 127 h 572"/>
              <a:gd name="T14" fmla="*/ 288 w 629"/>
              <a:gd name="T15" fmla="*/ 211 h 572"/>
              <a:gd name="T16" fmla="*/ 331 w 629"/>
              <a:gd name="T17" fmla="*/ 185 h 572"/>
              <a:gd name="T18" fmla="*/ 251 w 629"/>
              <a:gd name="T19" fmla="*/ 43 h 572"/>
              <a:gd name="T20" fmla="*/ 234 w 629"/>
              <a:gd name="T21" fmla="*/ 16 h 572"/>
              <a:gd name="T22" fmla="*/ 534 w 629"/>
              <a:gd name="T23" fmla="*/ 140 h 572"/>
              <a:gd name="T24" fmla="*/ 569 w 629"/>
              <a:gd name="T25" fmla="*/ 179 h 572"/>
              <a:gd name="T26" fmla="*/ 621 w 629"/>
              <a:gd name="T27" fmla="*/ 249 h 572"/>
              <a:gd name="T28" fmla="*/ 522 w 629"/>
              <a:gd name="T29" fmla="*/ 318 h 572"/>
              <a:gd name="T30" fmla="*/ 476 w 629"/>
              <a:gd name="T31" fmla="*/ 227 h 572"/>
              <a:gd name="T32" fmla="*/ 362 w 629"/>
              <a:gd name="T33" fmla="*/ 285 h 572"/>
              <a:gd name="T34" fmla="*/ 368 w 629"/>
              <a:gd name="T35" fmla="*/ 303 h 572"/>
              <a:gd name="T36" fmla="*/ 532 w 629"/>
              <a:gd name="T37" fmla="*/ 499 h 572"/>
              <a:gd name="T38" fmla="*/ 432 w 629"/>
              <a:gd name="T39" fmla="*/ 555 h 572"/>
              <a:gd name="T40" fmla="*/ 280 w 629"/>
              <a:gd name="T41" fmla="*/ 387 h 572"/>
              <a:gd name="T42" fmla="*/ 198 w 629"/>
              <a:gd name="T43" fmla="*/ 461 h 572"/>
              <a:gd name="T44" fmla="*/ 98 w 629"/>
              <a:gd name="T45" fmla="*/ 572 h 572"/>
              <a:gd name="T46" fmla="*/ 104 w 629"/>
              <a:gd name="T47" fmla="*/ 557 h 572"/>
              <a:gd name="T48" fmla="*/ 222 w 629"/>
              <a:gd name="T49" fmla="*/ 421 h 572"/>
              <a:gd name="T50" fmla="*/ 282 w 629"/>
              <a:gd name="T51" fmla="*/ 367 h 572"/>
              <a:gd name="T52" fmla="*/ 306 w 629"/>
              <a:gd name="T53" fmla="*/ 409 h 572"/>
              <a:gd name="T54" fmla="*/ 466 w 629"/>
              <a:gd name="T55" fmla="*/ 545 h 572"/>
              <a:gd name="T56" fmla="*/ 386 w 629"/>
              <a:gd name="T57" fmla="*/ 329 h 572"/>
              <a:gd name="T58" fmla="*/ 339 w 629"/>
              <a:gd name="T59" fmla="*/ 295 h 572"/>
              <a:gd name="T60" fmla="*/ 351 w 629"/>
              <a:gd name="T61" fmla="*/ 270 h 572"/>
              <a:gd name="T62" fmla="*/ 351 w 629"/>
              <a:gd name="T63" fmla="*/ 259 h 572"/>
              <a:gd name="T64" fmla="*/ 497 w 629"/>
              <a:gd name="T65" fmla="*/ 267 h 572"/>
              <a:gd name="T66" fmla="*/ 542 w 629"/>
              <a:gd name="T67" fmla="*/ 308 h 572"/>
              <a:gd name="T68" fmla="*/ 578 w 629"/>
              <a:gd name="T69" fmla="*/ 196 h 572"/>
              <a:gd name="T70" fmla="*/ 526 w 629"/>
              <a:gd name="T71" fmla="*/ 182 h 572"/>
              <a:gd name="T72" fmla="*/ 479 w 629"/>
              <a:gd name="T73" fmla="*/ 90 h 572"/>
              <a:gd name="T74" fmla="*/ 241 w 629"/>
              <a:gd name="T75" fmla="*/ 29 h 572"/>
              <a:gd name="T76" fmla="*/ 336 w 629"/>
              <a:gd name="T77" fmla="*/ 65 h 572"/>
              <a:gd name="T78" fmla="*/ 323 w 629"/>
              <a:gd name="T79" fmla="*/ 213 h 572"/>
              <a:gd name="T80" fmla="*/ 300 w 629"/>
              <a:gd name="T81" fmla="*/ 220 h 572"/>
              <a:gd name="T82" fmla="*/ 258 w 629"/>
              <a:gd name="T83" fmla="*/ 250 h 572"/>
              <a:gd name="T84" fmla="*/ 133 w 629"/>
              <a:gd name="T85" fmla="*/ 132 h 572"/>
              <a:gd name="T86" fmla="*/ 34 w 629"/>
              <a:gd name="T87" fmla="*/ 85 h 572"/>
              <a:gd name="T88" fmla="*/ 113 w 629"/>
              <a:gd name="T89" fmla="*/ 157 h 572"/>
              <a:gd name="T90" fmla="*/ 224 w 629"/>
              <a:gd name="T91" fmla="*/ 280 h 572"/>
              <a:gd name="T92" fmla="*/ 100 w 629"/>
              <a:gd name="T93" fmla="*/ 408 h 572"/>
              <a:gd name="T94" fmla="*/ 16 w 629"/>
              <a:gd name="T95" fmla="*/ 481 h 572"/>
              <a:gd name="T96" fmla="*/ 93 w 629"/>
              <a:gd name="T97" fmla="*/ 557 h 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629" h="572">
                <a:moveTo>
                  <a:pt x="98" y="572"/>
                </a:moveTo>
                <a:cubicBezTo>
                  <a:pt x="93" y="572"/>
                  <a:pt x="87" y="571"/>
                  <a:pt x="83" y="568"/>
                </a:cubicBezTo>
                <a:cubicBezTo>
                  <a:pt x="82" y="566"/>
                  <a:pt x="73" y="557"/>
                  <a:pt x="61" y="546"/>
                </a:cubicBezTo>
                <a:cubicBezTo>
                  <a:pt x="59" y="543"/>
                  <a:pt x="59" y="543"/>
                  <a:pt x="59" y="543"/>
                </a:cubicBezTo>
                <a:cubicBezTo>
                  <a:pt x="59" y="543"/>
                  <a:pt x="9" y="494"/>
                  <a:pt x="6" y="490"/>
                </a:cubicBezTo>
                <a:cubicBezTo>
                  <a:pt x="0" y="484"/>
                  <a:pt x="0" y="466"/>
                  <a:pt x="5" y="460"/>
                </a:cubicBezTo>
                <a:cubicBezTo>
                  <a:pt x="7" y="459"/>
                  <a:pt x="8" y="457"/>
                  <a:pt x="17" y="452"/>
                </a:cubicBezTo>
                <a:cubicBezTo>
                  <a:pt x="34" y="441"/>
                  <a:pt x="70" y="418"/>
                  <a:pt x="90" y="398"/>
                </a:cubicBezTo>
                <a:cubicBezTo>
                  <a:pt x="102" y="385"/>
                  <a:pt x="116" y="370"/>
                  <a:pt x="130" y="354"/>
                </a:cubicBezTo>
                <a:cubicBezTo>
                  <a:pt x="145" y="337"/>
                  <a:pt x="161" y="319"/>
                  <a:pt x="177" y="303"/>
                </a:cubicBezTo>
                <a:cubicBezTo>
                  <a:pt x="185" y="295"/>
                  <a:pt x="196" y="285"/>
                  <a:pt x="209" y="274"/>
                </a:cubicBezTo>
                <a:cubicBezTo>
                  <a:pt x="104" y="168"/>
                  <a:pt x="104" y="168"/>
                  <a:pt x="104" y="168"/>
                </a:cubicBezTo>
                <a:cubicBezTo>
                  <a:pt x="70" y="157"/>
                  <a:pt x="70" y="157"/>
                  <a:pt x="70" y="157"/>
                </a:cubicBezTo>
                <a:cubicBezTo>
                  <a:pt x="69" y="157"/>
                  <a:pt x="67" y="156"/>
                  <a:pt x="66" y="155"/>
                </a:cubicBezTo>
                <a:cubicBezTo>
                  <a:pt x="19" y="89"/>
                  <a:pt x="19" y="89"/>
                  <a:pt x="19" y="89"/>
                </a:cubicBezTo>
                <a:cubicBezTo>
                  <a:pt x="17" y="86"/>
                  <a:pt x="17" y="82"/>
                  <a:pt x="20" y="80"/>
                </a:cubicBezTo>
                <a:cubicBezTo>
                  <a:pt x="57" y="42"/>
                  <a:pt x="57" y="42"/>
                  <a:pt x="57" y="42"/>
                </a:cubicBezTo>
                <a:cubicBezTo>
                  <a:pt x="59" y="40"/>
                  <a:pt x="63" y="40"/>
                  <a:pt x="66" y="42"/>
                </a:cubicBezTo>
                <a:cubicBezTo>
                  <a:pt x="132" y="89"/>
                  <a:pt x="132" y="89"/>
                  <a:pt x="132" y="89"/>
                </a:cubicBezTo>
                <a:cubicBezTo>
                  <a:pt x="133" y="90"/>
                  <a:pt x="134" y="91"/>
                  <a:pt x="135" y="93"/>
                </a:cubicBezTo>
                <a:cubicBezTo>
                  <a:pt x="145" y="127"/>
                  <a:pt x="145" y="127"/>
                  <a:pt x="145" y="127"/>
                </a:cubicBezTo>
                <a:cubicBezTo>
                  <a:pt x="254" y="235"/>
                  <a:pt x="254" y="235"/>
                  <a:pt x="254" y="235"/>
                </a:cubicBezTo>
                <a:cubicBezTo>
                  <a:pt x="267" y="225"/>
                  <a:pt x="276" y="219"/>
                  <a:pt x="282" y="215"/>
                </a:cubicBezTo>
                <a:cubicBezTo>
                  <a:pt x="285" y="213"/>
                  <a:pt x="287" y="212"/>
                  <a:pt x="288" y="211"/>
                </a:cubicBezTo>
                <a:cubicBezTo>
                  <a:pt x="294" y="206"/>
                  <a:pt x="301" y="205"/>
                  <a:pt x="308" y="208"/>
                </a:cubicBezTo>
                <a:cubicBezTo>
                  <a:pt x="313" y="203"/>
                  <a:pt x="313" y="203"/>
                  <a:pt x="313" y="203"/>
                </a:cubicBezTo>
                <a:cubicBezTo>
                  <a:pt x="331" y="185"/>
                  <a:pt x="331" y="185"/>
                  <a:pt x="331" y="185"/>
                </a:cubicBezTo>
                <a:cubicBezTo>
                  <a:pt x="338" y="178"/>
                  <a:pt x="352" y="162"/>
                  <a:pt x="354" y="141"/>
                </a:cubicBezTo>
                <a:cubicBezTo>
                  <a:pt x="357" y="119"/>
                  <a:pt x="348" y="97"/>
                  <a:pt x="326" y="75"/>
                </a:cubicBezTo>
                <a:cubicBezTo>
                  <a:pt x="296" y="45"/>
                  <a:pt x="258" y="43"/>
                  <a:pt x="251" y="43"/>
                </a:cubicBezTo>
                <a:cubicBezTo>
                  <a:pt x="248" y="43"/>
                  <a:pt x="246" y="43"/>
                  <a:pt x="245" y="43"/>
                </a:cubicBezTo>
                <a:cubicBezTo>
                  <a:pt x="237" y="45"/>
                  <a:pt x="229" y="40"/>
                  <a:pt x="227" y="32"/>
                </a:cubicBezTo>
                <a:cubicBezTo>
                  <a:pt x="225" y="25"/>
                  <a:pt x="228" y="19"/>
                  <a:pt x="234" y="16"/>
                </a:cubicBezTo>
                <a:cubicBezTo>
                  <a:pt x="252" y="6"/>
                  <a:pt x="280" y="0"/>
                  <a:pt x="309" y="0"/>
                </a:cubicBezTo>
                <a:cubicBezTo>
                  <a:pt x="355" y="0"/>
                  <a:pt x="423" y="14"/>
                  <a:pt x="489" y="80"/>
                </a:cubicBezTo>
                <a:cubicBezTo>
                  <a:pt x="519" y="110"/>
                  <a:pt x="532" y="127"/>
                  <a:pt x="534" y="140"/>
                </a:cubicBezTo>
                <a:cubicBezTo>
                  <a:pt x="535" y="146"/>
                  <a:pt x="535" y="152"/>
                  <a:pt x="534" y="157"/>
                </a:cubicBezTo>
                <a:cubicBezTo>
                  <a:pt x="533" y="164"/>
                  <a:pt x="533" y="169"/>
                  <a:pt x="536" y="172"/>
                </a:cubicBezTo>
                <a:cubicBezTo>
                  <a:pt x="543" y="179"/>
                  <a:pt x="553" y="181"/>
                  <a:pt x="569" y="179"/>
                </a:cubicBezTo>
                <a:cubicBezTo>
                  <a:pt x="576" y="178"/>
                  <a:pt x="583" y="181"/>
                  <a:pt x="588" y="186"/>
                </a:cubicBezTo>
                <a:cubicBezTo>
                  <a:pt x="621" y="219"/>
                  <a:pt x="621" y="219"/>
                  <a:pt x="621" y="219"/>
                </a:cubicBezTo>
                <a:cubicBezTo>
                  <a:pt x="629" y="227"/>
                  <a:pt x="629" y="240"/>
                  <a:pt x="621" y="249"/>
                </a:cubicBezTo>
                <a:cubicBezTo>
                  <a:pt x="552" y="318"/>
                  <a:pt x="552" y="318"/>
                  <a:pt x="552" y="318"/>
                </a:cubicBezTo>
                <a:cubicBezTo>
                  <a:pt x="548" y="322"/>
                  <a:pt x="543" y="324"/>
                  <a:pt x="537" y="324"/>
                </a:cubicBezTo>
                <a:cubicBezTo>
                  <a:pt x="531" y="324"/>
                  <a:pt x="526" y="322"/>
                  <a:pt x="522" y="318"/>
                </a:cubicBezTo>
                <a:cubicBezTo>
                  <a:pt x="489" y="285"/>
                  <a:pt x="489" y="285"/>
                  <a:pt x="489" y="285"/>
                </a:cubicBezTo>
                <a:cubicBezTo>
                  <a:pt x="484" y="280"/>
                  <a:pt x="482" y="273"/>
                  <a:pt x="484" y="265"/>
                </a:cubicBezTo>
                <a:cubicBezTo>
                  <a:pt x="487" y="247"/>
                  <a:pt x="485" y="235"/>
                  <a:pt x="476" y="227"/>
                </a:cubicBezTo>
                <a:cubicBezTo>
                  <a:pt x="463" y="214"/>
                  <a:pt x="454" y="210"/>
                  <a:pt x="439" y="212"/>
                </a:cubicBezTo>
                <a:cubicBezTo>
                  <a:pt x="424" y="214"/>
                  <a:pt x="398" y="233"/>
                  <a:pt x="365" y="265"/>
                </a:cubicBezTo>
                <a:cubicBezTo>
                  <a:pt x="369" y="272"/>
                  <a:pt x="368" y="279"/>
                  <a:pt x="362" y="285"/>
                </a:cubicBezTo>
                <a:cubicBezTo>
                  <a:pt x="362" y="286"/>
                  <a:pt x="362" y="286"/>
                  <a:pt x="361" y="287"/>
                </a:cubicBezTo>
                <a:cubicBezTo>
                  <a:pt x="360" y="289"/>
                  <a:pt x="358" y="292"/>
                  <a:pt x="354" y="298"/>
                </a:cubicBezTo>
                <a:cubicBezTo>
                  <a:pt x="359" y="300"/>
                  <a:pt x="363" y="302"/>
                  <a:pt x="368" y="303"/>
                </a:cubicBezTo>
                <a:cubicBezTo>
                  <a:pt x="377" y="306"/>
                  <a:pt x="386" y="309"/>
                  <a:pt x="396" y="319"/>
                </a:cubicBezTo>
                <a:cubicBezTo>
                  <a:pt x="532" y="455"/>
                  <a:pt x="532" y="455"/>
                  <a:pt x="532" y="455"/>
                </a:cubicBezTo>
                <a:cubicBezTo>
                  <a:pt x="544" y="467"/>
                  <a:pt x="544" y="487"/>
                  <a:pt x="532" y="499"/>
                </a:cubicBezTo>
                <a:cubicBezTo>
                  <a:pt x="476" y="555"/>
                  <a:pt x="476" y="555"/>
                  <a:pt x="476" y="555"/>
                </a:cubicBezTo>
                <a:cubicBezTo>
                  <a:pt x="470" y="561"/>
                  <a:pt x="463" y="564"/>
                  <a:pt x="454" y="564"/>
                </a:cubicBezTo>
                <a:cubicBezTo>
                  <a:pt x="446" y="564"/>
                  <a:pt x="438" y="561"/>
                  <a:pt x="432" y="555"/>
                </a:cubicBezTo>
                <a:cubicBezTo>
                  <a:pt x="296" y="419"/>
                  <a:pt x="296" y="419"/>
                  <a:pt x="296" y="419"/>
                </a:cubicBezTo>
                <a:cubicBezTo>
                  <a:pt x="287" y="409"/>
                  <a:pt x="284" y="399"/>
                  <a:pt x="281" y="391"/>
                </a:cubicBezTo>
                <a:cubicBezTo>
                  <a:pt x="280" y="389"/>
                  <a:pt x="280" y="388"/>
                  <a:pt x="280" y="387"/>
                </a:cubicBezTo>
                <a:cubicBezTo>
                  <a:pt x="276" y="390"/>
                  <a:pt x="273" y="394"/>
                  <a:pt x="270" y="396"/>
                </a:cubicBezTo>
                <a:cubicBezTo>
                  <a:pt x="254" y="412"/>
                  <a:pt x="243" y="422"/>
                  <a:pt x="231" y="431"/>
                </a:cubicBezTo>
                <a:cubicBezTo>
                  <a:pt x="221" y="440"/>
                  <a:pt x="211" y="448"/>
                  <a:pt x="198" y="461"/>
                </a:cubicBezTo>
                <a:cubicBezTo>
                  <a:pt x="178" y="481"/>
                  <a:pt x="142" y="530"/>
                  <a:pt x="125" y="553"/>
                </a:cubicBezTo>
                <a:cubicBezTo>
                  <a:pt x="116" y="565"/>
                  <a:pt x="114" y="567"/>
                  <a:pt x="113" y="568"/>
                </a:cubicBezTo>
                <a:cubicBezTo>
                  <a:pt x="110" y="571"/>
                  <a:pt x="103" y="572"/>
                  <a:pt x="98" y="572"/>
                </a:cubicBezTo>
                <a:close/>
                <a:moveTo>
                  <a:pt x="93" y="557"/>
                </a:moveTo>
                <a:cubicBezTo>
                  <a:pt x="93" y="558"/>
                  <a:pt x="95" y="558"/>
                  <a:pt x="98" y="558"/>
                </a:cubicBezTo>
                <a:cubicBezTo>
                  <a:pt x="101" y="558"/>
                  <a:pt x="103" y="558"/>
                  <a:pt x="104" y="557"/>
                </a:cubicBezTo>
                <a:cubicBezTo>
                  <a:pt x="105" y="556"/>
                  <a:pt x="109" y="550"/>
                  <a:pt x="113" y="545"/>
                </a:cubicBezTo>
                <a:cubicBezTo>
                  <a:pt x="131" y="521"/>
                  <a:pt x="168" y="471"/>
                  <a:pt x="188" y="451"/>
                </a:cubicBezTo>
                <a:cubicBezTo>
                  <a:pt x="201" y="438"/>
                  <a:pt x="212" y="429"/>
                  <a:pt x="222" y="421"/>
                </a:cubicBezTo>
                <a:cubicBezTo>
                  <a:pt x="233" y="411"/>
                  <a:pt x="245" y="402"/>
                  <a:pt x="261" y="386"/>
                </a:cubicBezTo>
                <a:cubicBezTo>
                  <a:pt x="265" y="382"/>
                  <a:pt x="270" y="376"/>
                  <a:pt x="276" y="369"/>
                </a:cubicBezTo>
                <a:cubicBezTo>
                  <a:pt x="278" y="368"/>
                  <a:pt x="280" y="367"/>
                  <a:pt x="282" y="367"/>
                </a:cubicBezTo>
                <a:cubicBezTo>
                  <a:pt x="285" y="367"/>
                  <a:pt x="287" y="369"/>
                  <a:pt x="288" y="371"/>
                </a:cubicBezTo>
                <a:cubicBezTo>
                  <a:pt x="291" y="376"/>
                  <a:pt x="293" y="381"/>
                  <a:pt x="294" y="387"/>
                </a:cubicBezTo>
                <a:cubicBezTo>
                  <a:pt x="297" y="395"/>
                  <a:pt x="299" y="401"/>
                  <a:pt x="306" y="409"/>
                </a:cubicBezTo>
                <a:cubicBezTo>
                  <a:pt x="442" y="545"/>
                  <a:pt x="442" y="545"/>
                  <a:pt x="442" y="545"/>
                </a:cubicBezTo>
                <a:cubicBezTo>
                  <a:pt x="445" y="548"/>
                  <a:pt x="450" y="550"/>
                  <a:pt x="454" y="550"/>
                </a:cubicBezTo>
                <a:cubicBezTo>
                  <a:pt x="459" y="550"/>
                  <a:pt x="463" y="548"/>
                  <a:pt x="466" y="545"/>
                </a:cubicBezTo>
                <a:cubicBezTo>
                  <a:pt x="522" y="489"/>
                  <a:pt x="522" y="489"/>
                  <a:pt x="522" y="489"/>
                </a:cubicBezTo>
                <a:cubicBezTo>
                  <a:pt x="529" y="482"/>
                  <a:pt x="529" y="471"/>
                  <a:pt x="522" y="465"/>
                </a:cubicBezTo>
                <a:cubicBezTo>
                  <a:pt x="386" y="329"/>
                  <a:pt x="386" y="329"/>
                  <a:pt x="386" y="329"/>
                </a:cubicBezTo>
                <a:cubicBezTo>
                  <a:pt x="379" y="322"/>
                  <a:pt x="372" y="319"/>
                  <a:pt x="364" y="317"/>
                </a:cubicBezTo>
                <a:cubicBezTo>
                  <a:pt x="357" y="314"/>
                  <a:pt x="348" y="312"/>
                  <a:pt x="340" y="305"/>
                </a:cubicBezTo>
                <a:cubicBezTo>
                  <a:pt x="337" y="302"/>
                  <a:pt x="337" y="298"/>
                  <a:pt x="339" y="295"/>
                </a:cubicBezTo>
                <a:cubicBezTo>
                  <a:pt x="345" y="287"/>
                  <a:pt x="348" y="283"/>
                  <a:pt x="349" y="280"/>
                </a:cubicBezTo>
                <a:cubicBezTo>
                  <a:pt x="350" y="279"/>
                  <a:pt x="351" y="278"/>
                  <a:pt x="352" y="276"/>
                </a:cubicBezTo>
                <a:cubicBezTo>
                  <a:pt x="354" y="274"/>
                  <a:pt x="354" y="272"/>
                  <a:pt x="351" y="270"/>
                </a:cubicBezTo>
                <a:cubicBezTo>
                  <a:pt x="351" y="269"/>
                  <a:pt x="351" y="269"/>
                  <a:pt x="351" y="269"/>
                </a:cubicBezTo>
                <a:cubicBezTo>
                  <a:pt x="351" y="269"/>
                  <a:pt x="351" y="269"/>
                  <a:pt x="351" y="269"/>
                </a:cubicBezTo>
                <a:cubicBezTo>
                  <a:pt x="348" y="266"/>
                  <a:pt x="348" y="262"/>
                  <a:pt x="351" y="259"/>
                </a:cubicBezTo>
                <a:cubicBezTo>
                  <a:pt x="377" y="233"/>
                  <a:pt x="414" y="201"/>
                  <a:pt x="437" y="198"/>
                </a:cubicBezTo>
                <a:cubicBezTo>
                  <a:pt x="460" y="196"/>
                  <a:pt x="473" y="204"/>
                  <a:pt x="486" y="217"/>
                </a:cubicBezTo>
                <a:cubicBezTo>
                  <a:pt x="498" y="228"/>
                  <a:pt x="502" y="245"/>
                  <a:pt x="497" y="267"/>
                </a:cubicBezTo>
                <a:cubicBezTo>
                  <a:pt x="497" y="269"/>
                  <a:pt x="497" y="273"/>
                  <a:pt x="499" y="275"/>
                </a:cubicBezTo>
                <a:cubicBezTo>
                  <a:pt x="532" y="308"/>
                  <a:pt x="532" y="308"/>
                  <a:pt x="532" y="308"/>
                </a:cubicBezTo>
                <a:cubicBezTo>
                  <a:pt x="535" y="310"/>
                  <a:pt x="539" y="310"/>
                  <a:pt x="542" y="308"/>
                </a:cubicBezTo>
                <a:cubicBezTo>
                  <a:pt x="611" y="239"/>
                  <a:pt x="611" y="239"/>
                  <a:pt x="611" y="239"/>
                </a:cubicBezTo>
                <a:cubicBezTo>
                  <a:pt x="614" y="236"/>
                  <a:pt x="614" y="232"/>
                  <a:pt x="611" y="229"/>
                </a:cubicBezTo>
                <a:cubicBezTo>
                  <a:pt x="578" y="196"/>
                  <a:pt x="578" y="196"/>
                  <a:pt x="578" y="196"/>
                </a:cubicBezTo>
                <a:cubicBezTo>
                  <a:pt x="576" y="194"/>
                  <a:pt x="573" y="193"/>
                  <a:pt x="570" y="193"/>
                </a:cubicBezTo>
                <a:cubicBezTo>
                  <a:pt x="566" y="194"/>
                  <a:pt x="563" y="194"/>
                  <a:pt x="559" y="194"/>
                </a:cubicBezTo>
                <a:cubicBezTo>
                  <a:pt x="545" y="194"/>
                  <a:pt x="534" y="190"/>
                  <a:pt x="526" y="182"/>
                </a:cubicBezTo>
                <a:cubicBezTo>
                  <a:pt x="518" y="174"/>
                  <a:pt x="519" y="164"/>
                  <a:pt x="520" y="155"/>
                </a:cubicBezTo>
                <a:cubicBezTo>
                  <a:pt x="521" y="151"/>
                  <a:pt x="521" y="146"/>
                  <a:pt x="520" y="142"/>
                </a:cubicBezTo>
                <a:cubicBezTo>
                  <a:pt x="518" y="129"/>
                  <a:pt x="490" y="101"/>
                  <a:pt x="479" y="90"/>
                </a:cubicBezTo>
                <a:cubicBezTo>
                  <a:pt x="417" y="27"/>
                  <a:pt x="352" y="14"/>
                  <a:pt x="309" y="14"/>
                </a:cubicBezTo>
                <a:cubicBezTo>
                  <a:pt x="278" y="14"/>
                  <a:pt x="253" y="21"/>
                  <a:pt x="240" y="28"/>
                </a:cubicBezTo>
                <a:cubicBezTo>
                  <a:pt x="240" y="28"/>
                  <a:pt x="240" y="29"/>
                  <a:pt x="241" y="29"/>
                </a:cubicBezTo>
                <a:cubicBezTo>
                  <a:pt x="241" y="30"/>
                  <a:pt x="241" y="30"/>
                  <a:pt x="242" y="30"/>
                </a:cubicBezTo>
                <a:cubicBezTo>
                  <a:pt x="244" y="29"/>
                  <a:pt x="247" y="29"/>
                  <a:pt x="251" y="29"/>
                </a:cubicBezTo>
                <a:cubicBezTo>
                  <a:pt x="259" y="29"/>
                  <a:pt x="302" y="31"/>
                  <a:pt x="336" y="65"/>
                </a:cubicBezTo>
                <a:cubicBezTo>
                  <a:pt x="361" y="90"/>
                  <a:pt x="372" y="116"/>
                  <a:pt x="368" y="143"/>
                </a:cubicBezTo>
                <a:cubicBezTo>
                  <a:pt x="365" y="168"/>
                  <a:pt x="350" y="186"/>
                  <a:pt x="341" y="195"/>
                </a:cubicBezTo>
                <a:cubicBezTo>
                  <a:pt x="323" y="213"/>
                  <a:pt x="323" y="213"/>
                  <a:pt x="323" y="213"/>
                </a:cubicBezTo>
                <a:cubicBezTo>
                  <a:pt x="313" y="222"/>
                  <a:pt x="313" y="222"/>
                  <a:pt x="313" y="222"/>
                </a:cubicBezTo>
                <a:cubicBezTo>
                  <a:pt x="310" y="224"/>
                  <a:pt x="306" y="224"/>
                  <a:pt x="303" y="222"/>
                </a:cubicBezTo>
                <a:cubicBezTo>
                  <a:pt x="302" y="221"/>
                  <a:pt x="301" y="220"/>
                  <a:pt x="300" y="220"/>
                </a:cubicBezTo>
                <a:cubicBezTo>
                  <a:pt x="299" y="220"/>
                  <a:pt x="298" y="220"/>
                  <a:pt x="297" y="222"/>
                </a:cubicBezTo>
                <a:cubicBezTo>
                  <a:pt x="296" y="223"/>
                  <a:pt x="293" y="224"/>
                  <a:pt x="290" y="227"/>
                </a:cubicBezTo>
                <a:cubicBezTo>
                  <a:pt x="283" y="231"/>
                  <a:pt x="273" y="238"/>
                  <a:pt x="258" y="250"/>
                </a:cubicBezTo>
                <a:cubicBezTo>
                  <a:pt x="255" y="252"/>
                  <a:pt x="251" y="252"/>
                  <a:pt x="249" y="249"/>
                </a:cubicBezTo>
                <a:cubicBezTo>
                  <a:pt x="134" y="135"/>
                  <a:pt x="134" y="135"/>
                  <a:pt x="134" y="135"/>
                </a:cubicBezTo>
                <a:cubicBezTo>
                  <a:pt x="134" y="134"/>
                  <a:pt x="133" y="133"/>
                  <a:pt x="133" y="132"/>
                </a:cubicBezTo>
                <a:cubicBezTo>
                  <a:pt x="122" y="99"/>
                  <a:pt x="122" y="99"/>
                  <a:pt x="122" y="99"/>
                </a:cubicBezTo>
                <a:cubicBezTo>
                  <a:pt x="63" y="57"/>
                  <a:pt x="63" y="57"/>
                  <a:pt x="63" y="57"/>
                </a:cubicBezTo>
                <a:cubicBezTo>
                  <a:pt x="34" y="85"/>
                  <a:pt x="34" y="85"/>
                  <a:pt x="34" y="85"/>
                </a:cubicBezTo>
                <a:cubicBezTo>
                  <a:pt x="76" y="145"/>
                  <a:pt x="76" y="145"/>
                  <a:pt x="76" y="145"/>
                </a:cubicBezTo>
                <a:cubicBezTo>
                  <a:pt x="110" y="155"/>
                  <a:pt x="110" y="155"/>
                  <a:pt x="110" y="155"/>
                </a:cubicBezTo>
                <a:cubicBezTo>
                  <a:pt x="111" y="156"/>
                  <a:pt x="112" y="156"/>
                  <a:pt x="113" y="157"/>
                </a:cubicBezTo>
                <a:cubicBezTo>
                  <a:pt x="225" y="269"/>
                  <a:pt x="225" y="269"/>
                  <a:pt x="225" y="269"/>
                </a:cubicBezTo>
                <a:cubicBezTo>
                  <a:pt x="226" y="271"/>
                  <a:pt x="227" y="273"/>
                  <a:pt x="227" y="275"/>
                </a:cubicBezTo>
                <a:cubicBezTo>
                  <a:pt x="227" y="277"/>
                  <a:pt x="226" y="278"/>
                  <a:pt x="224" y="280"/>
                </a:cubicBezTo>
                <a:cubicBezTo>
                  <a:pt x="208" y="293"/>
                  <a:pt x="195" y="304"/>
                  <a:pt x="187" y="313"/>
                </a:cubicBezTo>
                <a:cubicBezTo>
                  <a:pt x="171" y="328"/>
                  <a:pt x="156" y="346"/>
                  <a:pt x="141" y="363"/>
                </a:cubicBezTo>
                <a:cubicBezTo>
                  <a:pt x="126" y="379"/>
                  <a:pt x="113" y="395"/>
                  <a:pt x="100" y="408"/>
                </a:cubicBezTo>
                <a:cubicBezTo>
                  <a:pt x="79" y="428"/>
                  <a:pt x="42" y="452"/>
                  <a:pt x="24" y="464"/>
                </a:cubicBezTo>
                <a:cubicBezTo>
                  <a:pt x="21" y="466"/>
                  <a:pt x="17" y="468"/>
                  <a:pt x="16" y="469"/>
                </a:cubicBezTo>
                <a:cubicBezTo>
                  <a:pt x="15" y="472"/>
                  <a:pt x="15" y="479"/>
                  <a:pt x="16" y="481"/>
                </a:cubicBezTo>
                <a:cubicBezTo>
                  <a:pt x="21" y="486"/>
                  <a:pt x="68" y="533"/>
                  <a:pt x="68" y="533"/>
                </a:cubicBezTo>
                <a:cubicBezTo>
                  <a:pt x="71" y="536"/>
                  <a:pt x="71" y="536"/>
                  <a:pt x="71" y="536"/>
                </a:cubicBezTo>
                <a:cubicBezTo>
                  <a:pt x="82" y="546"/>
                  <a:pt x="90" y="555"/>
                  <a:pt x="93" y="557"/>
                </a:cubicBez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9222" name="Oval 39"/>
          <p:cNvSpPr>
            <a:spLocks noChangeArrowheads="1"/>
          </p:cNvSpPr>
          <p:nvPr/>
        </p:nvSpPr>
        <p:spPr bwMode="auto">
          <a:xfrm>
            <a:off x="8347593" y="3120088"/>
            <a:ext cx="1119124" cy="1119124"/>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9319" name="Freeform 132"/>
          <p:cNvSpPr>
            <a:spLocks noEditPoints="1"/>
          </p:cNvSpPr>
          <p:nvPr/>
        </p:nvSpPr>
        <p:spPr bwMode="auto">
          <a:xfrm>
            <a:off x="8504106" y="3500967"/>
            <a:ext cx="806099" cy="357367"/>
          </a:xfrm>
          <a:custGeom>
            <a:avLst/>
            <a:gdLst>
              <a:gd name="T0" fmla="*/ 596 w 765"/>
              <a:gd name="T1" fmla="*/ 0 h 339"/>
              <a:gd name="T2" fmla="*/ 443 w 765"/>
              <a:gd name="T3" fmla="*/ 97 h 339"/>
              <a:gd name="T4" fmla="*/ 415 w 765"/>
              <a:gd name="T5" fmla="*/ 88 h 339"/>
              <a:gd name="T6" fmla="*/ 382 w 765"/>
              <a:gd name="T7" fmla="*/ 58 h 339"/>
              <a:gd name="T8" fmla="*/ 349 w 765"/>
              <a:gd name="T9" fmla="*/ 88 h 339"/>
              <a:gd name="T10" fmla="*/ 321 w 765"/>
              <a:gd name="T11" fmla="*/ 97 h 339"/>
              <a:gd name="T12" fmla="*/ 169 w 765"/>
              <a:gd name="T13" fmla="*/ 0 h 339"/>
              <a:gd name="T14" fmla="*/ 0 w 765"/>
              <a:gd name="T15" fmla="*/ 170 h 339"/>
              <a:gd name="T16" fmla="*/ 169 w 765"/>
              <a:gd name="T17" fmla="*/ 339 h 339"/>
              <a:gd name="T18" fmla="*/ 338 w 765"/>
              <a:gd name="T19" fmla="*/ 170 h 339"/>
              <a:gd name="T20" fmla="*/ 327 w 765"/>
              <a:gd name="T21" fmla="*/ 109 h 339"/>
              <a:gd name="T22" fmla="*/ 351 w 765"/>
              <a:gd name="T23" fmla="*/ 102 h 339"/>
              <a:gd name="T24" fmla="*/ 382 w 765"/>
              <a:gd name="T25" fmla="*/ 124 h 339"/>
              <a:gd name="T26" fmla="*/ 414 w 765"/>
              <a:gd name="T27" fmla="*/ 102 h 339"/>
              <a:gd name="T28" fmla="*/ 438 w 765"/>
              <a:gd name="T29" fmla="*/ 109 h 339"/>
              <a:gd name="T30" fmla="*/ 427 w 765"/>
              <a:gd name="T31" fmla="*/ 170 h 339"/>
              <a:gd name="T32" fmla="*/ 596 w 765"/>
              <a:gd name="T33" fmla="*/ 339 h 339"/>
              <a:gd name="T34" fmla="*/ 765 w 765"/>
              <a:gd name="T35" fmla="*/ 170 h 339"/>
              <a:gd name="T36" fmla="*/ 596 w 765"/>
              <a:gd name="T37" fmla="*/ 0 h 339"/>
              <a:gd name="T38" fmla="*/ 169 w 765"/>
              <a:gd name="T39" fmla="*/ 325 h 339"/>
              <a:gd name="T40" fmla="*/ 14 w 765"/>
              <a:gd name="T41" fmla="*/ 170 h 339"/>
              <a:gd name="T42" fmla="*/ 169 w 765"/>
              <a:gd name="T43" fmla="*/ 14 h 339"/>
              <a:gd name="T44" fmla="*/ 324 w 765"/>
              <a:gd name="T45" fmla="*/ 170 h 339"/>
              <a:gd name="T46" fmla="*/ 169 w 765"/>
              <a:gd name="T47" fmla="*/ 325 h 339"/>
              <a:gd name="T48" fmla="*/ 382 w 765"/>
              <a:gd name="T49" fmla="*/ 110 h 339"/>
              <a:gd name="T50" fmla="*/ 363 w 765"/>
              <a:gd name="T51" fmla="*/ 91 h 339"/>
              <a:gd name="T52" fmla="*/ 382 w 765"/>
              <a:gd name="T53" fmla="*/ 72 h 339"/>
              <a:gd name="T54" fmla="*/ 401 w 765"/>
              <a:gd name="T55" fmla="*/ 91 h 339"/>
              <a:gd name="T56" fmla="*/ 382 w 765"/>
              <a:gd name="T57" fmla="*/ 110 h 339"/>
              <a:gd name="T58" fmla="*/ 596 w 765"/>
              <a:gd name="T59" fmla="*/ 325 h 339"/>
              <a:gd name="T60" fmla="*/ 441 w 765"/>
              <a:gd name="T61" fmla="*/ 170 h 339"/>
              <a:gd name="T62" fmla="*/ 596 w 765"/>
              <a:gd name="T63" fmla="*/ 14 h 339"/>
              <a:gd name="T64" fmla="*/ 751 w 765"/>
              <a:gd name="T65" fmla="*/ 170 h 339"/>
              <a:gd name="T66" fmla="*/ 596 w 765"/>
              <a:gd name="T67" fmla="*/ 325 h 339"/>
              <a:gd name="T68" fmla="*/ 233 w 765"/>
              <a:gd name="T69" fmla="*/ 55 h 339"/>
              <a:gd name="T70" fmla="*/ 223 w 765"/>
              <a:gd name="T71" fmla="*/ 58 h 339"/>
              <a:gd name="T72" fmla="*/ 57 w 765"/>
              <a:gd name="T73" fmla="*/ 115 h 339"/>
              <a:gd name="T74" fmla="*/ 51 w 765"/>
              <a:gd name="T75" fmla="*/ 119 h 339"/>
              <a:gd name="T76" fmla="*/ 48 w 765"/>
              <a:gd name="T77" fmla="*/ 118 h 339"/>
              <a:gd name="T78" fmla="*/ 45 w 765"/>
              <a:gd name="T79" fmla="*/ 109 h 339"/>
              <a:gd name="T80" fmla="*/ 229 w 765"/>
              <a:gd name="T81" fmla="*/ 45 h 339"/>
              <a:gd name="T82" fmla="*/ 233 w 765"/>
              <a:gd name="T83" fmla="*/ 55 h 339"/>
              <a:gd name="T84" fmla="*/ 660 w 765"/>
              <a:gd name="T85" fmla="*/ 55 h 339"/>
              <a:gd name="T86" fmla="*/ 650 w 765"/>
              <a:gd name="T87" fmla="*/ 58 h 339"/>
              <a:gd name="T88" fmla="*/ 484 w 765"/>
              <a:gd name="T89" fmla="*/ 115 h 339"/>
              <a:gd name="T90" fmla="*/ 478 w 765"/>
              <a:gd name="T91" fmla="*/ 119 h 339"/>
              <a:gd name="T92" fmla="*/ 475 w 765"/>
              <a:gd name="T93" fmla="*/ 118 h 339"/>
              <a:gd name="T94" fmla="*/ 471 w 765"/>
              <a:gd name="T95" fmla="*/ 109 h 339"/>
              <a:gd name="T96" fmla="*/ 656 w 765"/>
              <a:gd name="T97" fmla="*/ 45 h 339"/>
              <a:gd name="T98" fmla="*/ 660 w 765"/>
              <a:gd name="T99" fmla="*/ 55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65" h="339">
                <a:moveTo>
                  <a:pt x="596" y="0"/>
                </a:moveTo>
                <a:cubicBezTo>
                  <a:pt x="529" y="0"/>
                  <a:pt x="471" y="40"/>
                  <a:pt x="443" y="97"/>
                </a:cubicBezTo>
                <a:cubicBezTo>
                  <a:pt x="434" y="93"/>
                  <a:pt x="425" y="90"/>
                  <a:pt x="415" y="88"/>
                </a:cubicBezTo>
                <a:cubicBezTo>
                  <a:pt x="414" y="71"/>
                  <a:pt x="399" y="58"/>
                  <a:pt x="382" y="58"/>
                </a:cubicBezTo>
                <a:cubicBezTo>
                  <a:pt x="365" y="58"/>
                  <a:pt x="351" y="71"/>
                  <a:pt x="349" y="88"/>
                </a:cubicBezTo>
                <a:cubicBezTo>
                  <a:pt x="340" y="90"/>
                  <a:pt x="330" y="93"/>
                  <a:pt x="321" y="97"/>
                </a:cubicBezTo>
                <a:cubicBezTo>
                  <a:pt x="294" y="40"/>
                  <a:pt x="236" y="0"/>
                  <a:pt x="169" y="0"/>
                </a:cubicBezTo>
                <a:cubicBezTo>
                  <a:pt x="76" y="0"/>
                  <a:pt x="0" y="76"/>
                  <a:pt x="0" y="170"/>
                </a:cubicBezTo>
                <a:cubicBezTo>
                  <a:pt x="0" y="263"/>
                  <a:pt x="76" y="339"/>
                  <a:pt x="169" y="339"/>
                </a:cubicBezTo>
                <a:cubicBezTo>
                  <a:pt x="262" y="339"/>
                  <a:pt x="338" y="263"/>
                  <a:pt x="338" y="170"/>
                </a:cubicBezTo>
                <a:cubicBezTo>
                  <a:pt x="338" y="148"/>
                  <a:pt x="334" y="128"/>
                  <a:pt x="327" y="109"/>
                </a:cubicBezTo>
                <a:cubicBezTo>
                  <a:pt x="335" y="106"/>
                  <a:pt x="343" y="103"/>
                  <a:pt x="351" y="102"/>
                </a:cubicBezTo>
                <a:cubicBezTo>
                  <a:pt x="355" y="115"/>
                  <a:pt x="368" y="124"/>
                  <a:pt x="382" y="124"/>
                </a:cubicBezTo>
                <a:cubicBezTo>
                  <a:pt x="397" y="124"/>
                  <a:pt x="409" y="115"/>
                  <a:pt x="414" y="102"/>
                </a:cubicBezTo>
                <a:cubicBezTo>
                  <a:pt x="422" y="103"/>
                  <a:pt x="430" y="106"/>
                  <a:pt x="438" y="109"/>
                </a:cubicBezTo>
                <a:cubicBezTo>
                  <a:pt x="431" y="128"/>
                  <a:pt x="427" y="148"/>
                  <a:pt x="427" y="170"/>
                </a:cubicBezTo>
                <a:cubicBezTo>
                  <a:pt x="427" y="263"/>
                  <a:pt x="502" y="339"/>
                  <a:pt x="596" y="339"/>
                </a:cubicBezTo>
                <a:cubicBezTo>
                  <a:pt x="689" y="339"/>
                  <a:pt x="765" y="263"/>
                  <a:pt x="765" y="170"/>
                </a:cubicBezTo>
                <a:cubicBezTo>
                  <a:pt x="765" y="76"/>
                  <a:pt x="689" y="0"/>
                  <a:pt x="596" y="0"/>
                </a:cubicBezTo>
                <a:close/>
                <a:moveTo>
                  <a:pt x="169" y="325"/>
                </a:moveTo>
                <a:cubicBezTo>
                  <a:pt x="83" y="325"/>
                  <a:pt x="14" y="255"/>
                  <a:pt x="14" y="170"/>
                </a:cubicBezTo>
                <a:cubicBezTo>
                  <a:pt x="14" y="84"/>
                  <a:pt x="83" y="14"/>
                  <a:pt x="169" y="14"/>
                </a:cubicBezTo>
                <a:cubicBezTo>
                  <a:pt x="254" y="14"/>
                  <a:pt x="324" y="84"/>
                  <a:pt x="324" y="170"/>
                </a:cubicBezTo>
                <a:cubicBezTo>
                  <a:pt x="324" y="255"/>
                  <a:pt x="254" y="325"/>
                  <a:pt x="169" y="325"/>
                </a:cubicBezTo>
                <a:close/>
                <a:moveTo>
                  <a:pt x="382" y="110"/>
                </a:moveTo>
                <a:cubicBezTo>
                  <a:pt x="372" y="110"/>
                  <a:pt x="363" y="102"/>
                  <a:pt x="363" y="91"/>
                </a:cubicBezTo>
                <a:cubicBezTo>
                  <a:pt x="363" y="80"/>
                  <a:pt x="372" y="72"/>
                  <a:pt x="382" y="72"/>
                </a:cubicBezTo>
                <a:cubicBezTo>
                  <a:pt x="393" y="72"/>
                  <a:pt x="401" y="80"/>
                  <a:pt x="401" y="91"/>
                </a:cubicBezTo>
                <a:cubicBezTo>
                  <a:pt x="401" y="102"/>
                  <a:pt x="393" y="110"/>
                  <a:pt x="382" y="110"/>
                </a:cubicBezTo>
                <a:close/>
                <a:moveTo>
                  <a:pt x="596" y="325"/>
                </a:moveTo>
                <a:cubicBezTo>
                  <a:pt x="510" y="325"/>
                  <a:pt x="441" y="255"/>
                  <a:pt x="441" y="170"/>
                </a:cubicBezTo>
                <a:cubicBezTo>
                  <a:pt x="441" y="84"/>
                  <a:pt x="510" y="14"/>
                  <a:pt x="596" y="14"/>
                </a:cubicBezTo>
                <a:cubicBezTo>
                  <a:pt x="681" y="14"/>
                  <a:pt x="751" y="84"/>
                  <a:pt x="751" y="170"/>
                </a:cubicBezTo>
                <a:cubicBezTo>
                  <a:pt x="751" y="255"/>
                  <a:pt x="681" y="325"/>
                  <a:pt x="596" y="325"/>
                </a:cubicBezTo>
                <a:close/>
                <a:moveTo>
                  <a:pt x="233" y="55"/>
                </a:moveTo>
                <a:cubicBezTo>
                  <a:pt x="231" y="58"/>
                  <a:pt x="227" y="60"/>
                  <a:pt x="223" y="58"/>
                </a:cubicBezTo>
                <a:cubicBezTo>
                  <a:pt x="162" y="28"/>
                  <a:pt x="87" y="53"/>
                  <a:pt x="57" y="115"/>
                </a:cubicBezTo>
                <a:cubicBezTo>
                  <a:pt x="56" y="118"/>
                  <a:pt x="53" y="119"/>
                  <a:pt x="51" y="119"/>
                </a:cubicBezTo>
                <a:cubicBezTo>
                  <a:pt x="50" y="119"/>
                  <a:pt x="49" y="119"/>
                  <a:pt x="48" y="118"/>
                </a:cubicBezTo>
                <a:cubicBezTo>
                  <a:pt x="44" y="117"/>
                  <a:pt x="43" y="112"/>
                  <a:pt x="45" y="109"/>
                </a:cubicBezTo>
                <a:cubicBezTo>
                  <a:pt x="78" y="40"/>
                  <a:pt x="161" y="12"/>
                  <a:pt x="229" y="45"/>
                </a:cubicBezTo>
                <a:cubicBezTo>
                  <a:pt x="233" y="47"/>
                  <a:pt x="234" y="51"/>
                  <a:pt x="233" y="55"/>
                </a:cubicBezTo>
                <a:close/>
                <a:moveTo>
                  <a:pt x="660" y="55"/>
                </a:moveTo>
                <a:cubicBezTo>
                  <a:pt x="658" y="58"/>
                  <a:pt x="654" y="60"/>
                  <a:pt x="650" y="58"/>
                </a:cubicBezTo>
                <a:cubicBezTo>
                  <a:pt x="589" y="28"/>
                  <a:pt x="514" y="53"/>
                  <a:pt x="484" y="115"/>
                </a:cubicBezTo>
                <a:cubicBezTo>
                  <a:pt x="483" y="118"/>
                  <a:pt x="480" y="119"/>
                  <a:pt x="478" y="119"/>
                </a:cubicBezTo>
                <a:cubicBezTo>
                  <a:pt x="477" y="119"/>
                  <a:pt x="476" y="119"/>
                  <a:pt x="475" y="118"/>
                </a:cubicBezTo>
                <a:cubicBezTo>
                  <a:pt x="471" y="117"/>
                  <a:pt x="470" y="112"/>
                  <a:pt x="471" y="109"/>
                </a:cubicBezTo>
                <a:cubicBezTo>
                  <a:pt x="505" y="40"/>
                  <a:pt x="588" y="12"/>
                  <a:pt x="656" y="45"/>
                </a:cubicBezTo>
                <a:cubicBezTo>
                  <a:pt x="660" y="47"/>
                  <a:pt x="661" y="51"/>
                  <a:pt x="660" y="55"/>
                </a:cubicBez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9226" name="Oval 43"/>
          <p:cNvSpPr>
            <a:spLocks noChangeArrowheads="1"/>
          </p:cNvSpPr>
          <p:nvPr/>
        </p:nvSpPr>
        <p:spPr bwMode="auto">
          <a:xfrm>
            <a:off x="4831649" y="1528549"/>
            <a:ext cx="1119124" cy="1119124"/>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9320" name="Freeform 133"/>
          <p:cNvSpPr>
            <a:spLocks noEditPoints="1"/>
          </p:cNvSpPr>
          <p:nvPr/>
        </p:nvSpPr>
        <p:spPr bwMode="auto">
          <a:xfrm>
            <a:off x="5116432" y="1775415"/>
            <a:ext cx="555443" cy="596004"/>
          </a:xfrm>
          <a:custGeom>
            <a:avLst/>
            <a:gdLst>
              <a:gd name="T0" fmla="*/ 417 w 527"/>
              <a:gd name="T1" fmla="*/ 263 h 567"/>
              <a:gd name="T2" fmla="*/ 311 w 527"/>
              <a:gd name="T3" fmla="*/ 210 h 567"/>
              <a:gd name="T4" fmla="*/ 261 w 527"/>
              <a:gd name="T5" fmla="*/ 130 h 567"/>
              <a:gd name="T6" fmla="*/ 291 w 527"/>
              <a:gd name="T7" fmla="*/ 34 h 567"/>
              <a:gd name="T8" fmla="*/ 363 w 527"/>
              <a:gd name="T9" fmla="*/ 0 h 567"/>
              <a:gd name="T10" fmla="*/ 467 w 527"/>
              <a:gd name="T11" fmla="*/ 54 h 567"/>
              <a:gd name="T12" fmla="*/ 514 w 527"/>
              <a:gd name="T13" fmla="*/ 126 h 567"/>
              <a:gd name="T14" fmla="*/ 488 w 527"/>
              <a:gd name="T15" fmla="*/ 231 h 567"/>
              <a:gd name="T16" fmla="*/ 417 w 527"/>
              <a:gd name="T17" fmla="*/ 263 h 567"/>
              <a:gd name="T18" fmla="*/ 363 w 527"/>
              <a:gd name="T19" fmla="*/ 14 h 567"/>
              <a:gd name="T20" fmla="*/ 301 w 527"/>
              <a:gd name="T21" fmla="*/ 44 h 567"/>
              <a:gd name="T22" fmla="*/ 274 w 527"/>
              <a:gd name="T23" fmla="*/ 127 h 567"/>
              <a:gd name="T24" fmla="*/ 321 w 527"/>
              <a:gd name="T25" fmla="*/ 200 h 567"/>
              <a:gd name="T26" fmla="*/ 417 w 527"/>
              <a:gd name="T27" fmla="*/ 249 h 567"/>
              <a:gd name="T28" fmla="*/ 478 w 527"/>
              <a:gd name="T29" fmla="*/ 221 h 567"/>
              <a:gd name="T30" fmla="*/ 501 w 527"/>
              <a:gd name="T31" fmla="*/ 131 h 567"/>
              <a:gd name="T32" fmla="*/ 457 w 527"/>
              <a:gd name="T33" fmla="*/ 64 h 567"/>
              <a:gd name="T34" fmla="*/ 363 w 527"/>
              <a:gd name="T35" fmla="*/ 14 h 567"/>
              <a:gd name="T36" fmla="*/ 12 w 527"/>
              <a:gd name="T37" fmla="*/ 519 h 567"/>
              <a:gd name="T38" fmla="*/ 321 w 527"/>
              <a:gd name="T39" fmla="*/ 210 h 567"/>
              <a:gd name="T40" fmla="*/ 321 w 527"/>
              <a:gd name="T41" fmla="*/ 200 h 567"/>
              <a:gd name="T42" fmla="*/ 311 w 527"/>
              <a:gd name="T43" fmla="*/ 200 h 567"/>
              <a:gd name="T44" fmla="*/ 2 w 527"/>
              <a:gd name="T45" fmla="*/ 509 h 567"/>
              <a:gd name="T46" fmla="*/ 2 w 527"/>
              <a:gd name="T47" fmla="*/ 519 h 567"/>
              <a:gd name="T48" fmla="*/ 7 w 527"/>
              <a:gd name="T49" fmla="*/ 521 h 567"/>
              <a:gd name="T50" fmla="*/ 12 w 527"/>
              <a:gd name="T51" fmla="*/ 519 h 567"/>
              <a:gd name="T52" fmla="*/ 98 w 527"/>
              <a:gd name="T53" fmla="*/ 565 h 567"/>
              <a:gd name="T54" fmla="*/ 203 w 527"/>
              <a:gd name="T55" fmla="*/ 460 h 567"/>
              <a:gd name="T56" fmla="*/ 203 w 527"/>
              <a:gd name="T57" fmla="*/ 450 h 567"/>
              <a:gd name="T58" fmla="*/ 137 w 527"/>
              <a:gd name="T59" fmla="*/ 384 h 567"/>
              <a:gd name="T60" fmla="*/ 127 w 527"/>
              <a:gd name="T61" fmla="*/ 384 h 567"/>
              <a:gd name="T62" fmla="*/ 127 w 527"/>
              <a:gd name="T63" fmla="*/ 394 h 567"/>
              <a:gd name="T64" fmla="*/ 188 w 527"/>
              <a:gd name="T65" fmla="*/ 455 h 567"/>
              <a:gd name="T66" fmla="*/ 93 w 527"/>
              <a:gd name="T67" fmla="*/ 550 h 567"/>
              <a:gd name="T68" fmla="*/ 32 w 527"/>
              <a:gd name="T69" fmla="*/ 489 h 567"/>
              <a:gd name="T70" fmla="*/ 22 w 527"/>
              <a:gd name="T71" fmla="*/ 489 h 567"/>
              <a:gd name="T72" fmla="*/ 22 w 527"/>
              <a:gd name="T73" fmla="*/ 499 h 567"/>
              <a:gd name="T74" fmla="*/ 88 w 527"/>
              <a:gd name="T75" fmla="*/ 565 h 567"/>
              <a:gd name="T76" fmla="*/ 93 w 527"/>
              <a:gd name="T77" fmla="*/ 567 h 567"/>
              <a:gd name="T78" fmla="*/ 98 w 527"/>
              <a:gd name="T79" fmla="*/ 565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27" h="567">
                <a:moveTo>
                  <a:pt x="417" y="263"/>
                </a:moveTo>
                <a:cubicBezTo>
                  <a:pt x="371" y="263"/>
                  <a:pt x="331" y="230"/>
                  <a:pt x="311" y="210"/>
                </a:cubicBezTo>
                <a:cubicBezTo>
                  <a:pt x="284" y="183"/>
                  <a:pt x="267" y="156"/>
                  <a:pt x="261" y="130"/>
                </a:cubicBezTo>
                <a:cubicBezTo>
                  <a:pt x="252" y="95"/>
                  <a:pt x="262" y="63"/>
                  <a:pt x="291" y="34"/>
                </a:cubicBezTo>
                <a:cubicBezTo>
                  <a:pt x="313" y="12"/>
                  <a:pt x="337" y="0"/>
                  <a:pt x="363" y="0"/>
                </a:cubicBezTo>
                <a:cubicBezTo>
                  <a:pt x="396" y="0"/>
                  <a:pt x="431" y="19"/>
                  <a:pt x="467" y="54"/>
                </a:cubicBezTo>
                <a:cubicBezTo>
                  <a:pt x="483" y="70"/>
                  <a:pt x="504" y="96"/>
                  <a:pt x="514" y="126"/>
                </a:cubicBezTo>
                <a:cubicBezTo>
                  <a:pt x="527" y="165"/>
                  <a:pt x="518" y="200"/>
                  <a:pt x="488" y="231"/>
                </a:cubicBezTo>
                <a:cubicBezTo>
                  <a:pt x="466" y="252"/>
                  <a:pt x="443" y="263"/>
                  <a:pt x="417" y="263"/>
                </a:cubicBezTo>
                <a:close/>
                <a:moveTo>
                  <a:pt x="363" y="14"/>
                </a:moveTo>
                <a:cubicBezTo>
                  <a:pt x="341" y="14"/>
                  <a:pt x="320" y="24"/>
                  <a:pt x="301" y="44"/>
                </a:cubicBezTo>
                <a:cubicBezTo>
                  <a:pt x="275" y="69"/>
                  <a:pt x="267" y="97"/>
                  <a:pt x="274" y="127"/>
                </a:cubicBezTo>
                <a:cubicBezTo>
                  <a:pt x="280" y="150"/>
                  <a:pt x="296" y="175"/>
                  <a:pt x="321" y="200"/>
                </a:cubicBezTo>
                <a:cubicBezTo>
                  <a:pt x="340" y="218"/>
                  <a:pt x="376" y="249"/>
                  <a:pt x="417" y="249"/>
                </a:cubicBezTo>
                <a:cubicBezTo>
                  <a:pt x="439" y="249"/>
                  <a:pt x="459" y="239"/>
                  <a:pt x="478" y="221"/>
                </a:cubicBezTo>
                <a:cubicBezTo>
                  <a:pt x="504" y="194"/>
                  <a:pt x="512" y="164"/>
                  <a:pt x="501" y="131"/>
                </a:cubicBezTo>
                <a:cubicBezTo>
                  <a:pt x="491" y="102"/>
                  <a:pt x="469" y="77"/>
                  <a:pt x="457" y="64"/>
                </a:cubicBezTo>
                <a:cubicBezTo>
                  <a:pt x="424" y="31"/>
                  <a:pt x="392" y="14"/>
                  <a:pt x="363" y="14"/>
                </a:cubicBezTo>
                <a:close/>
                <a:moveTo>
                  <a:pt x="12" y="519"/>
                </a:moveTo>
                <a:cubicBezTo>
                  <a:pt x="321" y="210"/>
                  <a:pt x="321" y="210"/>
                  <a:pt x="321" y="210"/>
                </a:cubicBezTo>
                <a:cubicBezTo>
                  <a:pt x="324" y="207"/>
                  <a:pt x="324" y="203"/>
                  <a:pt x="321" y="200"/>
                </a:cubicBezTo>
                <a:cubicBezTo>
                  <a:pt x="319" y="197"/>
                  <a:pt x="314" y="197"/>
                  <a:pt x="311" y="200"/>
                </a:cubicBezTo>
                <a:cubicBezTo>
                  <a:pt x="2" y="509"/>
                  <a:pt x="2" y="509"/>
                  <a:pt x="2" y="509"/>
                </a:cubicBezTo>
                <a:cubicBezTo>
                  <a:pt x="0" y="512"/>
                  <a:pt x="0" y="516"/>
                  <a:pt x="2" y="519"/>
                </a:cubicBezTo>
                <a:cubicBezTo>
                  <a:pt x="4" y="520"/>
                  <a:pt x="6" y="521"/>
                  <a:pt x="7" y="521"/>
                </a:cubicBezTo>
                <a:cubicBezTo>
                  <a:pt x="9" y="521"/>
                  <a:pt x="11" y="520"/>
                  <a:pt x="12" y="519"/>
                </a:cubicBezTo>
                <a:close/>
                <a:moveTo>
                  <a:pt x="98" y="565"/>
                </a:moveTo>
                <a:cubicBezTo>
                  <a:pt x="203" y="460"/>
                  <a:pt x="203" y="460"/>
                  <a:pt x="203" y="460"/>
                </a:cubicBezTo>
                <a:cubicBezTo>
                  <a:pt x="206" y="458"/>
                  <a:pt x="206" y="453"/>
                  <a:pt x="203" y="450"/>
                </a:cubicBezTo>
                <a:cubicBezTo>
                  <a:pt x="137" y="384"/>
                  <a:pt x="137" y="384"/>
                  <a:pt x="137" y="384"/>
                </a:cubicBezTo>
                <a:cubicBezTo>
                  <a:pt x="134" y="382"/>
                  <a:pt x="130" y="382"/>
                  <a:pt x="127" y="384"/>
                </a:cubicBezTo>
                <a:cubicBezTo>
                  <a:pt x="124" y="387"/>
                  <a:pt x="124" y="391"/>
                  <a:pt x="127" y="394"/>
                </a:cubicBezTo>
                <a:cubicBezTo>
                  <a:pt x="188" y="455"/>
                  <a:pt x="188" y="455"/>
                  <a:pt x="188" y="455"/>
                </a:cubicBezTo>
                <a:cubicBezTo>
                  <a:pt x="93" y="550"/>
                  <a:pt x="93" y="550"/>
                  <a:pt x="93" y="550"/>
                </a:cubicBezTo>
                <a:cubicBezTo>
                  <a:pt x="32" y="489"/>
                  <a:pt x="32" y="489"/>
                  <a:pt x="32" y="489"/>
                </a:cubicBezTo>
                <a:cubicBezTo>
                  <a:pt x="30" y="486"/>
                  <a:pt x="25" y="486"/>
                  <a:pt x="22" y="489"/>
                </a:cubicBezTo>
                <a:cubicBezTo>
                  <a:pt x="20" y="492"/>
                  <a:pt x="20" y="496"/>
                  <a:pt x="22" y="499"/>
                </a:cubicBezTo>
                <a:cubicBezTo>
                  <a:pt x="88" y="565"/>
                  <a:pt x="88" y="565"/>
                  <a:pt x="88" y="565"/>
                </a:cubicBezTo>
                <a:cubicBezTo>
                  <a:pt x="90" y="566"/>
                  <a:pt x="92" y="567"/>
                  <a:pt x="93" y="567"/>
                </a:cubicBezTo>
                <a:cubicBezTo>
                  <a:pt x="95" y="567"/>
                  <a:pt x="97" y="566"/>
                  <a:pt x="98" y="565"/>
                </a:cubicBez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9218" name="Oval 35"/>
          <p:cNvSpPr>
            <a:spLocks noChangeArrowheads="1"/>
          </p:cNvSpPr>
          <p:nvPr/>
        </p:nvSpPr>
        <p:spPr bwMode="auto">
          <a:xfrm>
            <a:off x="1315706" y="3120088"/>
            <a:ext cx="1119124" cy="1119124"/>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9321" name="Freeform 134"/>
          <p:cNvSpPr>
            <a:spLocks noEditPoints="1"/>
          </p:cNvSpPr>
          <p:nvPr/>
        </p:nvSpPr>
        <p:spPr bwMode="auto">
          <a:xfrm>
            <a:off x="1624876" y="3308177"/>
            <a:ext cx="501961" cy="744123"/>
          </a:xfrm>
          <a:custGeom>
            <a:avLst/>
            <a:gdLst>
              <a:gd name="T0" fmla="*/ 454 w 477"/>
              <a:gd name="T1" fmla="*/ 588 h 707"/>
              <a:gd name="T2" fmla="*/ 402 w 477"/>
              <a:gd name="T3" fmla="*/ 546 h 707"/>
              <a:gd name="T4" fmla="*/ 284 w 477"/>
              <a:gd name="T5" fmla="*/ 301 h 707"/>
              <a:gd name="T6" fmla="*/ 337 w 477"/>
              <a:gd name="T7" fmla="*/ 290 h 707"/>
              <a:gd name="T8" fmla="*/ 390 w 477"/>
              <a:gd name="T9" fmla="*/ 313 h 707"/>
              <a:gd name="T10" fmla="*/ 466 w 477"/>
              <a:gd name="T11" fmla="*/ 264 h 707"/>
              <a:gd name="T12" fmla="*/ 353 w 477"/>
              <a:gd name="T13" fmla="*/ 136 h 707"/>
              <a:gd name="T14" fmla="*/ 267 w 477"/>
              <a:gd name="T15" fmla="*/ 77 h 707"/>
              <a:gd name="T16" fmla="*/ 259 w 477"/>
              <a:gd name="T17" fmla="*/ 0 h 707"/>
              <a:gd name="T18" fmla="*/ 162 w 477"/>
              <a:gd name="T19" fmla="*/ 101 h 707"/>
              <a:gd name="T20" fmla="*/ 65 w 477"/>
              <a:gd name="T21" fmla="*/ 411 h 707"/>
              <a:gd name="T22" fmla="*/ 65 w 477"/>
              <a:gd name="T23" fmla="*/ 546 h 707"/>
              <a:gd name="T24" fmla="*/ 35 w 477"/>
              <a:gd name="T25" fmla="*/ 618 h 707"/>
              <a:gd name="T26" fmla="*/ 45 w 477"/>
              <a:gd name="T27" fmla="*/ 707 h 707"/>
              <a:gd name="T28" fmla="*/ 477 w 477"/>
              <a:gd name="T29" fmla="*/ 662 h 707"/>
              <a:gd name="T30" fmla="*/ 253 w 477"/>
              <a:gd name="T31" fmla="*/ 15 h 707"/>
              <a:gd name="T32" fmla="*/ 179 w 477"/>
              <a:gd name="T33" fmla="*/ 94 h 707"/>
              <a:gd name="T34" fmla="*/ 78 w 477"/>
              <a:gd name="T35" fmla="*/ 405 h 707"/>
              <a:gd name="T36" fmla="*/ 169 w 477"/>
              <a:gd name="T37" fmla="*/ 112 h 707"/>
              <a:gd name="T38" fmla="*/ 265 w 477"/>
              <a:gd name="T39" fmla="*/ 91 h 707"/>
              <a:gd name="T40" fmla="*/ 338 w 477"/>
              <a:gd name="T41" fmla="*/ 138 h 707"/>
              <a:gd name="T42" fmla="*/ 454 w 477"/>
              <a:gd name="T43" fmla="*/ 254 h 707"/>
              <a:gd name="T44" fmla="*/ 421 w 477"/>
              <a:gd name="T45" fmla="*/ 273 h 707"/>
              <a:gd name="T46" fmla="*/ 383 w 477"/>
              <a:gd name="T47" fmla="*/ 294 h 707"/>
              <a:gd name="T48" fmla="*/ 319 w 477"/>
              <a:gd name="T49" fmla="*/ 280 h 707"/>
              <a:gd name="T50" fmla="*/ 252 w 477"/>
              <a:gd name="T51" fmla="*/ 289 h 707"/>
              <a:gd name="T52" fmla="*/ 248 w 477"/>
              <a:gd name="T53" fmla="*/ 301 h 707"/>
              <a:gd name="T54" fmla="*/ 98 w 477"/>
              <a:gd name="T55" fmla="*/ 546 h 707"/>
              <a:gd name="T56" fmla="*/ 65 w 477"/>
              <a:gd name="T57" fmla="*/ 560 h 707"/>
              <a:gd name="T58" fmla="*/ 440 w 477"/>
              <a:gd name="T59" fmla="*/ 588 h 707"/>
              <a:gd name="T60" fmla="*/ 65 w 477"/>
              <a:gd name="T61" fmla="*/ 617 h 707"/>
              <a:gd name="T62" fmla="*/ 65 w 477"/>
              <a:gd name="T63" fmla="*/ 560 h 707"/>
              <a:gd name="T64" fmla="*/ 45 w 477"/>
              <a:gd name="T65" fmla="*/ 693 h 707"/>
              <a:gd name="T66" fmla="*/ 45 w 477"/>
              <a:gd name="T67" fmla="*/ 631 h 707"/>
              <a:gd name="T68" fmla="*/ 411 w 477"/>
              <a:gd name="T69" fmla="*/ 631 h 707"/>
              <a:gd name="T70" fmla="*/ 463 w 477"/>
              <a:gd name="T71" fmla="*/ 662 h 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77" h="707">
                <a:moveTo>
                  <a:pt x="442" y="618"/>
                </a:moveTo>
                <a:cubicBezTo>
                  <a:pt x="449" y="610"/>
                  <a:pt x="454" y="600"/>
                  <a:pt x="454" y="588"/>
                </a:cubicBezTo>
                <a:cubicBezTo>
                  <a:pt x="454" y="565"/>
                  <a:pt x="435" y="546"/>
                  <a:pt x="411" y="546"/>
                </a:cubicBezTo>
                <a:cubicBezTo>
                  <a:pt x="402" y="546"/>
                  <a:pt x="402" y="546"/>
                  <a:pt x="402" y="546"/>
                </a:cubicBezTo>
                <a:cubicBezTo>
                  <a:pt x="396" y="464"/>
                  <a:pt x="298" y="339"/>
                  <a:pt x="267" y="302"/>
                </a:cubicBezTo>
                <a:cubicBezTo>
                  <a:pt x="273" y="302"/>
                  <a:pt x="279" y="301"/>
                  <a:pt x="284" y="301"/>
                </a:cubicBezTo>
                <a:cubicBezTo>
                  <a:pt x="305" y="301"/>
                  <a:pt x="316" y="297"/>
                  <a:pt x="324" y="293"/>
                </a:cubicBezTo>
                <a:cubicBezTo>
                  <a:pt x="329" y="291"/>
                  <a:pt x="332" y="290"/>
                  <a:pt x="337" y="290"/>
                </a:cubicBezTo>
                <a:cubicBezTo>
                  <a:pt x="345" y="290"/>
                  <a:pt x="365" y="300"/>
                  <a:pt x="376" y="306"/>
                </a:cubicBezTo>
                <a:cubicBezTo>
                  <a:pt x="382" y="309"/>
                  <a:pt x="387" y="312"/>
                  <a:pt x="390" y="313"/>
                </a:cubicBezTo>
                <a:cubicBezTo>
                  <a:pt x="403" y="318"/>
                  <a:pt x="420" y="299"/>
                  <a:pt x="432" y="282"/>
                </a:cubicBezTo>
                <a:cubicBezTo>
                  <a:pt x="466" y="264"/>
                  <a:pt x="466" y="264"/>
                  <a:pt x="466" y="264"/>
                </a:cubicBezTo>
                <a:cubicBezTo>
                  <a:pt x="469" y="262"/>
                  <a:pt x="471" y="258"/>
                  <a:pt x="469" y="255"/>
                </a:cubicBezTo>
                <a:cubicBezTo>
                  <a:pt x="448" y="200"/>
                  <a:pt x="377" y="150"/>
                  <a:pt x="353" y="136"/>
                </a:cubicBezTo>
                <a:cubicBezTo>
                  <a:pt x="353" y="126"/>
                  <a:pt x="350" y="117"/>
                  <a:pt x="342" y="108"/>
                </a:cubicBezTo>
                <a:cubicBezTo>
                  <a:pt x="327" y="90"/>
                  <a:pt x="297" y="78"/>
                  <a:pt x="267" y="77"/>
                </a:cubicBezTo>
                <a:cubicBezTo>
                  <a:pt x="268" y="62"/>
                  <a:pt x="269" y="28"/>
                  <a:pt x="267" y="6"/>
                </a:cubicBezTo>
                <a:cubicBezTo>
                  <a:pt x="266" y="2"/>
                  <a:pt x="263" y="0"/>
                  <a:pt x="259" y="0"/>
                </a:cubicBezTo>
                <a:cubicBezTo>
                  <a:pt x="227" y="2"/>
                  <a:pt x="199" y="21"/>
                  <a:pt x="180" y="55"/>
                </a:cubicBezTo>
                <a:cubicBezTo>
                  <a:pt x="169" y="74"/>
                  <a:pt x="164" y="93"/>
                  <a:pt x="162" y="101"/>
                </a:cubicBezTo>
                <a:cubicBezTo>
                  <a:pt x="86" y="136"/>
                  <a:pt x="32" y="208"/>
                  <a:pt x="32" y="286"/>
                </a:cubicBezTo>
                <a:cubicBezTo>
                  <a:pt x="32" y="336"/>
                  <a:pt x="49" y="376"/>
                  <a:pt x="65" y="411"/>
                </a:cubicBezTo>
                <a:cubicBezTo>
                  <a:pt x="84" y="456"/>
                  <a:pt x="101" y="494"/>
                  <a:pt x="83" y="546"/>
                </a:cubicBezTo>
                <a:cubicBezTo>
                  <a:pt x="65" y="546"/>
                  <a:pt x="65" y="546"/>
                  <a:pt x="65" y="546"/>
                </a:cubicBezTo>
                <a:cubicBezTo>
                  <a:pt x="42" y="546"/>
                  <a:pt x="23" y="565"/>
                  <a:pt x="23" y="588"/>
                </a:cubicBezTo>
                <a:cubicBezTo>
                  <a:pt x="23" y="600"/>
                  <a:pt x="27" y="610"/>
                  <a:pt x="35" y="618"/>
                </a:cubicBezTo>
                <a:cubicBezTo>
                  <a:pt x="15" y="622"/>
                  <a:pt x="0" y="640"/>
                  <a:pt x="0" y="662"/>
                </a:cubicBezTo>
                <a:cubicBezTo>
                  <a:pt x="0" y="687"/>
                  <a:pt x="20" y="707"/>
                  <a:pt x="45" y="707"/>
                </a:cubicBezTo>
                <a:cubicBezTo>
                  <a:pt x="432" y="707"/>
                  <a:pt x="432" y="707"/>
                  <a:pt x="432" y="707"/>
                </a:cubicBezTo>
                <a:cubicBezTo>
                  <a:pt x="457" y="707"/>
                  <a:pt x="477" y="687"/>
                  <a:pt x="477" y="662"/>
                </a:cubicBezTo>
                <a:cubicBezTo>
                  <a:pt x="477" y="640"/>
                  <a:pt x="462" y="622"/>
                  <a:pt x="442" y="618"/>
                </a:cubicBezTo>
                <a:close/>
                <a:moveTo>
                  <a:pt x="253" y="15"/>
                </a:moveTo>
                <a:cubicBezTo>
                  <a:pt x="255" y="36"/>
                  <a:pt x="254" y="65"/>
                  <a:pt x="253" y="78"/>
                </a:cubicBezTo>
                <a:cubicBezTo>
                  <a:pt x="227" y="79"/>
                  <a:pt x="202" y="85"/>
                  <a:pt x="179" y="94"/>
                </a:cubicBezTo>
                <a:cubicBezTo>
                  <a:pt x="186" y="70"/>
                  <a:pt x="207" y="22"/>
                  <a:pt x="253" y="15"/>
                </a:cubicBezTo>
                <a:close/>
                <a:moveTo>
                  <a:pt x="78" y="405"/>
                </a:moveTo>
                <a:cubicBezTo>
                  <a:pt x="62" y="370"/>
                  <a:pt x="46" y="333"/>
                  <a:pt x="46" y="286"/>
                </a:cubicBezTo>
                <a:cubicBezTo>
                  <a:pt x="46" y="212"/>
                  <a:pt x="98" y="145"/>
                  <a:pt x="169" y="112"/>
                </a:cubicBezTo>
                <a:cubicBezTo>
                  <a:pt x="171" y="112"/>
                  <a:pt x="172" y="112"/>
                  <a:pt x="172" y="111"/>
                </a:cubicBezTo>
                <a:cubicBezTo>
                  <a:pt x="201" y="98"/>
                  <a:pt x="233" y="91"/>
                  <a:pt x="265" y="91"/>
                </a:cubicBezTo>
                <a:cubicBezTo>
                  <a:pt x="292" y="91"/>
                  <a:pt x="319" y="102"/>
                  <a:pt x="332" y="117"/>
                </a:cubicBezTo>
                <a:cubicBezTo>
                  <a:pt x="337" y="124"/>
                  <a:pt x="340" y="131"/>
                  <a:pt x="338" y="138"/>
                </a:cubicBezTo>
                <a:cubicBezTo>
                  <a:pt x="338" y="141"/>
                  <a:pt x="339" y="144"/>
                  <a:pt x="342" y="146"/>
                </a:cubicBezTo>
                <a:cubicBezTo>
                  <a:pt x="359" y="155"/>
                  <a:pt x="431" y="203"/>
                  <a:pt x="454" y="254"/>
                </a:cubicBezTo>
                <a:cubicBezTo>
                  <a:pt x="424" y="271"/>
                  <a:pt x="424" y="271"/>
                  <a:pt x="424" y="271"/>
                </a:cubicBezTo>
                <a:cubicBezTo>
                  <a:pt x="423" y="271"/>
                  <a:pt x="422" y="272"/>
                  <a:pt x="421" y="273"/>
                </a:cubicBezTo>
                <a:cubicBezTo>
                  <a:pt x="412" y="286"/>
                  <a:pt x="400" y="299"/>
                  <a:pt x="395" y="300"/>
                </a:cubicBezTo>
                <a:cubicBezTo>
                  <a:pt x="392" y="299"/>
                  <a:pt x="388" y="296"/>
                  <a:pt x="383" y="294"/>
                </a:cubicBezTo>
                <a:cubicBezTo>
                  <a:pt x="364" y="284"/>
                  <a:pt x="348" y="276"/>
                  <a:pt x="337" y="276"/>
                </a:cubicBezTo>
                <a:cubicBezTo>
                  <a:pt x="330" y="276"/>
                  <a:pt x="324" y="278"/>
                  <a:pt x="319" y="280"/>
                </a:cubicBezTo>
                <a:cubicBezTo>
                  <a:pt x="311" y="284"/>
                  <a:pt x="302" y="287"/>
                  <a:pt x="284" y="287"/>
                </a:cubicBezTo>
                <a:cubicBezTo>
                  <a:pt x="274" y="287"/>
                  <a:pt x="253" y="289"/>
                  <a:pt x="252" y="289"/>
                </a:cubicBezTo>
                <a:cubicBezTo>
                  <a:pt x="250" y="290"/>
                  <a:pt x="247" y="291"/>
                  <a:pt x="246" y="294"/>
                </a:cubicBezTo>
                <a:cubicBezTo>
                  <a:pt x="245" y="296"/>
                  <a:pt x="246" y="299"/>
                  <a:pt x="248" y="301"/>
                </a:cubicBezTo>
                <a:cubicBezTo>
                  <a:pt x="249" y="302"/>
                  <a:pt x="381" y="456"/>
                  <a:pt x="388" y="546"/>
                </a:cubicBezTo>
                <a:cubicBezTo>
                  <a:pt x="98" y="546"/>
                  <a:pt x="98" y="546"/>
                  <a:pt x="98" y="546"/>
                </a:cubicBezTo>
                <a:cubicBezTo>
                  <a:pt x="115" y="492"/>
                  <a:pt x="97" y="450"/>
                  <a:pt x="78" y="405"/>
                </a:cubicBezTo>
                <a:close/>
                <a:moveTo>
                  <a:pt x="65" y="560"/>
                </a:moveTo>
                <a:cubicBezTo>
                  <a:pt x="411" y="560"/>
                  <a:pt x="411" y="560"/>
                  <a:pt x="411" y="560"/>
                </a:cubicBezTo>
                <a:cubicBezTo>
                  <a:pt x="427" y="560"/>
                  <a:pt x="440" y="573"/>
                  <a:pt x="440" y="588"/>
                </a:cubicBezTo>
                <a:cubicBezTo>
                  <a:pt x="440" y="604"/>
                  <a:pt x="427" y="617"/>
                  <a:pt x="411" y="617"/>
                </a:cubicBezTo>
                <a:cubicBezTo>
                  <a:pt x="65" y="617"/>
                  <a:pt x="65" y="617"/>
                  <a:pt x="65" y="617"/>
                </a:cubicBezTo>
                <a:cubicBezTo>
                  <a:pt x="50" y="617"/>
                  <a:pt x="37" y="604"/>
                  <a:pt x="37" y="588"/>
                </a:cubicBezTo>
                <a:cubicBezTo>
                  <a:pt x="37" y="573"/>
                  <a:pt x="50" y="560"/>
                  <a:pt x="65" y="560"/>
                </a:cubicBezTo>
                <a:close/>
                <a:moveTo>
                  <a:pt x="432" y="693"/>
                </a:moveTo>
                <a:cubicBezTo>
                  <a:pt x="45" y="693"/>
                  <a:pt x="45" y="693"/>
                  <a:pt x="45" y="693"/>
                </a:cubicBezTo>
                <a:cubicBezTo>
                  <a:pt x="28" y="693"/>
                  <a:pt x="14" y="679"/>
                  <a:pt x="14" y="662"/>
                </a:cubicBezTo>
                <a:cubicBezTo>
                  <a:pt x="14" y="645"/>
                  <a:pt x="28" y="631"/>
                  <a:pt x="45" y="631"/>
                </a:cubicBezTo>
                <a:cubicBezTo>
                  <a:pt x="65" y="631"/>
                  <a:pt x="65" y="631"/>
                  <a:pt x="65" y="631"/>
                </a:cubicBezTo>
                <a:cubicBezTo>
                  <a:pt x="411" y="631"/>
                  <a:pt x="411" y="631"/>
                  <a:pt x="411" y="631"/>
                </a:cubicBezTo>
                <a:cubicBezTo>
                  <a:pt x="432" y="631"/>
                  <a:pt x="432" y="631"/>
                  <a:pt x="432" y="631"/>
                </a:cubicBezTo>
                <a:cubicBezTo>
                  <a:pt x="449" y="631"/>
                  <a:pt x="463" y="645"/>
                  <a:pt x="463" y="662"/>
                </a:cubicBezTo>
                <a:cubicBezTo>
                  <a:pt x="463" y="679"/>
                  <a:pt x="449" y="693"/>
                  <a:pt x="432" y="693"/>
                </a:cubicBez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9230" name="Oval 47"/>
          <p:cNvSpPr>
            <a:spLocks noChangeArrowheads="1"/>
          </p:cNvSpPr>
          <p:nvPr/>
        </p:nvSpPr>
        <p:spPr bwMode="auto">
          <a:xfrm>
            <a:off x="4831649" y="4711628"/>
            <a:ext cx="1119124" cy="1119124"/>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9322" name="Freeform 135"/>
          <p:cNvSpPr>
            <a:spLocks noEditPoints="1"/>
          </p:cNvSpPr>
          <p:nvPr/>
        </p:nvSpPr>
        <p:spPr bwMode="auto">
          <a:xfrm>
            <a:off x="5071714" y="4950767"/>
            <a:ext cx="640171" cy="640846"/>
          </a:xfrm>
          <a:custGeom>
            <a:avLst/>
            <a:gdLst>
              <a:gd name="T0" fmla="*/ 542 w 608"/>
              <a:gd name="T1" fmla="*/ 608 h 608"/>
              <a:gd name="T2" fmla="*/ 540 w 608"/>
              <a:gd name="T3" fmla="*/ 607 h 608"/>
              <a:gd name="T4" fmla="*/ 390 w 608"/>
              <a:gd name="T5" fmla="*/ 586 h 608"/>
              <a:gd name="T6" fmla="*/ 378 w 608"/>
              <a:gd name="T7" fmla="*/ 579 h 608"/>
              <a:gd name="T8" fmla="*/ 375 w 608"/>
              <a:gd name="T9" fmla="*/ 565 h 608"/>
              <a:gd name="T10" fmla="*/ 409 w 608"/>
              <a:gd name="T11" fmla="*/ 323 h 608"/>
              <a:gd name="T12" fmla="*/ 381 w 608"/>
              <a:gd name="T13" fmla="*/ 223 h 608"/>
              <a:gd name="T14" fmla="*/ 304 w 608"/>
              <a:gd name="T15" fmla="*/ 188 h 608"/>
              <a:gd name="T16" fmla="*/ 227 w 608"/>
              <a:gd name="T17" fmla="*/ 223 h 608"/>
              <a:gd name="T18" fmla="*/ 199 w 608"/>
              <a:gd name="T19" fmla="*/ 323 h 608"/>
              <a:gd name="T20" fmla="*/ 233 w 608"/>
              <a:gd name="T21" fmla="*/ 566 h 608"/>
              <a:gd name="T22" fmla="*/ 217 w 608"/>
              <a:gd name="T23" fmla="*/ 586 h 608"/>
              <a:gd name="T24" fmla="*/ 68 w 608"/>
              <a:gd name="T25" fmla="*/ 607 h 608"/>
              <a:gd name="T26" fmla="*/ 65 w 608"/>
              <a:gd name="T27" fmla="*/ 608 h 608"/>
              <a:gd name="T28" fmla="*/ 54 w 608"/>
              <a:gd name="T29" fmla="*/ 604 h 608"/>
              <a:gd name="T30" fmla="*/ 47 w 608"/>
              <a:gd name="T31" fmla="*/ 592 h 608"/>
              <a:gd name="T32" fmla="*/ 13 w 608"/>
              <a:gd name="T33" fmla="*/ 350 h 608"/>
              <a:gd name="T34" fmla="*/ 85 w 608"/>
              <a:gd name="T35" fmla="*/ 100 h 608"/>
              <a:gd name="T36" fmla="*/ 304 w 608"/>
              <a:gd name="T37" fmla="*/ 0 h 608"/>
              <a:gd name="T38" fmla="*/ 523 w 608"/>
              <a:gd name="T39" fmla="*/ 100 h 608"/>
              <a:gd name="T40" fmla="*/ 595 w 608"/>
              <a:gd name="T41" fmla="*/ 350 h 608"/>
              <a:gd name="T42" fmla="*/ 561 w 608"/>
              <a:gd name="T43" fmla="*/ 592 h 608"/>
              <a:gd name="T44" fmla="*/ 542 w 608"/>
              <a:gd name="T45" fmla="*/ 608 h 608"/>
              <a:gd name="T46" fmla="*/ 304 w 608"/>
              <a:gd name="T47" fmla="*/ 174 h 608"/>
              <a:gd name="T48" fmla="*/ 391 w 608"/>
              <a:gd name="T49" fmla="*/ 214 h 608"/>
              <a:gd name="T50" fmla="*/ 423 w 608"/>
              <a:gd name="T51" fmla="*/ 325 h 608"/>
              <a:gd name="T52" fmla="*/ 389 w 608"/>
              <a:gd name="T53" fmla="*/ 567 h 608"/>
              <a:gd name="T54" fmla="*/ 389 w 608"/>
              <a:gd name="T55" fmla="*/ 571 h 608"/>
              <a:gd name="T56" fmla="*/ 392 w 608"/>
              <a:gd name="T57" fmla="*/ 572 h 608"/>
              <a:gd name="T58" fmla="*/ 542 w 608"/>
              <a:gd name="T59" fmla="*/ 594 h 608"/>
              <a:gd name="T60" fmla="*/ 542 w 608"/>
              <a:gd name="T61" fmla="*/ 594 h 608"/>
              <a:gd name="T62" fmla="*/ 547 w 608"/>
              <a:gd name="T63" fmla="*/ 590 h 608"/>
              <a:gd name="T64" fmla="*/ 581 w 608"/>
              <a:gd name="T65" fmla="*/ 348 h 608"/>
              <a:gd name="T66" fmla="*/ 512 w 608"/>
              <a:gd name="T67" fmla="*/ 109 h 608"/>
              <a:gd name="T68" fmla="*/ 304 w 608"/>
              <a:gd name="T69" fmla="*/ 14 h 608"/>
              <a:gd name="T70" fmla="*/ 96 w 608"/>
              <a:gd name="T71" fmla="*/ 109 h 608"/>
              <a:gd name="T72" fmla="*/ 27 w 608"/>
              <a:gd name="T73" fmla="*/ 348 h 608"/>
              <a:gd name="T74" fmla="*/ 61 w 608"/>
              <a:gd name="T75" fmla="*/ 590 h 608"/>
              <a:gd name="T76" fmla="*/ 63 w 608"/>
              <a:gd name="T77" fmla="*/ 593 h 608"/>
              <a:gd name="T78" fmla="*/ 66 w 608"/>
              <a:gd name="T79" fmla="*/ 594 h 608"/>
              <a:gd name="T80" fmla="*/ 215 w 608"/>
              <a:gd name="T81" fmla="*/ 572 h 608"/>
              <a:gd name="T82" fmla="*/ 219 w 608"/>
              <a:gd name="T83" fmla="*/ 567 h 608"/>
              <a:gd name="T84" fmla="*/ 185 w 608"/>
              <a:gd name="T85" fmla="*/ 325 h 608"/>
              <a:gd name="T86" fmla="*/ 216 w 608"/>
              <a:gd name="T87" fmla="*/ 214 h 608"/>
              <a:gd name="T88" fmla="*/ 304 w 608"/>
              <a:gd name="T89" fmla="*/ 174 h 608"/>
              <a:gd name="T90" fmla="*/ 569 w 608"/>
              <a:gd name="T91" fmla="*/ 532 h 608"/>
              <a:gd name="T92" fmla="*/ 563 w 608"/>
              <a:gd name="T93" fmla="*/ 524 h 608"/>
              <a:gd name="T94" fmla="*/ 392 w 608"/>
              <a:gd name="T95" fmla="*/ 499 h 608"/>
              <a:gd name="T96" fmla="*/ 384 w 608"/>
              <a:gd name="T97" fmla="*/ 505 h 608"/>
              <a:gd name="T98" fmla="*/ 390 w 608"/>
              <a:gd name="T99" fmla="*/ 513 h 608"/>
              <a:gd name="T100" fmla="*/ 561 w 608"/>
              <a:gd name="T101" fmla="*/ 538 h 608"/>
              <a:gd name="T102" fmla="*/ 562 w 608"/>
              <a:gd name="T103" fmla="*/ 538 h 608"/>
              <a:gd name="T104" fmla="*/ 569 w 608"/>
              <a:gd name="T105" fmla="*/ 532 h 608"/>
              <a:gd name="T106" fmla="*/ 47 w 608"/>
              <a:gd name="T107" fmla="*/ 538 h 608"/>
              <a:gd name="T108" fmla="*/ 219 w 608"/>
              <a:gd name="T109" fmla="*/ 513 h 608"/>
              <a:gd name="T110" fmla="*/ 225 w 608"/>
              <a:gd name="T111" fmla="*/ 505 h 608"/>
              <a:gd name="T112" fmla="*/ 217 w 608"/>
              <a:gd name="T113" fmla="*/ 499 h 608"/>
              <a:gd name="T114" fmla="*/ 45 w 608"/>
              <a:gd name="T115" fmla="*/ 524 h 608"/>
              <a:gd name="T116" fmla="*/ 39 w 608"/>
              <a:gd name="T117" fmla="*/ 532 h 608"/>
              <a:gd name="T118" fmla="*/ 46 w 608"/>
              <a:gd name="T119" fmla="*/ 538 h 608"/>
              <a:gd name="T120" fmla="*/ 47 w 608"/>
              <a:gd name="T121" fmla="*/ 538 h 6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08" h="608">
                <a:moveTo>
                  <a:pt x="542" y="608"/>
                </a:moveTo>
                <a:cubicBezTo>
                  <a:pt x="541" y="608"/>
                  <a:pt x="541" y="608"/>
                  <a:pt x="540" y="607"/>
                </a:cubicBezTo>
                <a:cubicBezTo>
                  <a:pt x="390" y="586"/>
                  <a:pt x="390" y="586"/>
                  <a:pt x="390" y="586"/>
                </a:cubicBezTo>
                <a:cubicBezTo>
                  <a:pt x="386" y="586"/>
                  <a:pt x="381" y="583"/>
                  <a:pt x="378" y="579"/>
                </a:cubicBezTo>
                <a:cubicBezTo>
                  <a:pt x="375" y="575"/>
                  <a:pt x="374" y="570"/>
                  <a:pt x="375" y="565"/>
                </a:cubicBezTo>
                <a:cubicBezTo>
                  <a:pt x="409" y="323"/>
                  <a:pt x="409" y="323"/>
                  <a:pt x="409" y="323"/>
                </a:cubicBezTo>
                <a:cubicBezTo>
                  <a:pt x="414" y="286"/>
                  <a:pt x="404" y="250"/>
                  <a:pt x="381" y="223"/>
                </a:cubicBezTo>
                <a:cubicBezTo>
                  <a:pt x="367" y="207"/>
                  <a:pt x="342" y="188"/>
                  <a:pt x="304" y="188"/>
                </a:cubicBezTo>
                <a:cubicBezTo>
                  <a:pt x="265" y="188"/>
                  <a:pt x="241" y="207"/>
                  <a:pt x="227" y="223"/>
                </a:cubicBezTo>
                <a:cubicBezTo>
                  <a:pt x="204" y="250"/>
                  <a:pt x="193" y="286"/>
                  <a:pt x="199" y="323"/>
                </a:cubicBezTo>
                <a:cubicBezTo>
                  <a:pt x="233" y="566"/>
                  <a:pt x="233" y="566"/>
                  <a:pt x="233" y="566"/>
                </a:cubicBezTo>
                <a:cubicBezTo>
                  <a:pt x="234" y="576"/>
                  <a:pt x="227" y="585"/>
                  <a:pt x="217" y="586"/>
                </a:cubicBezTo>
                <a:cubicBezTo>
                  <a:pt x="68" y="607"/>
                  <a:pt x="68" y="607"/>
                  <a:pt x="68" y="607"/>
                </a:cubicBezTo>
                <a:cubicBezTo>
                  <a:pt x="67" y="608"/>
                  <a:pt x="66" y="608"/>
                  <a:pt x="65" y="608"/>
                </a:cubicBezTo>
                <a:cubicBezTo>
                  <a:pt x="62" y="608"/>
                  <a:pt x="58" y="606"/>
                  <a:pt x="54" y="604"/>
                </a:cubicBezTo>
                <a:cubicBezTo>
                  <a:pt x="51" y="601"/>
                  <a:pt x="48" y="597"/>
                  <a:pt x="47" y="592"/>
                </a:cubicBezTo>
                <a:cubicBezTo>
                  <a:pt x="13" y="350"/>
                  <a:pt x="13" y="350"/>
                  <a:pt x="13" y="350"/>
                </a:cubicBezTo>
                <a:cubicBezTo>
                  <a:pt x="0" y="259"/>
                  <a:pt x="26" y="168"/>
                  <a:pt x="85" y="100"/>
                </a:cubicBezTo>
                <a:cubicBezTo>
                  <a:pt x="141" y="36"/>
                  <a:pt x="219" y="0"/>
                  <a:pt x="304" y="0"/>
                </a:cubicBezTo>
                <a:cubicBezTo>
                  <a:pt x="389" y="0"/>
                  <a:pt x="467" y="36"/>
                  <a:pt x="523" y="100"/>
                </a:cubicBezTo>
                <a:cubicBezTo>
                  <a:pt x="581" y="168"/>
                  <a:pt x="608" y="259"/>
                  <a:pt x="595" y="350"/>
                </a:cubicBezTo>
                <a:cubicBezTo>
                  <a:pt x="561" y="592"/>
                  <a:pt x="561" y="592"/>
                  <a:pt x="561" y="592"/>
                </a:cubicBezTo>
                <a:cubicBezTo>
                  <a:pt x="559" y="601"/>
                  <a:pt x="551" y="608"/>
                  <a:pt x="542" y="608"/>
                </a:cubicBezTo>
                <a:close/>
                <a:moveTo>
                  <a:pt x="304" y="174"/>
                </a:moveTo>
                <a:cubicBezTo>
                  <a:pt x="348" y="174"/>
                  <a:pt x="376" y="196"/>
                  <a:pt x="391" y="214"/>
                </a:cubicBezTo>
                <a:cubicBezTo>
                  <a:pt x="417" y="244"/>
                  <a:pt x="429" y="284"/>
                  <a:pt x="423" y="325"/>
                </a:cubicBezTo>
                <a:cubicBezTo>
                  <a:pt x="389" y="567"/>
                  <a:pt x="389" y="567"/>
                  <a:pt x="389" y="567"/>
                </a:cubicBezTo>
                <a:cubicBezTo>
                  <a:pt x="388" y="569"/>
                  <a:pt x="389" y="570"/>
                  <a:pt x="389" y="571"/>
                </a:cubicBezTo>
                <a:cubicBezTo>
                  <a:pt x="390" y="572"/>
                  <a:pt x="391" y="572"/>
                  <a:pt x="392" y="572"/>
                </a:cubicBezTo>
                <a:cubicBezTo>
                  <a:pt x="542" y="594"/>
                  <a:pt x="542" y="594"/>
                  <a:pt x="542" y="594"/>
                </a:cubicBezTo>
                <a:cubicBezTo>
                  <a:pt x="542" y="594"/>
                  <a:pt x="542" y="594"/>
                  <a:pt x="542" y="594"/>
                </a:cubicBezTo>
                <a:cubicBezTo>
                  <a:pt x="544" y="594"/>
                  <a:pt x="546" y="592"/>
                  <a:pt x="547" y="590"/>
                </a:cubicBezTo>
                <a:cubicBezTo>
                  <a:pt x="581" y="348"/>
                  <a:pt x="581" y="348"/>
                  <a:pt x="581" y="348"/>
                </a:cubicBezTo>
                <a:cubicBezTo>
                  <a:pt x="593" y="261"/>
                  <a:pt x="568" y="174"/>
                  <a:pt x="512" y="109"/>
                </a:cubicBezTo>
                <a:cubicBezTo>
                  <a:pt x="459" y="48"/>
                  <a:pt x="385" y="14"/>
                  <a:pt x="304" y="14"/>
                </a:cubicBezTo>
                <a:cubicBezTo>
                  <a:pt x="223" y="14"/>
                  <a:pt x="149" y="48"/>
                  <a:pt x="96" y="109"/>
                </a:cubicBezTo>
                <a:cubicBezTo>
                  <a:pt x="40" y="174"/>
                  <a:pt x="15" y="261"/>
                  <a:pt x="27" y="348"/>
                </a:cubicBezTo>
                <a:cubicBezTo>
                  <a:pt x="61" y="590"/>
                  <a:pt x="61" y="590"/>
                  <a:pt x="61" y="590"/>
                </a:cubicBezTo>
                <a:cubicBezTo>
                  <a:pt x="61" y="591"/>
                  <a:pt x="62" y="592"/>
                  <a:pt x="63" y="593"/>
                </a:cubicBezTo>
                <a:cubicBezTo>
                  <a:pt x="64" y="593"/>
                  <a:pt x="65" y="594"/>
                  <a:pt x="66" y="594"/>
                </a:cubicBezTo>
                <a:cubicBezTo>
                  <a:pt x="215" y="572"/>
                  <a:pt x="215" y="572"/>
                  <a:pt x="215" y="572"/>
                </a:cubicBezTo>
                <a:cubicBezTo>
                  <a:pt x="218" y="572"/>
                  <a:pt x="219" y="570"/>
                  <a:pt x="219" y="567"/>
                </a:cubicBezTo>
                <a:cubicBezTo>
                  <a:pt x="185" y="325"/>
                  <a:pt x="185" y="325"/>
                  <a:pt x="185" y="325"/>
                </a:cubicBezTo>
                <a:cubicBezTo>
                  <a:pt x="179" y="284"/>
                  <a:pt x="191" y="244"/>
                  <a:pt x="216" y="214"/>
                </a:cubicBezTo>
                <a:cubicBezTo>
                  <a:pt x="232" y="196"/>
                  <a:pt x="260" y="174"/>
                  <a:pt x="304" y="174"/>
                </a:cubicBezTo>
                <a:close/>
                <a:moveTo>
                  <a:pt x="569" y="532"/>
                </a:moveTo>
                <a:cubicBezTo>
                  <a:pt x="570" y="528"/>
                  <a:pt x="567" y="525"/>
                  <a:pt x="563" y="524"/>
                </a:cubicBezTo>
                <a:cubicBezTo>
                  <a:pt x="392" y="499"/>
                  <a:pt x="392" y="499"/>
                  <a:pt x="392" y="499"/>
                </a:cubicBezTo>
                <a:cubicBezTo>
                  <a:pt x="389" y="499"/>
                  <a:pt x="385" y="502"/>
                  <a:pt x="384" y="505"/>
                </a:cubicBezTo>
                <a:cubicBezTo>
                  <a:pt x="384" y="509"/>
                  <a:pt x="387" y="513"/>
                  <a:pt x="390" y="513"/>
                </a:cubicBezTo>
                <a:cubicBezTo>
                  <a:pt x="561" y="538"/>
                  <a:pt x="561" y="538"/>
                  <a:pt x="561" y="538"/>
                </a:cubicBezTo>
                <a:cubicBezTo>
                  <a:pt x="561" y="538"/>
                  <a:pt x="562" y="538"/>
                  <a:pt x="562" y="538"/>
                </a:cubicBezTo>
                <a:cubicBezTo>
                  <a:pt x="566" y="538"/>
                  <a:pt x="569" y="536"/>
                  <a:pt x="569" y="532"/>
                </a:cubicBezTo>
                <a:close/>
                <a:moveTo>
                  <a:pt x="47" y="538"/>
                </a:moveTo>
                <a:cubicBezTo>
                  <a:pt x="219" y="513"/>
                  <a:pt x="219" y="513"/>
                  <a:pt x="219" y="513"/>
                </a:cubicBezTo>
                <a:cubicBezTo>
                  <a:pt x="222" y="513"/>
                  <a:pt x="225" y="509"/>
                  <a:pt x="225" y="505"/>
                </a:cubicBezTo>
                <a:cubicBezTo>
                  <a:pt x="224" y="502"/>
                  <a:pt x="220" y="499"/>
                  <a:pt x="217" y="499"/>
                </a:cubicBezTo>
                <a:cubicBezTo>
                  <a:pt x="45" y="524"/>
                  <a:pt x="45" y="524"/>
                  <a:pt x="45" y="524"/>
                </a:cubicBezTo>
                <a:cubicBezTo>
                  <a:pt x="41" y="524"/>
                  <a:pt x="38" y="528"/>
                  <a:pt x="39" y="532"/>
                </a:cubicBezTo>
                <a:cubicBezTo>
                  <a:pt x="39" y="535"/>
                  <a:pt x="42" y="538"/>
                  <a:pt x="46" y="538"/>
                </a:cubicBezTo>
                <a:cubicBezTo>
                  <a:pt x="46" y="538"/>
                  <a:pt x="46" y="538"/>
                  <a:pt x="47" y="538"/>
                </a:cubicBez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9227" name="Oval 44"/>
          <p:cNvSpPr>
            <a:spLocks noChangeArrowheads="1"/>
          </p:cNvSpPr>
          <p:nvPr/>
        </p:nvSpPr>
        <p:spPr bwMode="auto">
          <a:xfrm>
            <a:off x="10105564" y="4711628"/>
            <a:ext cx="1119124" cy="1119124"/>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9329" name="Freeform 142"/>
          <p:cNvSpPr>
            <a:spLocks noEditPoints="1"/>
          </p:cNvSpPr>
          <p:nvPr/>
        </p:nvSpPr>
        <p:spPr bwMode="auto">
          <a:xfrm>
            <a:off x="10334797" y="4971972"/>
            <a:ext cx="659484" cy="598437"/>
          </a:xfrm>
          <a:custGeom>
            <a:avLst/>
            <a:gdLst>
              <a:gd name="T0" fmla="*/ 591 w 626"/>
              <a:gd name="T1" fmla="*/ 568 h 568"/>
              <a:gd name="T2" fmla="*/ 35 w 626"/>
              <a:gd name="T3" fmla="*/ 568 h 568"/>
              <a:gd name="T4" fmla="*/ 8 w 626"/>
              <a:gd name="T5" fmla="*/ 556 h 568"/>
              <a:gd name="T6" fmla="*/ 4 w 626"/>
              <a:gd name="T7" fmla="*/ 526 h 568"/>
              <a:gd name="T8" fmla="*/ 101 w 626"/>
              <a:gd name="T9" fmla="*/ 181 h 568"/>
              <a:gd name="T10" fmla="*/ 134 w 626"/>
              <a:gd name="T11" fmla="*/ 161 h 568"/>
              <a:gd name="T12" fmla="*/ 492 w 626"/>
              <a:gd name="T13" fmla="*/ 161 h 568"/>
              <a:gd name="T14" fmla="*/ 525 w 626"/>
              <a:gd name="T15" fmla="*/ 181 h 568"/>
              <a:gd name="T16" fmla="*/ 623 w 626"/>
              <a:gd name="T17" fmla="*/ 526 h 568"/>
              <a:gd name="T18" fmla="*/ 618 w 626"/>
              <a:gd name="T19" fmla="*/ 556 h 568"/>
              <a:gd name="T20" fmla="*/ 591 w 626"/>
              <a:gd name="T21" fmla="*/ 568 h 568"/>
              <a:gd name="T22" fmla="*/ 134 w 626"/>
              <a:gd name="T23" fmla="*/ 175 h 568"/>
              <a:gd name="T24" fmla="*/ 115 w 626"/>
              <a:gd name="T25" fmla="*/ 185 h 568"/>
              <a:gd name="T26" fmla="*/ 17 w 626"/>
              <a:gd name="T27" fmla="*/ 530 h 568"/>
              <a:gd name="T28" fmla="*/ 19 w 626"/>
              <a:gd name="T29" fmla="*/ 547 h 568"/>
              <a:gd name="T30" fmla="*/ 35 w 626"/>
              <a:gd name="T31" fmla="*/ 554 h 568"/>
              <a:gd name="T32" fmla="*/ 591 w 626"/>
              <a:gd name="T33" fmla="*/ 554 h 568"/>
              <a:gd name="T34" fmla="*/ 607 w 626"/>
              <a:gd name="T35" fmla="*/ 547 h 568"/>
              <a:gd name="T36" fmla="*/ 610 w 626"/>
              <a:gd name="T37" fmla="*/ 530 h 568"/>
              <a:gd name="T38" fmla="*/ 512 w 626"/>
              <a:gd name="T39" fmla="*/ 185 h 568"/>
              <a:gd name="T40" fmla="*/ 492 w 626"/>
              <a:gd name="T41" fmla="*/ 175 h 568"/>
              <a:gd name="T42" fmla="*/ 134 w 626"/>
              <a:gd name="T43" fmla="*/ 175 h 568"/>
              <a:gd name="T44" fmla="*/ 426 w 626"/>
              <a:gd name="T45" fmla="*/ 168 h 568"/>
              <a:gd name="T46" fmla="*/ 426 w 626"/>
              <a:gd name="T47" fmla="*/ 113 h 568"/>
              <a:gd name="T48" fmla="*/ 313 w 626"/>
              <a:gd name="T49" fmla="*/ 0 h 568"/>
              <a:gd name="T50" fmla="*/ 200 w 626"/>
              <a:gd name="T51" fmla="*/ 113 h 568"/>
              <a:gd name="T52" fmla="*/ 200 w 626"/>
              <a:gd name="T53" fmla="*/ 168 h 568"/>
              <a:gd name="T54" fmla="*/ 207 w 626"/>
              <a:gd name="T55" fmla="*/ 175 h 568"/>
              <a:gd name="T56" fmla="*/ 214 w 626"/>
              <a:gd name="T57" fmla="*/ 168 h 568"/>
              <a:gd name="T58" fmla="*/ 214 w 626"/>
              <a:gd name="T59" fmla="*/ 113 h 568"/>
              <a:gd name="T60" fmla="*/ 313 w 626"/>
              <a:gd name="T61" fmla="*/ 14 h 568"/>
              <a:gd name="T62" fmla="*/ 412 w 626"/>
              <a:gd name="T63" fmla="*/ 113 h 568"/>
              <a:gd name="T64" fmla="*/ 412 w 626"/>
              <a:gd name="T65" fmla="*/ 168 h 568"/>
              <a:gd name="T66" fmla="*/ 419 w 626"/>
              <a:gd name="T67" fmla="*/ 175 h 568"/>
              <a:gd name="T68" fmla="*/ 419 w 626"/>
              <a:gd name="T69" fmla="*/ 175 h 568"/>
              <a:gd name="T70" fmla="*/ 426 w 626"/>
              <a:gd name="T71" fmla="*/ 168 h 568"/>
              <a:gd name="T72" fmla="*/ 558 w 626"/>
              <a:gd name="T73" fmla="*/ 303 h 568"/>
              <a:gd name="T74" fmla="*/ 551 w 626"/>
              <a:gd name="T75" fmla="*/ 296 h 568"/>
              <a:gd name="T76" fmla="*/ 75 w 626"/>
              <a:gd name="T77" fmla="*/ 296 h 568"/>
              <a:gd name="T78" fmla="*/ 68 w 626"/>
              <a:gd name="T79" fmla="*/ 303 h 568"/>
              <a:gd name="T80" fmla="*/ 75 w 626"/>
              <a:gd name="T81" fmla="*/ 310 h 568"/>
              <a:gd name="T82" fmla="*/ 551 w 626"/>
              <a:gd name="T83" fmla="*/ 310 h 568"/>
              <a:gd name="T84" fmla="*/ 558 w 626"/>
              <a:gd name="T85" fmla="*/ 303 h 568"/>
              <a:gd name="T86" fmla="*/ 313 w 626"/>
              <a:gd name="T87" fmla="*/ 263 h 568"/>
              <a:gd name="T88" fmla="*/ 285 w 626"/>
              <a:gd name="T89" fmla="*/ 235 h 568"/>
              <a:gd name="T90" fmla="*/ 313 w 626"/>
              <a:gd name="T91" fmla="*/ 207 h 568"/>
              <a:gd name="T92" fmla="*/ 341 w 626"/>
              <a:gd name="T93" fmla="*/ 235 h 568"/>
              <a:gd name="T94" fmla="*/ 313 w 626"/>
              <a:gd name="T95" fmla="*/ 263 h 568"/>
              <a:gd name="T96" fmla="*/ 313 w 626"/>
              <a:gd name="T97" fmla="*/ 221 h 568"/>
              <a:gd name="T98" fmla="*/ 299 w 626"/>
              <a:gd name="T99" fmla="*/ 235 h 568"/>
              <a:gd name="T100" fmla="*/ 313 w 626"/>
              <a:gd name="T101" fmla="*/ 249 h 568"/>
              <a:gd name="T102" fmla="*/ 327 w 626"/>
              <a:gd name="T103" fmla="*/ 235 h 568"/>
              <a:gd name="T104" fmla="*/ 313 w 626"/>
              <a:gd name="T105" fmla="*/ 221 h 5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26" h="568">
                <a:moveTo>
                  <a:pt x="591" y="568"/>
                </a:moveTo>
                <a:cubicBezTo>
                  <a:pt x="35" y="568"/>
                  <a:pt x="35" y="568"/>
                  <a:pt x="35" y="568"/>
                </a:cubicBezTo>
                <a:cubicBezTo>
                  <a:pt x="24" y="568"/>
                  <a:pt x="14" y="564"/>
                  <a:pt x="8" y="556"/>
                </a:cubicBezTo>
                <a:cubicBezTo>
                  <a:pt x="2" y="548"/>
                  <a:pt x="0" y="537"/>
                  <a:pt x="4" y="526"/>
                </a:cubicBezTo>
                <a:cubicBezTo>
                  <a:pt x="101" y="181"/>
                  <a:pt x="101" y="181"/>
                  <a:pt x="101" y="181"/>
                </a:cubicBezTo>
                <a:cubicBezTo>
                  <a:pt x="104" y="170"/>
                  <a:pt x="118" y="161"/>
                  <a:pt x="134" y="161"/>
                </a:cubicBezTo>
                <a:cubicBezTo>
                  <a:pt x="492" y="161"/>
                  <a:pt x="492" y="161"/>
                  <a:pt x="492" y="161"/>
                </a:cubicBezTo>
                <a:cubicBezTo>
                  <a:pt x="508" y="161"/>
                  <a:pt x="522" y="170"/>
                  <a:pt x="525" y="181"/>
                </a:cubicBezTo>
                <a:cubicBezTo>
                  <a:pt x="623" y="526"/>
                  <a:pt x="623" y="526"/>
                  <a:pt x="623" y="526"/>
                </a:cubicBezTo>
                <a:cubicBezTo>
                  <a:pt x="626" y="537"/>
                  <a:pt x="624" y="548"/>
                  <a:pt x="618" y="556"/>
                </a:cubicBezTo>
                <a:cubicBezTo>
                  <a:pt x="612" y="564"/>
                  <a:pt x="603" y="568"/>
                  <a:pt x="591" y="568"/>
                </a:cubicBezTo>
                <a:close/>
                <a:moveTo>
                  <a:pt x="134" y="175"/>
                </a:moveTo>
                <a:cubicBezTo>
                  <a:pt x="124" y="175"/>
                  <a:pt x="116" y="180"/>
                  <a:pt x="115" y="185"/>
                </a:cubicBezTo>
                <a:cubicBezTo>
                  <a:pt x="17" y="530"/>
                  <a:pt x="17" y="530"/>
                  <a:pt x="17" y="530"/>
                </a:cubicBezTo>
                <a:cubicBezTo>
                  <a:pt x="15" y="536"/>
                  <a:pt x="16" y="543"/>
                  <a:pt x="19" y="547"/>
                </a:cubicBezTo>
                <a:cubicBezTo>
                  <a:pt x="23" y="552"/>
                  <a:pt x="28" y="554"/>
                  <a:pt x="35" y="554"/>
                </a:cubicBezTo>
                <a:cubicBezTo>
                  <a:pt x="591" y="554"/>
                  <a:pt x="591" y="554"/>
                  <a:pt x="591" y="554"/>
                </a:cubicBezTo>
                <a:cubicBezTo>
                  <a:pt x="598" y="554"/>
                  <a:pt x="604" y="552"/>
                  <a:pt x="607" y="547"/>
                </a:cubicBezTo>
                <a:cubicBezTo>
                  <a:pt x="611" y="543"/>
                  <a:pt x="611" y="536"/>
                  <a:pt x="610" y="530"/>
                </a:cubicBezTo>
                <a:cubicBezTo>
                  <a:pt x="512" y="185"/>
                  <a:pt x="512" y="185"/>
                  <a:pt x="512" y="185"/>
                </a:cubicBezTo>
                <a:cubicBezTo>
                  <a:pt x="511" y="180"/>
                  <a:pt x="502" y="175"/>
                  <a:pt x="492" y="175"/>
                </a:cubicBezTo>
                <a:lnTo>
                  <a:pt x="134" y="175"/>
                </a:lnTo>
                <a:close/>
                <a:moveTo>
                  <a:pt x="426" y="168"/>
                </a:moveTo>
                <a:cubicBezTo>
                  <a:pt x="426" y="113"/>
                  <a:pt x="426" y="113"/>
                  <a:pt x="426" y="113"/>
                </a:cubicBezTo>
                <a:cubicBezTo>
                  <a:pt x="426" y="51"/>
                  <a:pt x="376" y="0"/>
                  <a:pt x="313" y="0"/>
                </a:cubicBezTo>
                <a:cubicBezTo>
                  <a:pt x="251" y="0"/>
                  <a:pt x="200" y="51"/>
                  <a:pt x="200" y="113"/>
                </a:cubicBezTo>
                <a:cubicBezTo>
                  <a:pt x="200" y="168"/>
                  <a:pt x="200" y="168"/>
                  <a:pt x="200" y="168"/>
                </a:cubicBezTo>
                <a:cubicBezTo>
                  <a:pt x="200" y="172"/>
                  <a:pt x="203" y="175"/>
                  <a:pt x="207" y="175"/>
                </a:cubicBezTo>
                <a:cubicBezTo>
                  <a:pt x="211" y="175"/>
                  <a:pt x="214" y="172"/>
                  <a:pt x="214" y="168"/>
                </a:cubicBezTo>
                <a:cubicBezTo>
                  <a:pt x="214" y="113"/>
                  <a:pt x="214" y="113"/>
                  <a:pt x="214" y="113"/>
                </a:cubicBezTo>
                <a:cubicBezTo>
                  <a:pt x="214" y="58"/>
                  <a:pt x="259" y="14"/>
                  <a:pt x="313" y="14"/>
                </a:cubicBezTo>
                <a:cubicBezTo>
                  <a:pt x="368" y="14"/>
                  <a:pt x="412" y="58"/>
                  <a:pt x="412" y="113"/>
                </a:cubicBezTo>
                <a:cubicBezTo>
                  <a:pt x="412" y="168"/>
                  <a:pt x="412" y="168"/>
                  <a:pt x="412" y="168"/>
                </a:cubicBezTo>
                <a:cubicBezTo>
                  <a:pt x="412" y="172"/>
                  <a:pt x="415" y="175"/>
                  <a:pt x="419" y="175"/>
                </a:cubicBezTo>
                <a:cubicBezTo>
                  <a:pt x="419" y="175"/>
                  <a:pt x="419" y="175"/>
                  <a:pt x="419" y="175"/>
                </a:cubicBezTo>
                <a:cubicBezTo>
                  <a:pt x="423" y="175"/>
                  <a:pt x="426" y="172"/>
                  <a:pt x="426" y="168"/>
                </a:cubicBezTo>
                <a:close/>
                <a:moveTo>
                  <a:pt x="558" y="303"/>
                </a:moveTo>
                <a:cubicBezTo>
                  <a:pt x="558" y="299"/>
                  <a:pt x="555" y="296"/>
                  <a:pt x="551" y="296"/>
                </a:cubicBezTo>
                <a:cubicBezTo>
                  <a:pt x="75" y="296"/>
                  <a:pt x="75" y="296"/>
                  <a:pt x="75" y="296"/>
                </a:cubicBezTo>
                <a:cubicBezTo>
                  <a:pt x="71" y="296"/>
                  <a:pt x="68" y="299"/>
                  <a:pt x="68" y="303"/>
                </a:cubicBezTo>
                <a:cubicBezTo>
                  <a:pt x="68" y="306"/>
                  <a:pt x="71" y="310"/>
                  <a:pt x="75" y="310"/>
                </a:cubicBezTo>
                <a:cubicBezTo>
                  <a:pt x="551" y="310"/>
                  <a:pt x="551" y="310"/>
                  <a:pt x="551" y="310"/>
                </a:cubicBezTo>
                <a:cubicBezTo>
                  <a:pt x="555" y="310"/>
                  <a:pt x="558" y="306"/>
                  <a:pt x="558" y="303"/>
                </a:cubicBezTo>
                <a:close/>
                <a:moveTo>
                  <a:pt x="313" y="263"/>
                </a:moveTo>
                <a:cubicBezTo>
                  <a:pt x="298" y="263"/>
                  <a:pt x="285" y="251"/>
                  <a:pt x="285" y="235"/>
                </a:cubicBezTo>
                <a:cubicBezTo>
                  <a:pt x="285" y="220"/>
                  <a:pt x="298" y="207"/>
                  <a:pt x="313" y="207"/>
                </a:cubicBezTo>
                <a:cubicBezTo>
                  <a:pt x="329" y="207"/>
                  <a:pt x="341" y="220"/>
                  <a:pt x="341" y="235"/>
                </a:cubicBezTo>
                <a:cubicBezTo>
                  <a:pt x="341" y="251"/>
                  <a:pt x="329" y="263"/>
                  <a:pt x="313" y="263"/>
                </a:cubicBezTo>
                <a:close/>
                <a:moveTo>
                  <a:pt x="313" y="221"/>
                </a:moveTo>
                <a:cubicBezTo>
                  <a:pt x="306" y="221"/>
                  <a:pt x="299" y="228"/>
                  <a:pt x="299" y="235"/>
                </a:cubicBezTo>
                <a:cubicBezTo>
                  <a:pt x="299" y="243"/>
                  <a:pt x="306" y="249"/>
                  <a:pt x="313" y="249"/>
                </a:cubicBezTo>
                <a:cubicBezTo>
                  <a:pt x="321" y="249"/>
                  <a:pt x="327" y="243"/>
                  <a:pt x="327" y="235"/>
                </a:cubicBezTo>
                <a:cubicBezTo>
                  <a:pt x="327" y="228"/>
                  <a:pt x="321" y="221"/>
                  <a:pt x="313" y="221"/>
                </a:cubicBez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9221" name="Oval 38"/>
          <p:cNvSpPr>
            <a:spLocks noChangeArrowheads="1"/>
          </p:cNvSpPr>
          <p:nvPr/>
        </p:nvSpPr>
        <p:spPr bwMode="auto">
          <a:xfrm>
            <a:off x="10105564" y="3120088"/>
            <a:ext cx="1119124" cy="1119124"/>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9331" name="Freeform 144"/>
          <p:cNvSpPr>
            <a:spLocks noEditPoints="1"/>
          </p:cNvSpPr>
          <p:nvPr/>
        </p:nvSpPr>
        <p:spPr bwMode="auto">
          <a:xfrm>
            <a:off x="10379468" y="3429258"/>
            <a:ext cx="572493" cy="501961"/>
          </a:xfrm>
          <a:custGeom>
            <a:avLst/>
            <a:gdLst>
              <a:gd name="T0" fmla="*/ 322 w 544"/>
              <a:gd name="T1" fmla="*/ 0 h 477"/>
              <a:gd name="T2" fmla="*/ 315 w 544"/>
              <a:gd name="T3" fmla="*/ 94 h 477"/>
              <a:gd name="T4" fmla="*/ 227 w 544"/>
              <a:gd name="T5" fmla="*/ 183 h 477"/>
              <a:gd name="T6" fmla="*/ 229 w 544"/>
              <a:gd name="T7" fmla="*/ 7 h 477"/>
              <a:gd name="T8" fmla="*/ 7 w 544"/>
              <a:gd name="T9" fmla="*/ 0 h 477"/>
              <a:gd name="T10" fmla="*/ 0 w 544"/>
              <a:gd name="T11" fmla="*/ 94 h 477"/>
              <a:gd name="T12" fmla="*/ 20 w 544"/>
              <a:gd name="T13" fmla="*/ 375 h 477"/>
              <a:gd name="T14" fmla="*/ 53 w 544"/>
              <a:gd name="T15" fmla="*/ 381 h 477"/>
              <a:gd name="T16" fmla="*/ 60 w 544"/>
              <a:gd name="T17" fmla="*/ 477 h 477"/>
              <a:gd name="T18" fmla="*/ 176 w 544"/>
              <a:gd name="T19" fmla="*/ 470 h 477"/>
              <a:gd name="T20" fmla="*/ 202 w 544"/>
              <a:gd name="T21" fmla="*/ 381 h 477"/>
              <a:gd name="T22" fmla="*/ 216 w 544"/>
              <a:gd name="T23" fmla="*/ 294 h 477"/>
              <a:gd name="T24" fmla="*/ 335 w 544"/>
              <a:gd name="T25" fmla="*/ 375 h 477"/>
              <a:gd name="T26" fmla="*/ 368 w 544"/>
              <a:gd name="T27" fmla="*/ 381 h 477"/>
              <a:gd name="T28" fmla="*/ 375 w 544"/>
              <a:gd name="T29" fmla="*/ 477 h 477"/>
              <a:gd name="T30" fmla="*/ 491 w 544"/>
              <a:gd name="T31" fmla="*/ 470 h 477"/>
              <a:gd name="T32" fmla="*/ 517 w 544"/>
              <a:gd name="T33" fmla="*/ 381 h 477"/>
              <a:gd name="T34" fmla="*/ 544 w 544"/>
              <a:gd name="T35" fmla="*/ 94 h 477"/>
              <a:gd name="T36" fmla="*/ 544 w 544"/>
              <a:gd name="T37" fmla="*/ 7 h 477"/>
              <a:gd name="T38" fmla="*/ 530 w 544"/>
              <a:gd name="T39" fmla="*/ 14 h 477"/>
              <a:gd name="T40" fmla="*/ 329 w 544"/>
              <a:gd name="T41" fmla="*/ 87 h 477"/>
              <a:gd name="T42" fmla="*/ 530 w 544"/>
              <a:gd name="T43" fmla="*/ 14 h 477"/>
              <a:gd name="T44" fmla="*/ 176 w 544"/>
              <a:gd name="T45" fmla="*/ 262 h 477"/>
              <a:gd name="T46" fmla="*/ 193 w 544"/>
              <a:gd name="T47" fmla="*/ 197 h 477"/>
              <a:gd name="T48" fmla="*/ 368 w 544"/>
              <a:gd name="T49" fmla="*/ 214 h 477"/>
              <a:gd name="T50" fmla="*/ 350 w 544"/>
              <a:gd name="T51" fmla="*/ 280 h 477"/>
              <a:gd name="T52" fmla="*/ 215 w 544"/>
              <a:gd name="T53" fmla="*/ 14 h 477"/>
              <a:gd name="T54" fmla="*/ 14 w 544"/>
              <a:gd name="T55" fmla="*/ 87 h 477"/>
              <a:gd name="T56" fmla="*/ 215 w 544"/>
              <a:gd name="T57" fmla="*/ 14 h 477"/>
              <a:gd name="T58" fmla="*/ 67 w 544"/>
              <a:gd name="T59" fmla="*/ 463 h 477"/>
              <a:gd name="T60" fmla="*/ 162 w 544"/>
              <a:gd name="T61" fmla="*/ 381 h 477"/>
              <a:gd name="T62" fmla="*/ 195 w 544"/>
              <a:gd name="T63" fmla="*/ 367 h 477"/>
              <a:gd name="T64" fmla="*/ 14 w 544"/>
              <a:gd name="T65" fmla="*/ 101 h 477"/>
              <a:gd name="T66" fmla="*/ 213 w 544"/>
              <a:gd name="T67" fmla="*/ 183 h 477"/>
              <a:gd name="T68" fmla="*/ 162 w 544"/>
              <a:gd name="T69" fmla="*/ 214 h 477"/>
              <a:gd name="T70" fmla="*/ 193 w 544"/>
              <a:gd name="T71" fmla="*/ 294 h 477"/>
              <a:gd name="T72" fmla="*/ 195 w 544"/>
              <a:gd name="T73" fmla="*/ 367 h 477"/>
              <a:gd name="T74" fmla="*/ 382 w 544"/>
              <a:gd name="T75" fmla="*/ 463 h 477"/>
              <a:gd name="T76" fmla="*/ 477 w 544"/>
              <a:gd name="T77" fmla="*/ 381 h 477"/>
              <a:gd name="T78" fmla="*/ 510 w 544"/>
              <a:gd name="T79" fmla="*/ 367 h 477"/>
              <a:gd name="T80" fmla="*/ 342 w 544"/>
              <a:gd name="T81" fmla="*/ 294 h 477"/>
              <a:gd name="T82" fmla="*/ 382 w 544"/>
              <a:gd name="T83" fmla="*/ 262 h 477"/>
              <a:gd name="T84" fmla="*/ 350 w 544"/>
              <a:gd name="T85" fmla="*/ 183 h 477"/>
              <a:gd name="T86" fmla="*/ 329 w 544"/>
              <a:gd name="T87" fmla="*/ 101 h 477"/>
              <a:gd name="T88" fmla="*/ 510 w 544"/>
              <a:gd name="T89" fmla="*/ 367 h 4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44" h="477">
                <a:moveTo>
                  <a:pt x="537" y="0"/>
                </a:moveTo>
                <a:cubicBezTo>
                  <a:pt x="322" y="0"/>
                  <a:pt x="322" y="0"/>
                  <a:pt x="322" y="0"/>
                </a:cubicBezTo>
                <a:cubicBezTo>
                  <a:pt x="318" y="0"/>
                  <a:pt x="315" y="3"/>
                  <a:pt x="315" y="7"/>
                </a:cubicBezTo>
                <a:cubicBezTo>
                  <a:pt x="315" y="94"/>
                  <a:pt x="315" y="94"/>
                  <a:pt x="315" y="94"/>
                </a:cubicBezTo>
                <a:cubicBezTo>
                  <a:pt x="317" y="183"/>
                  <a:pt x="317" y="183"/>
                  <a:pt x="317" y="183"/>
                </a:cubicBezTo>
                <a:cubicBezTo>
                  <a:pt x="227" y="183"/>
                  <a:pt x="227" y="183"/>
                  <a:pt x="227" y="183"/>
                </a:cubicBezTo>
                <a:cubicBezTo>
                  <a:pt x="229" y="94"/>
                  <a:pt x="229" y="94"/>
                  <a:pt x="229" y="94"/>
                </a:cubicBezTo>
                <a:cubicBezTo>
                  <a:pt x="229" y="7"/>
                  <a:pt x="229" y="7"/>
                  <a:pt x="229" y="7"/>
                </a:cubicBezTo>
                <a:cubicBezTo>
                  <a:pt x="229" y="3"/>
                  <a:pt x="226" y="0"/>
                  <a:pt x="222" y="0"/>
                </a:cubicBezTo>
                <a:cubicBezTo>
                  <a:pt x="7" y="0"/>
                  <a:pt x="7" y="0"/>
                  <a:pt x="7" y="0"/>
                </a:cubicBezTo>
                <a:cubicBezTo>
                  <a:pt x="3" y="0"/>
                  <a:pt x="0" y="3"/>
                  <a:pt x="0" y="7"/>
                </a:cubicBezTo>
                <a:cubicBezTo>
                  <a:pt x="0" y="94"/>
                  <a:pt x="0" y="94"/>
                  <a:pt x="0" y="94"/>
                </a:cubicBezTo>
                <a:cubicBezTo>
                  <a:pt x="0" y="94"/>
                  <a:pt x="0" y="94"/>
                  <a:pt x="0" y="94"/>
                </a:cubicBezTo>
                <a:cubicBezTo>
                  <a:pt x="20" y="375"/>
                  <a:pt x="20" y="375"/>
                  <a:pt x="20" y="375"/>
                </a:cubicBezTo>
                <a:cubicBezTo>
                  <a:pt x="20" y="379"/>
                  <a:pt x="23" y="381"/>
                  <a:pt x="27" y="381"/>
                </a:cubicBezTo>
                <a:cubicBezTo>
                  <a:pt x="53" y="381"/>
                  <a:pt x="53" y="381"/>
                  <a:pt x="53" y="381"/>
                </a:cubicBezTo>
                <a:cubicBezTo>
                  <a:pt x="53" y="470"/>
                  <a:pt x="53" y="470"/>
                  <a:pt x="53" y="470"/>
                </a:cubicBezTo>
                <a:cubicBezTo>
                  <a:pt x="53" y="474"/>
                  <a:pt x="56" y="477"/>
                  <a:pt x="60" y="477"/>
                </a:cubicBezTo>
                <a:cubicBezTo>
                  <a:pt x="169" y="477"/>
                  <a:pt x="169" y="477"/>
                  <a:pt x="169" y="477"/>
                </a:cubicBezTo>
                <a:cubicBezTo>
                  <a:pt x="172" y="477"/>
                  <a:pt x="176" y="474"/>
                  <a:pt x="176" y="470"/>
                </a:cubicBezTo>
                <a:cubicBezTo>
                  <a:pt x="176" y="381"/>
                  <a:pt x="176" y="381"/>
                  <a:pt x="176" y="381"/>
                </a:cubicBezTo>
                <a:cubicBezTo>
                  <a:pt x="202" y="381"/>
                  <a:pt x="202" y="381"/>
                  <a:pt x="202" y="381"/>
                </a:cubicBezTo>
                <a:cubicBezTo>
                  <a:pt x="205" y="381"/>
                  <a:pt x="208" y="379"/>
                  <a:pt x="209" y="375"/>
                </a:cubicBezTo>
                <a:cubicBezTo>
                  <a:pt x="216" y="294"/>
                  <a:pt x="216" y="294"/>
                  <a:pt x="216" y="294"/>
                </a:cubicBezTo>
                <a:cubicBezTo>
                  <a:pt x="327" y="294"/>
                  <a:pt x="327" y="294"/>
                  <a:pt x="327" y="294"/>
                </a:cubicBezTo>
                <a:cubicBezTo>
                  <a:pt x="335" y="375"/>
                  <a:pt x="335" y="375"/>
                  <a:pt x="335" y="375"/>
                </a:cubicBezTo>
                <a:cubicBezTo>
                  <a:pt x="335" y="379"/>
                  <a:pt x="338" y="381"/>
                  <a:pt x="342" y="381"/>
                </a:cubicBezTo>
                <a:cubicBezTo>
                  <a:pt x="368" y="381"/>
                  <a:pt x="368" y="381"/>
                  <a:pt x="368" y="381"/>
                </a:cubicBezTo>
                <a:cubicBezTo>
                  <a:pt x="368" y="470"/>
                  <a:pt x="368" y="470"/>
                  <a:pt x="368" y="470"/>
                </a:cubicBezTo>
                <a:cubicBezTo>
                  <a:pt x="368" y="474"/>
                  <a:pt x="371" y="477"/>
                  <a:pt x="375" y="477"/>
                </a:cubicBezTo>
                <a:cubicBezTo>
                  <a:pt x="484" y="477"/>
                  <a:pt x="484" y="477"/>
                  <a:pt x="484" y="477"/>
                </a:cubicBezTo>
                <a:cubicBezTo>
                  <a:pt x="488" y="477"/>
                  <a:pt x="491" y="474"/>
                  <a:pt x="491" y="470"/>
                </a:cubicBezTo>
                <a:cubicBezTo>
                  <a:pt x="491" y="381"/>
                  <a:pt x="491" y="381"/>
                  <a:pt x="491" y="381"/>
                </a:cubicBezTo>
                <a:cubicBezTo>
                  <a:pt x="517" y="381"/>
                  <a:pt x="517" y="381"/>
                  <a:pt x="517" y="381"/>
                </a:cubicBezTo>
                <a:cubicBezTo>
                  <a:pt x="520" y="381"/>
                  <a:pt x="523" y="379"/>
                  <a:pt x="524" y="375"/>
                </a:cubicBezTo>
                <a:cubicBezTo>
                  <a:pt x="544" y="94"/>
                  <a:pt x="544" y="94"/>
                  <a:pt x="544" y="94"/>
                </a:cubicBezTo>
                <a:cubicBezTo>
                  <a:pt x="544" y="94"/>
                  <a:pt x="544" y="94"/>
                  <a:pt x="544" y="94"/>
                </a:cubicBezTo>
                <a:cubicBezTo>
                  <a:pt x="544" y="7"/>
                  <a:pt x="544" y="7"/>
                  <a:pt x="544" y="7"/>
                </a:cubicBezTo>
                <a:cubicBezTo>
                  <a:pt x="544" y="3"/>
                  <a:pt x="541" y="0"/>
                  <a:pt x="537" y="0"/>
                </a:cubicBezTo>
                <a:close/>
                <a:moveTo>
                  <a:pt x="530" y="14"/>
                </a:moveTo>
                <a:cubicBezTo>
                  <a:pt x="530" y="87"/>
                  <a:pt x="530" y="87"/>
                  <a:pt x="530" y="87"/>
                </a:cubicBezTo>
                <a:cubicBezTo>
                  <a:pt x="329" y="87"/>
                  <a:pt x="329" y="87"/>
                  <a:pt x="329" y="87"/>
                </a:cubicBezTo>
                <a:cubicBezTo>
                  <a:pt x="329" y="14"/>
                  <a:pt x="329" y="14"/>
                  <a:pt x="329" y="14"/>
                </a:cubicBezTo>
                <a:lnTo>
                  <a:pt x="530" y="14"/>
                </a:lnTo>
                <a:close/>
                <a:moveTo>
                  <a:pt x="193" y="280"/>
                </a:moveTo>
                <a:cubicBezTo>
                  <a:pt x="183" y="280"/>
                  <a:pt x="176" y="272"/>
                  <a:pt x="176" y="262"/>
                </a:cubicBezTo>
                <a:cubicBezTo>
                  <a:pt x="176" y="214"/>
                  <a:pt x="176" y="214"/>
                  <a:pt x="176" y="214"/>
                </a:cubicBezTo>
                <a:cubicBezTo>
                  <a:pt x="176" y="204"/>
                  <a:pt x="183" y="197"/>
                  <a:pt x="193" y="197"/>
                </a:cubicBezTo>
                <a:cubicBezTo>
                  <a:pt x="350" y="197"/>
                  <a:pt x="350" y="197"/>
                  <a:pt x="350" y="197"/>
                </a:cubicBezTo>
                <a:cubicBezTo>
                  <a:pt x="360" y="197"/>
                  <a:pt x="368" y="204"/>
                  <a:pt x="368" y="214"/>
                </a:cubicBezTo>
                <a:cubicBezTo>
                  <a:pt x="368" y="262"/>
                  <a:pt x="368" y="262"/>
                  <a:pt x="368" y="262"/>
                </a:cubicBezTo>
                <a:cubicBezTo>
                  <a:pt x="368" y="272"/>
                  <a:pt x="360" y="280"/>
                  <a:pt x="350" y="280"/>
                </a:cubicBezTo>
                <a:lnTo>
                  <a:pt x="193" y="280"/>
                </a:lnTo>
                <a:close/>
                <a:moveTo>
                  <a:pt x="215" y="14"/>
                </a:moveTo>
                <a:cubicBezTo>
                  <a:pt x="215" y="87"/>
                  <a:pt x="215" y="87"/>
                  <a:pt x="215" y="87"/>
                </a:cubicBezTo>
                <a:cubicBezTo>
                  <a:pt x="14" y="87"/>
                  <a:pt x="14" y="87"/>
                  <a:pt x="14" y="87"/>
                </a:cubicBezTo>
                <a:cubicBezTo>
                  <a:pt x="14" y="14"/>
                  <a:pt x="14" y="14"/>
                  <a:pt x="14" y="14"/>
                </a:cubicBezTo>
                <a:lnTo>
                  <a:pt x="215" y="14"/>
                </a:lnTo>
                <a:close/>
                <a:moveTo>
                  <a:pt x="162" y="463"/>
                </a:moveTo>
                <a:cubicBezTo>
                  <a:pt x="67" y="463"/>
                  <a:pt x="67" y="463"/>
                  <a:pt x="67" y="463"/>
                </a:cubicBezTo>
                <a:cubicBezTo>
                  <a:pt x="67" y="381"/>
                  <a:pt x="67" y="381"/>
                  <a:pt x="67" y="381"/>
                </a:cubicBezTo>
                <a:cubicBezTo>
                  <a:pt x="162" y="381"/>
                  <a:pt x="162" y="381"/>
                  <a:pt x="162" y="381"/>
                </a:cubicBezTo>
                <a:lnTo>
                  <a:pt x="162" y="463"/>
                </a:lnTo>
                <a:close/>
                <a:moveTo>
                  <a:pt x="195" y="367"/>
                </a:moveTo>
                <a:cubicBezTo>
                  <a:pt x="33" y="367"/>
                  <a:pt x="33" y="367"/>
                  <a:pt x="33" y="367"/>
                </a:cubicBezTo>
                <a:cubicBezTo>
                  <a:pt x="14" y="101"/>
                  <a:pt x="14" y="101"/>
                  <a:pt x="14" y="101"/>
                </a:cubicBezTo>
                <a:cubicBezTo>
                  <a:pt x="214" y="101"/>
                  <a:pt x="214" y="101"/>
                  <a:pt x="214" y="101"/>
                </a:cubicBezTo>
                <a:cubicBezTo>
                  <a:pt x="213" y="183"/>
                  <a:pt x="213" y="183"/>
                  <a:pt x="213" y="183"/>
                </a:cubicBezTo>
                <a:cubicBezTo>
                  <a:pt x="193" y="183"/>
                  <a:pt x="193" y="183"/>
                  <a:pt x="193" y="183"/>
                </a:cubicBezTo>
                <a:cubicBezTo>
                  <a:pt x="176" y="183"/>
                  <a:pt x="162" y="197"/>
                  <a:pt x="162" y="214"/>
                </a:cubicBezTo>
                <a:cubicBezTo>
                  <a:pt x="162" y="262"/>
                  <a:pt x="162" y="262"/>
                  <a:pt x="162" y="262"/>
                </a:cubicBezTo>
                <a:cubicBezTo>
                  <a:pt x="162" y="280"/>
                  <a:pt x="176" y="294"/>
                  <a:pt x="193" y="294"/>
                </a:cubicBezTo>
                <a:cubicBezTo>
                  <a:pt x="202" y="294"/>
                  <a:pt x="202" y="294"/>
                  <a:pt x="202" y="294"/>
                </a:cubicBezTo>
                <a:lnTo>
                  <a:pt x="195" y="367"/>
                </a:lnTo>
                <a:close/>
                <a:moveTo>
                  <a:pt x="477" y="463"/>
                </a:moveTo>
                <a:cubicBezTo>
                  <a:pt x="382" y="463"/>
                  <a:pt x="382" y="463"/>
                  <a:pt x="382" y="463"/>
                </a:cubicBezTo>
                <a:cubicBezTo>
                  <a:pt x="382" y="381"/>
                  <a:pt x="382" y="381"/>
                  <a:pt x="382" y="381"/>
                </a:cubicBezTo>
                <a:cubicBezTo>
                  <a:pt x="477" y="381"/>
                  <a:pt x="477" y="381"/>
                  <a:pt x="477" y="381"/>
                </a:cubicBezTo>
                <a:lnTo>
                  <a:pt x="477" y="463"/>
                </a:lnTo>
                <a:close/>
                <a:moveTo>
                  <a:pt x="510" y="367"/>
                </a:moveTo>
                <a:cubicBezTo>
                  <a:pt x="348" y="367"/>
                  <a:pt x="348" y="367"/>
                  <a:pt x="348" y="367"/>
                </a:cubicBezTo>
                <a:cubicBezTo>
                  <a:pt x="342" y="294"/>
                  <a:pt x="342" y="294"/>
                  <a:pt x="342" y="294"/>
                </a:cubicBezTo>
                <a:cubicBezTo>
                  <a:pt x="350" y="294"/>
                  <a:pt x="350" y="294"/>
                  <a:pt x="350" y="294"/>
                </a:cubicBezTo>
                <a:cubicBezTo>
                  <a:pt x="368" y="294"/>
                  <a:pt x="382" y="280"/>
                  <a:pt x="382" y="262"/>
                </a:cubicBezTo>
                <a:cubicBezTo>
                  <a:pt x="382" y="214"/>
                  <a:pt x="382" y="214"/>
                  <a:pt x="382" y="214"/>
                </a:cubicBezTo>
                <a:cubicBezTo>
                  <a:pt x="382" y="197"/>
                  <a:pt x="368" y="183"/>
                  <a:pt x="350" y="183"/>
                </a:cubicBezTo>
                <a:cubicBezTo>
                  <a:pt x="331" y="183"/>
                  <a:pt x="331" y="183"/>
                  <a:pt x="331" y="183"/>
                </a:cubicBezTo>
                <a:cubicBezTo>
                  <a:pt x="329" y="101"/>
                  <a:pt x="329" y="101"/>
                  <a:pt x="329" y="101"/>
                </a:cubicBezTo>
                <a:cubicBezTo>
                  <a:pt x="529" y="101"/>
                  <a:pt x="529" y="101"/>
                  <a:pt x="529" y="101"/>
                </a:cubicBezTo>
                <a:lnTo>
                  <a:pt x="510" y="367"/>
                </a:ln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endParaRPr lang="en-US" sz="1836"/>
          </a:p>
        </p:txBody>
      </p:sp>
    </p:spTree>
    <p:extLst>
      <p:ext uri="{BB962C8B-B14F-4D97-AF65-F5344CB8AC3E}">
        <p14:creationId xmlns:p14="http://schemas.microsoft.com/office/powerpoint/2010/main" val="3177201788"/>
      </p:ext>
    </p:extLst>
  </p:cSld>
  <p:clrMapOvr>
    <a:masterClrMapping/>
  </p:clrMapOvr>
  <p:transition>
    <p:fade/>
  </p:transition>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General</a:t>
            </a:r>
          </a:p>
        </p:txBody>
      </p:sp>
      <p:sp>
        <p:nvSpPr>
          <p:cNvPr id="9251" name="Oval 60"/>
          <p:cNvSpPr>
            <a:spLocks noChangeArrowheads="1"/>
          </p:cNvSpPr>
          <p:nvPr/>
        </p:nvSpPr>
        <p:spPr bwMode="auto">
          <a:xfrm>
            <a:off x="10105564" y="3120088"/>
            <a:ext cx="1119124" cy="1119124"/>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6150" name="Freeform 81"/>
          <p:cNvSpPr>
            <a:spLocks noEditPoints="1"/>
          </p:cNvSpPr>
          <p:nvPr/>
        </p:nvSpPr>
        <p:spPr bwMode="auto">
          <a:xfrm>
            <a:off x="10347728" y="3281139"/>
            <a:ext cx="634798" cy="797023"/>
          </a:xfrm>
          <a:custGeom>
            <a:avLst/>
            <a:gdLst>
              <a:gd name="T0" fmla="*/ 596 w 603"/>
              <a:gd name="T1" fmla="*/ 239 h 757"/>
              <a:gd name="T2" fmla="*/ 578 w 603"/>
              <a:gd name="T3" fmla="*/ 180 h 757"/>
              <a:gd name="T4" fmla="*/ 548 w 603"/>
              <a:gd name="T5" fmla="*/ 126 h 757"/>
              <a:gd name="T6" fmla="*/ 507 w 603"/>
              <a:gd name="T7" fmla="*/ 80 h 757"/>
              <a:gd name="T8" fmla="*/ 458 w 603"/>
              <a:gd name="T9" fmla="*/ 43 h 757"/>
              <a:gd name="T10" fmla="*/ 403 w 603"/>
              <a:gd name="T11" fmla="*/ 17 h 757"/>
              <a:gd name="T12" fmla="*/ 343 w 603"/>
              <a:gd name="T13" fmla="*/ 3 h 757"/>
              <a:gd name="T14" fmla="*/ 281 w 603"/>
              <a:gd name="T15" fmla="*/ 2 h 757"/>
              <a:gd name="T16" fmla="*/ 221 w 603"/>
              <a:gd name="T17" fmla="*/ 14 h 757"/>
              <a:gd name="T18" fmla="*/ 164 w 603"/>
              <a:gd name="T19" fmla="*/ 38 h 757"/>
              <a:gd name="T20" fmla="*/ 114 w 603"/>
              <a:gd name="T21" fmla="*/ 73 h 757"/>
              <a:gd name="T22" fmla="*/ 72 w 603"/>
              <a:gd name="T23" fmla="*/ 118 h 757"/>
              <a:gd name="T24" fmla="*/ 40 w 603"/>
              <a:gd name="T25" fmla="*/ 171 h 757"/>
              <a:gd name="T26" fmla="*/ 20 w 603"/>
              <a:gd name="T27" fmla="*/ 229 h 757"/>
              <a:gd name="T28" fmla="*/ 13 w 603"/>
              <a:gd name="T29" fmla="*/ 290 h 757"/>
              <a:gd name="T30" fmla="*/ 18 w 603"/>
              <a:gd name="T31" fmla="*/ 351 h 757"/>
              <a:gd name="T32" fmla="*/ 36 w 603"/>
              <a:gd name="T33" fmla="*/ 410 h 757"/>
              <a:gd name="T34" fmla="*/ 66 w 603"/>
              <a:gd name="T35" fmla="*/ 464 h 757"/>
              <a:gd name="T36" fmla="*/ 1 w 603"/>
              <a:gd name="T37" fmla="*/ 650 h 757"/>
              <a:gd name="T38" fmla="*/ 202 w 603"/>
              <a:gd name="T39" fmla="*/ 755 h 757"/>
              <a:gd name="T40" fmla="*/ 303 w 603"/>
              <a:gd name="T41" fmla="*/ 569 h 757"/>
              <a:gd name="T42" fmla="*/ 381 w 603"/>
              <a:gd name="T43" fmla="*/ 711 h 757"/>
              <a:gd name="T44" fmla="*/ 578 w 603"/>
              <a:gd name="T45" fmla="*/ 622 h 757"/>
              <a:gd name="T46" fmla="*/ 547 w 603"/>
              <a:gd name="T47" fmla="*/ 469 h 757"/>
              <a:gd name="T48" fmla="*/ 578 w 603"/>
              <a:gd name="T49" fmla="*/ 416 h 757"/>
              <a:gd name="T50" fmla="*/ 597 w 603"/>
              <a:gd name="T51" fmla="*/ 357 h 757"/>
              <a:gd name="T52" fmla="*/ 603 w 603"/>
              <a:gd name="T53" fmla="*/ 295 h 757"/>
              <a:gd name="T54" fmla="*/ 552 w 603"/>
              <a:gd name="T55" fmla="*/ 370 h 757"/>
              <a:gd name="T56" fmla="*/ 526 w 603"/>
              <a:gd name="T57" fmla="*/ 427 h 757"/>
              <a:gd name="T58" fmla="*/ 498 w 603"/>
              <a:gd name="T59" fmla="*/ 472 h 757"/>
              <a:gd name="T60" fmla="*/ 383 w 603"/>
              <a:gd name="T61" fmla="*/ 692 h 757"/>
              <a:gd name="T62" fmla="*/ 302 w 603"/>
              <a:gd name="T63" fmla="*/ 551 h 757"/>
              <a:gd name="T64" fmla="*/ 132 w 603"/>
              <a:gd name="T65" fmla="*/ 654 h 757"/>
              <a:gd name="T66" fmla="*/ 103 w 603"/>
              <a:gd name="T67" fmla="*/ 465 h 757"/>
              <a:gd name="T68" fmla="*/ 83 w 603"/>
              <a:gd name="T69" fmla="*/ 419 h 757"/>
              <a:gd name="T70" fmla="*/ 34 w 603"/>
              <a:gd name="T71" fmla="*/ 353 h 757"/>
              <a:gd name="T72" fmla="*/ 52 w 603"/>
              <a:gd name="T73" fmla="*/ 273 h 757"/>
              <a:gd name="T74" fmla="*/ 65 w 603"/>
              <a:gd name="T75" fmla="*/ 212 h 757"/>
              <a:gd name="T76" fmla="*/ 81 w 603"/>
              <a:gd name="T77" fmla="*/ 131 h 757"/>
              <a:gd name="T78" fmla="*/ 153 w 603"/>
              <a:gd name="T79" fmla="*/ 91 h 757"/>
              <a:gd name="T80" fmla="*/ 207 w 603"/>
              <a:gd name="T81" fmla="*/ 59 h 757"/>
              <a:gd name="T82" fmla="*/ 278 w 603"/>
              <a:gd name="T83" fmla="*/ 18 h 757"/>
              <a:gd name="T84" fmla="*/ 356 w 603"/>
              <a:gd name="T85" fmla="*/ 44 h 757"/>
              <a:gd name="T86" fmla="*/ 415 w 603"/>
              <a:gd name="T87" fmla="*/ 63 h 757"/>
              <a:gd name="T88" fmla="*/ 494 w 603"/>
              <a:gd name="T89" fmla="*/ 88 h 757"/>
              <a:gd name="T90" fmla="*/ 526 w 603"/>
              <a:gd name="T91" fmla="*/ 163 h 757"/>
              <a:gd name="T92" fmla="*/ 552 w 603"/>
              <a:gd name="T93" fmla="*/ 220 h 757"/>
              <a:gd name="T94" fmla="*/ 586 w 603"/>
              <a:gd name="T95" fmla="*/ 295 h 757"/>
              <a:gd name="T96" fmla="*/ 307 w 603"/>
              <a:gd name="T97" fmla="*/ 463 h 757"/>
              <a:gd name="T98" fmla="*/ 147 w 603"/>
              <a:gd name="T99" fmla="*/ 289 h 7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03" h="757">
                <a:moveTo>
                  <a:pt x="603" y="295"/>
                </a:moveTo>
                <a:cubicBezTo>
                  <a:pt x="603" y="293"/>
                  <a:pt x="602" y="291"/>
                  <a:pt x="601" y="290"/>
                </a:cubicBezTo>
                <a:cubicBezTo>
                  <a:pt x="576" y="267"/>
                  <a:pt x="576" y="267"/>
                  <a:pt x="576" y="267"/>
                </a:cubicBezTo>
                <a:cubicBezTo>
                  <a:pt x="596" y="239"/>
                  <a:pt x="596" y="239"/>
                  <a:pt x="596" y="239"/>
                </a:cubicBezTo>
                <a:cubicBezTo>
                  <a:pt x="597" y="237"/>
                  <a:pt x="597" y="235"/>
                  <a:pt x="597" y="233"/>
                </a:cubicBezTo>
                <a:cubicBezTo>
                  <a:pt x="596" y="232"/>
                  <a:pt x="595" y="230"/>
                  <a:pt x="593" y="229"/>
                </a:cubicBezTo>
                <a:cubicBezTo>
                  <a:pt x="564" y="211"/>
                  <a:pt x="564" y="211"/>
                  <a:pt x="564" y="211"/>
                </a:cubicBezTo>
                <a:cubicBezTo>
                  <a:pt x="578" y="180"/>
                  <a:pt x="578" y="180"/>
                  <a:pt x="578" y="180"/>
                </a:cubicBezTo>
                <a:cubicBezTo>
                  <a:pt x="578" y="178"/>
                  <a:pt x="578" y="176"/>
                  <a:pt x="578" y="175"/>
                </a:cubicBezTo>
                <a:cubicBezTo>
                  <a:pt x="577" y="173"/>
                  <a:pt x="575" y="171"/>
                  <a:pt x="573" y="171"/>
                </a:cubicBezTo>
                <a:cubicBezTo>
                  <a:pt x="541" y="160"/>
                  <a:pt x="541" y="160"/>
                  <a:pt x="541" y="160"/>
                </a:cubicBezTo>
                <a:cubicBezTo>
                  <a:pt x="548" y="126"/>
                  <a:pt x="548" y="126"/>
                  <a:pt x="548" y="126"/>
                </a:cubicBezTo>
                <a:cubicBezTo>
                  <a:pt x="548" y="124"/>
                  <a:pt x="548" y="122"/>
                  <a:pt x="547" y="121"/>
                </a:cubicBezTo>
                <a:cubicBezTo>
                  <a:pt x="545" y="119"/>
                  <a:pt x="544" y="118"/>
                  <a:pt x="542" y="118"/>
                </a:cubicBezTo>
                <a:cubicBezTo>
                  <a:pt x="508" y="114"/>
                  <a:pt x="508" y="114"/>
                  <a:pt x="508" y="114"/>
                </a:cubicBezTo>
                <a:cubicBezTo>
                  <a:pt x="507" y="80"/>
                  <a:pt x="507" y="80"/>
                  <a:pt x="507" y="80"/>
                </a:cubicBezTo>
                <a:cubicBezTo>
                  <a:pt x="507" y="78"/>
                  <a:pt x="507" y="76"/>
                  <a:pt x="505" y="75"/>
                </a:cubicBezTo>
                <a:cubicBezTo>
                  <a:pt x="504" y="73"/>
                  <a:pt x="502" y="73"/>
                  <a:pt x="500" y="73"/>
                </a:cubicBezTo>
                <a:cubicBezTo>
                  <a:pt x="466" y="76"/>
                  <a:pt x="466" y="76"/>
                  <a:pt x="466" y="76"/>
                </a:cubicBezTo>
                <a:cubicBezTo>
                  <a:pt x="458" y="43"/>
                  <a:pt x="458" y="43"/>
                  <a:pt x="458" y="43"/>
                </a:cubicBezTo>
                <a:cubicBezTo>
                  <a:pt x="458" y="41"/>
                  <a:pt x="457" y="39"/>
                  <a:pt x="455" y="38"/>
                </a:cubicBezTo>
                <a:cubicBezTo>
                  <a:pt x="453" y="37"/>
                  <a:pt x="451" y="37"/>
                  <a:pt x="449" y="38"/>
                </a:cubicBezTo>
                <a:cubicBezTo>
                  <a:pt x="417" y="48"/>
                  <a:pt x="417" y="48"/>
                  <a:pt x="417" y="48"/>
                </a:cubicBezTo>
                <a:cubicBezTo>
                  <a:pt x="403" y="17"/>
                  <a:pt x="403" y="17"/>
                  <a:pt x="403" y="17"/>
                </a:cubicBezTo>
                <a:cubicBezTo>
                  <a:pt x="402" y="15"/>
                  <a:pt x="400" y="14"/>
                  <a:pt x="398" y="13"/>
                </a:cubicBezTo>
                <a:cubicBezTo>
                  <a:pt x="397" y="13"/>
                  <a:pt x="395" y="13"/>
                  <a:pt x="393" y="14"/>
                </a:cubicBezTo>
                <a:cubicBezTo>
                  <a:pt x="363" y="30"/>
                  <a:pt x="363" y="30"/>
                  <a:pt x="363" y="30"/>
                </a:cubicBezTo>
                <a:cubicBezTo>
                  <a:pt x="343" y="3"/>
                  <a:pt x="343" y="3"/>
                  <a:pt x="343" y="3"/>
                </a:cubicBezTo>
                <a:cubicBezTo>
                  <a:pt x="342" y="2"/>
                  <a:pt x="340" y="0"/>
                  <a:pt x="338" y="0"/>
                </a:cubicBezTo>
                <a:cubicBezTo>
                  <a:pt x="336" y="0"/>
                  <a:pt x="334" y="1"/>
                  <a:pt x="332" y="2"/>
                </a:cubicBezTo>
                <a:cubicBezTo>
                  <a:pt x="307" y="24"/>
                  <a:pt x="307" y="24"/>
                  <a:pt x="307" y="24"/>
                </a:cubicBezTo>
                <a:cubicBezTo>
                  <a:pt x="281" y="2"/>
                  <a:pt x="281" y="2"/>
                  <a:pt x="281" y="2"/>
                </a:cubicBezTo>
                <a:cubicBezTo>
                  <a:pt x="280" y="1"/>
                  <a:pt x="278" y="0"/>
                  <a:pt x="276" y="0"/>
                </a:cubicBezTo>
                <a:cubicBezTo>
                  <a:pt x="274" y="0"/>
                  <a:pt x="272" y="2"/>
                  <a:pt x="271" y="3"/>
                </a:cubicBezTo>
                <a:cubicBezTo>
                  <a:pt x="251" y="30"/>
                  <a:pt x="251" y="30"/>
                  <a:pt x="251" y="30"/>
                </a:cubicBezTo>
                <a:cubicBezTo>
                  <a:pt x="221" y="14"/>
                  <a:pt x="221" y="14"/>
                  <a:pt x="221" y="14"/>
                </a:cubicBezTo>
                <a:cubicBezTo>
                  <a:pt x="219" y="13"/>
                  <a:pt x="217" y="13"/>
                  <a:pt x="215" y="13"/>
                </a:cubicBezTo>
                <a:cubicBezTo>
                  <a:pt x="213" y="14"/>
                  <a:pt x="212" y="15"/>
                  <a:pt x="211" y="17"/>
                </a:cubicBezTo>
                <a:cubicBezTo>
                  <a:pt x="197" y="48"/>
                  <a:pt x="197" y="48"/>
                  <a:pt x="197" y="48"/>
                </a:cubicBezTo>
                <a:cubicBezTo>
                  <a:pt x="164" y="38"/>
                  <a:pt x="164" y="38"/>
                  <a:pt x="164" y="38"/>
                </a:cubicBezTo>
                <a:cubicBezTo>
                  <a:pt x="162" y="37"/>
                  <a:pt x="160" y="37"/>
                  <a:pt x="159" y="38"/>
                </a:cubicBezTo>
                <a:cubicBezTo>
                  <a:pt x="157" y="39"/>
                  <a:pt x="156" y="41"/>
                  <a:pt x="155" y="43"/>
                </a:cubicBezTo>
                <a:cubicBezTo>
                  <a:pt x="148" y="76"/>
                  <a:pt x="148" y="76"/>
                  <a:pt x="148" y="76"/>
                </a:cubicBezTo>
                <a:cubicBezTo>
                  <a:pt x="114" y="73"/>
                  <a:pt x="114" y="73"/>
                  <a:pt x="114" y="73"/>
                </a:cubicBezTo>
                <a:cubicBezTo>
                  <a:pt x="112" y="73"/>
                  <a:pt x="110" y="73"/>
                  <a:pt x="109" y="75"/>
                </a:cubicBezTo>
                <a:cubicBezTo>
                  <a:pt x="107" y="76"/>
                  <a:pt x="106" y="78"/>
                  <a:pt x="106" y="80"/>
                </a:cubicBezTo>
                <a:cubicBezTo>
                  <a:pt x="106" y="114"/>
                  <a:pt x="106" y="114"/>
                  <a:pt x="106" y="114"/>
                </a:cubicBezTo>
                <a:cubicBezTo>
                  <a:pt x="72" y="118"/>
                  <a:pt x="72" y="118"/>
                  <a:pt x="72" y="118"/>
                </a:cubicBezTo>
                <a:cubicBezTo>
                  <a:pt x="70" y="118"/>
                  <a:pt x="68" y="119"/>
                  <a:pt x="67" y="121"/>
                </a:cubicBezTo>
                <a:cubicBezTo>
                  <a:pt x="66" y="122"/>
                  <a:pt x="65" y="124"/>
                  <a:pt x="66" y="126"/>
                </a:cubicBezTo>
                <a:cubicBezTo>
                  <a:pt x="73" y="160"/>
                  <a:pt x="73" y="160"/>
                  <a:pt x="73" y="160"/>
                </a:cubicBezTo>
                <a:cubicBezTo>
                  <a:pt x="40" y="171"/>
                  <a:pt x="40" y="171"/>
                  <a:pt x="40" y="171"/>
                </a:cubicBezTo>
                <a:cubicBezTo>
                  <a:pt x="38" y="171"/>
                  <a:pt x="37" y="173"/>
                  <a:pt x="36" y="175"/>
                </a:cubicBezTo>
                <a:cubicBezTo>
                  <a:pt x="35" y="176"/>
                  <a:pt x="35" y="178"/>
                  <a:pt x="36" y="180"/>
                </a:cubicBezTo>
                <a:cubicBezTo>
                  <a:pt x="50" y="211"/>
                  <a:pt x="50" y="211"/>
                  <a:pt x="50" y="211"/>
                </a:cubicBezTo>
                <a:cubicBezTo>
                  <a:pt x="20" y="229"/>
                  <a:pt x="20" y="229"/>
                  <a:pt x="20" y="229"/>
                </a:cubicBezTo>
                <a:cubicBezTo>
                  <a:pt x="19" y="230"/>
                  <a:pt x="17" y="232"/>
                  <a:pt x="17" y="233"/>
                </a:cubicBezTo>
                <a:cubicBezTo>
                  <a:pt x="17" y="235"/>
                  <a:pt x="17" y="237"/>
                  <a:pt x="18" y="239"/>
                </a:cubicBezTo>
                <a:cubicBezTo>
                  <a:pt x="38" y="267"/>
                  <a:pt x="38" y="267"/>
                  <a:pt x="38" y="267"/>
                </a:cubicBezTo>
                <a:cubicBezTo>
                  <a:pt x="13" y="290"/>
                  <a:pt x="13" y="290"/>
                  <a:pt x="13" y="290"/>
                </a:cubicBezTo>
                <a:cubicBezTo>
                  <a:pt x="11" y="291"/>
                  <a:pt x="10" y="293"/>
                  <a:pt x="10" y="295"/>
                </a:cubicBezTo>
                <a:cubicBezTo>
                  <a:pt x="10" y="297"/>
                  <a:pt x="11" y="299"/>
                  <a:pt x="13" y="300"/>
                </a:cubicBezTo>
                <a:cubicBezTo>
                  <a:pt x="38" y="323"/>
                  <a:pt x="38" y="323"/>
                  <a:pt x="38" y="323"/>
                </a:cubicBezTo>
                <a:cubicBezTo>
                  <a:pt x="18" y="351"/>
                  <a:pt x="18" y="351"/>
                  <a:pt x="18" y="351"/>
                </a:cubicBezTo>
                <a:cubicBezTo>
                  <a:pt x="17" y="353"/>
                  <a:pt x="17" y="355"/>
                  <a:pt x="17" y="357"/>
                </a:cubicBezTo>
                <a:cubicBezTo>
                  <a:pt x="17" y="359"/>
                  <a:pt x="19" y="360"/>
                  <a:pt x="20" y="361"/>
                </a:cubicBezTo>
                <a:cubicBezTo>
                  <a:pt x="50" y="379"/>
                  <a:pt x="50" y="379"/>
                  <a:pt x="50" y="379"/>
                </a:cubicBezTo>
                <a:cubicBezTo>
                  <a:pt x="36" y="410"/>
                  <a:pt x="36" y="410"/>
                  <a:pt x="36" y="410"/>
                </a:cubicBezTo>
                <a:cubicBezTo>
                  <a:pt x="35" y="412"/>
                  <a:pt x="35" y="414"/>
                  <a:pt x="36" y="416"/>
                </a:cubicBezTo>
                <a:cubicBezTo>
                  <a:pt x="37" y="417"/>
                  <a:pt x="38" y="419"/>
                  <a:pt x="40" y="419"/>
                </a:cubicBezTo>
                <a:cubicBezTo>
                  <a:pt x="73" y="430"/>
                  <a:pt x="73" y="430"/>
                  <a:pt x="73" y="430"/>
                </a:cubicBezTo>
                <a:cubicBezTo>
                  <a:pt x="66" y="464"/>
                  <a:pt x="66" y="464"/>
                  <a:pt x="66" y="464"/>
                </a:cubicBezTo>
                <a:cubicBezTo>
                  <a:pt x="65" y="466"/>
                  <a:pt x="66" y="468"/>
                  <a:pt x="67" y="469"/>
                </a:cubicBezTo>
                <a:cubicBezTo>
                  <a:pt x="68" y="471"/>
                  <a:pt x="70" y="472"/>
                  <a:pt x="72" y="472"/>
                </a:cubicBezTo>
                <a:cubicBezTo>
                  <a:pt x="87" y="474"/>
                  <a:pt x="87" y="474"/>
                  <a:pt x="87" y="474"/>
                </a:cubicBezTo>
                <a:cubicBezTo>
                  <a:pt x="1" y="650"/>
                  <a:pt x="1" y="650"/>
                  <a:pt x="1" y="650"/>
                </a:cubicBezTo>
                <a:cubicBezTo>
                  <a:pt x="0" y="652"/>
                  <a:pt x="0" y="654"/>
                  <a:pt x="1" y="656"/>
                </a:cubicBezTo>
                <a:cubicBezTo>
                  <a:pt x="3" y="658"/>
                  <a:pt x="5" y="660"/>
                  <a:pt x="7" y="660"/>
                </a:cubicBezTo>
                <a:cubicBezTo>
                  <a:pt x="124" y="665"/>
                  <a:pt x="124" y="665"/>
                  <a:pt x="124" y="665"/>
                </a:cubicBezTo>
                <a:cubicBezTo>
                  <a:pt x="202" y="755"/>
                  <a:pt x="202" y="755"/>
                  <a:pt x="202" y="755"/>
                </a:cubicBezTo>
                <a:cubicBezTo>
                  <a:pt x="203" y="756"/>
                  <a:pt x="205" y="757"/>
                  <a:pt x="207" y="757"/>
                </a:cubicBezTo>
                <a:cubicBezTo>
                  <a:pt x="208" y="757"/>
                  <a:pt x="208" y="757"/>
                  <a:pt x="208" y="757"/>
                </a:cubicBezTo>
                <a:cubicBezTo>
                  <a:pt x="211" y="757"/>
                  <a:pt x="213" y="755"/>
                  <a:pt x="214" y="753"/>
                </a:cubicBezTo>
                <a:cubicBezTo>
                  <a:pt x="303" y="569"/>
                  <a:pt x="303" y="569"/>
                  <a:pt x="303" y="569"/>
                </a:cubicBezTo>
                <a:cubicBezTo>
                  <a:pt x="307" y="566"/>
                  <a:pt x="307" y="566"/>
                  <a:pt x="307" y="566"/>
                </a:cubicBezTo>
                <a:cubicBezTo>
                  <a:pt x="314" y="572"/>
                  <a:pt x="314" y="572"/>
                  <a:pt x="314" y="572"/>
                </a:cubicBezTo>
                <a:cubicBezTo>
                  <a:pt x="375" y="707"/>
                  <a:pt x="375" y="707"/>
                  <a:pt x="375" y="707"/>
                </a:cubicBezTo>
                <a:cubicBezTo>
                  <a:pt x="376" y="709"/>
                  <a:pt x="378" y="711"/>
                  <a:pt x="381" y="711"/>
                </a:cubicBezTo>
                <a:cubicBezTo>
                  <a:pt x="383" y="712"/>
                  <a:pt x="385" y="711"/>
                  <a:pt x="387" y="709"/>
                </a:cubicBezTo>
                <a:cubicBezTo>
                  <a:pt x="459" y="626"/>
                  <a:pt x="459" y="626"/>
                  <a:pt x="459" y="626"/>
                </a:cubicBezTo>
                <a:cubicBezTo>
                  <a:pt x="572" y="625"/>
                  <a:pt x="572" y="625"/>
                  <a:pt x="572" y="625"/>
                </a:cubicBezTo>
                <a:cubicBezTo>
                  <a:pt x="574" y="625"/>
                  <a:pt x="576" y="624"/>
                  <a:pt x="578" y="622"/>
                </a:cubicBezTo>
                <a:cubicBezTo>
                  <a:pt x="579" y="620"/>
                  <a:pt x="579" y="617"/>
                  <a:pt x="578" y="615"/>
                </a:cubicBezTo>
                <a:cubicBezTo>
                  <a:pt x="515" y="475"/>
                  <a:pt x="515" y="475"/>
                  <a:pt x="515" y="475"/>
                </a:cubicBezTo>
                <a:cubicBezTo>
                  <a:pt x="542" y="472"/>
                  <a:pt x="542" y="472"/>
                  <a:pt x="542" y="472"/>
                </a:cubicBezTo>
                <a:cubicBezTo>
                  <a:pt x="544" y="472"/>
                  <a:pt x="545" y="471"/>
                  <a:pt x="547" y="469"/>
                </a:cubicBezTo>
                <a:cubicBezTo>
                  <a:pt x="548" y="468"/>
                  <a:pt x="548" y="466"/>
                  <a:pt x="548" y="464"/>
                </a:cubicBezTo>
                <a:cubicBezTo>
                  <a:pt x="541" y="430"/>
                  <a:pt x="541" y="430"/>
                  <a:pt x="541" y="430"/>
                </a:cubicBezTo>
                <a:cubicBezTo>
                  <a:pt x="573" y="419"/>
                  <a:pt x="573" y="419"/>
                  <a:pt x="573" y="419"/>
                </a:cubicBezTo>
                <a:cubicBezTo>
                  <a:pt x="575" y="419"/>
                  <a:pt x="577" y="417"/>
                  <a:pt x="578" y="416"/>
                </a:cubicBezTo>
                <a:cubicBezTo>
                  <a:pt x="578" y="414"/>
                  <a:pt x="578" y="412"/>
                  <a:pt x="578" y="410"/>
                </a:cubicBezTo>
                <a:cubicBezTo>
                  <a:pt x="564" y="379"/>
                  <a:pt x="564" y="379"/>
                  <a:pt x="564" y="379"/>
                </a:cubicBezTo>
                <a:cubicBezTo>
                  <a:pt x="593" y="361"/>
                  <a:pt x="593" y="361"/>
                  <a:pt x="593" y="361"/>
                </a:cubicBezTo>
                <a:cubicBezTo>
                  <a:pt x="595" y="360"/>
                  <a:pt x="596" y="359"/>
                  <a:pt x="597" y="357"/>
                </a:cubicBezTo>
                <a:cubicBezTo>
                  <a:pt x="597" y="355"/>
                  <a:pt x="597" y="353"/>
                  <a:pt x="596" y="351"/>
                </a:cubicBezTo>
                <a:cubicBezTo>
                  <a:pt x="576" y="323"/>
                  <a:pt x="576" y="323"/>
                  <a:pt x="576" y="323"/>
                </a:cubicBezTo>
                <a:cubicBezTo>
                  <a:pt x="601" y="300"/>
                  <a:pt x="601" y="300"/>
                  <a:pt x="601" y="300"/>
                </a:cubicBezTo>
                <a:cubicBezTo>
                  <a:pt x="602" y="299"/>
                  <a:pt x="603" y="297"/>
                  <a:pt x="603" y="295"/>
                </a:cubicBezTo>
                <a:close/>
                <a:moveTo>
                  <a:pt x="562" y="317"/>
                </a:moveTo>
                <a:cubicBezTo>
                  <a:pt x="559" y="320"/>
                  <a:pt x="559" y="324"/>
                  <a:pt x="561" y="326"/>
                </a:cubicBezTo>
                <a:cubicBezTo>
                  <a:pt x="580" y="353"/>
                  <a:pt x="580" y="353"/>
                  <a:pt x="580" y="353"/>
                </a:cubicBezTo>
                <a:cubicBezTo>
                  <a:pt x="552" y="370"/>
                  <a:pt x="552" y="370"/>
                  <a:pt x="552" y="370"/>
                </a:cubicBezTo>
                <a:cubicBezTo>
                  <a:pt x="549" y="372"/>
                  <a:pt x="547" y="375"/>
                  <a:pt x="549" y="379"/>
                </a:cubicBezTo>
                <a:cubicBezTo>
                  <a:pt x="562" y="409"/>
                  <a:pt x="562" y="409"/>
                  <a:pt x="562" y="409"/>
                </a:cubicBezTo>
                <a:cubicBezTo>
                  <a:pt x="531" y="419"/>
                  <a:pt x="531" y="419"/>
                  <a:pt x="531" y="419"/>
                </a:cubicBezTo>
                <a:cubicBezTo>
                  <a:pt x="527" y="420"/>
                  <a:pt x="526" y="424"/>
                  <a:pt x="526" y="427"/>
                </a:cubicBezTo>
                <a:cubicBezTo>
                  <a:pt x="533" y="459"/>
                  <a:pt x="533" y="459"/>
                  <a:pt x="533" y="459"/>
                </a:cubicBezTo>
                <a:cubicBezTo>
                  <a:pt x="504" y="462"/>
                  <a:pt x="504" y="462"/>
                  <a:pt x="504" y="462"/>
                </a:cubicBezTo>
                <a:cubicBezTo>
                  <a:pt x="501" y="463"/>
                  <a:pt x="499" y="464"/>
                  <a:pt x="498" y="466"/>
                </a:cubicBezTo>
                <a:cubicBezTo>
                  <a:pt x="497" y="468"/>
                  <a:pt x="497" y="470"/>
                  <a:pt x="498" y="472"/>
                </a:cubicBezTo>
                <a:cubicBezTo>
                  <a:pt x="561" y="611"/>
                  <a:pt x="561" y="611"/>
                  <a:pt x="561" y="611"/>
                </a:cubicBezTo>
                <a:cubicBezTo>
                  <a:pt x="456" y="612"/>
                  <a:pt x="456" y="612"/>
                  <a:pt x="456" y="612"/>
                </a:cubicBezTo>
                <a:cubicBezTo>
                  <a:pt x="454" y="612"/>
                  <a:pt x="452" y="612"/>
                  <a:pt x="451" y="614"/>
                </a:cubicBezTo>
                <a:cubicBezTo>
                  <a:pt x="383" y="692"/>
                  <a:pt x="383" y="692"/>
                  <a:pt x="383" y="692"/>
                </a:cubicBezTo>
                <a:cubicBezTo>
                  <a:pt x="326" y="564"/>
                  <a:pt x="326" y="564"/>
                  <a:pt x="326" y="564"/>
                </a:cubicBezTo>
                <a:cubicBezTo>
                  <a:pt x="325" y="563"/>
                  <a:pt x="325" y="563"/>
                  <a:pt x="324" y="562"/>
                </a:cubicBezTo>
                <a:cubicBezTo>
                  <a:pt x="311" y="551"/>
                  <a:pt x="311" y="551"/>
                  <a:pt x="311" y="551"/>
                </a:cubicBezTo>
                <a:cubicBezTo>
                  <a:pt x="309" y="549"/>
                  <a:pt x="305" y="549"/>
                  <a:pt x="302" y="551"/>
                </a:cubicBezTo>
                <a:cubicBezTo>
                  <a:pt x="293" y="559"/>
                  <a:pt x="293" y="559"/>
                  <a:pt x="293" y="559"/>
                </a:cubicBezTo>
                <a:cubicBezTo>
                  <a:pt x="292" y="560"/>
                  <a:pt x="292" y="561"/>
                  <a:pt x="291" y="561"/>
                </a:cubicBezTo>
                <a:cubicBezTo>
                  <a:pt x="206" y="737"/>
                  <a:pt x="206" y="737"/>
                  <a:pt x="206" y="737"/>
                </a:cubicBezTo>
                <a:cubicBezTo>
                  <a:pt x="132" y="654"/>
                  <a:pt x="132" y="654"/>
                  <a:pt x="132" y="654"/>
                </a:cubicBezTo>
                <a:cubicBezTo>
                  <a:pt x="131" y="652"/>
                  <a:pt x="129" y="651"/>
                  <a:pt x="127" y="651"/>
                </a:cubicBezTo>
                <a:cubicBezTo>
                  <a:pt x="18" y="646"/>
                  <a:pt x="18" y="646"/>
                  <a:pt x="18" y="646"/>
                </a:cubicBezTo>
                <a:cubicBezTo>
                  <a:pt x="104" y="471"/>
                  <a:pt x="104" y="471"/>
                  <a:pt x="104" y="471"/>
                </a:cubicBezTo>
                <a:cubicBezTo>
                  <a:pt x="105" y="469"/>
                  <a:pt x="105" y="467"/>
                  <a:pt x="103" y="465"/>
                </a:cubicBezTo>
                <a:cubicBezTo>
                  <a:pt x="102" y="463"/>
                  <a:pt x="100" y="461"/>
                  <a:pt x="98" y="461"/>
                </a:cubicBezTo>
                <a:cubicBezTo>
                  <a:pt x="81" y="459"/>
                  <a:pt x="81" y="459"/>
                  <a:pt x="81" y="459"/>
                </a:cubicBezTo>
                <a:cubicBezTo>
                  <a:pt x="87" y="427"/>
                  <a:pt x="87" y="427"/>
                  <a:pt x="87" y="427"/>
                </a:cubicBezTo>
                <a:cubicBezTo>
                  <a:pt x="88" y="424"/>
                  <a:pt x="86" y="420"/>
                  <a:pt x="83" y="419"/>
                </a:cubicBezTo>
                <a:cubicBezTo>
                  <a:pt x="52" y="409"/>
                  <a:pt x="52" y="409"/>
                  <a:pt x="52" y="409"/>
                </a:cubicBezTo>
                <a:cubicBezTo>
                  <a:pt x="65" y="379"/>
                  <a:pt x="65" y="379"/>
                  <a:pt x="65" y="379"/>
                </a:cubicBezTo>
                <a:cubicBezTo>
                  <a:pt x="66" y="375"/>
                  <a:pt x="65" y="372"/>
                  <a:pt x="62" y="370"/>
                </a:cubicBezTo>
                <a:cubicBezTo>
                  <a:pt x="34" y="353"/>
                  <a:pt x="34" y="353"/>
                  <a:pt x="34" y="353"/>
                </a:cubicBezTo>
                <a:cubicBezTo>
                  <a:pt x="53" y="326"/>
                  <a:pt x="53" y="326"/>
                  <a:pt x="53" y="326"/>
                </a:cubicBezTo>
                <a:cubicBezTo>
                  <a:pt x="55" y="324"/>
                  <a:pt x="54" y="320"/>
                  <a:pt x="52" y="317"/>
                </a:cubicBezTo>
                <a:cubicBezTo>
                  <a:pt x="28" y="295"/>
                  <a:pt x="28" y="295"/>
                  <a:pt x="28" y="295"/>
                </a:cubicBezTo>
                <a:cubicBezTo>
                  <a:pt x="52" y="273"/>
                  <a:pt x="52" y="273"/>
                  <a:pt x="52" y="273"/>
                </a:cubicBezTo>
                <a:cubicBezTo>
                  <a:pt x="54" y="270"/>
                  <a:pt x="55" y="267"/>
                  <a:pt x="53" y="264"/>
                </a:cubicBezTo>
                <a:cubicBezTo>
                  <a:pt x="34" y="237"/>
                  <a:pt x="34" y="237"/>
                  <a:pt x="34" y="237"/>
                </a:cubicBezTo>
                <a:cubicBezTo>
                  <a:pt x="62" y="220"/>
                  <a:pt x="62" y="220"/>
                  <a:pt x="62" y="220"/>
                </a:cubicBezTo>
                <a:cubicBezTo>
                  <a:pt x="65" y="219"/>
                  <a:pt x="66" y="215"/>
                  <a:pt x="65" y="212"/>
                </a:cubicBezTo>
                <a:cubicBezTo>
                  <a:pt x="52" y="182"/>
                  <a:pt x="52" y="182"/>
                  <a:pt x="52" y="182"/>
                </a:cubicBezTo>
                <a:cubicBezTo>
                  <a:pt x="83" y="171"/>
                  <a:pt x="83" y="171"/>
                  <a:pt x="83" y="171"/>
                </a:cubicBezTo>
                <a:cubicBezTo>
                  <a:pt x="86" y="170"/>
                  <a:pt x="88" y="167"/>
                  <a:pt x="87" y="163"/>
                </a:cubicBezTo>
                <a:cubicBezTo>
                  <a:pt x="81" y="131"/>
                  <a:pt x="81" y="131"/>
                  <a:pt x="81" y="131"/>
                </a:cubicBezTo>
                <a:cubicBezTo>
                  <a:pt x="114" y="127"/>
                  <a:pt x="114" y="127"/>
                  <a:pt x="114" y="127"/>
                </a:cubicBezTo>
                <a:cubicBezTo>
                  <a:pt x="117" y="127"/>
                  <a:pt x="120" y="124"/>
                  <a:pt x="120" y="120"/>
                </a:cubicBezTo>
                <a:cubicBezTo>
                  <a:pt x="120" y="88"/>
                  <a:pt x="120" y="88"/>
                  <a:pt x="120" y="88"/>
                </a:cubicBezTo>
                <a:cubicBezTo>
                  <a:pt x="153" y="91"/>
                  <a:pt x="153" y="91"/>
                  <a:pt x="153" y="91"/>
                </a:cubicBezTo>
                <a:cubicBezTo>
                  <a:pt x="156" y="91"/>
                  <a:pt x="159" y="89"/>
                  <a:pt x="160" y="85"/>
                </a:cubicBezTo>
                <a:cubicBezTo>
                  <a:pt x="167" y="53"/>
                  <a:pt x="167" y="53"/>
                  <a:pt x="167" y="53"/>
                </a:cubicBezTo>
                <a:cubicBezTo>
                  <a:pt x="198" y="63"/>
                  <a:pt x="198" y="63"/>
                  <a:pt x="198" y="63"/>
                </a:cubicBezTo>
                <a:cubicBezTo>
                  <a:pt x="202" y="64"/>
                  <a:pt x="205" y="63"/>
                  <a:pt x="207" y="59"/>
                </a:cubicBezTo>
                <a:cubicBezTo>
                  <a:pt x="221" y="30"/>
                  <a:pt x="221" y="30"/>
                  <a:pt x="221" y="30"/>
                </a:cubicBezTo>
                <a:cubicBezTo>
                  <a:pt x="249" y="46"/>
                  <a:pt x="249" y="46"/>
                  <a:pt x="249" y="46"/>
                </a:cubicBezTo>
                <a:cubicBezTo>
                  <a:pt x="252" y="47"/>
                  <a:pt x="256" y="47"/>
                  <a:pt x="258" y="44"/>
                </a:cubicBezTo>
                <a:cubicBezTo>
                  <a:pt x="278" y="18"/>
                  <a:pt x="278" y="18"/>
                  <a:pt x="278" y="18"/>
                </a:cubicBezTo>
                <a:cubicBezTo>
                  <a:pt x="302" y="39"/>
                  <a:pt x="302" y="39"/>
                  <a:pt x="302" y="39"/>
                </a:cubicBezTo>
                <a:cubicBezTo>
                  <a:pt x="305" y="41"/>
                  <a:pt x="309" y="41"/>
                  <a:pt x="311" y="39"/>
                </a:cubicBezTo>
                <a:cubicBezTo>
                  <a:pt x="336" y="18"/>
                  <a:pt x="336" y="18"/>
                  <a:pt x="336" y="18"/>
                </a:cubicBezTo>
                <a:cubicBezTo>
                  <a:pt x="356" y="44"/>
                  <a:pt x="356" y="44"/>
                  <a:pt x="356" y="44"/>
                </a:cubicBezTo>
                <a:cubicBezTo>
                  <a:pt x="358" y="47"/>
                  <a:pt x="361" y="47"/>
                  <a:pt x="365" y="46"/>
                </a:cubicBezTo>
                <a:cubicBezTo>
                  <a:pt x="393" y="30"/>
                  <a:pt x="393" y="30"/>
                  <a:pt x="393" y="30"/>
                </a:cubicBezTo>
                <a:cubicBezTo>
                  <a:pt x="407" y="59"/>
                  <a:pt x="407" y="59"/>
                  <a:pt x="407" y="59"/>
                </a:cubicBezTo>
                <a:cubicBezTo>
                  <a:pt x="408" y="63"/>
                  <a:pt x="412" y="64"/>
                  <a:pt x="415" y="63"/>
                </a:cubicBezTo>
                <a:cubicBezTo>
                  <a:pt x="446" y="53"/>
                  <a:pt x="446" y="53"/>
                  <a:pt x="446" y="53"/>
                </a:cubicBezTo>
                <a:cubicBezTo>
                  <a:pt x="454" y="85"/>
                  <a:pt x="454" y="85"/>
                  <a:pt x="454" y="85"/>
                </a:cubicBezTo>
                <a:cubicBezTo>
                  <a:pt x="454" y="89"/>
                  <a:pt x="457" y="91"/>
                  <a:pt x="461" y="91"/>
                </a:cubicBezTo>
                <a:cubicBezTo>
                  <a:pt x="494" y="88"/>
                  <a:pt x="494" y="88"/>
                  <a:pt x="494" y="88"/>
                </a:cubicBezTo>
                <a:cubicBezTo>
                  <a:pt x="494" y="120"/>
                  <a:pt x="494" y="120"/>
                  <a:pt x="494" y="120"/>
                </a:cubicBezTo>
                <a:cubicBezTo>
                  <a:pt x="494" y="124"/>
                  <a:pt x="497" y="127"/>
                  <a:pt x="500" y="127"/>
                </a:cubicBezTo>
                <a:cubicBezTo>
                  <a:pt x="533" y="131"/>
                  <a:pt x="533" y="131"/>
                  <a:pt x="533" y="131"/>
                </a:cubicBezTo>
                <a:cubicBezTo>
                  <a:pt x="526" y="163"/>
                  <a:pt x="526" y="163"/>
                  <a:pt x="526" y="163"/>
                </a:cubicBezTo>
                <a:cubicBezTo>
                  <a:pt x="526" y="167"/>
                  <a:pt x="527" y="170"/>
                  <a:pt x="531" y="171"/>
                </a:cubicBezTo>
                <a:cubicBezTo>
                  <a:pt x="562" y="182"/>
                  <a:pt x="562" y="182"/>
                  <a:pt x="562" y="182"/>
                </a:cubicBezTo>
                <a:cubicBezTo>
                  <a:pt x="549" y="212"/>
                  <a:pt x="549" y="212"/>
                  <a:pt x="549" y="212"/>
                </a:cubicBezTo>
                <a:cubicBezTo>
                  <a:pt x="547" y="215"/>
                  <a:pt x="549" y="219"/>
                  <a:pt x="552" y="220"/>
                </a:cubicBezTo>
                <a:cubicBezTo>
                  <a:pt x="580" y="237"/>
                  <a:pt x="580" y="237"/>
                  <a:pt x="580" y="237"/>
                </a:cubicBezTo>
                <a:cubicBezTo>
                  <a:pt x="561" y="264"/>
                  <a:pt x="561" y="264"/>
                  <a:pt x="561" y="264"/>
                </a:cubicBezTo>
                <a:cubicBezTo>
                  <a:pt x="559" y="267"/>
                  <a:pt x="559" y="270"/>
                  <a:pt x="562" y="273"/>
                </a:cubicBezTo>
                <a:cubicBezTo>
                  <a:pt x="586" y="295"/>
                  <a:pt x="586" y="295"/>
                  <a:pt x="586" y="295"/>
                </a:cubicBezTo>
                <a:lnTo>
                  <a:pt x="562" y="317"/>
                </a:lnTo>
                <a:close/>
                <a:moveTo>
                  <a:pt x="307" y="116"/>
                </a:moveTo>
                <a:cubicBezTo>
                  <a:pt x="211" y="116"/>
                  <a:pt x="133" y="193"/>
                  <a:pt x="133" y="289"/>
                </a:cubicBezTo>
                <a:cubicBezTo>
                  <a:pt x="133" y="385"/>
                  <a:pt x="211" y="463"/>
                  <a:pt x="307" y="463"/>
                </a:cubicBezTo>
                <a:cubicBezTo>
                  <a:pt x="403" y="463"/>
                  <a:pt x="480" y="385"/>
                  <a:pt x="480" y="289"/>
                </a:cubicBezTo>
                <a:cubicBezTo>
                  <a:pt x="480" y="193"/>
                  <a:pt x="403" y="116"/>
                  <a:pt x="307" y="116"/>
                </a:cubicBezTo>
                <a:close/>
                <a:moveTo>
                  <a:pt x="307" y="449"/>
                </a:moveTo>
                <a:cubicBezTo>
                  <a:pt x="219" y="449"/>
                  <a:pt x="147" y="377"/>
                  <a:pt x="147" y="289"/>
                </a:cubicBezTo>
                <a:cubicBezTo>
                  <a:pt x="147" y="201"/>
                  <a:pt x="219" y="130"/>
                  <a:pt x="307" y="130"/>
                </a:cubicBezTo>
                <a:cubicBezTo>
                  <a:pt x="395" y="130"/>
                  <a:pt x="466" y="201"/>
                  <a:pt x="466" y="289"/>
                </a:cubicBezTo>
                <a:cubicBezTo>
                  <a:pt x="466" y="377"/>
                  <a:pt x="395" y="449"/>
                  <a:pt x="307" y="449"/>
                </a:cubicBez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9231" name="Oval 48"/>
          <p:cNvSpPr>
            <a:spLocks noChangeArrowheads="1"/>
          </p:cNvSpPr>
          <p:nvPr/>
        </p:nvSpPr>
        <p:spPr bwMode="auto">
          <a:xfrm>
            <a:off x="6589621" y="1528549"/>
            <a:ext cx="1119124" cy="1119124"/>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6168" name="Freeform 90"/>
          <p:cNvSpPr>
            <a:spLocks noEditPoints="1"/>
          </p:cNvSpPr>
          <p:nvPr/>
        </p:nvSpPr>
        <p:spPr bwMode="auto">
          <a:xfrm>
            <a:off x="6928180" y="1790071"/>
            <a:ext cx="444358" cy="596081"/>
          </a:xfrm>
          <a:custGeom>
            <a:avLst/>
            <a:gdLst>
              <a:gd name="T0" fmla="*/ 371 w 422"/>
              <a:gd name="T1" fmla="*/ 210 h 566"/>
              <a:gd name="T2" fmla="*/ 352 w 422"/>
              <a:gd name="T3" fmla="*/ 210 h 566"/>
              <a:gd name="T4" fmla="*/ 352 w 422"/>
              <a:gd name="T5" fmla="*/ 140 h 566"/>
              <a:gd name="T6" fmla="*/ 211 w 422"/>
              <a:gd name="T7" fmla="*/ 0 h 566"/>
              <a:gd name="T8" fmla="*/ 70 w 422"/>
              <a:gd name="T9" fmla="*/ 140 h 566"/>
              <a:gd name="T10" fmla="*/ 70 w 422"/>
              <a:gd name="T11" fmla="*/ 210 h 566"/>
              <a:gd name="T12" fmla="*/ 50 w 422"/>
              <a:gd name="T13" fmla="*/ 210 h 566"/>
              <a:gd name="T14" fmla="*/ 0 w 422"/>
              <a:gd name="T15" fmla="*/ 261 h 566"/>
              <a:gd name="T16" fmla="*/ 0 w 422"/>
              <a:gd name="T17" fmla="*/ 516 h 566"/>
              <a:gd name="T18" fmla="*/ 50 w 422"/>
              <a:gd name="T19" fmla="*/ 566 h 566"/>
              <a:gd name="T20" fmla="*/ 371 w 422"/>
              <a:gd name="T21" fmla="*/ 566 h 566"/>
              <a:gd name="T22" fmla="*/ 422 w 422"/>
              <a:gd name="T23" fmla="*/ 516 h 566"/>
              <a:gd name="T24" fmla="*/ 422 w 422"/>
              <a:gd name="T25" fmla="*/ 261 h 566"/>
              <a:gd name="T26" fmla="*/ 371 w 422"/>
              <a:gd name="T27" fmla="*/ 210 h 566"/>
              <a:gd name="T28" fmla="*/ 84 w 422"/>
              <a:gd name="T29" fmla="*/ 140 h 566"/>
              <a:gd name="T30" fmla="*/ 211 w 422"/>
              <a:gd name="T31" fmla="*/ 14 h 566"/>
              <a:gd name="T32" fmla="*/ 338 w 422"/>
              <a:gd name="T33" fmla="*/ 140 h 566"/>
              <a:gd name="T34" fmla="*/ 338 w 422"/>
              <a:gd name="T35" fmla="*/ 210 h 566"/>
              <a:gd name="T36" fmla="*/ 84 w 422"/>
              <a:gd name="T37" fmla="*/ 210 h 566"/>
              <a:gd name="T38" fmla="*/ 84 w 422"/>
              <a:gd name="T39" fmla="*/ 140 h 566"/>
              <a:gd name="T40" fmla="*/ 408 w 422"/>
              <a:gd name="T41" fmla="*/ 516 h 566"/>
              <a:gd name="T42" fmla="*/ 371 w 422"/>
              <a:gd name="T43" fmla="*/ 552 h 566"/>
              <a:gd name="T44" fmla="*/ 50 w 422"/>
              <a:gd name="T45" fmla="*/ 552 h 566"/>
              <a:gd name="T46" fmla="*/ 14 w 422"/>
              <a:gd name="T47" fmla="*/ 516 h 566"/>
              <a:gd name="T48" fmla="*/ 14 w 422"/>
              <a:gd name="T49" fmla="*/ 261 h 566"/>
              <a:gd name="T50" fmla="*/ 50 w 422"/>
              <a:gd name="T51" fmla="*/ 224 h 566"/>
              <a:gd name="T52" fmla="*/ 371 w 422"/>
              <a:gd name="T53" fmla="*/ 224 h 566"/>
              <a:gd name="T54" fmla="*/ 408 w 422"/>
              <a:gd name="T55" fmla="*/ 261 h 566"/>
              <a:gd name="T56" fmla="*/ 408 w 422"/>
              <a:gd name="T57" fmla="*/ 516 h 566"/>
              <a:gd name="T58" fmla="*/ 211 w 422"/>
              <a:gd name="T59" fmla="*/ 333 h 566"/>
              <a:gd name="T60" fmla="*/ 182 w 422"/>
              <a:gd name="T61" fmla="*/ 362 h 566"/>
              <a:gd name="T62" fmla="*/ 204 w 422"/>
              <a:gd name="T63" fmla="*/ 389 h 566"/>
              <a:gd name="T64" fmla="*/ 204 w 422"/>
              <a:gd name="T65" fmla="*/ 433 h 566"/>
              <a:gd name="T66" fmla="*/ 211 w 422"/>
              <a:gd name="T67" fmla="*/ 440 h 566"/>
              <a:gd name="T68" fmla="*/ 218 w 422"/>
              <a:gd name="T69" fmla="*/ 433 h 566"/>
              <a:gd name="T70" fmla="*/ 218 w 422"/>
              <a:gd name="T71" fmla="*/ 389 h 566"/>
              <a:gd name="T72" fmla="*/ 239 w 422"/>
              <a:gd name="T73" fmla="*/ 362 h 566"/>
              <a:gd name="T74" fmla="*/ 211 w 422"/>
              <a:gd name="T75" fmla="*/ 333 h 566"/>
              <a:gd name="T76" fmla="*/ 211 w 422"/>
              <a:gd name="T77" fmla="*/ 376 h 566"/>
              <a:gd name="T78" fmla="*/ 196 w 422"/>
              <a:gd name="T79" fmla="*/ 362 h 566"/>
              <a:gd name="T80" fmla="*/ 211 w 422"/>
              <a:gd name="T81" fmla="*/ 347 h 566"/>
              <a:gd name="T82" fmla="*/ 225 w 422"/>
              <a:gd name="T83" fmla="*/ 362 h 566"/>
              <a:gd name="T84" fmla="*/ 211 w 422"/>
              <a:gd name="T85" fmla="*/ 376 h 5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22" h="566">
                <a:moveTo>
                  <a:pt x="371" y="210"/>
                </a:moveTo>
                <a:cubicBezTo>
                  <a:pt x="352" y="210"/>
                  <a:pt x="352" y="210"/>
                  <a:pt x="352" y="210"/>
                </a:cubicBezTo>
                <a:cubicBezTo>
                  <a:pt x="352" y="140"/>
                  <a:pt x="352" y="140"/>
                  <a:pt x="352" y="140"/>
                </a:cubicBezTo>
                <a:cubicBezTo>
                  <a:pt x="352" y="63"/>
                  <a:pt x="288" y="0"/>
                  <a:pt x="211" y="0"/>
                </a:cubicBezTo>
                <a:cubicBezTo>
                  <a:pt x="133" y="0"/>
                  <a:pt x="70" y="63"/>
                  <a:pt x="70" y="140"/>
                </a:cubicBezTo>
                <a:cubicBezTo>
                  <a:pt x="70" y="210"/>
                  <a:pt x="70" y="210"/>
                  <a:pt x="70" y="210"/>
                </a:cubicBezTo>
                <a:cubicBezTo>
                  <a:pt x="50" y="210"/>
                  <a:pt x="50" y="210"/>
                  <a:pt x="50" y="210"/>
                </a:cubicBezTo>
                <a:cubicBezTo>
                  <a:pt x="22" y="210"/>
                  <a:pt x="0" y="233"/>
                  <a:pt x="0" y="261"/>
                </a:cubicBezTo>
                <a:cubicBezTo>
                  <a:pt x="0" y="516"/>
                  <a:pt x="0" y="516"/>
                  <a:pt x="0" y="516"/>
                </a:cubicBezTo>
                <a:cubicBezTo>
                  <a:pt x="0" y="544"/>
                  <a:pt x="22" y="566"/>
                  <a:pt x="50" y="566"/>
                </a:cubicBezTo>
                <a:cubicBezTo>
                  <a:pt x="371" y="566"/>
                  <a:pt x="371" y="566"/>
                  <a:pt x="371" y="566"/>
                </a:cubicBezTo>
                <a:cubicBezTo>
                  <a:pt x="399" y="566"/>
                  <a:pt x="422" y="544"/>
                  <a:pt x="422" y="516"/>
                </a:cubicBezTo>
                <a:cubicBezTo>
                  <a:pt x="422" y="261"/>
                  <a:pt x="422" y="261"/>
                  <a:pt x="422" y="261"/>
                </a:cubicBezTo>
                <a:cubicBezTo>
                  <a:pt x="422" y="233"/>
                  <a:pt x="399" y="210"/>
                  <a:pt x="371" y="210"/>
                </a:cubicBezTo>
                <a:close/>
                <a:moveTo>
                  <a:pt x="84" y="140"/>
                </a:moveTo>
                <a:cubicBezTo>
                  <a:pt x="84" y="71"/>
                  <a:pt x="141" y="14"/>
                  <a:pt x="211" y="14"/>
                </a:cubicBezTo>
                <a:cubicBezTo>
                  <a:pt x="281" y="14"/>
                  <a:pt x="338" y="71"/>
                  <a:pt x="338" y="140"/>
                </a:cubicBezTo>
                <a:cubicBezTo>
                  <a:pt x="338" y="210"/>
                  <a:pt x="338" y="210"/>
                  <a:pt x="338" y="210"/>
                </a:cubicBezTo>
                <a:cubicBezTo>
                  <a:pt x="84" y="210"/>
                  <a:pt x="84" y="210"/>
                  <a:pt x="84" y="210"/>
                </a:cubicBezTo>
                <a:lnTo>
                  <a:pt x="84" y="140"/>
                </a:lnTo>
                <a:close/>
                <a:moveTo>
                  <a:pt x="408" y="516"/>
                </a:moveTo>
                <a:cubicBezTo>
                  <a:pt x="408" y="536"/>
                  <a:pt x="391" y="552"/>
                  <a:pt x="371" y="552"/>
                </a:cubicBezTo>
                <a:cubicBezTo>
                  <a:pt x="50" y="552"/>
                  <a:pt x="50" y="552"/>
                  <a:pt x="50" y="552"/>
                </a:cubicBezTo>
                <a:cubicBezTo>
                  <a:pt x="30" y="552"/>
                  <a:pt x="14" y="536"/>
                  <a:pt x="14" y="516"/>
                </a:cubicBezTo>
                <a:cubicBezTo>
                  <a:pt x="14" y="261"/>
                  <a:pt x="14" y="261"/>
                  <a:pt x="14" y="261"/>
                </a:cubicBezTo>
                <a:cubicBezTo>
                  <a:pt x="14" y="240"/>
                  <a:pt x="30" y="224"/>
                  <a:pt x="50" y="224"/>
                </a:cubicBezTo>
                <a:cubicBezTo>
                  <a:pt x="371" y="224"/>
                  <a:pt x="371" y="224"/>
                  <a:pt x="371" y="224"/>
                </a:cubicBezTo>
                <a:cubicBezTo>
                  <a:pt x="391" y="224"/>
                  <a:pt x="408" y="240"/>
                  <a:pt x="408" y="261"/>
                </a:cubicBezTo>
                <a:lnTo>
                  <a:pt x="408" y="516"/>
                </a:lnTo>
                <a:close/>
                <a:moveTo>
                  <a:pt x="211" y="333"/>
                </a:moveTo>
                <a:cubicBezTo>
                  <a:pt x="195" y="333"/>
                  <a:pt x="182" y="346"/>
                  <a:pt x="182" y="362"/>
                </a:cubicBezTo>
                <a:cubicBezTo>
                  <a:pt x="182" y="375"/>
                  <a:pt x="191" y="386"/>
                  <a:pt x="204" y="389"/>
                </a:cubicBezTo>
                <a:cubicBezTo>
                  <a:pt x="204" y="433"/>
                  <a:pt x="204" y="433"/>
                  <a:pt x="204" y="433"/>
                </a:cubicBezTo>
                <a:cubicBezTo>
                  <a:pt x="204" y="437"/>
                  <a:pt x="207" y="440"/>
                  <a:pt x="211" y="440"/>
                </a:cubicBezTo>
                <a:cubicBezTo>
                  <a:pt x="215" y="440"/>
                  <a:pt x="218" y="437"/>
                  <a:pt x="218" y="433"/>
                </a:cubicBezTo>
                <a:cubicBezTo>
                  <a:pt x="218" y="389"/>
                  <a:pt x="218" y="389"/>
                  <a:pt x="218" y="389"/>
                </a:cubicBezTo>
                <a:cubicBezTo>
                  <a:pt x="230" y="386"/>
                  <a:pt x="239" y="375"/>
                  <a:pt x="239" y="362"/>
                </a:cubicBezTo>
                <a:cubicBezTo>
                  <a:pt x="239" y="346"/>
                  <a:pt x="226" y="333"/>
                  <a:pt x="211" y="333"/>
                </a:cubicBezTo>
                <a:close/>
                <a:moveTo>
                  <a:pt x="211" y="376"/>
                </a:moveTo>
                <a:cubicBezTo>
                  <a:pt x="203" y="376"/>
                  <a:pt x="196" y="370"/>
                  <a:pt x="196" y="362"/>
                </a:cubicBezTo>
                <a:cubicBezTo>
                  <a:pt x="196" y="354"/>
                  <a:pt x="203" y="347"/>
                  <a:pt x="211" y="347"/>
                </a:cubicBezTo>
                <a:cubicBezTo>
                  <a:pt x="219" y="347"/>
                  <a:pt x="225" y="354"/>
                  <a:pt x="225" y="362"/>
                </a:cubicBezTo>
                <a:cubicBezTo>
                  <a:pt x="225" y="370"/>
                  <a:pt x="219" y="376"/>
                  <a:pt x="211" y="376"/>
                </a:cubicBez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9232" name="Oval 49"/>
          <p:cNvSpPr>
            <a:spLocks noChangeArrowheads="1"/>
          </p:cNvSpPr>
          <p:nvPr/>
        </p:nvSpPr>
        <p:spPr bwMode="auto">
          <a:xfrm>
            <a:off x="4831649" y="1528549"/>
            <a:ext cx="1119124" cy="1119124"/>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6171" name="Freeform 93"/>
          <p:cNvSpPr>
            <a:spLocks noEditPoints="1"/>
          </p:cNvSpPr>
          <p:nvPr/>
        </p:nvSpPr>
        <p:spPr bwMode="auto">
          <a:xfrm>
            <a:off x="5134084" y="1755908"/>
            <a:ext cx="511903" cy="664406"/>
          </a:xfrm>
          <a:custGeom>
            <a:avLst/>
            <a:gdLst>
              <a:gd name="T0" fmla="*/ 486 w 486"/>
              <a:gd name="T1" fmla="*/ 163 h 630"/>
              <a:gd name="T2" fmla="*/ 485 w 486"/>
              <a:gd name="T3" fmla="*/ 161 h 630"/>
              <a:gd name="T4" fmla="*/ 484 w 486"/>
              <a:gd name="T5" fmla="*/ 160 h 630"/>
              <a:gd name="T6" fmla="*/ 326 w 486"/>
              <a:gd name="T7" fmla="*/ 2 h 630"/>
              <a:gd name="T8" fmla="*/ 325 w 486"/>
              <a:gd name="T9" fmla="*/ 1 h 630"/>
              <a:gd name="T10" fmla="*/ 323 w 486"/>
              <a:gd name="T11" fmla="*/ 1 h 630"/>
              <a:gd name="T12" fmla="*/ 122 w 486"/>
              <a:gd name="T13" fmla="*/ 0 h 630"/>
              <a:gd name="T14" fmla="*/ 115 w 486"/>
              <a:gd name="T15" fmla="*/ 137 h 630"/>
              <a:gd name="T16" fmla="*/ 0 w 486"/>
              <a:gd name="T17" fmla="*/ 144 h 630"/>
              <a:gd name="T18" fmla="*/ 7 w 486"/>
              <a:gd name="T19" fmla="*/ 630 h 630"/>
              <a:gd name="T20" fmla="*/ 372 w 486"/>
              <a:gd name="T21" fmla="*/ 623 h 630"/>
              <a:gd name="T22" fmla="*/ 479 w 486"/>
              <a:gd name="T23" fmla="*/ 493 h 630"/>
              <a:gd name="T24" fmla="*/ 486 w 486"/>
              <a:gd name="T25" fmla="*/ 165 h 630"/>
              <a:gd name="T26" fmla="*/ 329 w 486"/>
              <a:gd name="T27" fmla="*/ 24 h 630"/>
              <a:gd name="T28" fmla="*/ 329 w 486"/>
              <a:gd name="T29" fmla="*/ 158 h 630"/>
              <a:gd name="T30" fmla="*/ 358 w 486"/>
              <a:gd name="T31" fmla="*/ 616 h 630"/>
              <a:gd name="T32" fmla="*/ 14 w 486"/>
              <a:gd name="T33" fmla="*/ 151 h 630"/>
              <a:gd name="T34" fmla="*/ 200 w 486"/>
              <a:gd name="T35" fmla="*/ 302 h 630"/>
              <a:gd name="T36" fmla="*/ 358 w 486"/>
              <a:gd name="T37" fmla="*/ 309 h 630"/>
              <a:gd name="T38" fmla="*/ 348 w 486"/>
              <a:gd name="T39" fmla="*/ 295 h 630"/>
              <a:gd name="T40" fmla="*/ 214 w 486"/>
              <a:gd name="T41" fmla="*/ 161 h 630"/>
              <a:gd name="T42" fmla="*/ 372 w 486"/>
              <a:gd name="T43" fmla="*/ 479 h 630"/>
              <a:gd name="T44" fmla="*/ 372 w 486"/>
              <a:gd name="T45" fmla="*/ 301 h 630"/>
              <a:gd name="T46" fmla="*/ 371 w 486"/>
              <a:gd name="T47" fmla="*/ 299 h 630"/>
              <a:gd name="T48" fmla="*/ 371 w 486"/>
              <a:gd name="T49" fmla="*/ 298 h 630"/>
              <a:gd name="T50" fmla="*/ 212 w 486"/>
              <a:gd name="T51" fmla="*/ 139 h 630"/>
              <a:gd name="T52" fmla="*/ 211 w 486"/>
              <a:gd name="T53" fmla="*/ 138 h 630"/>
              <a:gd name="T54" fmla="*/ 210 w 486"/>
              <a:gd name="T55" fmla="*/ 138 h 630"/>
              <a:gd name="T56" fmla="*/ 207 w 486"/>
              <a:gd name="T57" fmla="*/ 137 h 630"/>
              <a:gd name="T58" fmla="*/ 129 w 486"/>
              <a:gd name="T59" fmla="*/ 14 h 630"/>
              <a:gd name="T60" fmla="*/ 315 w 486"/>
              <a:gd name="T61" fmla="*/ 165 h 630"/>
              <a:gd name="T62" fmla="*/ 472 w 486"/>
              <a:gd name="T63" fmla="*/ 172 h 630"/>
              <a:gd name="T64" fmla="*/ 372 w 486"/>
              <a:gd name="T65" fmla="*/ 479 h 6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6" h="630">
                <a:moveTo>
                  <a:pt x="486" y="164"/>
                </a:moveTo>
                <a:cubicBezTo>
                  <a:pt x="486" y="163"/>
                  <a:pt x="486" y="163"/>
                  <a:pt x="486" y="163"/>
                </a:cubicBezTo>
                <a:cubicBezTo>
                  <a:pt x="486" y="162"/>
                  <a:pt x="486" y="162"/>
                  <a:pt x="486" y="162"/>
                </a:cubicBezTo>
                <a:cubicBezTo>
                  <a:pt x="486" y="162"/>
                  <a:pt x="486" y="162"/>
                  <a:pt x="485" y="161"/>
                </a:cubicBezTo>
                <a:cubicBezTo>
                  <a:pt x="485" y="161"/>
                  <a:pt x="485" y="161"/>
                  <a:pt x="485" y="161"/>
                </a:cubicBezTo>
                <a:cubicBezTo>
                  <a:pt x="485" y="161"/>
                  <a:pt x="485" y="160"/>
                  <a:pt x="484" y="160"/>
                </a:cubicBezTo>
                <a:cubicBezTo>
                  <a:pt x="327" y="2"/>
                  <a:pt x="327" y="2"/>
                  <a:pt x="327" y="2"/>
                </a:cubicBezTo>
                <a:cubicBezTo>
                  <a:pt x="327" y="2"/>
                  <a:pt x="326" y="2"/>
                  <a:pt x="326" y="2"/>
                </a:cubicBezTo>
                <a:cubicBezTo>
                  <a:pt x="326" y="2"/>
                  <a:pt x="326" y="2"/>
                  <a:pt x="326" y="1"/>
                </a:cubicBezTo>
                <a:cubicBezTo>
                  <a:pt x="325" y="1"/>
                  <a:pt x="325" y="1"/>
                  <a:pt x="325" y="1"/>
                </a:cubicBezTo>
                <a:cubicBezTo>
                  <a:pt x="324" y="1"/>
                  <a:pt x="324" y="1"/>
                  <a:pt x="324" y="1"/>
                </a:cubicBezTo>
                <a:cubicBezTo>
                  <a:pt x="324" y="1"/>
                  <a:pt x="324" y="1"/>
                  <a:pt x="323" y="1"/>
                </a:cubicBezTo>
                <a:cubicBezTo>
                  <a:pt x="323" y="0"/>
                  <a:pt x="322" y="0"/>
                  <a:pt x="322" y="0"/>
                </a:cubicBezTo>
                <a:cubicBezTo>
                  <a:pt x="122" y="0"/>
                  <a:pt x="122" y="0"/>
                  <a:pt x="122" y="0"/>
                </a:cubicBezTo>
                <a:cubicBezTo>
                  <a:pt x="118" y="0"/>
                  <a:pt x="115" y="4"/>
                  <a:pt x="115" y="7"/>
                </a:cubicBezTo>
                <a:cubicBezTo>
                  <a:pt x="115" y="137"/>
                  <a:pt x="115" y="137"/>
                  <a:pt x="115" y="137"/>
                </a:cubicBezTo>
                <a:cubicBezTo>
                  <a:pt x="7" y="137"/>
                  <a:pt x="7" y="137"/>
                  <a:pt x="7" y="137"/>
                </a:cubicBezTo>
                <a:cubicBezTo>
                  <a:pt x="3" y="137"/>
                  <a:pt x="0" y="141"/>
                  <a:pt x="0" y="144"/>
                </a:cubicBezTo>
                <a:cubicBezTo>
                  <a:pt x="0" y="623"/>
                  <a:pt x="0" y="623"/>
                  <a:pt x="0" y="623"/>
                </a:cubicBezTo>
                <a:cubicBezTo>
                  <a:pt x="0" y="626"/>
                  <a:pt x="3" y="630"/>
                  <a:pt x="7" y="630"/>
                </a:cubicBezTo>
                <a:cubicBezTo>
                  <a:pt x="365" y="630"/>
                  <a:pt x="365" y="630"/>
                  <a:pt x="365" y="630"/>
                </a:cubicBezTo>
                <a:cubicBezTo>
                  <a:pt x="369" y="630"/>
                  <a:pt x="372" y="626"/>
                  <a:pt x="372" y="623"/>
                </a:cubicBezTo>
                <a:cubicBezTo>
                  <a:pt x="372" y="493"/>
                  <a:pt x="372" y="493"/>
                  <a:pt x="372" y="493"/>
                </a:cubicBezTo>
                <a:cubicBezTo>
                  <a:pt x="479" y="493"/>
                  <a:pt x="479" y="493"/>
                  <a:pt x="479" y="493"/>
                </a:cubicBezTo>
                <a:cubicBezTo>
                  <a:pt x="483" y="493"/>
                  <a:pt x="486" y="489"/>
                  <a:pt x="486" y="486"/>
                </a:cubicBezTo>
                <a:cubicBezTo>
                  <a:pt x="486" y="165"/>
                  <a:pt x="486" y="165"/>
                  <a:pt x="486" y="165"/>
                </a:cubicBezTo>
                <a:cubicBezTo>
                  <a:pt x="486" y="164"/>
                  <a:pt x="486" y="164"/>
                  <a:pt x="486" y="164"/>
                </a:cubicBezTo>
                <a:close/>
                <a:moveTo>
                  <a:pt x="329" y="24"/>
                </a:moveTo>
                <a:cubicBezTo>
                  <a:pt x="463" y="158"/>
                  <a:pt x="463" y="158"/>
                  <a:pt x="463" y="158"/>
                </a:cubicBezTo>
                <a:cubicBezTo>
                  <a:pt x="329" y="158"/>
                  <a:pt x="329" y="158"/>
                  <a:pt x="329" y="158"/>
                </a:cubicBezTo>
                <a:lnTo>
                  <a:pt x="329" y="24"/>
                </a:lnTo>
                <a:close/>
                <a:moveTo>
                  <a:pt x="358" y="616"/>
                </a:moveTo>
                <a:cubicBezTo>
                  <a:pt x="14" y="616"/>
                  <a:pt x="14" y="616"/>
                  <a:pt x="14" y="616"/>
                </a:cubicBezTo>
                <a:cubicBezTo>
                  <a:pt x="14" y="151"/>
                  <a:pt x="14" y="151"/>
                  <a:pt x="14" y="151"/>
                </a:cubicBezTo>
                <a:cubicBezTo>
                  <a:pt x="200" y="151"/>
                  <a:pt x="200" y="151"/>
                  <a:pt x="200" y="151"/>
                </a:cubicBezTo>
                <a:cubicBezTo>
                  <a:pt x="200" y="302"/>
                  <a:pt x="200" y="302"/>
                  <a:pt x="200" y="302"/>
                </a:cubicBezTo>
                <a:cubicBezTo>
                  <a:pt x="200" y="306"/>
                  <a:pt x="203" y="309"/>
                  <a:pt x="207" y="309"/>
                </a:cubicBezTo>
                <a:cubicBezTo>
                  <a:pt x="358" y="309"/>
                  <a:pt x="358" y="309"/>
                  <a:pt x="358" y="309"/>
                </a:cubicBezTo>
                <a:lnTo>
                  <a:pt x="358" y="616"/>
                </a:lnTo>
                <a:close/>
                <a:moveTo>
                  <a:pt x="348" y="295"/>
                </a:moveTo>
                <a:cubicBezTo>
                  <a:pt x="214" y="295"/>
                  <a:pt x="214" y="295"/>
                  <a:pt x="214" y="295"/>
                </a:cubicBezTo>
                <a:cubicBezTo>
                  <a:pt x="214" y="161"/>
                  <a:pt x="214" y="161"/>
                  <a:pt x="214" y="161"/>
                </a:cubicBezTo>
                <a:lnTo>
                  <a:pt x="348" y="295"/>
                </a:lnTo>
                <a:close/>
                <a:moveTo>
                  <a:pt x="372" y="479"/>
                </a:moveTo>
                <a:cubicBezTo>
                  <a:pt x="372" y="302"/>
                  <a:pt x="372" y="302"/>
                  <a:pt x="372" y="302"/>
                </a:cubicBezTo>
                <a:cubicBezTo>
                  <a:pt x="372" y="301"/>
                  <a:pt x="372" y="301"/>
                  <a:pt x="372" y="301"/>
                </a:cubicBezTo>
                <a:cubicBezTo>
                  <a:pt x="372" y="300"/>
                  <a:pt x="371" y="300"/>
                  <a:pt x="371" y="300"/>
                </a:cubicBezTo>
                <a:cubicBezTo>
                  <a:pt x="371" y="299"/>
                  <a:pt x="371" y="299"/>
                  <a:pt x="371" y="299"/>
                </a:cubicBezTo>
                <a:cubicBezTo>
                  <a:pt x="371" y="299"/>
                  <a:pt x="371" y="299"/>
                  <a:pt x="371" y="298"/>
                </a:cubicBezTo>
                <a:cubicBezTo>
                  <a:pt x="371" y="298"/>
                  <a:pt x="371" y="298"/>
                  <a:pt x="371" y="298"/>
                </a:cubicBezTo>
                <a:cubicBezTo>
                  <a:pt x="370" y="298"/>
                  <a:pt x="370" y="297"/>
                  <a:pt x="370" y="297"/>
                </a:cubicBezTo>
                <a:cubicBezTo>
                  <a:pt x="212" y="139"/>
                  <a:pt x="212" y="139"/>
                  <a:pt x="212" y="139"/>
                </a:cubicBezTo>
                <a:cubicBezTo>
                  <a:pt x="212" y="139"/>
                  <a:pt x="211" y="139"/>
                  <a:pt x="211" y="139"/>
                </a:cubicBezTo>
                <a:cubicBezTo>
                  <a:pt x="211" y="139"/>
                  <a:pt x="211" y="138"/>
                  <a:pt x="211" y="138"/>
                </a:cubicBezTo>
                <a:cubicBezTo>
                  <a:pt x="211" y="138"/>
                  <a:pt x="210" y="138"/>
                  <a:pt x="210" y="138"/>
                </a:cubicBezTo>
                <a:cubicBezTo>
                  <a:pt x="210" y="138"/>
                  <a:pt x="210" y="138"/>
                  <a:pt x="210" y="138"/>
                </a:cubicBezTo>
                <a:cubicBezTo>
                  <a:pt x="209" y="138"/>
                  <a:pt x="209" y="138"/>
                  <a:pt x="209" y="138"/>
                </a:cubicBezTo>
                <a:cubicBezTo>
                  <a:pt x="208" y="137"/>
                  <a:pt x="208" y="137"/>
                  <a:pt x="207" y="137"/>
                </a:cubicBezTo>
                <a:cubicBezTo>
                  <a:pt x="129" y="137"/>
                  <a:pt x="129" y="137"/>
                  <a:pt x="129" y="137"/>
                </a:cubicBezTo>
                <a:cubicBezTo>
                  <a:pt x="129" y="14"/>
                  <a:pt x="129" y="14"/>
                  <a:pt x="129" y="14"/>
                </a:cubicBezTo>
                <a:cubicBezTo>
                  <a:pt x="315" y="14"/>
                  <a:pt x="315" y="14"/>
                  <a:pt x="315" y="14"/>
                </a:cubicBezTo>
                <a:cubicBezTo>
                  <a:pt x="315" y="165"/>
                  <a:pt x="315" y="165"/>
                  <a:pt x="315" y="165"/>
                </a:cubicBezTo>
                <a:cubicBezTo>
                  <a:pt x="315" y="169"/>
                  <a:pt x="318" y="172"/>
                  <a:pt x="322" y="172"/>
                </a:cubicBezTo>
                <a:cubicBezTo>
                  <a:pt x="472" y="172"/>
                  <a:pt x="472" y="172"/>
                  <a:pt x="472" y="172"/>
                </a:cubicBezTo>
                <a:cubicBezTo>
                  <a:pt x="472" y="479"/>
                  <a:pt x="472" y="479"/>
                  <a:pt x="472" y="479"/>
                </a:cubicBezTo>
                <a:lnTo>
                  <a:pt x="372" y="479"/>
                </a:ln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9250" name="Oval 59"/>
          <p:cNvSpPr>
            <a:spLocks noChangeArrowheads="1"/>
          </p:cNvSpPr>
          <p:nvPr/>
        </p:nvSpPr>
        <p:spPr bwMode="auto">
          <a:xfrm>
            <a:off x="1315706" y="4711628"/>
            <a:ext cx="1119124" cy="1119124"/>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6172" name="Freeform 94"/>
          <p:cNvSpPr>
            <a:spLocks noEditPoints="1"/>
          </p:cNvSpPr>
          <p:nvPr/>
        </p:nvSpPr>
        <p:spPr bwMode="auto">
          <a:xfrm>
            <a:off x="1532235" y="4914998"/>
            <a:ext cx="684889" cy="712384"/>
          </a:xfrm>
          <a:custGeom>
            <a:avLst/>
            <a:gdLst>
              <a:gd name="T0" fmla="*/ 648 w 650"/>
              <a:gd name="T1" fmla="*/ 264 h 677"/>
              <a:gd name="T2" fmla="*/ 468 w 650"/>
              <a:gd name="T3" fmla="*/ 3 h 677"/>
              <a:gd name="T4" fmla="*/ 462 w 650"/>
              <a:gd name="T5" fmla="*/ 0 h 677"/>
              <a:gd name="T6" fmla="*/ 348 w 650"/>
              <a:gd name="T7" fmla="*/ 42 h 677"/>
              <a:gd name="T8" fmla="*/ 324 w 650"/>
              <a:gd name="T9" fmla="*/ 55 h 677"/>
              <a:gd name="T10" fmla="*/ 309 w 650"/>
              <a:gd name="T11" fmla="*/ 48 h 677"/>
              <a:gd name="T12" fmla="*/ 260 w 650"/>
              <a:gd name="T13" fmla="*/ 34 h 677"/>
              <a:gd name="T14" fmla="*/ 155 w 650"/>
              <a:gd name="T15" fmla="*/ 65 h 677"/>
              <a:gd name="T16" fmla="*/ 33 w 650"/>
              <a:gd name="T17" fmla="*/ 139 h 677"/>
              <a:gd name="T18" fmla="*/ 31 w 650"/>
              <a:gd name="T19" fmla="*/ 144 h 677"/>
              <a:gd name="T20" fmla="*/ 33 w 650"/>
              <a:gd name="T21" fmla="*/ 149 h 677"/>
              <a:gd name="T22" fmla="*/ 191 w 650"/>
              <a:gd name="T23" fmla="*/ 425 h 677"/>
              <a:gd name="T24" fmla="*/ 14 w 650"/>
              <a:gd name="T25" fmla="*/ 119 h 677"/>
              <a:gd name="T26" fmla="*/ 4 w 650"/>
              <a:gd name="T27" fmla="*/ 116 h 677"/>
              <a:gd name="T28" fmla="*/ 2 w 650"/>
              <a:gd name="T29" fmla="*/ 126 h 677"/>
              <a:gd name="T30" fmla="*/ 317 w 650"/>
              <a:gd name="T31" fmla="*/ 674 h 677"/>
              <a:gd name="T32" fmla="*/ 323 w 650"/>
              <a:gd name="T33" fmla="*/ 677 h 677"/>
              <a:gd name="T34" fmla="*/ 327 w 650"/>
              <a:gd name="T35" fmla="*/ 676 h 677"/>
              <a:gd name="T36" fmla="*/ 329 w 650"/>
              <a:gd name="T37" fmla="*/ 667 h 677"/>
              <a:gd name="T38" fmla="*/ 195 w 650"/>
              <a:gd name="T39" fmla="*/ 433 h 677"/>
              <a:gd name="T40" fmla="*/ 198 w 650"/>
              <a:gd name="T41" fmla="*/ 433 h 677"/>
              <a:gd name="T42" fmla="*/ 202 w 650"/>
              <a:gd name="T43" fmla="*/ 432 h 677"/>
              <a:gd name="T44" fmla="*/ 405 w 650"/>
              <a:gd name="T45" fmla="*/ 327 h 677"/>
              <a:gd name="T46" fmla="*/ 434 w 650"/>
              <a:gd name="T47" fmla="*/ 342 h 677"/>
              <a:gd name="T48" fmla="*/ 462 w 650"/>
              <a:gd name="T49" fmla="*/ 357 h 677"/>
              <a:gd name="T50" fmla="*/ 501 w 650"/>
              <a:gd name="T51" fmla="*/ 336 h 677"/>
              <a:gd name="T52" fmla="*/ 643 w 650"/>
              <a:gd name="T53" fmla="*/ 275 h 677"/>
              <a:gd name="T54" fmla="*/ 649 w 650"/>
              <a:gd name="T55" fmla="*/ 272 h 677"/>
              <a:gd name="T56" fmla="*/ 648 w 650"/>
              <a:gd name="T57" fmla="*/ 264 h 677"/>
              <a:gd name="T58" fmla="*/ 493 w 650"/>
              <a:gd name="T59" fmla="*/ 325 h 677"/>
              <a:gd name="T60" fmla="*/ 462 w 650"/>
              <a:gd name="T61" fmla="*/ 343 h 677"/>
              <a:gd name="T62" fmla="*/ 444 w 650"/>
              <a:gd name="T63" fmla="*/ 332 h 677"/>
              <a:gd name="T64" fmla="*/ 405 w 650"/>
              <a:gd name="T65" fmla="*/ 313 h 677"/>
              <a:gd name="T66" fmla="*/ 204 w 650"/>
              <a:gd name="T67" fmla="*/ 413 h 677"/>
              <a:gd name="T68" fmla="*/ 48 w 650"/>
              <a:gd name="T69" fmla="*/ 144 h 677"/>
              <a:gd name="T70" fmla="*/ 161 w 650"/>
              <a:gd name="T71" fmla="*/ 78 h 677"/>
              <a:gd name="T72" fmla="*/ 260 w 650"/>
              <a:gd name="T73" fmla="*/ 48 h 677"/>
              <a:gd name="T74" fmla="*/ 301 w 650"/>
              <a:gd name="T75" fmla="*/ 60 h 677"/>
              <a:gd name="T76" fmla="*/ 324 w 650"/>
              <a:gd name="T77" fmla="*/ 69 h 677"/>
              <a:gd name="T78" fmla="*/ 355 w 650"/>
              <a:gd name="T79" fmla="*/ 54 h 677"/>
              <a:gd name="T80" fmla="*/ 459 w 650"/>
              <a:gd name="T81" fmla="*/ 14 h 677"/>
              <a:gd name="T82" fmla="*/ 630 w 650"/>
              <a:gd name="T83" fmla="*/ 262 h 677"/>
              <a:gd name="T84" fmla="*/ 493 w 650"/>
              <a:gd name="T85" fmla="*/ 325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50" h="677">
                <a:moveTo>
                  <a:pt x="648" y="264"/>
                </a:moveTo>
                <a:cubicBezTo>
                  <a:pt x="468" y="3"/>
                  <a:pt x="468" y="3"/>
                  <a:pt x="468" y="3"/>
                </a:cubicBezTo>
                <a:cubicBezTo>
                  <a:pt x="467" y="1"/>
                  <a:pt x="465" y="0"/>
                  <a:pt x="462" y="0"/>
                </a:cubicBezTo>
                <a:cubicBezTo>
                  <a:pt x="418" y="0"/>
                  <a:pt x="376" y="25"/>
                  <a:pt x="348" y="42"/>
                </a:cubicBezTo>
                <a:cubicBezTo>
                  <a:pt x="338" y="48"/>
                  <a:pt x="327" y="55"/>
                  <a:pt x="324" y="55"/>
                </a:cubicBezTo>
                <a:cubicBezTo>
                  <a:pt x="319" y="55"/>
                  <a:pt x="314" y="52"/>
                  <a:pt x="309" y="48"/>
                </a:cubicBezTo>
                <a:cubicBezTo>
                  <a:pt x="299" y="42"/>
                  <a:pt x="286" y="34"/>
                  <a:pt x="260" y="34"/>
                </a:cubicBezTo>
                <a:cubicBezTo>
                  <a:pt x="240" y="34"/>
                  <a:pt x="200" y="46"/>
                  <a:pt x="155" y="65"/>
                </a:cubicBezTo>
                <a:cubicBezTo>
                  <a:pt x="107" y="87"/>
                  <a:pt x="62" y="114"/>
                  <a:pt x="33" y="139"/>
                </a:cubicBezTo>
                <a:cubicBezTo>
                  <a:pt x="32" y="140"/>
                  <a:pt x="31" y="142"/>
                  <a:pt x="31" y="144"/>
                </a:cubicBezTo>
                <a:cubicBezTo>
                  <a:pt x="31" y="146"/>
                  <a:pt x="31" y="148"/>
                  <a:pt x="33" y="149"/>
                </a:cubicBezTo>
                <a:cubicBezTo>
                  <a:pt x="128" y="233"/>
                  <a:pt x="192" y="362"/>
                  <a:pt x="191" y="425"/>
                </a:cubicBezTo>
                <a:cubicBezTo>
                  <a:pt x="14" y="119"/>
                  <a:pt x="14" y="119"/>
                  <a:pt x="14" y="119"/>
                </a:cubicBezTo>
                <a:cubicBezTo>
                  <a:pt x="12" y="115"/>
                  <a:pt x="8" y="114"/>
                  <a:pt x="4" y="116"/>
                </a:cubicBezTo>
                <a:cubicBezTo>
                  <a:pt x="1" y="118"/>
                  <a:pt x="0" y="122"/>
                  <a:pt x="2" y="126"/>
                </a:cubicBezTo>
                <a:cubicBezTo>
                  <a:pt x="317" y="674"/>
                  <a:pt x="317" y="674"/>
                  <a:pt x="317" y="674"/>
                </a:cubicBezTo>
                <a:cubicBezTo>
                  <a:pt x="319" y="676"/>
                  <a:pt x="321" y="677"/>
                  <a:pt x="323" y="677"/>
                </a:cubicBezTo>
                <a:cubicBezTo>
                  <a:pt x="325" y="677"/>
                  <a:pt x="326" y="677"/>
                  <a:pt x="327" y="676"/>
                </a:cubicBezTo>
                <a:cubicBezTo>
                  <a:pt x="330" y="674"/>
                  <a:pt x="331" y="670"/>
                  <a:pt x="329" y="667"/>
                </a:cubicBezTo>
                <a:cubicBezTo>
                  <a:pt x="195" y="433"/>
                  <a:pt x="195" y="433"/>
                  <a:pt x="195" y="433"/>
                </a:cubicBezTo>
                <a:cubicBezTo>
                  <a:pt x="196" y="433"/>
                  <a:pt x="197" y="433"/>
                  <a:pt x="198" y="433"/>
                </a:cubicBezTo>
                <a:cubicBezTo>
                  <a:pt x="199" y="433"/>
                  <a:pt x="201" y="433"/>
                  <a:pt x="202" y="432"/>
                </a:cubicBezTo>
                <a:cubicBezTo>
                  <a:pt x="266" y="382"/>
                  <a:pt x="378" y="327"/>
                  <a:pt x="405" y="327"/>
                </a:cubicBezTo>
                <a:cubicBezTo>
                  <a:pt x="419" y="327"/>
                  <a:pt x="426" y="334"/>
                  <a:pt x="434" y="342"/>
                </a:cubicBezTo>
                <a:cubicBezTo>
                  <a:pt x="442" y="350"/>
                  <a:pt x="450" y="357"/>
                  <a:pt x="462" y="357"/>
                </a:cubicBezTo>
                <a:cubicBezTo>
                  <a:pt x="470" y="357"/>
                  <a:pt x="479" y="351"/>
                  <a:pt x="501" y="336"/>
                </a:cubicBezTo>
                <a:cubicBezTo>
                  <a:pt x="536" y="312"/>
                  <a:pt x="589" y="275"/>
                  <a:pt x="643" y="275"/>
                </a:cubicBezTo>
                <a:cubicBezTo>
                  <a:pt x="645" y="275"/>
                  <a:pt x="648" y="274"/>
                  <a:pt x="649" y="272"/>
                </a:cubicBezTo>
                <a:cubicBezTo>
                  <a:pt x="650" y="269"/>
                  <a:pt x="650" y="266"/>
                  <a:pt x="648" y="264"/>
                </a:cubicBezTo>
                <a:close/>
                <a:moveTo>
                  <a:pt x="493" y="325"/>
                </a:moveTo>
                <a:cubicBezTo>
                  <a:pt x="480" y="333"/>
                  <a:pt x="466" y="343"/>
                  <a:pt x="462" y="343"/>
                </a:cubicBezTo>
                <a:cubicBezTo>
                  <a:pt x="456" y="343"/>
                  <a:pt x="451" y="339"/>
                  <a:pt x="444" y="332"/>
                </a:cubicBezTo>
                <a:cubicBezTo>
                  <a:pt x="435" y="324"/>
                  <a:pt x="424" y="313"/>
                  <a:pt x="405" y="313"/>
                </a:cubicBezTo>
                <a:cubicBezTo>
                  <a:pt x="375" y="313"/>
                  <a:pt x="269" y="366"/>
                  <a:pt x="204" y="413"/>
                </a:cubicBezTo>
                <a:cubicBezTo>
                  <a:pt x="198" y="325"/>
                  <a:pt x="112" y="204"/>
                  <a:pt x="48" y="144"/>
                </a:cubicBezTo>
                <a:cubicBezTo>
                  <a:pt x="76" y="121"/>
                  <a:pt x="117" y="98"/>
                  <a:pt x="161" y="78"/>
                </a:cubicBezTo>
                <a:cubicBezTo>
                  <a:pt x="203" y="60"/>
                  <a:pt x="242" y="48"/>
                  <a:pt x="260" y="48"/>
                </a:cubicBezTo>
                <a:cubicBezTo>
                  <a:pt x="282" y="48"/>
                  <a:pt x="292" y="54"/>
                  <a:pt x="301" y="60"/>
                </a:cubicBezTo>
                <a:cubicBezTo>
                  <a:pt x="308" y="65"/>
                  <a:pt x="314" y="69"/>
                  <a:pt x="324" y="69"/>
                </a:cubicBezTo>
                <a:cubicBezTo>
                  <a:pt x="330" y="69"/>
                  <a:pt x="339" y="64"/>
                  <a:pt x="355" y="54"/>
                </a:cubicBezTo>
                <a:cubicBezTo>
                  <a:pt x="381" y="39"/>
                  <a:pt x="419" y="16"/>
                  <a:pt x="459" y="14"/>
                </a:cubicBezTo>
                <a:cubicBezTo>
                  <a:pt x="630" y="262"/>
                  <a:pt x="630" y="262"/>
                  <a:pt x="630" y="262"/>
                </a:cubicBezTo>
                <a:cubicBezTo>
                  <a:pt x="577" y="267"/>
                  <a:pt x="527" y="301"/>
                  <a:pt x="493" y="325"/>
                </a:cubicBez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9249" name="Oval 58"/>
          <p:cNvSpPr>
            <a:spLocks noChangeArrowheads="1"/>
          </p:cNvSpPr>
          <p:nvPr/>
        </p:nvSpPr>
        <p:spPr bwMode="auto">
          <a:xfrm>
            <a:off x="3073678" y="4711628"/>
            <a:ext cx="1119124" cy="1119124"/>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9295" name="Freeform 108"/>
          <p:cNvSpPr>
            <a:spLocks noEditPoints="1"/>
          </p:cNvSpPr>
          <p:nvPr/>
        </p:nvSpPr>
        <p:spPr bwMode="auto">
          <a:xfrm>
            <a:off x="3298207" y="4940861"/>
            <a:ext cx="625393" cy="659484"/>
          </a:xfrm>
          <a:custGeom>
            <a:avLst/>
            <a:gdLst>
              <a:gd name="T0" fmla="*/ 594 w 594"/>
              <a:gd name="T1" fmla="*/ 421 h 627"/>
              <a:gd name="T2" fmla="*/ 594 w 594"/>
              <a:gd name="T3" fmla="*/ 420 h 627"/>
              <a:gd name="T4" fmla="*/ 594 w 594"/>
              <a:gd name="T5" fmla="*/ 419 h 627"/>
              <a:gd name="T6" fmla="*/ 594 w 594"/>
              <a:gd name="T7" fmla="*/ 418 h 627"/>
              <a:gd name="T8" fmla="*/ 499 w 594"/>
              <a:gd name="T9" fmla="*/ 149 h 627"/>
              <a:gd name="T10" fmla="*/ 498 w 594"/>
              <a:gd name="T11" fmla="*/ 147 h 627"/>
              <a:gd name="T12" fmla="*/ 496 w 594"/>
              <a:gd name="T13" fmla="*/ 146 h 627"/>
              <a:gd name="T14" fmla="*/ 494 w 594"/>
              <a:gd name="T15" fmla="*/ 145 h 627"/>
              <a:gd name="T16" fmla="*/ 329 w 594"/>
              <a:gd name="T17" fmla="*/ 100 h 627"/>
              <a:gd name="T18" fmla="*/ 305 w 594"/>
              <a:gd name="T19" fmla="*/ 68 h 627"/>
              <a:gd name="T20" fmla="*/ 298 w 594"/>
              <a:gd name="T21" fmla="*/ 0 h 627"/>
              <a:gd name="T22" fmla="*/ 291 w 594"/>
              <a:gd name="T23" fmla="*/ 68 h 627"/>
              <a:gd name="T24" fmla="*/ 105 w 594"/>
              <a:gd name="T25" fmla="*/ 39 h 627"/>
              <a:gd name="T26" fmla="*/ 103 w 594"/>
              <a:gd name="T27" fmla="*/ 38 h 627"/>
              <a:gd name="T28" fmla="*/ 101 w 594"/>
              <a:gd name="T29" fmla="*/ 39 h 627"/>
              <a:gd name="T30" fmla="*/ 99 w 594"/>
              <a:gd name="T31" fmla="*/ 40 h 627"/>
              <a:gd name="T32" fmla="*/ 97 w 594"/>
              <a:gd name="T33" fmla="*/ 41 h 627"/>
              <a:gd name="T34" fmla="*/ 97 w 594"/>
              <a:gd name="T35" fmla="*/ 43 h 627"/>
              <a:gd name="T36" fmla="*/ 1 w 594"/>
              <a:gd name="T37" fmla="*/ 310 h 627"/>
              <a:gd name="T38" fmla="*/ 0 w 594"/>
              <a:gd name="T39" fmla="*/ 311 h 627"/>
              <a:gd name="T40" fmla="*/ 0 w 594"/>
              <a:gd name="T41" fmla="*/ 313 h 627"/>
              <a:gd name="T42" fmla="*/ 0 w 594"/>
              <a:gd name="T43" fmla="*/ 314 h 627"/>
              <a:gd name="T44" fmla="*/ 1 w 594"/>
              <a:gd name="T45" fmla="*/ 315 h 627"/>
              <a:gd name="T46" fmla="*/ 1 w 594"/>
              <a:gd name="T47" fmla="*/ 316 h 627"/>
              <a:gd name="T48" fmla="*/ 1 w 594"/>
              <a:gd name="T49" fmla="*/ 316 h 627"/>
              <a:gd name="T50" fmla="*/ 205 w 594"/>
              <a:gd name="T51" fmla="*/ 316 h 627"/>
              <a:gd name="T52" fmla="*/ 205 w 594"/>
              <a:gd name="T53" fmla="*/ 316 h 627"/>
              <a:gd name="T54" fmla="*/ 205 w 594"/>
              <a:gd name="T55" fmla="*/ 315 h 627"/>
              <a:gd name="T56" fmla="*/ 206 w 594"/>
              <a:gd name="T57" fmla="*/ 314 h 627"/>
              <a:gd name="T58" fmla="*/ 206 w 594"/>
              <a:gd name="T59" fmla="*/ 313 h 627"/>
              <a:gd name="T60" fmla="*/ 206 w 594"/>
              <a:gd name="T61" fmla="*/ 311 h 627"/>
              <a:gd name="T62" fmla="*/ 205 w 594"/>
              <a:gd name="T63" fmla="*/ 310 h 627"/>
              <a:gd name="T64" fmla="*/ 266 w 594"/>
              <a:gd name="T65" fmla="*/ 97 h 627"/>
              <a:gd name="T66" fmla="*/ 291 w 594"/>
              <a:gd name="T67" fmla="*/ 130 h 627"/>
              <a:gd name="T68" fmla="*/ 182 w 594"/>
              <a:gd name="T69" fmla="*/ 578 h 627"/>
              <a:gd name="T70" fmla="*/ 146 w 594"/>
              <a:gd name="T71" fmla="*/ 627 h 627"/>
              <a:gd name="T72" fmla="*/ 457 w 594"/>
              <a:gd name="T73" fmla="*/ 620 h 627"/>
              <a:gd name="T74" fmla="*/ 305 w 594"/>
              <a:gd name="T75" fmla="*/ 578 h 627"/>
              <a:gd name="T76" fmla="*/ 326 w 594"/>
              <a:gd name="T77" fmla="*/ 114 h 627"/>
              <a:gd name="T78" fmla="*/ 389 w 594"/>
              <a:gd name="T79" fmla="*/ 418 h 627"/>
              <a:gd name="T80" fmla="*/ 389 w 594"/>
              <a:gd name="T81" fmla="*/ 419 h 627"/>
              <a:gd name="T82" fmla="*/ 388 w 594"/>
              <a:gd name="T83" fmla="*/ 420 h 627"/>
              <a:gd name="T84" fmla="*/ 389 w 594"/>
              <a:gd name="T85" fmla="*/ 421 h 627"/>
              <a:gd name="T86" fmla="*/ 389 w 594"/>
              <a:gd name="T87" fmla="*/ 422 h 627"/>
              <a:gd name="T88" fmla="*/ 390 w 594"/>
              <a:gd name="T89" fmla="*/ 424 h 627"/>
              <a:gd name="T90" fmla="*/ 390 w 594"/>
              <a:gd name="T91" fmla="*/ 424 h 627"/>
              <a:gd name="T92" fmla="*/ 593 w 594"/>
              <a:gd name="T93" fmla="*/ 424 h 627"/>
              <a:gd name="T94" fmla="*/ 593 w 594"/>
              <a:gd name="T95" fmla="*/ 424 h 627"/>
              <a:gd name="T96" fmla="*/ 594 w 594"/>
              <a:gd name="T97" fmla="*/ 422 h 627"/>
              <a:gd name="T98" fmla="*/ 103 w 594"/>
              <a:gd name="T99" fmla="*/ 66 h 627"/>
              <a:gd name="T100" fmla="*/ 17 w 594"/>
              <a:gd name="T101" fmla="*/ 306 h 627"/>
              <a:gd name="T102" fmla="*/ 103 w 594"/>
              <a:gd name="T103" fmla="*/ 353 h 627"/>
              <a:gd name="T104" fmla="*/ 185 w 594"/>
              <a:gd name="T105" fmla="*/ 320 h 627"/>
              <a:gd name="T106" fmla="*/ 442 w 594"/>
              <a:gd name="T107" fmla="*/ 613 h 627"/>
              <a:gd name="T108" fmla="*/ 182 w 594"/>
              <a:gd name="T109" fmla="*/ 592 h 627"/>
              <a:gd name="T110" fmla="*/ 442 w 594"/>
              <a:gd name="T111" fmla="*/ 613 h 627"/>
              <a:gd name="T112" fmla="*/ 280 w 594"/>
              <a:gd name="T113" fmla="*/ 99 h 627"/>
              <a:gd name="T114" fmla="*/ 315 w 594"/>
              <a:gd name="T115" fmla="*/ 99 h 627"/>
              <a:gd name="T116" fmla="*/ 577 w 594"/>
              <a:gd name="T117" fmla="*/ 413 h 627"/>
              <a:gd name="T118" fmla="*/ 492 w 594"/>
              <a:gd name="T119" fmla="*/ 173 h 627"/>
              <a:gd name="T120" fmla="*/ 491 w 594"/>
              <a:gd name="T121" fmla="*/ 460 h 627"/>
              <a:gd name="T122" fmla="*/ 573 w 594"/>
              <a:gd name="T123" fmla="*/ 427 h 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94" h="627">
                <a:moveTo>
                  <a:pt x="594" y="422"/>
                </a:moveTo>
                <a:cubicBezTo>
                  <a:pt x="594" y="422"/>
                  <a:pt x="594" y="421"/>
                  <a:pt x="594" y="421"/>
                </a:cubicBezTo>
                <a:cubicBezTo>
                  <a:pt x="594" y="421"/>
                  <a:pt x="594" y="421"/>
                  <a:pt x="594" y="420"/>
                </a:cubicBezTo>
                <a:cubicBezTo>
                  <a:pt x="594" y="420"/>
                  <a:pt x="594" y="420"/>
                  <a:pt x="594" y="420"/>
                </a:cubicBezTo>
                <a:cubicBezTo>
                  <a:pt x="594" y="420"/>
                  <a:pt x="594" y="420"/>
                  <a:pt x="594" y="419"/>
                </a:cubicBezTo>
                <a:cubicBezTo>
                  <a:pt x="594" y="419"/>
                  <a:pt x="594" y="419"/>
                  <a:pt x="594" y="419"/>
                </a:cubicBezTo>
                <a:cubicBezTo>
                  <a:pt x="594" y="419"/>
                  <a:pt x="594" y="418"/>
                  <a:pt x="594" y="418"/>
                </a:cubicBezTo>
                <a:cubicBezTo>
                  <a:pt x="594" y="418"/>
                  <a:pt x="594" y="418"/>
                  <a:pt x="594" y="418"/>
                </a:cubicBezTo>
                <a:cubicBezTo>
                  <a:pt x="499" y="149"/>
                  <a:pt x="499" y="149"/>
                  <a:pt x="499" y="149"/>
                </a:cubicBezTo>
                <a:cubicBezTo>
                  <a:pt x="499" y="149"/>
                  <a:pt x="499" y="149"/>
                  <a:pt x="499" y="149"/>
                </a:cubicBezTo>
                <a:cubicBezTo>
                  <a:pt x="498" y="149"/>
                  <a:pt x="498" y="148"/>
                  <a:pt x="498" y="148"/>
                </a:cubicBezTo>
                <a:cubicBezTo>
                  <a:pt x="498" y="148"/>
                  <a:pt x="498" y="148"/>
                  <a:pt x="498" y="147"/>
                </a:cubicBezTo>
                <a:cubicBezTo>
                  <a:pt x="497" y="147"/>
                  <a:pt x="497" y="147"/>
                  <a:pt x="496" y="146"/>
                </a:cubicBezTo>
                <a:cubicBezTo>
                  <a:pt x="496" y="146"/>
                  <a:pt x="496" y="146"/>
                  <a:pt x="496" y="146"/>
                </a:cubicBezTo>
                <a:cubicBezTo>
                  <a:pt x="495" y="146"/>
                  <a:pt x="495" y="145"/>
                  <a:pt x="494" y="145"/>
                </a:cubicBezTo>
                <a:cubicBezTo>
                  <a:pt x="494" y="145"/>
                  <a:pt x="494" y="145"/>
                  <a:pt x="494" y="145"/>
                </a:cubicBezTo>
                <a:cubicBezTo>
                  <a:pt x="494" y="145"/>
                  <a:pt x="494" y="145"/>
                  <a:pt x="494" y="145"/>
                </a:cubicBezTo>
                <a:cubicBezTo>
                  <a:pt x="329" y="100"/>
                  <a:pt x="329" y="100"/>
                  <a:pt x="329" y="100"/>
                </a:cubicBezTo>
                <a:cubicBezTo>
                  <a:pt x="329" y="100"/>
                  <a:pt x="329" y="99"/>
                  <a:pt x="329" y="99"/>
                </a:cubicBezTo>
                <a:cubicBezTo>
                  <a:pt x="329" y="84"/>
                  <a:pt x="319" y="72"/>
                  <a:pt x="305" y="68"/>
                </a:cubicBezTo>
                <a:cubicBezTo>
                  <a:pt x="305" y="7"/>
                  <a:pt x="305" y="7"/>
                  <a:pt x="305" y="7"/>
                </a:cubicBezTo>
                <a:cubicBezTo>
                  <a:pt x="305" y="3"/>
                  <a:pt x="302" y="0"/>
                  <a:pt x="298" y="0"/>
                </a:cubicBezTo>
                <a:cubicBezTo>
                  <a:pt x="294" y="0"/>
                  <a:pt x="291" y="3"/>
                  <a:pt x="291" y="7"/>
                </a:cubicBezTo>
                <a:cubicBezTo>
                  <a:pt x="291" y="68"/>
                  <a:pt x="291" y="68"/>
                  <a:pt x="291" y="68"/>
                </a:cubicBezTo>
                <a:cubicBezTo>
                  <a:pt x="282" y="70"/>
                  <a:pt x="275" y="76"/>
                  <a:pt x="270" y="84"/>
                </a:cubicBezTo>
                <a:cubicBezTo>
                  <a:pt x="105" y="39"/>
                  <a:pt x="105" y="39"/>
                  <a:pt x="105" y="39"/>
                </a:cubicBezTo>
                <a:cubicBezTo>
                  <a:pt x="104" y="39"/>
                  <a:pt x="104" y="39"/>
                  <a:pt x="103" y="39"/>
                </a:cubicBezTo>
                <a:cubicBezTo>
                  <a:pt x="103" y="39"/>
                  <a:pt x="103" y="38"/>
                  <a:pt x="103" y="38"/>
                </a:cubicBezTo>
                <a:cubicBezTo>
                  <a:pt x="103" y="38"/>
                  <a:pt x="103" y="39"/>
                  <a:pt x="103" y="39"/>
                </a:cubicBezTo>
                <a:cubicBezTo>
                  <a:pt x="102" y="39"/>
                  <a:pt x="102" y="39"/>
                  <a:pt x="101" y="39"/>
                </a:cubicBezTo>
                <a:cubicBezTo>
                  <a:pt x="101" y="39"/>
                  <a:pt x="101" y="39"/>
                  <a:pt x="101" y="39"/>
                </a:cubicBezTo>
                <a:cubicBezTo>
                  <a:pt x="100" y="39"/>
                  <a:pt x="100" y="39"/>
                  <a:pt x="99" y="40"/>
                </a:cubicBezTo>
                <a:cubicBezTo>
                  <a:pt x="99" y="40"/>
                  <a:pt x="99" y="40"/>
                  <a:pt x="99" y="40"/>
                </a:cubicBezTo>
                <a:cubicBezTo>
                  <a:pt x="98" y="40"/>
                  <a:pt x="98" y="41"/>
                  <a:pt x="97" y="41"/>
                </a:cubicBezTo>
                <a:cubicBezTo>
                  <a:pt x="97" y="41"/>
                  <a:pt x="97" y="41"/>
                  <a:pt x="97" y="41"/>
                </a:cubicBezTo>
                <a:cubicBezTo>
                  <a:pt x="97" y="42"/>
                  <a:pt x="97" y="42"/>
                  <a:pt x="97" y="43"/>
                </a:cubicBezTo>
                <a:cubicBezTo>
                  <a:pt x="97" y="43"/>
                  <a:pt x="96" y="43"/>
                  <a:pt x="96" y="43"/>
                </a:cubicBezTo>
                <a:cubicBezTo>
                  <a:pt x="1" y="310"/>
                  <a:pt x="1" y="310"/>
                  <a:pt x="1" y="310"/>
                </a:cubicBezTo>
                <a:cubicBezTo>
                  <a:pt x="0" y="310"/>
                  <a:pt x="0" y="310"/>
                  <a:pt x="0" y="311"/>
                </a:cubicBezTo>
                <a:cubicBezTo>
                  <a:pt x="0" y="311"/>
                  <a:pt x="0" y="311"/>
                  <a:pt x="0" y="311"/>
                </a:cubicBezTo>
                <a:cubicBezTo>
                  <a:pt x="0" y="312"/>
                  <a:pt x="0" y="312"/>
                  <a:pt x="0" y="312"/>
                </a:cubicBezTo>
                <a:cubicBezTo>
                  <a:pt x="0" y="312"/>
                  <a:pt x="0" y="312"/>
                  <a:pt x="0" y="313"/>
                </a:cubicBezTo>
                <a:cubicBezTo>
                  <a:pt x="0" y="313"/>
                  <a:pt x="0" y="313"/>
                  <a:pt x="0" y="313"/>
                </a:cubicBezTo>
                <a:cubicBezTo>
                  <a:pt x="0" y="313"/>
                  <a:pt x="0" y="313"/>
                  <a:pt x="0" y="314"/>
                </a:cubicBezTo>
                <a:cubicBezTo>
                  <a:pt x="0" y="314"/>
                  <a:pt x="0" y="314"/>
                  <a:pt x="0" y="314"/>
                </a:cubicBezTo>
                <a:cubicBezTo>
                  <a:pt x="0" y="315"/>
                  <a:pt x="1" y="315"/>
                  <a:pt x="1" y="315"/>
                </a:cubicBezTo>
                <a:cubicBezTo>
                  <a:pt x="1" y="315"/>
                  <a:pt x="1" y="316"/>
                  <a:pt x="1" y="316"/>
                </a:cubicBezTo>
                <a:cubicBezTo>
                  <a:pt x="1" y="316"/>
                  <a:pt x="1" y="316"/>
                  <a:pt x="1" y="316"/>
                </a:cubicBezTo>
                <a:cubicBezTo>
                  <a:pt x="1" y="316"/>
                  <a:pt x="1" y="316"/>
                  <a:pt x="1" y="316"/>
                </a:cubicBezTo>
                <a:cubicBezTo>
                  <a:pt x="1" y="316"/>
                  <a:pt x="1" y="316"/>
                  <a:pt x="1" y="316"/>
                </a:cubicBezTo>
                <a:cubicBezTo>
                  <a:pt x="21" y="347"/>
                  <a:pt x="60" y="367"/>
                  <a:pt x="103" y="367"/>
                </a:cubicBezTo>
                <a:cubicBezTo>
                  <a:pt x="146" y="367"/>
                  <a:pt x="185" y="347"/>
                  <a:pt x="205" y="316"/>
                </a:cubicBezTo>
                <a:cubicBezTo>
                  <a:pt x="205" y="316"/>
                  <a:pt x="205" y="316"/>
                  <a:pt x="205" y="316"/>
                </a:cubicBezTo>
                <a:cubicBezTo>
                  <a:pt x="205" y="316"/>
                  <a:pt x="205" y="316"/>
                  <a:pt x="205" y="316"/>
                </a:cubicBezTo>
                <a:cubicBezTo>
                  <a:pt x="205" y="316"/>
                  <a:pt x="205" y="316"/>
                  <a:pt x="205" y="316"/>
                </a:cubicBezTo>
                <a:cubicBezTo>
                  <a:pt x="205" y="316"/>
                  <a:pt x="205" y="315"/>
                  <a:pt x="205" y="315"/>
                </a:cubicBezTo>
                <a:cubicBezTo>
                  <a:pt x="205" y="315"/>
                  <a:pt x="206" y="315"/>
                  <a:pt x="206" y="314"/>
                </a:cubicBezTo>
                <a:cubicBezTo>
                  <a:pt x="206" y="314"/>
                  <a:pt x="206" y="314"/>
                  <a:pt x="206" y="314"/>
                </a:cubicBezTo>
                <a:cubicBezTo>
                  <a:pt x="206" y="313"/>
                  <a:pt x="206" y="313"/>
                  <a:pt x="206" y="313"/>
                </a:cubicBezTo>
                <a:cubicBezTo>
                  <a:pt x="206" y="313"/>
                  <a:pt x="206" y="313"/>
                  <a:pt x="206" y="313"/>
                </a:cubicBezTo>
                <a:cubicBezTo>
                  <a:pt x="206" y="312"/>
                  <a:pt x="206" y="312"/>
                  <a:pt x="206" y="312"/>
                </a:cubicBezTo>
                <a:cubicBezTo>
                  <a:pt x="206" y="312"/>
                  <a:pt x="206" y="312"/>
                  <a:pt x="206" y="311"/>
                </a:cubicBezTo>
                <a:cubicBezTo>
                  <a:pt x="206" y="311"/>
                  <a:pt x="206" y="311"/>
                  <a:pt x="206" y="311"/>
                </a:cubicBezTo>
                <a:cubicBezTo>
                  <a:pt x="206" y="310"/>
                  <a:pt x="206" y="310"/>
                  <a:pt x="205" y="310"/>
                </a:cubicBezTo>
                <a:cubicBezTo>
                  <a:pt x="114" y="56"/>
                  <a:pt x="114" y="56"/>
                  <a:pt x="114" y="56"/>
                </a:cubicBezTo>
                <a:cubicBezTo>
                  <a:pt x="266" y="97"/>
                  <a:pt x="266" y="97"/>
                  <a:pt x="266" y="97"/>
                </a:cubicBezTo>
                <a:cubicBezTo>
                  <a:pt x="266" y="98"/>
                  <a:pt x="266" y="99"/>
                  <a:pt x="266" y="99"/>
                </a:cubicBezTo>
                <a:cubicBezTo>
                  <a:pt x="266" y="114"/>
                  <a:pt x="277" y="127"/>
                  <a:pt x="291" y="130"/>
                </a:cubicBezTo>
                <a:cubicBezTo>
                  <a:pt x="291" y="578"/>
                  <a:pt x="291" y="578"/>
                  <a:pt x="291" y="578"/>
                </a:cubicBezTo>
                <a:cubicBezTo>
                  <a:pt x="182" y="578"/>
                  <a:pt x="182" y="578"/>
                  <a:pt x="182" y="578"/>
                </a:cubicBezTo>
                <a:cubicBezTo>
                  <a:pt x="158" y="578"/>
                  <a:pt x="139" y="597"/>
                  <a:pt x="139" y="620"/>
                </a:cubicBezTo>
                <a:cubicBezTo>
                  <a:pt x="139" y="624"/>
                  <a:pt x="142" y="627"/>
                  <a:pt x="146" y="627"/>
                </a:cubicBezTo>
                <a:cubicBezTo>
                  <a:pt x="450" y="627"/>
                  <a:pt x="450" y="627"/>
                  <a:pt x="450" y="627"/>
                </a:cubicBezTo>
                <a:cubicBezTo>
                  <a:pt x="454" y="627"/>
                  <a:pt x="457" y="624"/>
                  <a:pt x="457" y="620"/>
                </a:cubicBezTo>
                <a:cubicBezTo>
                  <a:pt x="457" y="597"/>
                  <a:pt x="437" y="578"/>
                  <a:pt x="414" y="578"/>
                </a:cubicBezTo>
                <a:cubicBezTo>
                  <a:pt x="305" y="578"/>
                  <a:pt x="305" y="578"/>
                  <a:pt x="305" y="578"/>
                </a:cubicBezTo>
                <a:cubicBezTo>
                  <a:pt x="305" y="130"/>
                  <a:pt x="305" y="130"/>
                  <a:pt x="305" y="130"/>
                </a:cubicBezTo>
                <a:cubicBezTo>
                  <a:pt x="314" y="128"/>
                  <a:pt x="322" y="122"/>
                  <a:pt x="326" y="114"/>
                </a:cubicBezTo>
                <a:cubicBezTo>
                  <a:pt x="483" y="157"/>
                  <a:pt x="483" y="157"/>
                  <a:pt x="483" y="157"/>
                </a:cubicBezTo>
                <a:cubicBezTo>
                  <a:pt x="389" y="418"/>
                  <a:pt x="389" y="418"/>
                  <a:pt x="389" y="418"/>
                </a:cubicBezTo>
                <a:cubicBezTo>
                  <a:pt x="389" y="418"/>
                  <a:pt x="389" y="418"/>
                  <a:pt x="389" y="418"/>
                </a:cubicBezTo>
                <a:cubicBezTo>
                  <a:pt x="389" y="418"/>
                  <a:pt x="389" y="419"/>
                  <a:pt x="389" y="419"/>
                </a:cubicBezTo>
                <a:cubicBezTo>
                  <a:pt x="389" y="419"/>
                  <a:pt x="389" y="419"/>
                  <a:pt x="389" y="419"/>
                </a:cubicBezTo>
                <a:cubicBezTo>
                  <a:pt x="389" y="420"/>
                  <a:pt x="388" y="420"/>
                  <a:pt x="388" y="420"/>
                </a:cubicBezTo>
                <a:cubicBezTo>
                  <a:pt x="388" y="420"/>
                  <a:pt x="389" y="420"/>
                  <a:pt x="389" y="420"/>
                </a:cubicBezTo>
                <a:cubicBezTo>
                  <a:pt x="389" y="421"/>
                  <a:pt x="389" y="421"/>
                  <a:pt x="389" y="421"/>
                </a:cubicBezTo>
                <a:cubicBezTo>
                  <a:pt x="389" y="421"/>
                  <a:pt x="389" y="422"/>
                  <a:pt x="389" y="422"/>
                </a:cubicBezTo>
                <a:cubicBezTo>
                  <a:pt x="389" y="422"/>
                  <a:pt x="389" y="422"/>
                  <a:pt x="389" y="422"/>
                </a:cubicBezTo>
                <a:cubicBezTo>
                  <a:pt x="389" y="423"/>
                  <a:pt x="389" y="423"/>
                  <a:pt x="389" y="423"/>
                </a:cubicBezTo>
                <a:cubicBezTo>
                  <a:pt x="389" y="423"/>
                  <a:pt x="389" y="424"/>
                  <a:pt x="390" y="424"/>
                </a:cubicBezTo>
                <a:cubicBezTo>
                  <a:pt x="390" y="424"/>
                  <a:pt x="390" y="424"/>
                  <a:pt x="390" y="424"/>
                </a:cubicBezTo>
                <a:cubicBezTo>
                  <a:pt x="390" y="424"/>
                  <a:pt x="390" y="424"/>
                  <a:pt x="390" y="424"/>
                </a:cubicBezTo>
                <a:cubicBezTo>
                  <a:pt x="409" y="455"/>
                  <a:pt x="448" y="474"/>
                  <a:pt x="491" y="474"/>
                </a:cubicBezTo>
                <a:cubicBezTo>
                  <a:pt x="534" y="474"/>
                  <a:pt x="573" y="455"/>
                  <a:pt x="593" y="424"/>
                </a:cubicBezTo>
                <a:cubicBezTo>
                  <a:pt x="593" y="424"/>
                  <a:pt x="593" y="424"/>
                  <a:pt x="593" y="424"/>
                </a:cubicBezTo>
                <a:cubicBezTo>
                  <a:pt x="593" y="424"/>
                  <a:pt x="593" y="424"/>
                  <a:pt x="593" y="424"/>
                </a:cubicBezTo>
                <a:cubicBezTo>
                  <a:pt x="593" y="424"/>
                  <a:pt x="593" y="423"/>
                  <a:pt x="593" y="423"/>
                </a:cubicBezTo>
                <a:cubicBezTo>
                  <a:pt x="593" y="423"/>
                  <a:pt x="594" y="423"/>
                  <a:pt x="594" y="422"/>
                </a:cubicBezTo>
                <a:cubicBezTo>
                  <a:pt x="594" y="422"/>
                  <a:pt x="594" y="422"/>
                  <a:pt x="594" y="422"/>
                </a:cubicBezTo>
                <a:close/>
                <a:moveTo>
                  <a:pt x="103" y="66"/>
                </a:moveTo>
                <a:cubicBezTo>
                  <a:pt x="189" y="306"/>
                  <a:pt x="189" y="306"/>
                  <a:pt x="189" y="306"/>
                </a:cubicBezTo>
                <a:cubicBezTo>
                  <a:pt x="17" y="306"/>
                  <a:pt x="17" y="306"/>
                  <a:pt x="17" y="306"/>
                </a:cubicBezTo>
                <a:lnTo>
                  <a:pt x="103" y="66"/>
                </a:lnTo>
                <a:close/>
                <a:moveTo>
                  <a:pt x="103" y="353"/>
                </a:moveTo>
                <a:cubicBezTo>
                  <a:pt x="70" y="353"/>
                  <a:pt x="40" y="340"/>
                  <a:pt x="21" y="320"/>
                </a:cubicBezTo>
                <a:cubicBezTo>
                  <a:pt x="185" y="320"/>
                  <a:pt x="185" y="320"/>
                  <a:pt x="185" y="320"/>
                </a:cubicBezTo>
                <a:cubicBezTo>
                  <a:pt x="166" y="340"/>
                  <a:pt x="136" y="353"/>
                  <a:pt x="103" y="353"/>
                </a:cubicBezTo>
                <a:close/>
                <a:moveTo>
                  <a:pt x="442" y="613"/>
                </a:moveTo>
                <a:cubicBezTo>
                  <a:pt x="154" y="613"/>
                  <a:pt x="154" y="613"/>
                  <a:pt x="154" y="613"/>
                </a:cubicBezTo>
                <a:cubicBezTo>
                  <a:pt x="157" y="601"/>
                  <a:pt x="168" y="592"/>
                  <a:pt x="182" y="592"/>
                </a:cubicBezTo>
                <a:cubicBezTo>
                  <a:pt x="414" y="592"/>
                  <a:pt x="414" y="592"/>
                  <a:pt x="414" y="592"/>
                </a:cubicBezTo>
                <a:cubicBezTo>
                  <a:pt x="427" y="592"/>
                  <a:pt x="439" y="601"/>
                  <a:pt x="442" y="613"/>
                </a:cubicBezTo>
                <a:close/>
                <a:moveTo>
                  <a:pt x="298" y="117"/>
                </a:moveTo>
                <a:cubicBezTo>
                  <a:pt x="288" y="117"/>
                  <a:pt x="280" y="109"/>
                  <a:pt x="280" y="99"/>
                </a:cubicBezTo>
                <a:cubicBezTo>
                  <a:pt x="280" y="90"/>
                  <a:pt x="288" y="82"/>
                  <a:pt x="298" y="82"/>
                </a:cubicBezTo>
                <a:cubicBezTo>
                  <a:pt x="308" y="82"/>
                  <a:pt x="315" y="90"/>
                  <a:pt x="315" y="99"/>
                </a:cubicBezTo>
                <a:cubicBezTo>
                  <a:pt x="315" y="109"/>
                  <a:pt x="308" y="117"/>
                  <a:pt x="298" y="117"/>
                </a:cubicBezTo>
                <a:close/>
                <a:moveTo>
                  <a:pt x="577" y="413"/>
                </a:moveTo>
                <a:cubicBezTo>
                  <a:pt x="405" y="413"/>
                  <a:pt x="405" y="413"/>
                  <a:pt x="405" y="413"/>
                </a:cubicBezTo>
                <a:cubicBezTo>
                  <a:pt x="492" y="173"/>
                  <a:pt x="492" y="173"/>
                  <a:pt x="492" y="173"/>
                </a:cubicBezTo>
                <a:lnTo>
                  <a:pt x="577" y="413"/>
                </a:lnTo>
                <a:close/>
                <a:moveTo>
                  <a:pt x="491" y="460"/>
                </a:moveTo>
                <a:cubicBezTo>
                  <a:pt x="458" y="460"/>
                  <a:pt x="428" y="448"/>
                  <a:pt x="410" y="427"/>
                </a:cubicBezTo>
                <a:cubicBezTo>
                  <a:pt x="573" y="427"/>
                  <a:pt x="573" y="427"/>
                  <a:pt x="573" y="427"/>
                </a:cubicBezTo>
                <a:cubicBezTo>
                  <a:pt x="554" y="448"/>
                  <a:pt x="524" y="460"/>
                  <a:pt x="491" y="460"/>
                </a:cubicBez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9233" name="Oval 50"/>
          <p:cNvSpPr>
            <a:spLocks noChangeArrowheads="1"/>
          </p:cNvSpPr>
          <p:nvPr/>
        </p:nvSpPr>
        <p:spPr bwMode="auto">
          <a:xfrm>
            <a:off x="3073678" y="1528549"/>
            <a:ext cx="1119124" cy="1119124"/>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9299" name="Freeform 112"/>
          <p:cNvSpPr>
            <a:spLocks noEditPoints="1"/>
          </p:cNvSpPr>
          <p:nvPr/>
        </p:nvSpPr>
        <p:spPr bwMode="auto">
          <a:xfrm>
            <a:off x="3326422" y="1762976"/>
            <a:ext cx="614813" cy="627888"/>
          </a:xfrm>
          <a:custGeom>
            <a:avLst/>
            <a:gdLst>
              <a:gd name="T0" fmla="*/ 359 w 584"/>
              <a:gd name="T1" fmla="*/ 163 h 595"/>
              <a:gd name="T2" fmla="*/ 7 w 584"/>
              <a:gd name="T3" fmla="*/ 163 h 595"/>
              <a:gd name="T4" fmla="*/ 0 w 584"/>
              <a:gd name="T5" fmla="*/ 281 h 595"/>
              <a:gd name="T6" fmla="*/ 30 w 584"/>
              <a:gd name="T7" fmla="*/ 288 h 595"/>
              <a:gd name="T8" fmla="*/ 37 w 584"/>
              <a:gd name="T9" fmla="*/ 595 h 595"/>
              <a:gd name="T10" fmla="*/ 359 w 584"/>
              <a:gd name="T11" fmla="*/ 595 h 595"/>
              <a:gd name="T12" fmla="*/ 554 w 584"/>
              <a:gd name="T13" fmla="*/ 588 h 595"/>
              <a:gd name="T14" fmla="*/ 577 w 584"/>
              <a:gd name="T15" fmla="*/ 288 h 595"/>
              <a:gd name="T16" fmla="*/ 584 w 584"/>
              <a:gd name="T17" fmla="*/ 170 h 595"/>
              <a:gd name="T18" fmla="*/ 14 w 584"/>
              <a:gd name="T19" fmla="*/ 177 h 595"/>
              <a:gd name="T20" fmla="*/ 218 w 584"/>
              <a:gd name="T21" fmla="*/ 274 h 595"/>
              <a:gd name="T22" fmla="*/ 14 w 584"/>
              <a:gd name="T23" fmla="*/ 177 h 595"/>
              <a:gd name="T24" fmla="*/ 218 w 584"/>
              <a:gd name="T25" fmla="*/ 288 h 595"/>
              <a:gd name="T26" fmla="*/ 44 w 584"/>
              <a:gd name="T27" fmla="*/ 581 h 595"/>
              <a:gd name="T28" fmla="*/ 232 w 584"/>
              <a:gd name="T29" fmla="*/ 581 h 595"/>
              <a:gd name="T30" fmla="*/ 352 w 584"/>
              <a:gd name="T31" fmla="*/ 177 h 595"/>
              <a:gd name="T32" fmla="*/ 232 w 584"/>
              <a:gd name="T33" fmla="*/ 581 h 595"/>
              <a:gd name="T34" fmla="*/ 366 w 584"/>
              <a:gd name="T35" fmla="*/ 581 h 595"/>
              <a:gd name="T36" fmla="*/ 540 w 584"/>
              <a:gd name="T37" fmla="*/ 288 h 595"/>
              <a:gd name="T38" fmla="*/ 570 w 584"/>
              <a:gd name="T39" fmla="*/ 274 h 595"/>
              <a:gd name="T40" fmla="*/ 366 w 584"/>
              <a:gd name="T41" fmla="*/ 177 h 595"/>
              <a:gd name="T42" fmla="*/ 570 w 584"/>
              <a:gd name="T43" fmla="*/ 274 h 595"/>
              <a:gd name="T44" fmla="*/ 292 w 584"/>
              <a:gd name="T45" fmla="*/ 141 h 595"/>
              <a:gd name="T46" fmla="*/ 480 w 584"/>
              <a:gd name="T47" fmla="*/ 114 h 595"/>
              <a:gd name="T48" fmla="*/ 451 w 584"/>
              <a:gd name="T49" fmla="*/ 0 h 595"/>
              <a:gd name="T50" fmla="*/ 292 w 584"/>
              <a:gd name="T51" fmla="*/ 127 h 595"/>
              <a:gd name="T52" fmla="*/ 133 w 584"/>
              <a:gd name="T53" fmla="*/ 0 h 595"/>
              <a:gd name="T54" fmla="*/ 104 w 584"/>
              <a:gd name="T55" fmla="*/ 114 h 595"/>
              <a:gd name="T56" fmla="*/ 369 w 584"/>
              <a:gd name="T57" fmla="*/ 77 h 595"/>
              <a:gd name="T58" fmla="*/ 492 w 584"/>
              <a:gd name="T59" fmla="*/ 57 h 595"/>
              <a:gd name="T60" fmla="*/ 400 w 584"/>
              <a:gd name="T61" fmla="*/ 127 h 595"/>
              <a:gd name="T62" fmla="*/ 369 w 584"/>
              <a:gd name="T63" fmla="*/ 77 h 595"/>
              <a:gd name="T64" fmla="*/ 215 w 584"/>
              <a:gd name="T65" fmla="*/ 77 h 595"/>
              <a:gd name="T66" fmla="*/ 184 w 584"/>
              <a:gd name="T67" fmla="*/ 127 h 595"/>
              <a:gd name="T68" fmla="*/ 91 w 584"/>
              <a:gd name="T69" fmla="*/ 57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84" h="595">
                <a:moveTo>
                  <a:pt x="577" y="163"/>
                </a:moveTo>
                <a:cubicBezTo>
                  <a:pt x="359" y="163"/>
                  <a:pt x="359" y="163"/>
                  <a:pt x="359" y="163"/>
                </a:cubicBezTo>
                <a:cubicBezTo>
                  <a:pt x="225" y="163"/>
                  <a:pt x="225" y="163"/>
                  <a:pt x="225" y="163"/>
                </a:cubicBezTo>
                <a:cubicBezTo>
                  <a:pt x="7" y="163"/>
                  <a:pt x="7" y="163"/>
                  <a:pt x="7" y="163"/>
                </a:cubicBezTo>
                <a:cubicBezTo>
                  <a:pt x="3" y="163"/>
                  <a:pt x="0" y="166"/>
                  <a:pt x="0" y="170"/>
                </a:cubicBezTo>
                <a:cubicBezTo>
                  <a:pt x="0" y="281"/>
                  <a:pt x="0" y="281"/>
                  <a:pt x="0" y="281"/>
                </a:cubicBezTo>
                <a:cubicBezTo>
                  <a:pt x="0" y="285"/>
                  <a:pt x="3" y="288"/>
                  <a:pt x="7" y="288"/>
                </a:cubicBezTo>
                <a:cubicBezTo>
                  <a:pt x="30" y="288"/>
                  <a:pt x="30" y="288"/>
                  <a:pt x="30" y="288"/>
                </a:cubicBezTo>
                <a:cubicBezTo>
                  <a:pt x="30" y="588"/>
                  <a:pt x="30" y="588"/>
                  <a:pt x="30" y="588"/>
                </a:cubicBezTo>
                <a:cubicBezTo>
                  <a:pt x="30" y="592"/>
                  <a:pt x="33" y="595"/>
                  <a:pt x="37" y="595"/>
                </a:cubicBezTo>
                <a:cubicBezTo>
                  <a:pt x="225" y="595"/>
                  <a:pt x="225" y="595"/>
                  <a:pt x="225" y="595"/>
                </a:cubicBezTo>
                <a:cubicBezTo>
                  <a:pt x="359" y="595"/>
                  <a:pt x="359" y="595"/>
                  <a:pt x="359" y="595"/>
                </a:cubicBezTo>
                <a:cubicBezTo>
                  <a:pt x="547" y="595"/>
                  <a:pt x="547" y="595"/>
                  <a:pt x="547" y="595"/>
                </a:cubicBezTo>
                <a:cubicBezTo>
                  <a:pt x="551" y="595"/>
                  <a:pt x="554" y="592"/>
                  <a:pt x="554" y="588"/>
                </a:cubicBezTo>
                <a:cubicBezTo>
                  <a:pt x="554" y="288"/>
                  <a:pt x="554" y="288"/>
                  <a:pt x="554" y="288"/>
                </a:cubicBezTo>
                <a:cubicBezTo>
                  <a:pt x="577" y="288"/>
                  <a:pt x="577" y="288"/>
                  <a:pt x="577" y="288"/>
                </a:cubicBezTo>
                <a:cubicBezTo>
                  <a:pt x="581" y="288"/>
                  <a:pt x="584" y="285"/>
                  <a:pt x="584" y="281"/>
                </a:cubicBezTo>
                <a:cubicBezTo>
                  <a:pt x="584" y="170"/>
                  <a:pt x="584" y="170"/>
                  <a:pt x="584" y="170"/>
                </a:cubicBezTo>
                <a:cubicBezTo>
                  <a:pt x="584" y="166"/>
                  <a:pt x="581" y="163"/>
                  <a:pt x="577" y="163"/>
                </a:cubicBezTo>
                <a:close/>
                <a:moveTo>
                  <a:pt x="14" y="177"/>
                </a:moveTo>
                <a:cubicBezTo>
                  <a:pt x="218" y="177"/>
                  <a:pt x="218" y="177"/>
                  <a:pt x="218" y="177"/>
                </a:cubicBezTo>
                <a:cubicBezTo>
                  <a:pt x="218" y="274"/>
                  <a:pt x="218" y="274"/>
                  <a:pt x="218" y="274"/>
                </a:cubicBezTo>
                <a:cubicBezTo>
                  <a:pt x="14" y="274"/>
                  <a:pt x="14" y="274"/>
                  <a:pt x="14" y="274"/>
                </a:cubicBezTo>
                <a:lnTo>
                  <a:pt x="14" y="177"/>
                </a:lnTo>
                <a:close/>
                <a:moveTo>
                  <a:pt x="44" y="288"/>
                </a:moveTo>
                <a:cubicBezTo>
                  <a:pt x="218" y="288"/>
                  <a:pt x="218" y="288"/>
                  <a:pt x="218" y="288"/>
                </a:cubicBezTo>
                <a:cubicBezTo>
                  <a:pt x="218" y="581"/>
                  <a:pt x="218" y="581"/>
                  <a:pt x="218" y="581"/>
                </a:cubicBezTo>
                <a:cubicBezTo>
                  <a:pt x="44" y="581"/>
                  <a:pt x="44" y="581"/>
                  <a:pt x="44" y="581"/>
                </a:cubicBezTo>
                <a:lnTo>
                  <a:pt x="44" y="288"/>
                </a:lnTo>
                <a:close/>
                <a:moveTo>
                  <a:pt x="232" y="581"/>
                </a:moveTo>
                <a:cubicBezTo>
                  <a:pt x="232" y="177"/>
                  <a:pt x="232" y="177"/>
                  <a:pt x="232" y="177"/>
                </a:cubicBezTo>
                <a:cubicBezTo>
                  <a:pt x="352" y="177"/>
                  <a:pt x="352" y="177"/>
                  <a:pt x="352" y="177"/>
                </a:cubicBezTo>
                <a:cubicBezTo>
                  <a:pt x="352" y="581"/>
                  <a:pt x="352" y="581"/>
                  <a:pt x="352" y="581"/>
                </a:cubicBezTo>
                <a:lnTo>
                  <a:pt x="232" y="581"/>
                </a:lnTo>
                <a:close/>
                <a:moveTo>
                  <a:pt x="540" y="581"/>
                </a:moveTo>
                <a:cubicBezTo>
                  <a:pt x="366" y="581"/>
                  <a:pt x="366" y="581"/>
                  <a:pt x="366" y="581"/>
                </a:cubicBezTo>
                <a:cubicBezTo>
                  <a:pt x="366" y="288"/>
                  <a:pt x="366" y="288"/>
                  <a:pt x="366" y="288"/>
                </a:cubicBezTo>
                <a:cubicBezTo>
                  <a:pt x="540" y="288"/>
                  <a:pt x="540" y="288"/>
                  <a:pt x="540" y="288"/>
                </a:cubicBezTo>
                <a:lnTo>
                  <a:pt x="540" y="581"/>
                </a:lnTo>
                <a:close/>
                <a:moveTo>
                  <a:pt x="570" y="274"/>
                </a:moveTo>
                <a:cubicBezTo>
                  <a:pt x="366" y="274"/>
                  <a:pt x="366" y="274"/>
                  <a:pt x="366" y="274"/>
                </a:cubicBezTo>
                <a:cubicBezTo>
                  <a:pt x="366" y="177"/>
                  <a:pt x="366" y="177"/>
                  <a:pt x="366" y="177"/>
                </a:cubicBezTo>
                <a:cubicBezTo>
                  <a:pt x="570" y="177"/>
                  <a:pt x="570" y="177"/>
                  <a:pt x="570" y="177"/>
                </a:cubicBezTo>
                <a:lnTo>
                  <a:pt x="570" y="274"/>
                </a:lnTo>
                <a:close/>
                <a:moveTo>
                  <a:pt x="184" y="141"/>
                </a:moveTo>
                <a:cubicBezTo>
                  <a:pt x="292" y="141"/>
                  <a:pt x="292" y="141"/>
                  <a:pt x="292" y="141"/>
                </a:cubicBezTo>
                <a:cubicBezTo>
                  <a:pt x="400" y="141"/>
                  <a:pt x="400" y="141"/>
                  <a:pt x="400" y="141"/>
                </a:cubicBezTo>
                <a:cubicBezTo>
                  <a:pt x="433" y="141"/>
                  <a:pt x="461" y="132"/>
                  <a:pt x="480" y="114"/>
                </a:cubicBezTo>
                <a:cubicBezTo>
                  <a:pt x="497" y="99"/>
                  <a:pt x="506" y="78"/>
                  <a:pt x="506" y="57"/>
                </a:cubicBezTo>
                <a:cubicBezTo>
                  <a:pt x="506" y="24"/>
                  <a:pt x="484" y="0"/>
                  <a:pt x="451" y="0"/>
                </a:cubicBezTo>
                <a:cubicBezTo>
                  <a:pt x="398" y="0"/>
                  <a:pt x="376" y="37"/>
                  <a:pt x="357" y="69"/>
                </a:cubicBezTo>
                <a:cubicBezTo>
                  <a:pt x="340" y="97"/>
                  <a:pt x="325" y="123"/>
                  <a:pt x="292" y="127"/>
                </a:cubicBezTo>
                <a:cubicBezTo>
                  <a:pt x="259" y="123"/>
                  <a:pt x="243" y="97"/>
                  <a:pt x="227" y="69"/>
                </a:cubicBezTo>
                <a:cubicBezTo>
                  <a:pt x="207" y="37"/>
                  <a:pt x="186" y="0"/>
                  <a:pt x="133" y="0"/>
                </a:cubicBezTo>
                <a:cubicBezTo>
                  <a:pt x="100" y="0"/>
                  <a:pt x="77" y="24"/>
                  <a:pt x="77" y="57"/>
                </a:cubicBezTo>
                <a:cubicBezTo>
                  <a:pt x="77" y="78"/>
                  <a:pt x="87" y="99"/>
                  <a:pt x="104" y="114"/>
                </a:cubicBezTo>
                <a:cubicBezTo>
                  <a:pt x="123" y="132"/>
                  <a:pt x="151" y="141"/>
                  <a:pt x="184" y="141"/>
                </a:cubicBezTo>
                <a:close/>
                <a:moveTo>
                  <a:pt x="369" y="77"/>
                </a:moveTo>
                <a:cubicBezTo>
                  <a:pt x="388" y="45"/>
                  <a:pt x="406" y="14"/>
                  <a:pt x="451" y="14"/>
                </a:cubicBezTo>
                <a:cubicBezTo>
                  <a:pt x="480" y="14"/>
                  <a:pt x="492" y="36"/>
                  <a:pt x="492" y="57"/>
                </a:cubicBezTo>
                <a:cubicBezTo>
                  <a:pt x="492" y="74"/>
                  <a:pt x="484" y="91"/>
                  <a:pt x="471" y="104"/>
                </a:cubicBezTo>
                <a:cubicBezTo>
                  <a:pt x="454" y="119"/>
                  <a:pt x="429" y="127"/>
                  <a:pt x="400" y="127"/>
                </a:cubicBezTo>
                <a:cubicBezTo>
                  <a:pt x="329" y="127"/>
                  <a:pt x="329" y="127"/>
                  <a:pt x="329" y="127"/>
                </a:cubicBezTo>
                <a:cubicBezTo>
                  <a:pt x="346" y="114"/>
                  <a:pt x="358" y="95"/>
                  <a:pt x="369" y="77"/>
                </a:cubicBezTo>
                <a:close/>
                <a:moveTo>
                  <a:pt x="133" y="14"/>
                </a:moveTo>
                <a:cubicBezTo>
                  <a:pt x="178" y="14"/>
                  <a:pt x="196" y="45"/>
                  <a:pt x="215" y="77"/>
                </a:cubicBezTo>
                <a:cubicBezTo>
                  <a:pt x="226" y="95"/>
                  <a:pt x="237" y="114"/>
                  <a:pt x="254" y="127"/>
                </a:cubicBezTo>
                <a:cubicBezTo>
                  <a:pt x="184" y="127"/>
                  <a:pt x="184" y="127"/>
                  <a:pt x="184" y="127"/>
                </a:cubicBezTo>
                <a:cubicBezTo>
                  <a:pt x="154" y="127"/>
                  <a:pt x="130" y="119"/>
                  <a:pt x="113" y="104"/>
                </a:cubicBezTo>
                <a:cubicBezTo>
                  <a:pt x="99" y="91"/>
                  <a:pt x="91" y="74"/>
                  <a:pt x="91" y="57"/>
                </a:cubicBezTo>
                <a:cubicBezTo>
                  <a:pt x="91" y="36"/>
                  <a:pt x="104" y="14"/>
                  <a:pt x="133" y="14"/>
                </a:cubicBez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9252" name="Oval 61"/>
          <p:cNvSpPr>
            <a:spLocks noChangeArrowheads="1"/>
          </p:cNvSpPr>
          <p:nvPr/>
        </p:nvSpPr>
        <p:spPr bwMode="auto">
          <a:xfrm>
            <a:off x="8347593" y="3120088"/>
            <a:ext cx="1119124" cy="1119124"/>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9310" name="Freeform 123"/>
          <p:cNvSpPr>
            <a:spLocks noEditPoints="1"/>
          </p:cNvSpPr>
          <p:nvPr/>
        </p:nvSpPr>
        <p:spPr bwMode="auto">
          <a:xfrm>
            <a:off x="8533330" y="3341092"/>
            <a:ext cx="711208" cy="713560"/>
          </a:xfrm>
          <a:custGeom>
            <a:avLst/>
            <a:gdLst>
              <a:gd name="T0" fmla="*/ 529 w 676"/>
              <a:gd name="T1" fmla="*/ 279 h 678"/>
              <a:gd name="T2" fmla="*/ 431 w 676"/>
              <a:gd name="T3" fmla="*/ 293 h 678"/>
              <a:gd name="T4" fmla="*/ 409 w 676"/>
              <a:gd name="T5" fmla="*/ 210 h 678"/>
              <a:gd name="T6" fmla="*/ 367 w 676"/>
              <a:gd name="T7" fmla="*/ 125 h 678"/>
              <a:gd name="T8" fmla="*/ 401 w 676"/>
              <a:gd name="T9" fmla="*/ 58 h 678"/>
              <a:gd name="T10" fmla="*/ 504 w 676"/>
              <a:gd name="T11" fmla="*/ 6 h 678"/>
              <a:gd name="T12" fmla="*/ 579 w 676"/>
              <a:gd name="T13" fmla="*/ 18 h 678"/>
              <a:gd name="T14" fmla="*/ 659 w 676"/>
              <a:gd name="T15" fmla="*/ 100 h 678"/>
              <a:gd name="T16" fmla="*/ 676 w 676"/>
              <a:gd name="T17" fmla="*/ 169 h 678"/>
              <a:gd name="T18" fmla="*/ 605 w 676"/>
              <a:gd name="T19" fmla="*/ 241 h 678"/>
              <a:gd name="T20" fmla="*/ 558 w 676"/>
              <a:gd name="T21" fmla="*/ 314 h 678"/>
              <a:gd name="T22" fmla="*/ 539 w 676"/>
              <a:gd name="T23" fmla="*/ 267 h 678"/>
              <a:gd name="T24" fmla="*/ 590 w 676"/>
              <a:gd name="T25" fmla="*/ 242 h 678"/>
              <a:gd name="T26" fmla="*/ 626 w 676"/>
              <a:gd name="T27" fmla="*/ 172 h 678"/>
              <a:gd name="T28" fmla="*/ 655 w 676"/>
              <a:gd name="T29" fmla="*/ 114 h 678"/>
              <a:gd name="T30" fmla="*/ 566 w 676"/>
              <a:gd name="T31" fmla="*/ 67 h 678"/>
              <a:gd name="T32" fmla="*/ 517 w 676"/>
              <a:gd name="T33" fmla="*/ 15 h 678"/>
              <a:gd name="T34" fmla="*/ 500 w 676"/>
              <a:gd name="T35" fmla="*/ 56 h 678"/>
              <a:gd name="T36" fmla="*/ 401 w 676"/>
              <a:gd name="T37" fmla="*/ 73 h 678"/>
              <a:gd name="T38" fmla="*/ 413 w 676"/>
              <a:gd name="T39" fmla="*/ 144 h 678"/>
              <a:gd name="T40" fmla="*/ 422 w 676"/>
              <a:gd name="T41" fmla="*/ 215 h 678"/>
              <a:gd name="T42" fmla="*/ 463 w 676"/>
              <a:gd name="T43" fmla="*/ 255 h 678"/>
              <a:gd name="T44" fmla="*/ 532 w 676"/>
              <a:gd name="T45" fmla="*/ 264 h 678"/>
              <a:gd name="T46" fmla="*/ 478 w 676"/>
              <a:gd name="T47" fmla="*/ 160 h 678"/>
              <a:gd name="T48" fmla="*/ 517 w 676"/>
              <a:gd name="T49" fmla="*/ 199 h 678"/>
              <a:gd name="T50" fmla="*/ 517 w 676"/>
              <a:gd name="T51" fmla="*/ 185 h 678"/>
              <a:gd name="T52" fmla="*/ 258 w 676"/>
              <a:gd name="T53" fmla="*/ 678 h 678"/>
              <a:gd name="T54" fmla="*/ 233 w 676"/>
              <a:gd name="T55" fmla="*/ 615 h 678"/>
              <a:gd name="T56" fmla="*/ 105 w 676"/>
              <a:gd name="T57" fmla="*/ 628 h 678"/>
              <a:gd name="T58" fmla="*/ 90 w 676"/>
              <a:gd name="T59" fmla="*/ 522 h 678"/>
              <a:gd name="T60" fmla="*/ 0 w 676"/>
              <a:gd name="T61" fmla="*/ 424 h 678"/>
              <a:gd name="T62" fmla="*/ 14 w 676"/>
              <a:gd name="T63" fmla="*/ 350 h 678"/>
              <a:gd name="T64" fmla="*/ 91 w 676"/>
              <a:gd name="T65" fmla="*/ 229 h 678"/>
              <a:gd name="T66" fmla="*/ 159 w 676"/>
              <a:gd name="T67" fmla="*/ 185 h 678"/>
              <a:gd name="T68" fmla="*/ 276 w 676"/>
              <a:gd name="T69" fmla="*/ 222 h 678"/>
              <a:gd name="T70" fmla="*/ 378 w 676"/>
              <a:gd name="T71" fmla="*/ 190 h 678"/>
              <a:gd name="T72" fmla="*/ 423 w 676"/>
              <a:gd name="T73" fmla="*/ 310 h 678"/>
              <a:gd name="T74" fmla="*/ 513 w 676"/>
              <a:gd name="T75" fmla="*/ 370 h 678"/>
              <a:gd name="T76" fmla="*/ 456 w 676"/>
              <a:gd name="T77" fmla="*/ 419 h 678"/>
              <a:gd name="T78" fmla="*/ 494 w 676"/>
              <a:gd name="T79" fmla="*/ 527 h 678"/>
              <a:gd name="T80" fmla="*/ 393 w 676"/>
              <a:gd name="T81" fmla="*/ 564 h 678"/>
              <a:gd name="T82" fmla="*/ 325 w 676"/>
              <a:gd name="T83" fmla="*/ 669 h 678"/>
              <a:gd name="T84" fmla="*/ 165 w 676"/>
              <a:gd name="T85" fmla="*/ 577 h 678"/>
              <a:gd name="T86" fmla="*/ 261 w 676"/>
              <a:gd name="T87" fmla="*/ 664 h 678"/>
              <a:gd name="T88" fmla="*/ 323 w 676"/>
              <a:gd name="T89" fmla="*/ 591 h 678"/>
              <a:gd name="T90" fmla="*/ 449 w 676"/>
              <a:gd name="T91" fmla="*/ 573 h 678"/>
              <a:gd name="T92" fmla="*/ 432 w 676"/>
              <a:gd name="T93" fmla="*/ 479 h 678"/>
              <a:gd name="T94" fmla="*/ 445 w 676"/>
              <a:gd name="T95" fmla="*/ 396 h 678"/>
              <a:gd name="T96" fmla="*/ 421 w 676"/>
              <a:gd name="T97" fmla="*/ 325 h 678"/>
              <a:gd name="T98" fmla="*/ 356 w 676"/>
              <a:gd name="T99" fmla="*/ 258 h 678"/>
              <a:gd name="T100" fmla="*/ 286 w 676"/>
              <a:gd name="T101" fmla="*/ 233 h 678"/>
              <a:gd name="T102" fmla="*/ 199 w 676"/>
              <a:gd name="T103" fmla="*/ 245 h 678"/>
              <a:gd name="T104" fmla="*/ 106 w 676"/>
              <a:gd name="T105" fmla="*/ 228 h 678"/>
              <a:gd name="T106" fmla="*/ 85 w 676"/>
              <a:gd name="T107" fmla="*/ 357 h 678"/>
              <a:gd name="T108" fmla="*/ 14 w 676"/>
              <a:gd name="T109" fmla="*/ 419 h 678"/>
              <a:gd name="T110" fmla="*/ 104 w 676"/>
              <a:gd name="T111" fmla="*/ 519 h 678"/>
              <a:gd name="T112" fmla="*/ 109 w 676"/>
              <a:gd name="T113" fmla="*/ 613 h 678"/>
              <a:gd name="T114" fmla="*/ 258 w 676"/>
              <a:gd name="T115" fmla="*/ 484 h 678"/>
              <a:gd name="T116" fmla="*/ 323 w 676"/>
              <a:gd name="T117" fmla="*/ 419 h 678"/>
              <a:gd name="T118" fmla="*/ 207 w 676"/>
              <a:gd name="T119" fmla="*/ 419 h 678"/>
              <a:gd name="T120" fmla="*/ 258 w 676"/>
              <a:gd name="T121" fmla="*/ 368 h 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76" h="678">
                <a:moveTo>
                  <a:pt x="556" y="314"/>
                </a:moveTo>
                <a:cubicBezTo>
                  <a:pt x="554" y="314"/>
                  <a:pt x="551" y="313"/>
                  <a:pt x="550" y="311"/>
                </a:cubicBezTo>
                <a:cubicBezTo>
                  <a:pt x="529" y="279"/>
                  <a:pt x="529" y="279"/>
                  <a:pt x="529" y="279"/>
                </a:cubicBezTo>
                <a:cubicBezTo>
                  <a:pt x="508" y="281"/>
                  <a:pt x="488" y="277"/>
                  <a:pt x="468" y="269"/>
                </a:cubicBezTo>
                <a:cubicBezTo>
                  <a:pt x="439" y="293"/>
                  <a:pt x="439" y="293"/>
                  <a:pt x="439" y="293"/>
                </a:cubicBezTo>
                <a:cubicBezTo>
                  <a:pt x="437" y="295"/>
                  <a:pt x="433" y="295"/>
                  <a:pt x="431" y="293"/>
                </a:cubicBezTo>
                <a:cubicBezTo>
                  <a:pt x="412" y="281"/>
                  <a:pt x="397" y="266"/>
                  <a:pt x="385" y="248"/>
                </a:cubicBezTo>
                <a:cubicBezTo>
                  <a:pt x="383" y="245"/>
                  <a:pt x="383" y="242"/>
                  <a:pt x="385" y="239"/>
                </a:cubicBezTo>
                <a:cubicBezTo>
                  <a:pt x="409" y="210"/>
                  <a:pt x="409" y="210"/>
                  <a:pt x="409" y="210"/>
                </a:cubicBezTo>
                <a:cubicBezTo>
                  <a:pt x="401" y="194"/>
                  <a:pt x="398" y="177"/>
                  <a:pt x="398" y="160"/>
                </a:cubicBezTo>
                <a:cubicBezTo>
                  <a:pt x="398" y="155"/>
                  <a:pt x="398" y="151"/>
                  <a:pt x="398" y="146"/>
                </a:cubicBezTo>
                <a:cubicBezTo>
                  <a:pt x="367" y="125"/>
                  <a:pt x="367" y="125"/>
                  <a:pt x="367" y="125"/>
                </a:cubicBezTo>
                <a:cubicBezTo>
                  <a:pt x="364" y="124"/>
                  <a:pt x="363" y="120"/>
                  <a:pt x="364" y="117"/>
                </a:cubicBezTo>
                <a:cubicBezTo>
                  <a:pt x="370" y="96"/>
                  <a:pt x="380" y="77"/>
                  <a:pt x="393" y="60"/>
                </a:cubicBezTo>
                <a:cubicBezTo>
                  <a:pt x="395" y="57"/>
                  <a:pt x="399" y="57"/>
                  <a:pt x="401" y="58"/>
                </a:cubicBezTo>
                <a:cubicBezTo>
                  <a:pt x="437" y="71"/>
                  <a:pt x="437" y="71"/>
                  <a:pt x="437" y="71"/>
                </a:cubicBezTo>
                <a:cubicBezTo>
                  <a:pt x="453" y="57"/>
                  <a:pt x="472" y="47"/>
                  <a:pt x="494" y="43"/>
                </a:cubicBezTo>
                <a:cubicBezTo>
                  <a:pt x="504" y="6"/>
                  <a:pt x="504" y="6"/>
                  <a:pt x="504" y="6"/>
                </a:cubicBezTo>
                <a:cubicBezTo>
                  <a:pt x="505" y="3"/>
                  <a:pt x="507" y="1"/>
                  <a:pt x="510" y="1"/>
                </a:cubicBezTo>
                <a:cubicBezTo>
                  <a:pt x="532" y="0"/>
                  <a:pt x="554" y="4"/>
                  <a:pt x="574" y="11"/>
                </a:cubicBezTo>
                <a:cubicBezTo>
                  <a:pt x="577" y="12"/>
                  <a:pt x="579" y="15"/>
                  <a:pt x="579" y="18"/>
                </a:cubicBezTo>
                <a:cubicBezTo>
                  <a:pt x="577" y="56"/>
                  <a:pt x="577" y="56"/>
                  <a:pt x="577" y="56"/>
                </a:cubicBezTo>
                <a:cubicBezTo>
                  <a:pt x="596" y="67"/>
                  <a:pt x="611" y="83"/>
                  <a:pt x="621" y="102"/>
                </a:cubicBezTo>
                <a:cubicBezTo>
                  <a:pt x="659" y="100"/>
                  <a:pt x="659" y="100"/>
                  <a:pt x="659" y="100"/>
                </a:cubicBezTo>
                <a:cubicBezTo>
                  <a:pt x="662" y="100"/>
                  <a:pt x="665" y="102"/>
                  <a:pt x="666" y="105"/>
                </a:cubicBezTo>
                <a:cubicBezTo>
                  <a:pt x="673" y="122"/>
                  <a:pt x="676" y="141"/>
                  <a:pt x="676" y="160"/>
                </a:cubicBezTo>
                <a:cubicBezTo>
                  <a:pt x="676" y="163"/>
                  <a:pt x="676" y="166"/>
                  <a:pt x="676" y="169"/>
                </a:cubicBezTo>
                <a:cubicBezTo>
                  <a:pt x="676" y="172"/>
                  <a:pt x="674" y="174"/>
                  <a:pt x="671" y="175"/>
                </a:cubicBezTo>
                <a:cubicBezTo>
                  <a:pt x="634" y="185"/>
                  <a:pt x="634" y="185"/>
                  <a:pt x="634" y="185"/>
                </a:cubicBezTo>
                <a:cubicBezTo>
                  <a:pt x="629" y="206"/>
                  <a:pt x="619" y="225"/>
                  <a:pt x="605" y="241"/>
                </a:cubicBezTo>
                <a:cubicBezTo>
                  <a:pt x="618" y="277"/>
                  <a:pt x="618" y="277"/>
                  <a:pt x="618" y="277"/>
                </a:cubicBezTo>
                <a:cubicBezTo>
                  <a:pt x="619" y="279"/>
                  <a:pt x="618" y="283"/>
                  <a:pt x="616" y="284"/>
                </a:cubicBezTo>
                <a:cubicBezTo>
                  <a:pt x="598" y="298"/>
                  <a:pt x="579" y="308"/>
                  <a:pt x="558" y="314"/>
                </a:cubicBezTo>
                <a:cubicBezTo>
                  <a:pt x="557" y="314"/>
                  <a:pt x="557" y="314"/>
                  <a:pt x="556" y="314"/>
                </a:cubicBezTo>
                <a:close/>
                <a:moveTo>
                  <a:pt x="533" y="264"/>
                </a:moveTo>
                <a:cubicBezTo>
                  <a:pt x="535" y="264"/>
                  <a:pt x="538" y="265"/>
                  <a:pt x="539" y="267"/>
                </a:cubicBezTo>
                <a:cubicBezTo>
                  <a:pt x="559" y="299"/>
                  <a:pt x="559" y="299"/>
                  <a:pt x="559" y="299"/>
                </a:cubicBezTo>
                <a:cubicBezTo>
                  <a:pt x="575" y="294"/>
                  <a:pt x="590" y="286"/>
                  <a:pt x="603" y="277"/>
                </a:cubicBezTo>
                <a:cubicBezTo>
                  <a:pt x="590" y="242"/>
                  <a:pt x="590" y="242"/>
                  <a:pt x="590" y="242"/>
                </a:cubicBezTo>
                <a:cubicBezTo>
                  <a:pt x="589" y="239"/>
                  <a:pt x="590" y="236"/>
                  <a:pt x="592" y="234"/>
                </a:cubicBezTo>
                <a:cubicBezTo>
                  <a:pt x="607" y="219"/>
                  <a:pt x="617" y="199"/>
                  <a:pt x="621" y="178"/>
                </a:cubicBezTo>
                <a:cubicBezTo>
                  <a:pt x="621" y="175"/>
                  <a:pt x="623" y="173"/>
                  <a:pt x="626" y="172"/>
                </a:cubicBezTo>
                <a:cubicBezTo>
                  <a:pt x="662" y="163"/>
                  <a:pt x="662" y="163"/>
                  <a:pt x="662" y="163"/>
                </a:cubicBezTo>
                <a:cubicBezTo>
                  <a:pt x="662" y="162"/>
                  <a:pt x="662" y="161"/>
                  <a:pt x="662" y="160"/>
                </a:cubicBezTo>
                <a:cubicBezTo>
                  <a:pt x="662" y="144"/>
                  <a:pt x="660" y="129"/>
                  <a:pt x="655" y="114"/>
                </a:cubicBezTo>
                <a:cubicBezTo>
                  <a:pt x="618" y="116"/>
                  <a:pt x="618" y="116"/>
                  <a:pt x="618" y="116"/>
                </a:cubicBezTo>
                <a:cubicBezTo>
                  <a:pt x="615" y="116"/>
                  <a:pt x="612" y="114"/>
                  <a:pt x="611" y="112"/>
                </a:cubicBezTo>
                <a:cubicBezTo>
                  <a:pt x="601" y="92"/>
                  <a:pt x="586" y="77"/>
                  <a:pt x="566" y="67"/>
                </a:cubicBezTo>
                <a:cubicBezTo>
                  <a:pt x="564" y="65"/>
                  <a:pt x="562" y="63"/>
                  <a:pt x="563" y="60"/>
                </a:cubicBezTo>
                <a:cubicBezTo>
                  <a:pt x="565" y="23"/>
                  <a:pt x="565" y="23"/>
                  <a:pt x="565" y="23"/>
                </a:cubicBezTo>
                <a:cubicBezTo>
                  <a:pt x="549" y="17"/>
                  <a:pt x="533" y="15"/>
                  <a:pt x="517" y="15"/>
                </a:cubicBezTo>
                <a:cubicBezTo>
                  <a:pt x="517" y="15"/>
                  <a:pt x="516" y="15"/>
                  <a:pt x="516" y="15"/>
                </a:cubicBezTo>
                <a:cubicBezTo>
                  <a:pt x="506" y="51"/>
                  <a:pt x="506" y="51"/>
                  <a:pt x="506" y="51"/>
                </a:cubicBezTo>
                <a:cubicBezTo>
                  <a:pt x="505" y="53"/>
                  <a:pt x="503" y="55"/>
                  <a:pt x="500" y="56"/>
                </a:cubicBezTo>
                <a:cubicBezTo>
                  <a:pt x="479" y="59"/>
                  <a:pt x="459" y="69"/>
                  <a:pt x="443" y="84"/>
                </a:cubicBezTo>
                <a:cubicBezTo>
                  <a:pt x="442" y="86"/>
                  <a:pt x="439" y="87"/>
                  <a:pt x="436" y="86"/>
                </a:cubicBezTo>
                <a:cubicBezTo>
                  <a:pt x="401" y="73"/>
                  <a:pt x="401" y="73"/>
                  <a:pt x="401" y="73"/>
                </a:cubicBezTo>
                <a:cubicBezTo>
                  <a:pt x="391" y="86"/>
                  <a:pt x="384" y="101"/>
                  <a:pt x="379" y="116"/>
                </a:cubicBezTo>
                <a:cubicBezTo>
                  <a:pt x="410" y="137"/>
                  <a:pt x="410" y="137"/>
                  <a:pt x="410" y="137"/>
                </a:cubicBezTo>
                <a:cubicBezTo>
                  <a:pt x="412" y="138"/>
                  <a:pt x="413" y="141"/>
                  <a:pt x="413" y="144"/>
                </a:cubicBezTo>
                <a:cubicBezTo>
                  <a:pt x="412" y="149"/>
                  <a:pt x="412" y="154"/>
                  <a:pt x="412" y="160"/>
                </a:cubicBezTo>
                <a:cubicBezTo>
                  <a:pt x="412" y="176"/>
                  <a:pt x="415" y="193"/>
                  <a:pt x="423" y="207"/>
                </a:cubicBezTo>
                <a:cubicBezTo>
                  <a:pt x="424" y="210"/>
                  <a:pt x="424" y="213"/>
                  <a:pt x="422" y="215"/>
                </a:cubicBezTo>
                <a:cubicBezTo>
                  <a:pt x="399" y="244"/>
                  <a:pt x="399" y="244"/>
                  <a:pt x="399" y="244"/>
                </a:cubicBezTo>
                <a:cubicBezTo>
                  <a:pt x="409" y="258"/>
                  <a:pt x="421" y="269"/>
                  <a:pt x="434" y="279"/>
                </a:cubicBezTo>
                <a:cubicBezTo>
                  <a:pt x="463" y="255"/>
                  <a:pt x="463" y="255"/>
                  <a:pt x="463" y="255"/>
                </a:cubicBezTo>
                <a:cubicBezTo>
                  <a:pt x="465" y="254"/>
                  <a:pt x="468" y="253"/>
                  <a:pt x="471" y="254"/>
                </a:cubicBezTo>
                <a:cubicBezTo>
                  <a:pt x="485" y="262"/>
                  <a:pt x="501" y="265"/>
                  <a:pt x="517" y="265"/>
                </a:cubicBezTo>
                <a:cubicBezTo>
                  <a:pt x="522" y="265"/>
                  <a:pt x="527" y="265"/>
                  <a:pt x="532" y="264"/>
                </a:cubicBezTo>
                <a:cubicBezTo>
                  <a:pt x="532" y="264"/>
                  <a:pt x="533" y="264"/>
                  <a:pt x="533" y="264"/>
                </a:cubicBezTo>
                <a:close/>
                <a:moveTo>
                  <a:pt x="517" y="199"/>
                </a:moveTo>
                <a:cubicBezTo>
                  <a:pt x="496" y="199"/>
                  <a:pt x="478" y="181"/>
                  <a:pt x="478" y="160"/>
                </a:cubicBezTo>
                <a:cubicBezTo>
                  <a:pt x="478" y="138"/>
                  <a:pt x="496" y="121"/>
                  <a:pt x="517" y="121"/>
                </a:cubicBezTo>
                <a:cubicBezTo>
                  <a:pt x="539" y="121"/>
                  <a:pt x="556" y="138"/>
                  <a:pt x="556" y="160"/>
                </a:cubicBezTo>
                <a:cubicBezTo>
                  <a:pt x="556" y="181"/>
                  <a:pt x="539" y="199"/>
                  <a:pt x="517" y="199"/>
                </a:cubicBezTo>
                <a:close/>
                <a:moveTo>
                  <a:pt x="517" y="135"/>
                </a:moveTo>
                <a:cubicBezTo>
                  <a:pt x="503" y="135"/>
                  <a:pt x="492" y="146"/>
                  <a:pt x="492" y="160"/>
                </a:cubicBezTo>
                <a:cubicBezTo>
                  <a:pt x="492" y="174"/>
                  <a:pt x="503" y="185"/>
                  <a:pt x="517" y="185"/>
                </a:cubicBezTo>
                <a:cubicBezTo>
                  <a:pt x="531" y="185"/>
                  <a:pt x="542" y="174"/>
                  <a:pt x="542" y="160"/>
                </a:cubicBezTo>
                <a:cubicBezTo>
                  <a:pt x="542" y="146"/>
                  <a:pt x="531" y="135"/>
                  <a:pt x="517" y="135"/>
                </a:cubicBezTo>
                <a:close/>
                <a:moveTo>
                  <a:pt x="258" y="678"/>
                </a:moveTo>
                <a:cubicBezTo>
                  <a:pt x="256" y="678"/>
                  <a:pt x="256" y="678"/>
                  <a:pt x="256" y="678"/>
                </a:cubicBezTo>
                <a:cubicBezTo>
                  <a:pt x="252" y="678"/>
                  <a:pt x="250" y="676"/>
                  <a:pt x="249" y="673"/>
                </a:cubicBezTo>
                <a:cubicBezTo>
                  <a:pt x="233" y="615"/>
                  <a:pt x="233" y="615"/>
                  <a:pt x="233" y="615"/>
                </a:cubicBezTo>
                <a:cubicBezTo>
                  <a:pt x="208" y="612"/>
                  <a:pt x="184" y="604"/>
                  <a:pt x="162" y="592"/>
                </a:cubicBezTo>
                <a:cubicBezTo>
                  <a:pt x="113" y="628"/>
                  <a:pt x="113" y="628"/>
                  <a:pt x="113" y="628"/>
                </a:cubicBezTo>
                <a:cubicBezTo>
                  <a:pt x="111" y="630"/>
                  <a:pt x="108" y="630"/>
                  <a:pt x="105" y="628"/>
                </a:cubicBezTo>
                <a:cubicBezTo>
                  <a:pt x="86" y="614"/>
                  <a:pt x="69" y="598"/>
                  <a:pt x="55" y="579"/>
                </a:cubicBezTo>
                <a:cubicBezTo>
                  <a:pt x="53" y="577"/>
                  <a:pt x="53" y="574"/>
                  <a:pt x="55" y="571"/>
                </a:cubicBezTo>
                <a:cubicBezTo>
                  <a:pt x="90" y="522"/>
                  <a:pt x="90" y="522"/>
                  <a:pt x="90" y="522"/>
                </a:cubicBezTo>
                <a:cubicBezTo>
                  <a:pt x="75" y="499"/>
                  <a:pt x="66" y="474"/>
                  <a:pt x="62" y="447"/>
                </a:cubicBezTo>
                <a:cubicBezTo>
                  <a:pt x="5" y="431"/>
                  <a:pt x="5" y="431"/>
                  <a:pt x="5" y="431"/>
                </a:cubicBezTo>
                <a:cubicBezTo>
                  <a:pt x="2" y="430"/>
                  <a:pt x="0" y="427"/>
                  <a:pt x="0" y="424"/>
                </a:cubicBezTo>
                <a:cubicBezTo>
                  <a:pt x="0" y="423"/>
                  <a:pt x="0" y="421"/>
                  <a:pt x="0" y="419"/>
                </a:cubicBezTo>
                <a:cubicBezTo>
                  <a:pt x="0" y="398"/>
                  <a:pt x="2" y="376"/>
                  <a:pt x="8" y="355"/>
                </a:cubicBezTo>
                <a:cubicBezTo>
                  <a:pt x="8" y="352"/>
                  <a:pt x="11" y="350"/>
                  <a:pt x="14" y="350"/>
                </a:cubicBezTo>
                <a:cubicBezTo>
                  <a:pt x="74" y="348"/>
                  <a:pt x="74" y="348"/>
                  <a:pt x="74" y="348"/>
                </a:cubicBezTo>
                <a:cubicBezTo>
                  <a:pt x="83" y="324"/>
                  <a:pt x="97" y="302"/>
                  <a:pt x="114" y="283"/>
                </a:cubicBezTo>
                <a:cubicBezTo>
                  <a:pt x="91" y="229"/>
                  <a:pt x="91" y="229"/>
                  <a:pt x="91" y="229"/>
                </a:cubicBezTo>
                <a:cubicBezTo>
                  <a:pt x="89" y="226"/>
                  <a:pt x="90" y="223"/>
                  <a:pt x="93" y="221"/>
                </a:cubicBezTo>
                <a:cubicBezTo>
                  <a:pt x="110" y="206"/>
                  <a:pt x="130" y="193"/>
                  <a:pt x="151" y="184"/>
                </a:cubicBezTo>
                <a:cubicBezTo>
                  <a:pt x="154" y="182"/>
                  <a:pt x="157" y="183"/>
                  <a:pt x="159" y="185"/>
                </a:cubicBezTo>
                <a:cubicBezTo>
                  <a:pt x="199" y="230"/>
                  <a:pt x="199" y="230"/>
                  <a:pt x="199" y="230"/>
                </a:cubicBezTo>
                <a:cubicBezTo>
                  <a:pt x="218" y="224"/>
                  <a:pt x="238" y="221"/>
                  <a:pt x="258" y="221"/>
                </a:cubicBezTo>
                <a:cubicBezTo>
                  <a:pt x="264" y="221"/>
                  <a:pt x="270" y="222"/>
                  <a:pt x="276" y="222"/>
                </a:cubicBezTo>
                <a:cubicBezTo>
                  <a:pt x="304" y="170"/>
                  <a:pt x="304" y="170"/>
                  <a:pt x="304" y="170"/>
                </a:cubicBezTo>
                <a:cubicBezTo>
                  <a:pt x="306" y="167"/>
                  <a:pt x="309" y="165"/>
                  <a:pt x="312" y="166"/>
                </a:cubicBezTo>
                <a:cubicBezTo>
                  <a:pt x="335" y="171"/>
                  <a:pt x="357" y="179"/>
                  <a:pt x="378" y="190"/>
                </a:cubicBezTo>
                <a:cubicBezTo>
                  <a:pt x="380" y="191"/>
                  <a:pt x="382" y="194"/>
                  <a:pt x="381" y="197"/>
                </a:cubicBezTo>
                <a:cubicBezTo>
                  <a:pt x="371" y="256"/>
                  <a:pt x="371" y="256"/>
                  <a:pt x="371" y="256"/>
                </a:cubicBezTo>
                <a:cubicBezTo>
                  <a:pt x="391" y="271"/>
                  <a:pt x="410" y="289"/>
                  <a:pt x="423" y="310"/>
                </a:cubicBezTo>
                <a:cubicBezTo>
                  <a:pt x="482" y="300"/>
                  <a:pt x="482" y="300"/>
                  <a:pt x="482" y="300"/>
                </a:cubicBezTo>
                <a:cubicBezTo>
                  <a:pt x="485" y="299"/>
                  <a:pt x="489" y="301"/>
                  <a:pt x="490" y="303"/>
                </a:cubicBezTo>
                <a:cubicBezTo>
                  <a:pt x="500" y="325"/>
                  <a:pt x="508" y="347"/>
                  <a:pt x="513" y="370"/>
                </a:cubicBezTo>
                <a:cubicBezTo>
                  <a:pt x="513" y="373"/>
                  <a:pt x="512" y="376"/>
                  <a:pt x="509" y="378"/>
                </a:cubicBezTo>
                <a:cubicBezTo>
                  <a:pt x="456" y="406"/>
                  <a:pt x="456" y="406"/>
                  <a:pt x="456" y="406"/>
                </a:cubicBezTo>
                <a:cubicBezTo>
                  <a:pt x="456" y="410"/>
                  <a:pt x="456" y="415"/>
                  <a:pt x="456" y="419"/>
                </a:cubicBezTo>
                <a:cubicBezTo>
                  <a:pt x="456" y="439"/>
                  <a:pt x="453" y="459"/>
                  <a:pt x="447" y="479"/>
                </a:cubicBezTo>
                <a:cubicBezTo>
                  <a:pt x="492" y="519"/>
                  <a:pt x="492" y="519"/>
                  <a:pt x="492" y="519"/>
                </a:cubicBezTo>
                <a:cubicBezTo>
                  <a:pt x="494" y="521"/>
                  <a:pt x="495" y="524"/>
                  <a:pt x="494" y="527"/>
                </a:cubicBezTo>
                <a:cubicBezTo>
                  <a:pt x="484" y="548"/>
                  <a:pt x="471" y="568"/>
                  <a:pt x="456" y="586"/>
                </a:cubicBezTo>
                <a:cubicBezTo>
                  <a:pt x="454" y="589"/>
                  <a:pt x="451" y="589"/>
                  <a:pt x="448" y="588"/>
                </a:cubicBezTo>
                <a:cubicBezTo>
                  <a:pt x="393" y="564"/>
                  <a:pt x="393" y="564"/>
                  <a:pt x="393" y="564"/>
                </a:cubicBezTo>
                <a:cubicBezTo>
                  <a:pt x="375" y="581"/>
                  <a:pt x="355" y="594"/>
                  <a:pt x="333" y="603"/>
                </a:cubicBezTo>
                <a:cubicBezTo>
                  <a:pt x="330" y="663"/>
                  <a:pt x="330" y="663"/>
                  <a:pt x="330" y="663"/>
                </a:cubicBezTo>
                <a:cubicBezTo>
                  <a:pt x="330" y="666"/>
                  <a:pt x="328" y="669"/>
                  <a:pt x="325" y="669"/>
                </a:cubicBezTo>
                <a:cubicBezTo>
                  <a:pt x="303" y="675"/>
                  <a:pt x="281" y="678"/>
                  <a:pt x="258" y="678"/>
                </a:cubicBezTo>
                <a:close/>
                <a:moveTo>
                  <a:pt x="161" y="576"/>
                </a:moveTo>
                <a:cubicBezTo>
                  <a:pt x="162" y="576"/>
                  <a:pt x="164" y="577"/>
                  <a:pt x="165" y="577"/>
                </a:cubicBezTo>
                <a:cubicBezTo>
                  <a:pt x="188" y="591"/>
                  <a:pt x="213" y="599"/>
                  <a:pt x="239" y="602"/>
                </a:cubicBezTo>
                <a:cubicBezTo>
                  <a:pt x="242" y="602"/>
                  <a:pt x="244" y="604"/>
                  <a:pt x="245" y="607"/>
                </a:cubicBezTo>
                <a:cubicBezTo>
                  <a:pt x="261" y="664"/>
                  <a:pt x="261" y="664"/>
                  <a:pt x="261" y="664"/>
                </a:cubicBezTo>
                <a:cubicBezTo>
                  <a:pt x="280" y="664"/>
                  <a:pt x="298" y="661"/>
                  <a:pt x="316" y="657"/>
                </a:cubicBezTo>
                <a:cubicBezTo>
                  <a:pt x="319" y="598"/>
                  <a:pt x="319" y="598"/>
                  <a:pt x="319" y="598"/>
                </a:cubicBezTo>
                <a:cubicBezTo>
                  <a:pt x="319" y="595"/>
                  <a:pt x="321" y="592"/>
                  <a:pt x="323" y="591"/>
                </a:cubicBezTo>
                <a:cubicBezTo>
                  <a:pt x="347" y="582"/>
                  <a:pt x="368" y="569"/>
                  <a:pt x="387" y="551"/>
                </a:cubicBezTo>
                <a:cubicBezTo>
                  <a:pt x="389" y="549"/>
                  <a:pt x="392" y="548"/>
                  <a:pt x="394" y="549"/>
                </a:cubicBezTo>
                <a:cubicBezTo>
                  <a:pt x="449" y="573"/>
                  <a:pt x="449" y="573"/>
                  <a:pt x="449" y="573"/>
                </a:cubicBezTo>
                <a:cubicBezTo>
                  <a:pt x="461" y="558"/>
                  <a:pt x="471" y="542"/>
                  <a:pt x="479" y="526"/>
                </a:cubicBezTo>
                <a:cubicBezTo>
                  <a:pt x="434" y="486"/>
                  <a:pt x="434" y="486"/>
                  <a:pt x="434" y="486"/>
                </a:cubicBezTo>
                <a:cubicBezTo>
                  <a:pt x="432" y="484"/>
                  <a:pt x="431" y="481"/>
                  <a:pt x="432" y="479"/>
                </a:cubicBezTo>
                <a:cubicBezTo>
                  <a:pt x="439" y="459"/>
                  <a:pt x="442" y="439"/>
                  <a:pt x="442" y="419"/>
                </a:cubicBezTo>
                <a:cubicBezTo>
                  <a:pt x="442" y="414"/>
                  <a:pt x="442" y="408"/>
                  <a:pt x="441" y="402"/>
                </a:cubicBezTo>
                <a:cubicBezTo>
                  <a:pt x="441" y="400"/>
                  <a:pt x="443" y="397"/>
                  <a:pt x="445" y="396"/>
                </a:cubicBezTo>
                <a:cubicBezTo>
                  <a:pt x="498" y="368"/>
                  <a:pt x="498" y="368"/>
                  <a:pt x="498" y="368"/>
                </a:cubicBezTo>
                <a:cubicBezTo>
                  <a:pt x="494" y="349"/>
                  <a:pt x="488" y="331"/>
                  <a:pt x="480" y="314"/>
                </a:cubicBezTo>
                <a:cubicBezTo>
                  <a:pt x="421" y="325"/>
                  <a:pt x="421" y="325"/>
                  <a:pt x="421" y="325"/>
                </a:cubicBezTo>
                <a:cubicBezTo>
                  <a:pt x="419" y="325"/>
                  <a:pt x="416" y="324"/>
                  <a:pt x="414" y="322"/>
                </a:cubicBezTo>
                <a:cubicBezTo>
                  <a:pt x="400" y="299"/>
                  <a:pt x="381" y="280"/>
                  <a:pt x="359" y="265"/>
                </a:cubicBezTo>
                <a:cubicBezTo>
                  <a:pt x="357" y="264"/>
                  <a:pt x="356" y="261"/>
                  <a:pt x="356" y="258"/>
                </a:cubicBezTo>
                <a:cubicBezTo>
                  <a:pt x="367" y="200"/>
                  <a:pt x="367" y="200"/>
                  <a:pt x="367" y="200"/>
                </a:cubicBezTo>
                <a:cubicBezTo>
                  <a:pt x="350" y="191"/>
                  <a:pt x="332" y="185"/>
                  <a:pt x="314" y="181"/>
                </a:cubicBezTo>
                <a:cubicBezTo>
                  <a:pt x="286" y="233"/>
                  <a:pt x="286" y="233"/>
                  <a:pt x="286" y="233"/>
                </a:cubicBezTo>
                <a:cubicBezTo>
                  <a:pt x="285" y="235"/>
                  <a:pt x="282" y="237"/>
                  <a:pt x="279" y="237"/>
                </a:cubicBezTo>
                <a:cubicBezTo>
                  <a:pt x="272" y="236"/>
                  <a:pt x="265" y="235"/>
                  <a:pt x="258" y="235"/>
                </a:cubicBezTo>
                <a:cubicBezTo>
                  <a:pt x="238" y="235"/>
                  <a:pt x="218" y="239"/>
                  <a:pt x="199" y="245"/>
                </a:cubicBezTo>
                <a:cubicBezTo>
                  <a:pt x="197" y="246"/>
                  <a:pt x="194" y="245"/>
                  <a:pt x="192" y="243"/>
                </a:cubicBezTo>
                <a:cubicBezTo>
                  <a:pt x="152" y="198"/>
                  <a:pt x="152" y="198"/>
                  <a:pt x="152" y="198"/>
                </a:cubicBezTo>
                <a:cubicBezTo>
                  <a:pt x="136" y="207"/>
                  <a:pt x="120" y="216"/>
                  <a:pt x="106" y="228"/>
                </a:cubicBezTo>
                <a:cubicBezTo>
                  <a:pt x="129" y="282"/>
                  <a:pt x="129" y="282"/>
                  <a:pt x="129" y="282"/>
                </a:cubicBezTo>
                <a:cubicBezTo>
                  <a:pt x="130" y="285"/>
                  <a:pt x="130" y="288"/>
                  <a:pt x="128" y="290"/>
                </a:cubicBezTo>
                <a:cubicBezTo>
                  <a:pt x="109" y="309"/>
                  <a:pt x="94" y="332"/>
                  <a:pt x="85" y="357"/>
                </a:cubicBezTo>
                <a:cubicBezTo>
                  <a:pt x="84" y="360"/>
                  <a:pt x="82" y="361"/>
                  <a:pt x="79" y="362"/>
                </a:cubicBezTo>
                <a:cubicBezTo>
                  <a:pt x="20" y="364"/>
                  <a:pt x="20" y="364"/>
                  <a:pt x="20" y="364"/>
                </a:cubicBezTo>
                <a:cubicBezTo>
                  <a:pt x="16" y="382"/>
                  <a:pt x="14" y="400"/>
                  <a:pt x="14" y="419"/>
                </a:cubicBezTo>
                <a:cubicBezTo>
                  <a:pt x="71" y="435"/>
                  <a:pt x="71" y="435"/>
                  <a:pt x="71" y="435"/>
                </a:cubicBezTo>
                <a:cubicBezTo>
                  <a:pt x="73" y="435"/>
                  <a:pt x="75" y="438"/>
                  <a:pt x="76" y="441"/>
                </a:cubicBezTo>
                <a:cubicBezTo>
                  <a:pt x="79" y="468"/>
                  <a:pt x="89" y="495"/>
                  <a:pt x="104" y="519"/>
                </a:cubicBezTo>
                <a:cubicBezTo>
                  <a:pt x="105" y="521"/>
                  <a:pt x="105" y="524"/>
                  <a:pt x="104" y="527"/>
                </a:cubicBezTo>
                <a:cubicBezTo>
                  <a:pt x="69" y="575"/>
                  <a:pt x="69" y="575"/>
                  <a:pt x="69" y="575"/>
                </a:cubicBezTo>
                <a:cubicBezTo>
                  <a:pt x="81" y="589"/>
                  <a:pt x="94" y="602"/>
                  <a:pt x="109" y="613"/>
                </a:cubicBezTo>
                <a:cubicBezTo>
                  <a:pt x="157" y="578"/>
                  <a:pt x="157" y="578"/>
                  <a:pt x="157" y="578"/>
                </a:cubicBezTo>
                <a:cubicBezTo>
                  <a:pt x="158" y="577"/>
                  <a:pt x="160" y="576"/>
                  <a:pt x="161" y="576"/>
                </a:cubicBezTo>
                <a:close/>
                <a:moveTo>
                  <a:pt x="258" y="484"/>
                </a:moveTo>
                <a:cubicBezTo>
                  <a:pt x="223" y="484"/>
                  <a:pt x="193" y="455"/>
                  <a:pt x="193" y="419"/>
                </a:cubicBezTo>
                <a:cubicBezTo>
                  <a:pt x="193" y="383"/>
                  <a:pt x="223" y="354"/>
                  <a:pt x="258" y="354"/>
                </a:cubicBezTo>
                <a:cubicBezTo>
                  <a:pt x="294" y="354"/>
                  <a:pt x="323" y="383"/>
                  <a:pt x="323" y="419"/>
                </a:cubicBezTo>
                <a:cubicBezTo>
                  <a:pt x="323" y="455"/>
                  <a:pt x="294" y="484"/>
                  <a:pt x="258" y="484"/>
                </a:cubicBezTo>
                <a:close/>
                <a:moveTo>
                  <a:pt x="258" y="368"/>
                </a:moveTo>
                <a:cubicBezTo>
                  <a:pt x="230" y="368"/>
                  <a:pt x="207" y="391"/>
                  <a:pt x="207" y="419"/>
                </a:cubicBezTo>
                <a:cubicBezTo>
                  <a:pt x="207" y="447"/>
                  <a:pt x="230" y="470"/>
                  <a:pt x="258" y="470"/>
                </a:cubicBezTo>
                <a:cubicBezTo>
                  <a:pt x="286" y="470"/>
                  <a:pt x="309" y="447"/>
                  <a:pt x="309" y="419"/>
                </a:cubicBezTo>
                <a:cubicBezTo>
                  <a:pt x="309" y="391"/>
                  <a:pt x="286" y="368"/>
                  <a:pt x="258" y="368"/>
                </a:cubicBez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9242" name="Oval 55"/>
          <p:cNvSpPr>
            <a:spLocks noChangeArrowheads="1"/>
          </p:cNvSpPr>
          <p:nvPr/>
        </p:nvSpPr>
        <p:spPr bwMode="auto">
          <a:xfrm>
            <a:off x="4831649" y="3120088"/>
            <a:ext cx="1119124" cy="1119124"/>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9311" name="Freeform 124"/>
          <p:cNvSpPr>
            <a:spLocks noEditPoints="1"/>
          </p:cNvSpPr>
          <p:nvPr/>
        </p:nvSpPr>
        <p:spPr bwMode="auto">
          <a:xfrm>
            <a:off x="5065584" y="3366954"/>
            <a:ext cx="586600" cy="701804"/>
          </a:xfrm>
          <a:custGeom>
            <a:avLst/>
            <a:gdLst>
              <a:gd name="T0" fmla="*/ 247 w 557"/>
              <a:gd name="T1" fmla="*/ 666 h 666"/>
              <a:gd name="T2" fmla="*/ 238 w 557"/>
              <a:gd name="T3" fmla="*/ 663 h 666"/>
              <a:gd name="T4" fmla="*/ 226 w 557"/>
              <a:gd name="T5" fmla="*/ 641 h 666"/>
              <a:gd name="T6" fmla="*/ 210 w 557"/>
              <a:gd name="T7" fmla="*/ 545 h 666"/>
              <a:gd name="T8" fmla="*/ 173 w 557"/>
              <a:gd name="T9" fmla="*/ 552 h 666"/>
              <a:gd name="T10" fmla="*/ 148 w 557"/>
              <a:gd name="T11" fmla="*/ 545 h 666"/>
              <a:gd name="T12" fmla="*/ 148 w 557"/>
              <a:gd name="T13" fmla="*/ 545 h 666"/>
              <a:gd name="T14" fmla="*/ 147 w 557"/>
              <a:gd name="T15" fmla="*/ 545 h 666"/>
              <a:gd name="T16" fmla="*/ 128 w 557"/>
              <a:gd name="T17" fmla="*/ 484 h 666"/>
              <a:gd name="T18" fmla="*/ 105 w 557"/>
              <a:gd name="T19" fmla="*/ 482 h 666"/>
              <a:gd name="T20" fmla="*/ 32 w 557"/>
              <a:gd name="T21" fmla="*/ 497 h 666"/>
              <a:gd name="T22" fmla="*/ 7 w 557"/>
              <a:gd name="T23" fmla="*/ 492 h 666"/>
              <a:gd name="T24" fmla="*/ 5 w 557"/>
              <a:gd name="T25" fmla="*/ 467 h 666"/>
              <a:gd name="T26" fmla="*/ 93 w 557"/>
              <a:gd name="T27" fmla="*/ 355 h 666"/>
              <a:gd name="T28" fmla="*/ 164 w 557"/>
              <a:gd name="T29" fmla="*/ 340 h 666"/>
              <a:gd name="T30" fmla="*/ 215 w 557"/>
              <a:gd name="T31" fmla="*/ 254 h 666"/>
              <a:gd name="T32" fmla="*/ 455 w 557"/>
              <a:gd name="T33" fmla="*/ 77 h 666"/>
              <a:gd name="T34" fmla="*/ 536 w 557"/>
              <a:gd name="T35" fmla="*/ 3 h 666"/>
              <a:gd name="T36" fmla="*/ 545 w 557"/>
              <a:gd name="T37" fmla="*/ 0 h 666"/>
              <a:gd name="T38" fmla="*/ 555 w 557"/>
              <a:gd name="T39" fmla="*/ 5 h 666"/>
              <a:gd name="T40" fmla="*/ 555 w 557"/>
              <a:gd name="T41" fmla="*/ 18 h 666"/>
              <a:gd name="T42" fmla="*/ 510 w 557"/>
              <a:gd name="T43" fmla="*/ 114 h 666"/>
              <a:gd name="T44" fmla="*/ 406 w 557"/>
              <a:gd name="T45" fmla="*/ 396 h 666"/>
              <a:gd name="T46" fmla="*/ 338 w 557"/>
              <a:gd name="T47" fmla="*/ 470 h 666"/>
              <a:gd name="T48" fmla="*/ 344 w 557"/>
              <a:gd name="T49" fmla="*/ 542 h 666"/>
              <a:gd name="T50" fmla="*/ 263 w 557"/>
              <a:gd name="T51" fmla="*/ 658 h 666"/>
              <a:gd name="T52" fmla="*/ 247 w 557"/>
              <a:gd name="T53" fmla="*/ 666 h 666"/>
              <a:gd name="T54" fmla="*/ 214 w 557"/>
              <a:gd name="T55" fmla="*/ 530 h 666"/>
              <a:gd name="T56" fmla="*/ 220 w 557"/>
              <a:gd name="T57" fmla="*/ 533 h 666"/>
              <a:gd name="T58" fmla="*/ 240 w 557"/>
              <a:gd name="T59" fmla="*/ 643 h 666"/>
              <a:gd name="T60" fmla="*/ 244 w 557"/>
              <a:gd name="T61" fmla="*/ 651 h 666"/>
              <a:gd name="T62" fmla="*/ 252 w 557"/>
              <a:gd name="T63" fmla="*/ 649 h 666"/>
              <a:gd name="T64" fmla="*/ 331 w 557"/>
              <a:gd name="T65" fmla="*/ 537 h 666"/>
              <a:gd name="T66" fmla="*/ 323 w 557"/>
              <a:gd name="T67" fmla="*/ 471 h 666"/>
              <a:gd name="T68" fmla="*/ 325 w 557"/>
              <a:gd name="T69" fmla="*/ 463 h 666"/>
              <a:gd name="T70" fmla="*/ 395 w 557"/>
              <a:gd name="T71" fmla="*/ 388 h 666"/>
              <a:gd name="T72" fmla="*/ 495 w 557"/>
              <a:gd name="T73" fmla="*/ 115 h 666"/>
              <a:gd name="T74" fmla="*/ 496 w 557"/>
              <a:gd name="T75" fmla="*/ 111 h 666"/>
              <a:gd name="T76" fmla="*/ 540 w 557"/>
              <a:gd name="T77" fmla="*/ 19 h 666"/>
              <a:gd name="T78" fmla="*/ 463 w 557"/>
              <a:gd name="T79" fmla="*/ 89 h 666"/>
              <a:gd name="T80" fmla="*/ 458 w 557"/>
              <a:gd name="T81" fmla="*/ 91 h 666"/>
              <a:gd name="T82" fmla="*/ 226 w 557"/>
              <a:gd name="T83" fmla="*/ 262 h 666"/>
              <a:gd name="T84" fmla="*/ 174 w 557"/>
              <a:gd name="T85" fmla="*/ 351 h 666"/>
              <a:gd name="T86" fmla="*/ 166 w 557"/>
              <a:gd name="T87" fmla="*/ 355 h 666"/>
              <a:gd name="T88" fmla="*/ 145 w 557"/>
              <a:gd name="T89" fmla="*/ 353 h 666"/>
              <a:gd name="T90" fmla="*/ 102 w 557"/>
              <a:gd name="T91" fmla="*/ 366 h 666"/>
              <a:gd name="T92" fmla="*/ 17 w 557"/>
              <a:gd name="T93" fmla="*/ 474 h 666"/>
              <a:gd name="T94" fmla="*/ 18 w 557"/>
              <a:gd name="T95" fmla="*/ 483 h 666"/>
              <a:gd name="T96" fmla="*/ 26 w 557"/>
              <a:gd name="T97" fmla="*/ 485 h 666"/>
              <a:gd name="T98" fmla="*/ 105 w 557"/>
              <a:gd name="T99" fmla="*/ 468 h 666"/>
              <a:gd name="T100" fmla="*/ 137 w 557"/>
              <a:gd name="T101" fmla="*/ 472 h 666"/>
              <a:gd name="T102" fmla="*/ 142 w 557"/>
              <a:gd name="T103" fmla="*/ 479 h 666"/>
              <a:gd name="T104" fmla="*/ 155 w 557"/>
              <a:gd name="T105" fmla="*/ 534 h 666"/>
              <a:gd name="T106" fmla="*/ 173 w 557"/>
              <a:gd name="T107" fmla="*/ 538 h 666"/>
              <a:gd name="T108" fmla="*/ 212 w 557"/>
              <a:gd name="T109" fmla="*/ 530 h 666"/>
              <a:gd name="T110" fmla="*/ 214 w 557"/>
              <a:gd name="T111" fmla="*/ 530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57" h="666">
                <a:moveTo>
                  <a:pt x="247" y="666"/>
                </a:moveTo>
                <a:cubicBezTo>
                  <a:pt x="244" y="666"/>
                  <a:pt x="241" y="665"/>
                  <a:pt x="238" y="663"/>
                </a:cubicBezTo>
                <a:cubicBezTo>
                  <a:pt x="229" y="660"/>
                  <a:pt x="224" y="651"/>
                  <a:pt x="226" y="641"/>
                </a:cubicBezTo>
                <a:cubicBezTo>
                  <a:pt x="226" y="639"/>
                  <a:pt x="232" y="588"/>
                  <a:pt x="210" y="545"/>
                </a:cubicBezTo>
                <a:cubicBezTo>
                  <a:pt x="196" y="550"/>
                  <a:pt x="184" y="552"/>
                  <a:pt x="173" y="552"/>
                </a:cubicBezTo>
                <a:cubicBezTo>
                  <a:pt x="162" y="552"/>
                  <a:pt x="154" y="550"/>
                  <a:pt x="148" y="545"/>
                </a:cubicBezTo>
                <a:cubicBezTo>
                  <a:pt x="148" y="545"/>
                  <a:pt x="148" y="545"/>
                  <a:pt x="148" y="545"/>
                </a:cubicBezTo>
                <a:cubicBezTo>
                  <a:pt x="147" y="545"/>
                  <a:pt x="147" y="545"/>
                  <a:pt x="147" y="545"/>
                </a:cubicBezTo>
                <a:cubicBezTo>
                  <a:pt x="134" y="535"/>
                  <a:pt x="128" y="515"/>
                  <a:pt x="128" y="484"/>
                </a:cubicBezTo>
                <a:cubicBezTo>
                  <a:pt x="121" y="483"/>
                  <a:pt x="113" y="482"/>
                  <a:pt x="105" y="482"/>
                </a:cubicBezTo>
                <a:cubicBezTo>
                  <a:pt x="65" y="482"/>
                  <a:pt x="32" y="497"/>
                  <a:pt x="32" y="497"/>
                </a:cubicBezTo>
                <a:cubicBezTo>
                  <a:pt x="23" y="501"/>
                  <a:pt x="13" y="499"/>
                  <a:pt x="7" y="492"/>
                </a:cubicBezTo>
                <a:cubicBezTo>
                  <a:pt x="1" y="485"/>
                  <a:pt x="0" y="475"/>
                  <a:pt x="5" y="467"/>
                </a:cubicBezTo>
                <a:cubicBezTo>
                  <a:pt x="14" y="453"/>
                  <a:pt x="59" y="382"/>
                  <a:pt x="93" y="355"/>
                </a:cubicBezTo>
                <a:cubicBezTo>
                  <a:pt x="111" y="341"/>
                  <a:pt x="135" y="336"/>
                  <a:pt x="164" y="340"/>
                </a:cubicBezTo>
                <a:cubicBezTo>
                  <a:pt x="177" y="310"/>
                  <a:pt x="194" y="281"/>
                  <a:pt x="215" y="254"/>
                </a:cubicBezTo>
                <a:cubicBezTo>
                  <a:pt x="315" y="119"/>
                  <a:pt x="412" y="79"/>
                  <a:pt x="455" y="77"/>
                </a:cubicBezTo>
                <a:cubicBezTo>
                  <a:pt x="536" y="3"/>
                  <a:pt x="536" y="3"/>
                  <a:pt x="536" y="3"/>
                </a:cubicBezTo>
                <a:cubicBezTo>
                  <a:pt x="538" y="1"/>
                  <a:pt x="541" y="0"/>
                  <a:pt x="545" y="0"/>
                </a:cubicBezTo>
                <a:cubicBezTo>
                  <a:pt x="549" y="0"/>
                  <a:pt x="553" y="2"/>
                  <a:pt x="555" y="5"/>
                </a:cubicBezTo>
                <a:cubicBezTo>
                  <a:pt x="557" y="9"/>
                  <a:pt x="557" y="14"/>
                  <a:pt x="555" y="18"/>
                </a:cubicBezTo>
                <a:cubicBezTo>
                  <a:pt x="510" y="114"/>
                  <a:pt x="510" y="114"/>
                  <a:pt x="510" y="114"/>
                </a:cubicBezTo>
                <a:cubicBezTo>
                  <a:pt x="523" y="166"/>
                  <a:pt x="496" y="275"/>
                  <a:pt x="406" y="396"/>
                </a:cubicBezTo>
                <a:cubicBezTo>
                  <a:pt x="386" y="423"/>
                  <a:pt x="363" y="448"/>
                  <a:pt x="338" y="470"/>
                </a:cubicBezTo>
                <a:cubicBezTo>
                  <a:pt x="350" y="496"/>
                  <a:pt x="352" y="521"/>
                  <a:pt x="344" y="542"/>
                </a:cubicBezTo>
                <a:cubicBezTo>
                  <a:pt x="328" y="584"/>
                  <a:pt x="269" y="651"/>
                  <a:pt x="263" y="658"/>
                </a:cubicBezTo>
                <a:cubicBezTo>
                  <a:pt x="259" y="663"/>
                  <a:pt x="253" y="666"/>
                  <a:pt x="247" y="666"/>
                </a:cubicBezTo>
                <a:close/>
                <a:moveTo>
                  <a:pt x="214" y="530"/>
                </a:moveTo>
                <a:cubicBezTo>
                  <a:pt x="216" y="530"/>
                  <a:pt x="219" y="531"/>
                  <a:pt x="220" y="533"/>
                </a:cubicBezTo>
                <a:cubicBezTo>
                  <a:pt x="246" y="580"/>
                  <a:pt x="240" y="637"/>
                  <a:pt x="240" y="643"/>
                </a:cubicBezTo>
                <a:cubicBezTo>
                  <a:pt x="239" y="646"/>
                  <a:pt x="241" y="649"/>
                  <a:pt x="244" y="651"/>
                </a:cubicBezTo>
                <a:cubicBezTo>
                  <a:pt x="247" y="652"/>
                  <a:pt x="250" y="651"/>
                  <a:pt x="252" y="649"/>
                </a:cubicBezTo>
                <a:cubicBezTo>
                  <a:pt x="255" y="646"/>
                  <a:pt x="316" y="577"/>
                  <a:pt x="331" y="537"/>
                </a:cubicBezTo>
                <a:cubicBezTo>
                  <a:pt x="338" y="518"/>
                  <a:pt x="336" y="496"/>
                  <a:pt x="323" y="471"/>
                </a:cubicBezTo>
                <a:cubicBezTo>
                  <a:pt x="322" y="468"/>
                  <a:pt x="323" y="465"/>
                  <a:pt x="325" y="463"/>
                </a:cubicBezTo>
                <a:cubicBezTo>
                  <a:pt x="351" y="441"/>
                  <a:pt x="374" y="416"/>
                  <a:pt x="395" y="388"/>
                </a:cubicBezTo>
                <a:cubicBezTo>
                  <a:pt x="483" y="269"/>
                  <a:pt x="509" y="163"/>
                  <a:pt x="495" y="115"/>
                </a:cubicBezTo>
                <a:cubicBezTo>
                  <a:pt x="495" y="114"/>
                  <a:pt x="495" y="112"/>
                  <a:pt x="496" y="111"/>
                </a:cubicBezTo>
                <a:cubicBezTo>
                  <a:pt x="540" y="19"/>
                  <a:pt x="540" y="19"/>
                  <a:pt x="540" y="19"/>
                </a:cubicBezTo>
                <a:cubicBezTo>
                  <a:pt x="463" y="89"/>
                  <a:pt x="463" y="89"/>
                  <a:pt x="463" y="89"/>
                </a:cubicBezTo>
                <a:cubicBezTo>
                  <a:pt x="461" y="90"/>
                  <a:pt x="460" y="91"/>
                  <a:pt x="458" y="91"/>
                </a:cubicBezTo>
                <a:cubicBezTo>
                  <a:pt x="418" y="92"/>
                  <a:pt x="325" y="129"/>
                  <a:pt x="226" y="262"/>
                </a:cubicBezTo>
                <a:cubicBezTo>
                  <a:pt x="205" y="290"/>
                  <a:pt x="188" y="320"/>
                  <a:pt x="174" y="351"/>
                </a:cubicBezTo>
                <a:cubicBezTo>
                  <a:pt x="173" y="354"/>
                  <a:pt x="170" y="355"/>
                  <a:pt x="166" y="355"/>
                </a:cubicBezTo>
                <a:cubicBezTo>
                  <a:pt x="159" y="354"/>
                  <a:pt x="152" y="353"/>
                  <a:pt x="145" y="353"/>
                </a:cubicBezTo>
                <a:cubicBezTo>
                  <a:pt x="128" y="353"/>
                  <a:pt x="113" y="357"/>
                  <a:pt x="102" y="366"/>
                </a:cubicBezTo>
                <a:cubicBezTo>
                  <a:pt x="68" y="392"/>
                  <a:pt x="22" y="466"/>
                  <a:pt x="17" y="474"/>
                </a:cubicBezTo>
                <a:cubicBezTo>
                  <a:pt x="15" y="477"/>
                  <a:pt x="15" y="481"/>
                  <a:pt x="18" y="483"/>
                </a:cubicBezTo>
                <a:cubicBezTo>
                  <a:pt x="20" y="485"/>
                  <a:pt x="23" y="486"/>
                  <a:pt x="26" y="485"/>
                </a:cubicBezTo>
                <a:cubicBezTo>
                  <a:pt x="26" y="485"/>
                  <a:pt x="62" y="468"/>
                  <a:pt x="105" y="468"/>
                </a:cubicBezTo>
                <a:cubicBezTo>
                  <a:pt x="116" y="468"/>
                  <a:pt x="127" y="469"/>
                  <a:pt x="137" y="472"/>
                </a:cubicBezTo>
                <a:cubicBezTo>
                  <a:pt x="140" y="472"/>
                  <a:pt x="142" y="475"/>
                  <a:pt x="142" y="479"/>
                </a:cubicBezTo>
                <a:cubicBezTo>
                  <a:pt x="141" y="507"/>
                  <a:pt x="146" y="527"/>
                  <a:pt x="155" y="534"/>
                </a:cubicBezTo>
                <a:cubicBezTo>
                  <a:pt x="160" y="537"/>
                  <a:pt x="165" y="538"/>
                  <a:pt x="173" y="538"/>
                </a:cubicBezTo>
                <a:cubicBezTo>
                  <a:pt x="183" y="538"/>
                  <a:pt x="197" y="535"/>
                  <a:pt x="212" y="530"/>
                </a:cubicBezTo>
                <a:cubicBezTo>
                  <a:pt x="212" y="530"/>
                  <a:pt x="213" y="530"/>
                  <a:pt x="214" y="530"/>
                </a:cubicBez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9239" name="Oval 54"/>
          <p:cNvSpPr>
            <a:spLocks noChangeArrowheads="1"/>
          </p:cNvSpPr>
          <p:nvPr/>
        </p:nvSpPr>
        <p:spPr bwMode="auto">
          <a:xfrm>
            <a:off x="6589621" y="3120088"/>
            <a:ext cx="1119124" cy="1119124"/>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9312" name="Freeform 125"/>
          <p:cNvSpPr>
            <a:spLocks noEditPoints="1"/>
          </p:cNvSpPr>
          <p:nvPr/>
        </p:nvSpPr>
        <p:spPr bwMode="auto">
          <a:xfrm>
            <a:off x="6816502" y="3351672"/>
            <a:ext cx="665361" cy="657133"/>
          </a:xfrm>
          <a:custGeom>
            <a:avLst/>
            <a:gdLst>
              <a:gd name="T0" fmla="*/ 180 w 633"/>
              <a:gd name="T1" fmla="*/ 597 h 624"/>
              <a:gd name="T2" fmla="*/ 150 w 633"/>
              <a:gd name="T3" fmla="*/ 493 h 624"/>
              <a:gd name="T4" fmla="*/ 38 w 633"/>
              <a:gd name="T5" fmla="*/ 462 h 624"/>
              <a:gd name="T6" fmla="*/ 75 w 633"/>
              <a:gd name="T7" fmla="*/ 361 h 624"/>
              <a:gd name="T8" fmla="*/ 0 w 633"/>
              <a:gd name="T9" fmla="*/ 312 h 624"/>
              <a:gd name="T10" fmla="*/ 75 w 633"/>
              <a:gd name="T11" fmla="*/ 262 h 624"/>
              <a:gd name="T12" fmla="*/ 38 w 633"/>
              <a:gd name="T13" fmla="*/ 161 h 624"/>
              <a:gd name="T14" fmla="*/ 150 w 633"/>
              <a:gd name="T15" fmla="*/ 130 h 624"/>
              <a:gd name="T16" fmla="*/ 180 w 633"/>
              <a:gd name="T17" fmla="*/ 26 h 624"/>
              <a:gd name="T18" fmla="*/ 288 w 633"/>
              <a:gd name="T19" fmla="*/ 67 h 624"/>
              <a:gd name="T20" fmla="*/ 374 w 633"/>
              <a:gd name="T21" fmla="*/ 0 h 624"/>
              <a:gd name="T22" fmla="*/ 438 w 633"/>
              <a:gd name="T23" fmla="*/ 97 h 624"/>
              <a:gd name="T24" fmla="*/ 546 w 633"/>
              <a:gd name="T25" fmla="*/ 93 h 624"/>
              <a:gd name="T26" fmla="*/ 540 w 633"/>
              <a:gd name="T27" fmla="*/ 210 h 624"/>
              <a:gd name="T28" fmla="*/ 630 w 633"/>
              <a:gd name="T29" fmla="*/ 270 h 624"/>
              <a:gd name="T30" fmla="*/ 623 w 633"/>
              <a:gd name="T31" fmla="*/ 359 h 624"/>
              <a:gd name="T32" fmla="*/ 593 w 633"/>
              <a:gd name="T33" fmla="*/ 454 h 624"/>
              <a:gd name="T34" fmla="*/ 537 w 633"/>
              <a:gd name="T35" fmla="*/ 531 h 624"/>
              <a:gd name="T36" fmla="*/ 457 w 633"/>
              <a:gd name="T37" fmla="*/ 589 h 624"/>
              <a:gd name="T38" fmla="*/ 366 w 633"/>
              <a:gd name="T39" fmla="*/ 618 h 624"/>
              <a:gd name="T40" fmla="*/ 267 w 633"/>
              <a:gd name="T41" fmla="*/ 618 h 624"/>
              <a:gd name="T42" fmla="*/ 355 w 633"/>
              <a:gd name="T43" fmla="*/ 546 h 624"/>
              <a:gd name="T44" fmla="*/ 423 w 633"/>
              <a:gd name="T45" fmla="*/ 525 h 624"/>
              <a:gd name="T46" fmla="*/ 486 w 633"/>
              <a:gd name="T47" fmla="*/ 478 h 624"/>
              <a:gd name="T48" fmla="*/ 527 w 633"/>
              <a:gd name="T49" fmla="*/ 421 h 624"/>
              <a:gd name="T50" fmla="*/ 552 w 633"/>
              <a:gd name="T51" fmla="*/ 347 h 624"/>
              <a:gd name="T52" fmla="*/ 617 w 633"/>
              <a:gd name="T53" fmla="*/ 278 h 624"/>
              <a:gd name="T54" fmla="*/ 525 w 633"/>
              <a:gd name="T55" fmla="*/ 210 h 624"/>
              <a:gd name="T56" fmla="*/ 540 w 633"/>
              <a:gd name="T57" fmla="*/ 108 h 624"/>
              <a:gd name="T58" fmla="*/ 426 w 633"/>
              <a:gd name="T59" fmla="*/ 107 h 624"/>
              <a:gd name="T60" fmla="*/ 377 w 633"/>
              <a:gd name="T61" fmla="*/ 15 h 624"/>
              <a:gd name="T62" fmla="*/ 285 w 633"/>
              <a:gd name="T63" fmla="*/ 82 h 624"/>
              <a:gd name="T64" fmla="*/ 191 w 633"/>
              <a:gd name="T65" fmla="*/ 36 h 624"/>
              <a:gd name="T66" fmla="*/ 156 w 633"/>
              <a:gd name="T67" fmla="*/ 144 h 624"/>
              <a:gd name="T68" fmla="*/ 53 w 633"/>
              <a:gd name="T69" fmla="*/ 162 h 624"/>
              <a:gd name="T70" fmla="*/ 88 w 633"/>
              <a:gd name="T71" fmla="*/ 271 h 624"/>
              <a:gd name="T72" fmla="*/ 14 w 633"/>
              <a:gd name="T73" fmla="*/ 312 h 624"/>
              <a:gd name="T74" fmla="*/ 88 w 633"/>
              <a:gd name="T75" fmla="*/ 353 h 624"/>
              <a:gd name="T76" fmla="*/ 53 w 633"/>
              <a:gd name="T77" fmla="*/ 461 h 624"/>
              <a:gd name="T78" fmla="*/ 156 w 633"/>
              <a:gd name="T79" fmla="*/ 479 h 624"/>
              <a:gd name="T80" fmla="*/ 191 w 633"/>
              <a:gd name="T81" fmla="*/ 587 h 624"/>
              <a:gd name="T82" fmla="*/ 285 w 633"/>
              <a:gd name="T83" fmla="*/ 542 h 624"/>
              <a:gd name="T84" fmla="*/ 316 w 633"/>
              <a:gd name="T85" fmla="*/ 409 h 624"/>
              <a:gd name="T86" fmla="*/ 414 w 633"/>
              <a:gd name="T87" fmla="*/ 312 h 624"/>
              <a:gd name="T88" fmla="*/ 233 w 633"/>
              <a:gd name="T89" fmla="*/ 312 h 624"/>
              <a:gd name="T90" fmla="*/ 316 w 633"/>
              <a:gd name="T91" fmla="*/ 228 h 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633" h="624">
                <a:moveTo>
                  <a:pt x="260" y="623"/>
                </a:moveTo>
                <a:cubicBezTo>
                  <a:pt x="260" y="623"/>
                  <a:pt x="259" y="623"/>
                  <a:pt x="259" y="623"/>
                </a:cubicBezTo>
                <a:cubicBezTo>
                  <a:pt x="232" y="618"/>
                  <a:pt x="205" y="609"/>
                  <a:pt x="180" y="597"/>
                </a:cubicBezTo>
                <a:cubicBezTo>
                  <a:pt x="177" y="596"/>
                  <a:pt x="175" y="592"/>
                  <a:pt x="176" y="589"/>
                </a:cubicBezTo>
                <a:cubicBezTo>
                  <a:pt x="195" y="526"/>
                  <a:pt x="195" y="526"/>
                  <a:pt x="195" y="526"/>
                </a:cubicBezTo>
                <a:cubicBezTo>
                  <a:pt x="179" y="517"/>
                  <a:pt x="164" y="506"/>
                  <a:pt x="150" y="493"/>
                </a:cubicBezTo>
                <a:cubicBezTo>
                  <a:pt x="96" y="531"/>
                  <a:pt x="96" y="531"/>
                  <a:pt x="96" y="531"/>
                </a:cubicBezTo>
                <a:cubicBezTo>
                  <a:pt x="93" y="533"/>
                  <a:pt x="89" y="532"/>
                  <a:pt x="87" y="530"/>
                </a:cubicBezTo>
                <a:cubicBezTo>
                  <a:pt x="68" y="510"/>
                  <a:pt x="51" y="487"/>
                  <a:pt x="38" y="462"/>
                </a:cubicBezTo>
                <a:cubicBezTo>
                  <a:pt x="36" y="459"/>
                  <a:pt x="37" y="456"/>
                  <a:pt x="40" y="454"/>
                </a:cubicBezTo>
                <a:cubicBezTo>
                  <a:pt x="92" y="414"/>
                  <a:pt x="92" y="414"/>
                  <a:pt x="92" y="414"/>
                </a:cubicBezTo>
                <a:cubicBezTo>
                  <a:pt x="84" y="397"/>
                  <a:pt x="79" y="379"/>
                  <a:pt x="75" y="361"/>
                </a:cubicBezTo>
                <a:cubicBezTo>
                  <a:pt x="9" y="359"/>
                  <a:pt x="9" y="359"/>
                  <a:pt x="9" y="359"/>
                </a:cubicBezTo>
                <a:cubicBezTo>
                  <a:pt x="6" y="359"/>
                  <a:pt x="3" y="357"/>
                  <a:pt x="2" y="353"/>
                </a:cubicBezTo>
                <a:cubicBezTo>
                  <a:pt x="1" y="339"/>
                  <a:pt x="0" y="325"/>
                  <a:pt x="0" y="312"/>
                </a:cubicBezTo>
                <a:cubicBezTo>
                  <a:pt x="0" y="298"/>
                  <a:pt x="1" y="284"/>
                  <a:pt x="2" y="270"/>
                </a:cubicBezTo>
                <a:cubicBezTo>
                  <a:pt x="3" y="267"/>
                  <a:pt x="6" y="264"/>
                  <a:pt x="9" y="264"/>
                </a:cubicBezTo>
                <a:cubicBezTo>
                  <a:pt x="75" y="262"/>
                  <a:pt x="75" y="262"/>
                  <a:pt x="75" y="262"/>
                </a:cubicBezTo>
                <a:cubicBezTo>
                  <a:pt x="79" y="244"/>
                  <a:pt x="84" y="226"/>
                  <a:pt x="92" y="210"/>
                </a:cubicBezTo>
                <a:cubicBezTo>
                  <a:pt x="40" y="170"/>
                  <a:pt x="40" y="170"/>
                  <a:pt x="40" y="170"/>
                </a:cubicBezTo>
                <a:cubicBezTo>
                  <a:pt x="37" y="168"/>
                  <a:pt x="36" y="164"/>
                  <a:pt x="38" y="161"/>
                </a:cubicBezTo>
                <a:cubicBezTo>
                  <a:pt x="51" y="136"/>
                  <a:pt x="68" y="114"/>
                  <a:pt x="87" y="93"/>
                </a:cubicBezTo>
                <a:cubicBezTo>
                  <a:pt x="89" y="91"/>
                  <a:pt x="93" y="91"/>
                  <a:pt x="96" y="93"/>
                </a:cubicBezTo>
                <a:cubicBezTo>
                  <a:pt x="150" y="130"/>
                  <a:pt x="150" y="130"/>
                  <a:pt x="150" y="130"/>
                </a:cubicBezTo>
                <a:cubicBezTo>
                  <a:pt x="164" y="117"/>
                  <a:pt x="179" y="106"/>
                  <a:pt x="195" y="97"/>
                </a:cubicBezTo>
                <a:cubicBezTo>
                  <a:pt x="176" y="34"/>
                  <a:pt x="176" y="34"/>
                  <a:pt x="176" y="34"/>
                </a:cubicBezTo>
                <a:cubicBezTo>
                  <a:pt x="175" y="31"/>
                  <a:pt x="177" y="27"/>
                  <a:pt x="180" y="26"/>
                </a:cubicBezTo>
                <a:cubicBezTo>
                  <a:pt x="205" y="14"/>
                  <a:pt x="231" y="5"/>
                  <a:pt x="259" y="0"/>
                </a:cubicBezTo>
                <a:cubicBezTo>
                  <a:pt x="262" y="0"/>
                  <a:pt x="266" y="2"/>
                  <a:pt x="267" y="5"/>
                </a:cubicBezTo>
                <a:cubicBezTo>
                  <a:pt x="288" y="67"/>
                  <a:pt x="288" y="67"/>
                  <a:pt x="288" y="67"/>
                </a:cubicBezTo>
                <a:cubicBezTo>
                  <a:pt x="307" y="65"/>
                  <a:pt x="326" y="65"/>
                  <a:pt x="344" y="67"/>
                </a:cubicBezTo>
                <a:cubicBezTo>
                  <a:pt x="366" y="5"/>
                  <a:pt x="366" y="5"/>
                  <a:pt x="366" y="5"/>
                </a:cubicBezTo>
                <a:cubicBezTo>
                  <a:pt x="367" y="2"/>
                  <a:pt x="370" y="0"/>
                  <a:pt x="374" y="0"/>
                </a:cubicBezTo>
                <a:cubicBezTo>
                  <a:pt x="401" y="5"/>
                  <a:pt x="428" y="14"/>
                  <a:pt x="453" y="26"/>
                </a:cubicBezTo>
                <a:cubicBezTo>
                  <a:pt x="456" y="27"/>
                  <a:pt x="458" y="31"/>
                  <a:pt x="457" y="34"/>
                </a:cubicBezTo>
                <a:cubicBezTo>
                  <a:pt x="438" y="97"/>
                  <a:pt x="438" y="97"/>
                  <a:pt x="438" y="97"/>
                </a:cubicBezTo>
                <a:cubicBezTo>
                  <a:pt x="454" y="106"/>
                  <a:pt x="469" y="117"/>
                  <a:pt x="483" y="130"/>
                </a:cubicBezTo>
                <a:cubicBezTo>
                  <a:pt x="537" y="93"/>
                  <a:pt x="537" y="93"/>
                  <a:pt x="537" y="93"/>
                </a:cubicBezTo>
                <a:cubicBezTo>
                  <a:pt x="539" y="91"/>
                  <a:pt x="543" y="91"/>
                  <a:pt x="546" y="93"/>
                </a:cubicBezTo>
                <a:cubicBezTo>
                  <a:pt x="565" y="114"/>
                  <a:pt x="581" y="136"/>
                  <a:pt x="595" y="161"/>
                </a:cubicBezTo>
                <a:cubicBezTo>
                  <a:pt x="596" y="164"/>
                  <a:pt x="596" y="168"/>
                  <a:pt x="593" y="170"/>
                </a:cubicBezTo>
                <a:cubicBezTo>
                  <a:pt x="540" y="210"/>
                  <a:pt x="540" y="210"/>
                  <a:pt x="540" y="210"/>
                </a:cubicBezTo>
                <a:cubicBezTo>
                  <a:pt x="548" y="226"/>
                  <a:pt x="554" y="244"/>
                  <a:pt x="558" y="262"/>
                </a:cubicBezTo>
                <a:cubicBezTo>
                  <a:pt x="623" y="264"/>
                  <a:pt x="623" y="264"/>
                  <a:pt x="623" y="264"/>
                </a:cubicBezTo>
                <a:cubicBezTo>
                  <a:pt x="627" y="264"/>
                  <a:pt x="630" y="267"/>
                  <a:pt x="630" y="270"/>
                </a:cubicBezTo>
                <a:cubicBezTo>
                  <a:pt x="632" y="284"/>
                  <a:pt x="633" y="298"/>
                  <a:pt x="633" y="312"/>
                </a:cubicBezTo>
                <a:cubicBezTo>
                  <a:pt x="633" y="325"/>
                  <a:pt x="632" y="339"/>
                  <a:pt x="630" y="353"/>
                </a:cubicBezTo>
                <a:cubicBezTo>
                  <a:pt x="630" y="357"/>
                  <a:pt x="627" y="359"/>
                  <a:pt x="623" y="359"/>
                </a:cubicBezTo>
                <a:cubicBezTo>
                  <a:pt x="558" y="361"/>
                  <a:pt x="558" y="361"/>
                  <a:pt x="558" y="361"/>
                </a:cubicBezTo>
                <a:cubicBezTo>
                  <a:pt x="554" y="379"/>
                  <a:pt x="548" y="397"/>
                  <a:pt x="540" y="414"/>
                </a:cubicBezTo>
                <a:cubicBezTo>
                  <a:pt x="593" y="454"/>
                  <a:pt x="593" y="454"/>
                  <a:pt x="593" y="454"/>
                </a:cubicBezTo>
                <a:cubicBezTo>
                  <a:pt x="596" y="456"/>
                  <a:pt x="596" y="459"/>
                  <a:pt x="595" y="462"/>
                </a:cubicBezTo>
                <a:cubicBezTo>
                  <a:pt x="581" y="487"/>
                  <a:pt x="565" y="509"/>
                  <a:pt x="546" y="530"/>
                </a:cubicBezTo>
                <a:cubicBezTo>
                  <a:pt x="543" y="532"/>
                  <a:pt x="539" y="533"/>
                  <a:pt x="537" y="531"/>
                </a:cubicBezTo>
                <a:cubicBezTo>
                  <a:pt x="483" y="493"/>
                  <a:pt x="483" y="493"/>
                  <a:pt x="483" y="493"/>
                </a:cubicBezTo>
                <a:cubicBezTo>
                  <a:pt x="469" y="506"/>
                  <a:pt x="454" y="517"/>
                  <a:pt x="438" y="526"/>
                </a:cubicBezTo>
                <a:cubicBezTo>
                  <a:pt x="457" y="589"/>
                  <a:pt x="457" y="589"/>
                  <a:pt x="457" y="589"/>
                </a:cubicBezTo>
                <a:cubicBezTo>
                  <a:pt x="458" y="592"/>
                  <a:pt x="456" y="596"/>
                  <a:pt x="453" y="597"/>
                </a:cubicBezTo>
                <a:cubicBezTo>
                  <a:pt x="428" y="609"/>
                  <a:pt x="401" y="618"/>
                  <a:pt x="374" y="623"/>
                </a:cubicBezTo>
                <a:cubicBezTo>
                  <a:pt x="370" y="624"/>
                  <a:pt x="367" y="622"/>
                  <a:pt x="366" y="618"/>
                </a:cubicBezTo>
                <a:cubicBezTo>
                  <a:pt x="344" y="556"/>
                  <a:pt x="344" y="556"/>
                  <a:pt x="344" y="556"/>
                </a:cubicBezTo>
                <a:cubicBezTo>
                  <a:pt x="326" y="558"/>
                  <a:pt x="307" y="558"/>
                  <a:pt x="288" y="556"/>
                </a:cubicBezTo>
                <a:cubicBezTo>
                  <a:pt x="267" y="618"/>
                  <a:pt x="267" y="618"/>
                  <a:pt x="267" y="618"/>
                </a:cubicBezTo>
                <a:cubicBezTo>
                  <a:pt x="266" y="621"/>
                  <a:pt x="263" y="623"/>
                  <a:pt x="260" y="623"/>
                </a:cubicBezTo>
                <a:close/>
                <a:moveTo>
                  <a:pt x="349" y="542"/>
                </a:moveTo>
                <a:cubicBezTo>
                  <a:pt x="352" y="542"/>
                  <a:pt x="354" y="543"/>
                  <a:pt x="355" y="546"/>
                </a:cubicBezTo>
                <a:cubicBezTo>
                  <a:pt x="377" y="608"/>
                  <a:pt x="377" y="608"/>
                  <a:pt x="377" y="608"/>
                </a:cubicBezTo>
                <a:cubicBezTo>
                  <a:pt x="399" y="604"/>
                  <a:pt x="421" y="597"/>
                  <a:pt x="441" y="587"/>
                </a:cubicBezTo>
                <a:cubicBezTo>
                  <a:pt x="423" y="525"/>
                  <a:pt x="423" y="525"/>
                  <a:pt x="423" y="525"/>
                </a:cubicBezTo>
                <a:cubicBezTo>
                  <a:pt x="422" y="521"/>
                  <a:pt x="423" y="518"/>
                  <a:pt x="426" y="516"/>
                </a:cubicBezTo>
                <a:cubicBezTo>
                  <a:pt x="445" y="506"/>
                  <a:pt x="462" y="494"/>
                  <a:pt x="477" y="479"/>
                </a:cubicBezTo>
                <a:cubicBezTo>
                  <a:pt x="479" y="477"/>
                  <a:pt x="483" y="477"/>
                  <a:pt x="486" y="478"/>
                </a:cubicBezTo>
                <a:cubicBezTo>
                  <a:pt x="540" y="516"/>
                  <a:pt x="540" y="516"/>
                  <a:pt x="540" y="516"/>
                </a:cubicBezTo>
                <a:cubicBezTo>
                  <a:pt x="555" y="499"/>
                  <a:pt x="568" y="481"/>
                  <a:pt x="579" y="461"/>
                </a:cubicBezTo>
                <a:cubicBezTo>
                  <a:pt x="527" y="421"/>
                  <a:pt x="527" y="421"/>
                  <a:pt x="527" y="421"/>
                </a:cubicBezTo>
                <a:cubicBezTo>
                  <a:pt x="525" y="419"/>
                  <a:pt x="524" y="416"/>
                  <a:pt x="525" y="413"/>
                </a:cubicBezTo>
                <a:cubicBezTo>
                  <a:pt x="535" y="394"/>
                  <a:pt x="541" y="373"/>
                  <a:pt x="545" y="353"/>
                </a:cubicBezTo>
                <a:cubicBezTo>
                  <a:pt x="545" y="349"/>
                  <a:pt x="548" y="347"/>
                  <a:pt x="552" y="347"/>
                </a:cubicBezTo>
                <a:cubicBezTo>
                  <a:pt x="617" y="345"/>
                  <a:pt x="617" y="345"/>
                  <a:pt x="617" y="345"/>
                </a:cubicBezTo>
                <a:cubicBezTo>
                  <a:pt x="618" y="334"/>
                  <a:pt x="619" y="323"/>
                  <a:pt x="619" y="312"/>
                </a:cubicBezTo>
                <a:cubicBezTo>
                  <a:pt x="619" y="300"/>
                  <a:pt x="618" y="289"/>
                  <a:pt x="617" y="278"/>
                </a:cubicBezTo>
                <a:cubicBezTo>
                  <a:pt x="552" y="276"/>
                  <a:pt x="552" y="276"/>
                  <a:pt x="552" y="276"/>
                </a:cubicBezTo>
                <a:cubicBezTo>
                  <a:pt x="548" y="276"/>
                  <a:pt x="545" y="274"/>
                  <a:pt x="545" y="271"/>
                </a:cubicBezTo>
                <a:cubicBezTo>
                  <a:pt x="541" y="250"/>
                  <a:pt x="535" y="229"/>
                  <a:pt x="525" y="210"/>
                </a:cubicBezTo>
                <a:cubicBezTo>
                  <a:pt x="524" y="207"/>
                  <a:pt x="525" y="204"/>
                  <a:pt x="527" y="202"/>
                </a:cubicBezTo>
                <a:cubicBezTo>
                  <a:pt x="579" y="162"/>
                  <a:pt x="579" y="162"/>
                  <a:pt x="579" y="162"/>
                </a:cubicBezTo>
                <a:cubicBezTo>
                  <a:pt x="568" y="143"/>
                  <a:pt x="555" y="124"/>
                  <a:pt x="540" y="108"/>
                </a:cubicBezTo>
                <a:cubicBezTo>
                  <a:pt x="486" y="145"/>
                  <a:pt x="486" y="145"/>
                  <a:pt x="486" y="145"/>
                </a:cubicBezTo>
                <a:cubicBezTo>
                  <a:pt x="483" y="147"/>
                  <a:pt x="479" y="146"/>
                  <a:pt x="477" y="144"/>
                </a:cubicBezTo>
                <a:cubicBezTo>
                  <a:pt x="462" y="129"/>
                  <a:pt x="445" y="117"/>
                  <a:pt x="426" y="107"/>
                </a:cubicBezTo>
                <a:cubicBezTo>
                  <a:pt x="423" y="105"/>
                  <a:pt x="422" y="102"/>
                  <a:pt x="423" y="99"/>
                </a:cubicBezTo>
                <a:cubicBezTo>
                  <a:pt x="441" y="36"/>
                  <a:pt x="441" y="36"/>
                  <a:pt x="441" y="36"/>
                </a:cubicBezTo>
                <a:cubicBezTo>
                  <a:pt x="421" y="27"/>
                  <a:pt x="399" y="20"/>
                  <a:pt x="377" y="15"/>
                </a:cubicBezTo>
                <a:cubicBezTo>
                  <a:pt x="355" y="77"/>
                  <a:pt x="355" y="77"/>
                  <a:pt x="355" y="77"/>
                </a:cubicBezTo>
                <a:cubicBezTo>
                  <a:pt x="354" y="80"/>
                  <a:pt x="351" y="82"/>
                  <a:pt x="348" y="82"/>
                </a:cubicBezTo>
                <a:cubicBezTo>
                  <a:pt x="327" y="79"/>
                  <a:pt x="306" y="79"/>
                  <a:pt x="285" y="82"/>
                </a:cubicBezTo>
                <a:cubicBezTo>
                  <a:pt x="281" y="82"/>
                  <a:pt x="278" y="80"/>
                  <a:pt x="277" y="77"/>
                </a:cubicBezTo>
                <a:cubicBezTo>
                  <a:pt x="256" y="15"/>
                  <a:pt x="256" y="15"/>
                  <a:pt x="256" y="15"/>
                </a:cubicBezTo>
                <a:cubicBezTo>
                  <a:pt x="233" y="20"/>
                  <a:pt x="212" y="27"/>
                  <a:pt x="191" y="36"/>
                </a:cubicBezTo>
                <a:cubicBezTo>
                  <a:pt x="210" y="99"/>
                  <a:pt x="210" y="99"/>
                  <a:pt x="210" y="99"/>
                </a:cubicBezTo>
                <a:cubicBezTo>
                  <a:pt x="211" y="102"/>
                  <a:pt x="210" y="105"/>
                  <a:pt x="207" y="107"/>
                </a:cubicBezTo>
                <a:cubicBezTo>
                  <a:pt x="188" y="117"/>
                  <a:pt x="171" y="129"/>
                  <a:pt x="156" y="144"/>
                </a:cubicBezTo>
                <a:cubicBezTo>
                  <a:pt x="153" y="146"/>
                  <a:pt x="149" y="147"/>
                  <a:pt x="147" y="145"/>
                </a:cubicBezTo>
                <a:cubicBezTo>
                  <a:pt x="93" y="108"/>
                  <a:pt x="93" y="108"/>
                  <a:pt x="93" y="108"/>
                </a:cubicBezTo>
                <a:cubicBezTo>
                  <a:pt x="78" y="124"/>
                  <a:pt x="64" y="143"/>
                  <a:pt x="53" y="162"/>
                </a:cubicBezTo>
                <a:cubicBezTo>
                  <a:pt x="105" y="202"/>
                  <a:pt x="105" y="202"/>
                  <a:pt x="105" y="202"/>
                </a:cubicBezTo>
                <a:cubicBezTo>
                  <a:pt x="108" y="204"/>
                  <a:pt x="109" y="207"/>
                  <a:pt x="107" y="210"/>
                </a:cubicBezTo>
                <a:cubicBezTo>
                  <a:pt x="98" y="230"/>
                  <a:pt x="91" y="250"/>
                  <a:pt x="88" y="271"/>
                </a:cubicBezTo>
                <a:cubicBezTo>
                  <a:pt x="87" y="274"/>
                  <a:pt x="84" y="276"/>
                  <a:pt x="81" y="276"/>
                </a:cubicBezTo>
                <a:cubicBezTo>
                  <a:pt x="16" y="278"/>
                  <a:pt x="16" y="278"/>
                  <a:pt x="16" y="278"/>
                </a:cubicBezTo>
                <a:cubicBezTo>
                  <a:pt x="14" y="289"/>
                  <a:pt x="14" y="300"/>
                  <a:pt x="14" y="312"/>
                </a:cubicBezTo>
                <a:cubicBezTo>
                  <a:pt x="14" y="323"/>
                  <a:pt x="14" y="334"/>
                  <a:pt x="16" y="345"/>
                </a:cubicBezTo>
                <a:cubicBezTo>
                  <a:pt x="81" y="347"/>
                  <a:pt x="81" y="347"/>
                  <a:pt x="81" y="347"/>
                </a:cubicBezTo>
                <a:cubicBezTo>
                  <a:pt x="84" y="347"/>
                  <a:pt x="87" y="349"/>
                  <a:pt x="88" y="353"/>
                </a:cubicBezTo>
                <a:cubicBezTo>
                  <a:pt x="91" y="373"/>
                  <a:pt x="98" y="394"/>
                  <a:pt x="107" y="413"/>
                </a:cubicBezTo>
                <a:cubicBezTo>
                  <a:pt x="109" y="416"/>
                  <a:pt x="108" y="419"/>
                  <a:pt x="105" y="421"/>
                </a:cubicBezTo>
                <a:cubicBezTo>
                  <a:pt x="53" y="461"/>
                  <a:pt x="53" y="461"/>
                  <a:pt x="53" y="461"/>
                </a:cubicBezTo>
                <a:cubicBezTo>
                  <a:pt x="64" y="481"/>
                  <a:pt x="78" y="499"/>
                  <a:pt x="93" y="516"/>
                </a:cubicBezTo>
                <a:cubicBezTo>
                  <a:pt x="147" y="478"/>
                  <a:pt x="147" y="478"/>
                  <a:pt x="147" y="478"/>
                </a:cubicBezTo>
                <a:cubicBezTo>
                  <a:pt x="149" y="477"/>
                  <a:pt x="153" y="477"/>
                  <a:pt x="156" y="479"/>
                </a:cubicBezTo>
                <a:cubicBezTo>
                  <a:pt x="171" y="494"/>
                  <a:pt x="188" y="506"/>
                  <a:pt x="207" y="516"/>
                </a:cubicBezTo>
                <a:cubicBezTo>
                  <a:pt x="210" y="518"/>
                  <a:pt x="211" y="521"/>
                  <a:pt x="210" y="525"/>
                </a:cubicBezTo>
                <a:cubicBezTo>
                  <a:pt x="191" y="587"/>
                  <a:pt x="191" y="587"/>
                  <a:pt x="191" y="587"/>
                </a:cubicBezTo>
                <a:cubicBezTo>
                  <a:pt x="212" y="597"/>
                  <a:pt x="233" y="604"/>
                  <a:pt x="256" y="608"/>
                </a:cubicBezTo>
                <a:cubicBezTo>
                  <a:pt x="277" y="546"/>
                  <a:pt x="277" y="546"/>
                  <a:pt x="277" y="546"/>
                </a:cubicBezTo>
                <a:cubicBezTo>
                  <a:pt x="278" y="543"/>
                  <a:pt x="281" y="541"/>
                  <a:pt x="285" y="542"/>
                </a:cubicBezTo>
                <a:cubicBezTo>
                  <a:pt x="306" y="545"/>
                  <a:pt x="327" y="545"/>
                  <a:pt x="348" y="542"/>
                </a:cubicBezTo>
                <a:cubicBezTo>
                  <a:pt x="348" y="542"/>
                  <a:pt x="348" y="542"/>
                  <a:pt x="349" y="542"/>
                </a:cubicBezTo>
                <a:close/>
                <a:moveTo>
                  <a:pt x="316" y="409"/>
                </a:moveTo>
                <a:cubicBezTo>
                  <a:pt x="263" y="409"/>
                  <a:pt x="219" y="365"/>
                  <a:pt x="219" y="312"/>
                </a:cubicBezTo>
                <a:cubicBezTo>
                  <a:pt x="219" y="258"/>
                  <a:pt x="263" y="214"/>
                  <a:pt x="316" y="214"/>
                </a:cubicBezTo>
                <a:cubicBezTo>
                  <a:pt x="370" y="214"/>
                  <a:pt x="414" y="258"/>
                  <a:pt x="414" y="312"/>
                </a:cubicBezTo>
                <a:cubicBezTo>
                  <a:pt x="414" y="365"/>
                  <a:pt x="370" y="409"/>
                  <a:pt x="316" y="409"/>
                </a:cubicBezTo>
                <a:close/>
                <a:moveTo>
                  <a:pt x="316" y="228"/>
                </a:moveTo>
                <a:cubicBezTo>
                  <a:pt x="270" y="228"/>
                  <a:pt x="233" y="266"/>
                  <a:pt x="233" y="312"/>
                </a:cubicBezTo>
                <a:cubicBezTo>
                  <a:pt x="233" y="358"/>
                  <a:pt x="270" y="395"/>
                  <a:pt x="316" y="395"/>
                </a:cubicBezTo>
                <a:cubicBezTo>
                  <a:pt x="362" y="395"/>
                  <a:pt x="400" y="358"/>
                  <a:pt x="400" y="312"/>
                </a:cubicBezTo>
                <a:cubicBezTo>
                  <a:pt x="400" y="266"/>
                  <a:pt x="362" y="228"/>
                  <a:pt x="316" y="228"/>
                </a:cubicBez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9253" name="Oval 62"/>
          <p:cNvSpPr>
            <a:spLocks noChangeArrowheads="1"/>
          </p:cNvSpPr>
          <p:nvPr/>
        </p:nvSpPr>
        <p:spPr bwMode="auto">
          <a:xfrm>
            <a:off x="10105564" y="1528549"/>
            <a:ext cx="1119124" cy="1119124"/>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9313" name="Freeform 126"/>
          <p:cNvSpPr>
            <a:spLocks noEditPoints="1"/>
          </p:cNvSpPr>
          <p:nvPr/>
        </p:nvSpPr>
        <p:spPr bwMode="auto">
          <a:xfrm>
            <a:off x="10414734" y="1729568"/>
            <a:ext cx="500785" cy="717086"/>
          </a:xfrm>
          <a:custGeom>
            <a:avLst/>
            <a:gdLst>
              <a:gd name="T0" fmla="*/ 237 w 475"/>
              <a:gd name="T1" fmla="*/ 681 h 681"/>
              <a:gd name="T2" fmla="*/ 233 w 475"/>
              <a:gd name="T3" fmla="*/ 679 h 681"/>
              <a:gd name="T4" fmla="*/ 0 w 475"/>
              <a:gd name="T5" fmla="*/ 243 h 681"/>
              <a:gd name="T6" fmla="*/ 237 w 475"/>
              <a:gd name="T7" fmla="*/ 0 h 681"/>
              <a:gd name="T8" fmla="*/ 475 w 475"/>
              <a:gd name="T9" fmla="*/ 243 h 681"/>
              <a:gd name="T10" fmla="*/ 242 w 475"/>
              <a:gd name="T11" fmla="*/ 679 h 681"/>
              <a:gd name="T12" fmla="*/ 237 w 475"/>
              <a:gd name="T13" fmla="*/ 681 h 681"/>
              <a:gd name="T14" fmla="*/ 237 w 475"/>
              <a:gd name="T15" fmla="*/ 14 h 681"/>
              <a:gd name="T16" fmla="*/ 14 w 475"/>
              <a:gd name="T17" fmla="*/ 243 h 681"/>
              <a:gd name="T18" fmla="*/ 128 w 475"/>
              <a:gd name="T19" fmla="*/ 538 h 681"/>
              <a:gd name="T20" fmla="*/ 237 w 475"/>
              <a:gd name="T21" fmla="*/ 665 h 681"/>
              <a:gd name="T22" fmla="*/ 347 w 475"/>
              <a:gd name="T23" fmla="*/ 538 h 681"/>
              <a:gd name="T24" fmla="*/ 461 w 475"/>
              <a:gd name="T25" fmla="*/ 243 h 681"/>
              <a:gd name="T26" fmla="*/ 237 w 475"/>
              <a:gd name="T27" fmla="*/ 14 h 681"/>
              <a:gd name="T28" fmla="*/ 237 w 475"/>
              <a:gd name="T29" fmla="*/ 383 h 681"/>
              <a:gd name="T30" fmla="*/ 101 w 475"/>
              <a:gd name="T31" fmla="*/ 243 h 681"/>
              <a:gd name="T32" fmla="*/ 237 w 475"/>
              <a:gd name="T33" fmla="*/ 104 h 681"/>
              <a:gd name="T34" fmla="*/ 374 w 475"/>
              <a:gd name="T35" fmla="*/ 243 h 681"/>
              <a:gd name="T36" fmla="*/ 237 w 475"/>
              <a:gd name="T37" fmla="*/ 383 h 681"/>
              <a:gd name="T38" fmla="*/ 237 w 475"/>
              <a:gd name="T39" fmla="*/ 118 h 681"/>
              <a:gd name="T40" fmla="*/ 115 w 475"/>
              <a:gd name="T41" fmla="*/ 243 h 681"/>
              <a:gd name="T42" fmla="*/ 237 w 475"/>
              <a:gd name="T43" fmla="*/ 369 h 681"/>
              <a:gd name="T44" fmla="*/ 360 w 475"/>
              <a:gd name="T45" fmla="*/ 243 h 681"/>
              <a:gd name="T46" fmla="*/ 237 w 475"/>
              <a:gd name="T47" fmla="*/ 118 h 6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75" h="681">
                <a:moveTo>
                  <a:pt x="237" y="681"/>
                </a:moveTo>
                <a:cubicBezTo>
                  <a:pt x="236" y="681"/>
                  <a:pt x="234" y="681"/>
                  <a:pt x="233" y="679"/>
                </a:cubicBezTo>
                <a:cubicBezTo>
                  <a:pt x="230" y="677"/>
                  <a:pt x="0" y="466"/>
                  <a:pt x="0" y="243"/>
                </a:cubicBezTo>
                <a:cubicBezTo>
                  <a:pt x="0" y="109"/>
                  <a:pt x="106" y="0"/>
                  <a:pt x="237" y="0"/>
                </a:cubicBezTo>
                <a:cubicBezTo>
                  <a:pt x="369" y="0"/>
                  <a:pt x="475" y="109"/>
                  <a:pt x="475" y="243"/>
                </a:cubicBezTo>
                <a:cubicBezTo>
                  <a:pt x="475" y="466"/>
                  <a:pt x="244" y="677"/>
                  <a:pt x="242" y="679"/>
                </a:cubicBezTo>
                <a:cubicBezTo>
                  <a:pt x="241" y="681"/>
                  <a:pt x="239" y="681"/>
                  <a:pt x="237" y="681"/>
                </a:cubicBezTo>
                <a:close/>
                <a:moveTo>
                  <a:pt x="237" y="14"/>
                </a:moveTo>
                <a:cubicBezTo>
                  <a:pt x="114" y="14"/>
                  <a:pt x="14" y="117"/>
                  <a:pt x="14" y="243"/>
                </a:cubicBezTo>
                <a:cubicBezTo>
                  <a:pt x="14" y="356"/>
                  <a:pt x="76" y="466"/>
                  <a:pt x="128" y="538"/>
                </a:cubicBezTo>
                <a:cubicBezTo>
                  <a:pt x="175" y="604"/>
                  <a:pt x="223" y="651"/>
                  <a:pt x="237" y="665"/>
                </a:cubicBezTo>
                <a:cubicBezTo>
                  <a:pt x="252" y="650"/>
                  <a:pt x="300" y="603"/>
                  <a:pt x="347" y="538"/>
                </a:cubicBezTo>
                <a:cubicBezTo>
                  <a:pt x="399" y="466"/>
                  <a:pt x="461" y="356"/>
                  <a:pt x="461" y="243"/>
                </a:cubicBezTo>
                <a:cubicBezTo>
                  <a:pt x="461" y="117"/>
                  <a:pt x="361" y="14"/>
                  <a:pt x="237" y="14"/>
                </a:cubicBezTo>
                <a:close/>
                <a:moveTo>
                  <a:pt x="237" y="383"/>
                </a:moveTo>
                <a:cubicBezTo>
                  <a:pt x="162" y="383"/>
                  <a:pt x="101" y="320"/>
                  <a:pt x="101" y="243"/>
                </a:cubicBezTo>
                <a:cubicBezTo>
                  <a:pt x="101" y="167"/>
                  <a:pt x="162" y="104"/>
                  <a:pt x="237" y="104"/>
                </a:cubicBezTo>
                <a:cubicBezTo>
                  <a:pt x="313" y="104"/>
                  <a:pt x="374" y="167"/>
                  <a:pt x="374" y="243"/>
                </a:cubicBezTo>
                <a:cubicBezTo>
                  <a:pt x="374" y="320"/>
                  <a:pt x="313" y="383"/>
                  <a:pt x="237" y="383"/>
                </a:cubicBezTo>
                <a:close/>
                <a:moveTo>
                  <a:pt x="237" y="118"/>
                </a:moveTo>
                <a:cubicBezTo>
                  <a:pt x="170" y="118"/>
                  <a:pt x="115" y="174"/>
                  <a:pt x="115" y="243"/>
                </a:cubicBezTo>
                <a:cubicBezTo>
                  <a:pt x="115" y="312"/>
                  <a:pt x="170" y="369"/>
                  <a:pt x="237" y="369"/>
                </a:cubicBezTo>
                <a:cubicBezTo>
                  <a:pt x="305" y="369"/>
                  <a:pt x="360" y="312"/>
                  <a:pt x="360" y="243"/>
                </a:cubicBezTo>
                <a:cubicBezTo>
                  <a:pt x="360" y="174"/>
                  <a:pt x="305" y="118"/>
                  <a:pt x="237" y="118"/>
                </a:cubicBez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9248" name="Oval 57"/>
          <p:cNvSpPr>
            <a:spLocks noChangeArrowheads="1"/>
          </p:cNvSpPr>
          <p:nvPr/>
        </p:nvSpPr>
        <p:spPr bwMode="auto">
          <a:xfrm>
            <a:off x="1315706" y="3120088"/>
            <a:ext cx="1119124" cy="1119124"/>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9314" name="Freeform 127"/>
          <p:cNvSpPr>
            <a:spLocks noEditPoints="1"/>
          </p:cNvSpPr>
          <p:nvPr/>
        </p:nvSpPr>
        <p:spPr bwMode="auto">
          <a:xfrm>
            <a:off x="1671097" y="3336390"/>
            <a:ext cx="408345" cy="685346"/>
          </a:xfrm>
          <a:custGeom>
            <a:avLst/>
            <a:gdLst>
              <a:gd name="T0" fmla="*/ 8 w 387"/>
              <a:gd name="T1" fmla="*/ 651 h 651"/>
              <a:gd name="T2" fmla="*/ 4 w 387"/>
              <a:gd name="T3" fmla="*/ 650 h 651"/>
              <a:gd name="T4" fmla="*/ 1 w 387"/>
              <a:gd name="T5" fmla="*/ 643 h 651"/>
              <a:gd name="T6" fmla="*/ 40 w 387"/>
              <a:gd name="T7" fmla="*/ 237 h 651"/>
              <a:gd name="T8" fmla="*/ 43 w 387"/>
              <a:gd name="T9" fmla="*/ 232 h 651"/>
              <a:gd name="T10" fmla="*/ 376 w 387"/>
              <a:gd name="T11" fmla="*/ 2 h 651"/>
              <a:gd name="T12" fmla="*/ 384 w 387"/>
              <a:gd name="T13" fmla="*/ 1 h 651"/>
              <a:gd name="T14" fmla="*/ 387 w 387"/>
              <a:gd name="T15" fmla="*/ 8 h 651"/>
              <a:gd name="T16" fmla="*/ 350 w 387"/>
              <a:gd name="T17" fmla="*/ 407 h 651"/>
              <a:gd name="T18" fmla="*/ 347 w 387"/>
              <a:gd name="T19" fmla="*/ 412 h 651"/>
              <a:gd name="T20" fmla="*/ 12 w 387"/>
              <a:gd name="T21" fmla="*/ 650 h 651"/>
              <a:gd name="T22" fmla="*/ 8 w 387"/>
              <a:gd name="T23" fmla="*/ 651 h 651"/>
              <a:gd name="T24" fmla="*/ 53 w 387"/>
              <a:gd name="T25" fmla="*/ 242 h 651"/>
              <a:gd name="T26" fmla="*/ 16 w 387"/>
              <a:gd name="T27" fmla="*/ 629 h 651"/>
              <a:gd name="T28" fmla="*/ 337 w 387"/>
              <a:gd name="T29" fmla="*/ 402 h 651"/>
              <a:gd name="T30" fmla="*/ 372 w 387"/>
              <a:gd name="T31" fmla="*/ 22 h 651"/>
              <a:gd name="T32" fmla="*/ 53 w 387"/>
              <a:gd name="T33" fmla="*/ 242 h 651"/>
              <a:gd name="T34" fmla="*/ 195 w 387"/>
              <a:gd name="T35" fmla="*/ 391 h 651"/>
              <a:gd name="T36" fmla="*/ 185 w 387"/>
              <a:gd name="T37" fmla="*/ 390 h 651"/>
              <a:gd name="T38" fmla="*/ 131 w 387"/>
              <a:gd name="T39" fmla="*/ 316 h 651"/>
              <a:gd name="T40" fmla="*/ 195 w 387"/>
              <a:gd name="T41" fmla="*/ 261 h 651"/>
              <a:gd name="T42" fmla="*/ 205 w 387"/>
              <a:gd name="T43" fmla="*/ 261 h 651"/>
              <a:gd name="T44" fmla="*/ 259 w 387"/>
              <a:gd name="T45" fmla="*/ 335 h 651"/>
              <a:gd name="T46" fmla="*/ 195 w 387"/>
              <a:gd name="T47" fmla="*/ 391 h 651"/>
              <a:gd name="T48" fmla="*/ 195 w 387"/>
              <a:gd name="T49" fmla="*/ 275 h 651"/>
              <a:gd name="T50" fmla="*/ 145 w 387"/>
              <a:gd name="T51" fmla="*/ 318 h 651"/>
              <a:gd name="T52" fmla="*/ 187 w 387"/>
              <a:gd name="T53" fmla="*/ 376 h 651"/>
              <a:gd name="T54" fmla="*/ 195 w 387"/>
              <a:gd name="T55" fmla="*/ 377 h 651"/>
              <a:gd name="T56" fmla="*/ 245 w 387"/>
              <a:gd name="T57" fmla="*/ 333 h 651"/>
              <a:gd name="T58" fmla="*/ 203 w 387"/>
              <a:gd name="T59" fmla="*/ 275 h 651"/>
              <a:gd name="T60" fmla="*/ 195 w 387"/>
              <a:gd name="T61" fmla="*/ 275 h 6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87" h="651">
                <a:moveTo>
                  <a:pt x="8" y="651"/>
                </a:moveTo>
                <a:cubicBezTo>
                  <a:pt x="6" y="651"/>
                  <a:pt x="5" y="650"/>
                  <a:pt x="4" y="650"/>
                </a:cubicBezTo>
                <a:cubicBezTo>
                  <a:pt x="2" y="648"/>
                  <a:pt x="0" y="646"/>
                  <a:pt x="1" y="643"/>
                </a:cubicBezTo>
                <a:cubicBezTo>
                  <a:pt x="40" y="237"/>
                  <a:pt x="40" y="237"/>
                  <a:pt x="40" y="237"/>
                </a:cubicBezTo>
                <a:cubicBezTo>
                  <a:pt x="40" y="235"/>
                  <a:pt x="41" y="233"/>
                  <a:pt x="43" y="232"/>
                </a:cubicBezTo>
                <a:cubicBezTo>
                  <a:pt x="376" y="2"/>
                  <a:pt x="376" y="2"/>
                  <a:pt x="376" y="2"/>
                </a:cubicBezTo>
                <a:cubicBezTo>
                  <a:pt x="379" y="0"/>
                  <a:pt x="381" y="0"/>
                  <a:pt x="384" y="1"/>
                </a:cubicBezTo>
                <a:cubicBezTo>
                  <a:pt x="386" y="3"/>
                  <a:pt x="387" y="5"/>
                  <a:pt x="387" y="8"/>
                </a:cubicBezTo>
                <a:cubicBezTo>
                  <a:pt x="350" y="407"/>
                  <a:pt x="350" y="407"/>
                  <a:pt x="350" y="407"/>
                </a:cubicBezTo>
                <a:cubicBezTo>
                  <a:pt x="350" y="409"/>
                  <a:pt x="349" y="411"/>
                  <a:pt x="347" y="412"/>
                </a:cubicBezTo>
                <a:cubicBezTo>
                  <a:pt x="12" y="650"/>
                  <a:pt x="12" y="650"/>
                  <a:pt x="12" y="650"/>
                </a:cubicBezTo>
                <a:cubicBezTo>
                  <a:pt x="10" y="650"/>
                  <a:pt x="9" y="651"/>
                  <a:pt x="8" y="651"/>
                </a:cubicBezTo>
                <a:close/>
                <a:moveTo>
                  <a:pt x="53" y="242"/>
                </a:moveTo>
                <a:cubicBezTo>
                  <a:pt x="16" y="629"/>
                  <a:pt x="16" y="629"/>
                  <a:pt x="16" y="629"/>
                </a:cubicBezTo>
                <a:cubicBezTo>
                  <a:pt x="337" y="402"/>
                  <a:pt x="337" y="402"/>
                  <a:pt x="337" y="402"/>
                </a:cubicBezTo>
                <a:cubicBezTo>
                  <a:pt x="372" y="22"/>
                  <a:pt x="372" y="22"/>
                  <a:pt x="372" y="22"/>
                </a:cubicBezTo>
                <a:lnTo>
                  <a:pt x="53" y="242"/>
                </a:lnTo>
                <a:close/>
                <a:moveTo>
                  <a:pt x="195" y="391"/>
                </a:moveTo>
                <a:cubicBezTo>
                  <a:pt x="192" y="391"/>
                  <a:pt x="188" y="390"/>
                  <a:pt x="185" y="390"/>
                </a:cubicBezTo>
                <a:cubicBezTo>
                  <a:pt x="150" y="384"/>
                  <a:pt x="125" y="351"/>
                  <a:pt x="131" y="316"/>
                </a:cubicBezTo>
                <a:cubicBezTo>
                  <a:pt x="136" y="284"/>
                  <a:pt x="163" y="261"/>
                  <a:pt x="195" y="261"/>
                </a:cubicBezTo>
                <a:cubicBezTo>
                  <a:pt x="198" y="261"/>
                  <a:pt x="202" y="261"/>
                  <a:pt x="205" y="261"/>
                </a:cubicBezTo>
                <a:cubicBezTo>
                  <a:pt x="240" y="267"/>
                  <a:pt x="265" y="300"/>
                  <a:pt x="259" y="335"/>
                </a:cubicBezTo>
                <a:cubicBezTo>
                  <a:pt x="254" y="367"/>
                  <a:pt x="227" y="391"/>
                  <a:pt x="195" y="391"/>
                </a:cubicBezTo>
                <a:close/>
                <a:moveTo>
                  <a:pt x="195" y="275"/>
                </a:moveTo>
                <a:cubicBezTo>
                  <a:pt x="170" y="275"/>
                  <a:pt x="148" y="293"/>
                  <a:pt x="145" y="318"/>
                </a:cubicBezTo>
                <a:cubicBezTo>
                  <a:pt x="140" y="346"/>
                  <a:pt x="160" y="372"/>
                  <a:pt x="187" y="376"/>
                </a:cubicBezTo>
                <a:cubicBezTo>
                  <a:pt x="190" y="376"/>
                  <a:pt x="192" y="377"/>
                  <a:pt x="195" y="377"/>
                </a:cubicBezTo>
                <a:cubicBezTo>
                  <a:pt x="220" y="377"/>
                  <a:pt x="242" y="358"/>
                  <a:pt x="245" y="333"/>
                </a:cubicBezTo>
                <a:cubicBezTo>
                  <a:pt x="250" y="306"/>
                  <a:pt x="230" y="280"/>
                  <a:pt x="203" y="275"/>
                </a:cubicBezTo>
                <a:cubicBezTo>
                  <a:pt x="200" y="275"/>
                  <a:pt x="198" y="275"/>
                  <a:pt x="195" y="275"/>
                </a:cubicBez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9236" name="Oval 51"/>
          <p:cNvSpPr>
            <a:spLocks noChangeArrowheads="1"/>
          </p:cNvSpPr>
          <p:nvPr/>
        </p:nvSpPr>
        <p:spPr bwMode="auto">
          <a:xfrm>
            <a:off x="1315706" y="1528549"/>
            <a:ext cx="1119124" cy="1119124"/>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9315" name="Freeform 128"/>
          <p:cNvSpPr>
            <a:spLocks noEditPoints="1"/>
          </p:cNvSpPr>
          <p:nvPr/>
        </p:nvSpPr>
        <p:spPr bwMode="auto">
          <a:xfrm>
            <a:off x="1630754" y="1753552"/>
            <a:ext cx="489029" cy="669118"/>
          </a:xfrm>
          <a:custGeom>
            <a:avLst/>
            <a:gdLst>
              <a:gd name="T0" fmla="*/ 433 w 465"/>
              <a:gd name="T1" fmla="*/ 634 h 634"/>
              <a:gd name="T2" fmla="*/ 32 w 465"/>
              <a:gd name="T3" fmla="*/ 634 h 634"/>
              <a:gd name="T4" fmla="*/ 0 w 465"/>
              <a:gd name="T5" fmla="*/ 603 h 634"/>
              <a:gd name="T6" fmla="*/ 0 w 465"/>
              <a:gd name="T7" fmla="*/ 212 h 634"/>
              <a:gd name="T8" fmla="*/ 32 w 465"/>
              <a:gd name="T9" fmla="*/ 180 h 634"/>
              <a:gd name="T10" fmla="*/ 433 w 465"/>
              <a:gd name="T11" fmla="*/ 180 h 634"/>
              <a:gd name="T12" fmla="*/ 465 w 465"/>
              <a:gd name="T13" fmla="*/ 212 h 634"/>
              <a:gd name="T14" fmla="*/ 465 w 465"/>
              <a:gd name="T15" fmla="*/ 603 h 634"/>
              <a:gd name="T16" fmla="*/ 433 w 465"/>
              <a:gd name="T17" fmla="*/ 634 h 634"/>
              <a:gd name="T18" fmla="*/ 32 w 465"/>
              <a:gd name="T19" fmla="*/ 194 h 634"/>
              <a:gd name="T20" fmla="*/ 14 w 465"/>
              <a:gd name="T21" fmla="*/ 212 h 634"/>
              <a:gd name="T22" fmla="*/ 14 w 465"/>
              <a:gd name="T23" fmla="*/ 603 h 634"/>
              <a:gd name="T24" fmla="*/ 32 w 465"/>
              <a:gd name="T25" fmla="*/ 620 h 634"/>
              <a:gd name="T26" fmla="*/ 433 w 465"/>
              <a:gd name="T27" fmla="*/ 620 h 634"/>
              <a:gd name="T28" fmla="*/ 451 w 465"/>
              <a:gd name="T29" fmla="*/ 603 h 634"/>
              <a:gd name="T30" fmla="*/ 451 w 465"/>
              <a:gd name="T31" fmla="*/ 212 h 634"/>
              <a:gd name="T32" fmla="*/ 433 w 465"/>
              <a:gd name="T33" fmla="*/ 194 h 634"/>
              <a:gd name="T34" fmla="*/ 32 w 465"/>
              <a:gd name="T35" fmla="*/ 194 h 634"/>
              <a:gd name="T36" fmla="*/ 358 w 465"/>
              <a:gd name="T37" fmla="*/ 187 h 634"/>
              <a:gd name="T38" fmla="*/ 358 w 465"/>
              <a:gd name="T39" fmla="*/ 125 h 634"/>
              <a:gd name="T40" fmla="*/ 233 w 465"/>
              <a:gd name="T41" fmla="*/ 0 h 634"/>
              <a:gd name="T42" fmla="*/ 107 w 465"/>
              <a:gd name="T43" fmla="*/ 125 h 634"/>
              <a:gd name="T44" fmla="*/ 107 w 465"/>
              <a:gd name="T45" fmla="*/ 187 h 634"/>
              <a:gd name="T46" fmla="*/ 114 w 465"/>
              <a:gd name="T47" fmla="*/ 194 h 634"/>
              <a:gd name="T48" fmla="*/ 121 w 465"/>
              <a:gd name="T49" fmla="*/ 187 h 634"/>
              <a:gd name="T50" fmla="*/ 121 w 465"/>
              <a:gd name="T51" fmla="*/ 125 h 634"/>
              <a:gd name="T52" fmla="*/ 233 w 465"/>
              <a:gd name="T53" fmla="*/ 14 h 634"/>
              <a:gd name="T54" fmla="*/ 344 w 465"/>
              <a:gd name="T55" fmla="*/ 125 h 634"/>
              <a:gd name="T56" fmla="*/ 344 w 465"/>
              <a:gd name="T57" fmla="*/ 187 h 634"/>
              <a:gd name="T58" fmla="*/ 351 w 465"/>
              <a:gd name="T59" fmla="*/ 194 h 634"/>
              <a:gd name="T60" fmla="*/ 358 w 465"/>
              <a:gd name="T61" fmla="*/ 187 h 6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65" h="634">
                <a:moveTo>
                  <a:pt x="433" y="634"/>
                </a:moveTo>
                <a:cubicBezTo>
                  <a:pt x="32" y="634"/>
                  <a:pt x="32" y="634"/>
                  <a:pt x="32" y="634"/>
                </a:cubicBezTo>
                <a:cubicBezTo>
                  <a:pt x="14" y="634"/>
                  <a:pt x="0" y="620"/>
                  <a:pt x="0" y="603"/>
                </a:cubicBezTo>
                <a:cubicBezTo>
                  <a:pt x="0" y="212"/>
                  <a:pt x="0" y="212"/>
                  <a:pt x="0" y="212"/>
                </a:cubicBezTo>
                <a:cubicBezTo>
                  <a:pt x="0" y="195"/>
                  <a:pt x="14" y="180"/>
                  <a:pt x="32" y="180"/>
                </a:cubicBezTo>
                <a:cubicBezTo>
                  <a:pt x="433" y="180"/>
                  <a:pt x="433" y="180"/>
                  <a:pt x="433" y="180"/>
                </a:cubicBezTo>
                <a:cubicBezTo>
                  <a:pt x="451" y="180"/>
                  <a:pt x="465" y="195"/>
                  <a:pt x="465" y="212"/>
                </a:cubicBezTo>
                <a:cubicBezTo>
                  <a:pt x="465" y="603"/>
                  <a:pt x="465" y="603"/>
                  <a:pt x="465" y="603"/>
                </a:cubicBezTo>
                <a:cubicBezTo>
                  <a:pt x="465" y="620"/>
                  <a:pt x="451" y="634"/>
                  <a:pt x="433" y="634"/>
                </a:cubicBezTo>
                <a:close/>
                <a:moveTo>
                  <a:pt x="32" y="194"/>
                </a:moveTo>
                <a:cubicBezTo>
                  <a:pt x="22" y="194"/>
                  <a:pt x="14" y="202"/>
                  <a:pt x="14" y="212"/>
                </a:cubicBezTo>
                <a:cubicBezTo>
                  <a:pt x="14" y="603"/>
                  <a:pt x="14" y="603"/>
                  <a:pt x="14" y="603"/>
                </a:cubicBezTo>
                <a:cubicBezTo>
                  <a:pt x="14" y="612"/>
                  <a:pt x="22" y="620"/>
                  <a:pt x="32" y="620"/>
                </a:cubicBezTo>
                <a:cubicBezTo>
                  <a:pt x="433" y="620"/>
                  <a:pt x="433" y="620"/>
                  <a:pt x="433" y="620"/>
                </a:cubicBezTo>
                <a:cubicBezTo>
                  <a:pt x="443" y="620"/>
                  <a:pt x="451" y="612"/>
                  <a:pt x="451" y="603"/>
                </a:cubicBezTo>
                <a:cubicBezTo>
                  <a:pt x="451" y="212"/>
                  <a:pt x="451" y="212"/>
                  <a:pt x="451" y="212"/>
                </a:cubicBezTo>
                <a:cubicBezTo>
                  <a:pt x="451" y="202"/>
                  <a:pt x="443" y="194"/>
                  <a:pt x="433" y="194"/>
                </a:cubicBezTo>
                <a:lnTo>
                  <a:pt x="32" y="194"/>
                </a:lnTo>
                <a:close/>
                <a:moveTo>
                  <a:pt x="358" y="187"/>
                </a:moveTo>
                <a:cubicBezTo>
                  <a:pt x="358" y="125"/>
                  <a:pt x="358" y="125"/>
                  <a:pt x="358" y="125"/>
                </a:cubicBezTo>
                <a:cubicBezTo>
                  <a:pt x="358" y="56"/>
                  <a:pt x="302" y="0"/>
                  <a:pt x="233" y="0"/>
                </a:cubicBezTo>
                <a:cubicBezTo>
                  <a:pt x="163" y="0"/>
                  <a:pt x="107" y="56"/>
                  <a:pt x="107" y="125"/>
                </a:cubicBezTo>
                <a:cubicBezTo>
                  <a:pt x="107" y="187"/>
                  <a:pt x="107" y="187"/>
                  <a:pt x="107" y="187"/>
                </a:cubicBezTo>
                <a:cubicBezTo>
                  <a:pt x="107" y="191"/>
                  <a:pt x="110" y="194"/>
                  <a:pt x="114" y="194"/>
                </a:cubicBezTo>
                <a:cubicBezTo>
                  <a:pt x="118" y="194"/>
                  <a:pt x="121" y="191"/>
                  <a:pt x="121" y="187"/>
                </a:cubicBezTo>
                <a:cubicBezTo>
                  <a:pt x="121" y="125"/>
                  <a:pt x="121" y="125"/>
                  <a:pt x="121" y="125"/>
                </a:cubicBezTo>
                <a:cubicBezTo>
                  <a:pt x="121" y="64"/>
                  <a:pt x="171" y="14"/>
                  <a:pt x="233" y="14"/>
                </a:cubicBezTo>
                <a:cubicBezTo>
                  <a:pt x="294" y="14"/>
                  <a:pt x="344" y="64"/>
                  <a:pt x="344" y="125"/>
                </a:cubicBezTo>
                <a:cubicBezTo>
                  <a:pt x="344" y="187"/>
                  <a:pt x="344" y="187"/>
                  <a:pt x="344" y="187"/>
                </a:cubicBezTo>
                <a:cubicBezTo>
                  <a:pt x="344" y="191"/>
                  <a:pt x="347" y="194"/>
                  <a:pt x="351" y="194"/>
                </a:cubicBezTo>
                <a:cubicBezTo>
                  <a:pt x="355" y="194"/>
                  <a:pt x="358" y="191"/>
                  <a:pt x="358" y="187"/>
                </a:cubicBez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9254" name="Oval 63"/>
          <p:cNvSpPr>
            <a:spLocks noChangeArrowheads="1"/>
          </p:cNvSpPr>
          <p:nvPr/>
        </p:nvSpPr>
        <p:spPr bwMode="auto">
          <a:xfrm>
            <a:off x="8347593" y="1528549"/>
            <a:ext cx="1119124" cy="1119124"/>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9317" name="Freeform 130"/>
          <p:cNvSpPr>
            <a:spLocks noEditPoints="1"/>
          </p:cNvSpPr>
          <p:nvPr/>
        </p:nvSpPr>
        <p:spPr bwMode="auto">
          <a:xfrm>
            <a:off x="8660618" y="1740148"/>
            <a:ext cx="491896" cy="697102"/>
          </a:xfrm>
          <a:custGeom>
            <a:avLst/>
            <a:gdLst>
              <a:gd name="T0" fmla="*/ 340 w 466"/>
              <a:gd name="T1" fmla="*/ 221 h 662"/>
              <a:gd name="T2" fmla="*/ 340 w 466"/>
              <a:gd name="T3" fmla="*/ 128 h 662"/>
              <a:gd name="T4" fmla="*/ 345 w 466"/>
              <a:gd name="T5" fmla="*/ 128 h 662"/>
              <a:gd name="T6" fmla="*/ 383 w 466"/>
              <a:gd name="T7" fmla="*/ 82 h 662"/>
              <a:gd name="T8" fmla="*/ 383 w 466"/>
              <a:gd name="T9" fmla="*/ 43 h 662"/>
              <a:gd name="T10" fmla="*/ 345 w 466"/>
              <a:gd name="T11" fmla="*/ 0 h 662"/>
              <a:gd name="T12" fmla="*/ 121 w 466"/>
              <a:gd name="T13" fmla="*/ 0 h 662"/>
              <a:gd name="T14" fmla="*/ 120 w 466"/>
              <a:gd name="T15" fmla="*/ 0 h 662"/>
              <a:gd name="T16" fmla="*/ 83 w 466"/>
              <a:gd name="T17" fmla="*/ 43 h 662"/>
              <a:gd name="T18" fmla="*/ 83 w 466"/>
              <a:gd name="T19" fmla="*/ 82 h 662"/>
              <a:gd name="T20" fmla="*/ 124 w 466"/>
              <a:gd name="T21" fmla="*/ 128 h 662"/>
              <a:gd name="T22" fmla="*/ 127 w 466"/>
              <a:gd name="T23" fmla="*/ 128 h 662"/>
              <a:gd name="T24" fmla="*/ 127 w 466"/>
              <a:gd name="T25" fmla="*/ 221 h 662"/>
              <a:gd name="T26" fmla="*/ 0 w 466"/>
              <a:gd name="T27" fmla="*/ 448 h 662"/>
              <a:gd name="T28" fmla="*/ 26 w 466"/>
              <a:gd name="T29" fmla="*/ 477 h 662"/>
              <a:gd name="T30" fmla="*/ 222 w 466"/>
              <a:gd name="T31" fmla="*/ 477 h 662"/>
              <a:gd name="T32" fmla="*/ 222 w 466"/>
              <a:gd name="T33" fmla="*/ 655 h 662"/>
              <a:gd name="T34" fmla="*/ 229 w 466"/>
              <a:gd name="T35" fmla="*/ 662 h 662"/>
              <a:gd name="T36" fmla="*/ 236 w 466"/>
              <a:gd name="T37" fmla="*/ 655 h 662"/>
              <a:gd name="T38" fmla="*/ 236 w 466"/>
              <a:gd name="T39" fmla="*/ 477 h 662"/>
              <a:gd name="T40" fmla="*/ 440 w 466"/>
              <a:gd name="T41" fmla="*/ 477 h 662"/>
              <a:gd name="T42" fmla="*/ 459 w 466"/>
              <a:gd name="T43" fmla="*/ 468 h 662"/>
              <a:gd name="T44" fmla="*/ 466 w 466"/>
              <a:gd name="T45" fmla="*/ 451 h 662"/>
              <a:gd name="T46" fmla="*/ 340 w 466"/>
              <a:gd name="T47" fmla="*/ 221 h 662"/>
              <a:gd name="T48" fmla="*/ 451 w 466"/>
              <a:gd name="T49" fmla="*/ 457 h 662"/>
              <a:gd name="T50" fmla="*/ 448 w 466"/>
              <a:gd name="T51" fmla="*/ 460 h 662"/>
              <a:gd name="T52" fmla="*/ 440 w 466"/>
              <a:gd name="T53" fmla="*/ 463 h 662"/>
              <a:gd name="T54" fmla="*/ 26 w 466"/>
              <a:gd name="T55" fmla="*/ 463 h 662"/>
              <a:gd name="T56" fmla="*/ 14 w 466"/>
              <a:gd name="T57" fmla="*/ 448 h 662"/>
              <a:gd name="T58" fmla="*/ 137 w 466"/>
              <a:gd name="T59" fmla="*/ 232 h 662"/>
              <a:gd name="T60" fmla="*/ 141 w 466"/>
              <a:gd name="T61" fmla="*/ 225 h 662"/>
              <a:gd name="T62" fmla="*/ 141 w 466"/>
              <a:gd name="T63" fmla="*/ 121 h 662"/>
              <a:gd name="T64" fmla="*/ 134 w 466"/>
              <a:gd name="T65" fmla="*/ 114 h 662"/>
              <a:gd name="T66" fmla="*/ 124 w 466"/>
              <a:gd name="T67" fmla="*/ 114 h 662"/>
              <a:gd name="T68" fmla="*/ 97 w 466"/>
              <a:gd name="T69" fmla="*/ 82 h 662"/>
              <a:gd name="T70" fmla="*/ 97 w 466"/>
              <a:gd name="T71" fmla="*/ 43 h 662"/>
              <a:gd name="T72" fmla="*/ 122 w 466"/>
              <a:gd name="T73" fmla="*/ 14 h 662"/>
              <a:gd name="T74" fmla="*/ 345 w 466"/>
              <a:gd name="T75" fmla="*/ 14 h 662"/>
              <a:gd name="T76" fmla="*/ 369 w 466"/>
              <a:gd name="T77" fmla="*/ 43 h 662"/>
              <a:gd name="T78" fmla="*/ 369 w 466"/>
              <a:gd name="T79" fmla="*/ 82 h 662"/>
              <a:gd name="T80" fmla="*/ 345 w 466"/>
              <a:gd name="T81" fmla="*/ 114 h 662"/>
              <a:gd name="T82" fmla="*/ 333 w 466"/>
              <a:gd name="T83" fmla="*/ 114 h 662"/>
              <a:gd name="T84" fmla="*/ 326 w 466"/>
              <a:gd name="T85" fmla="*/ 121 h 662"/>
              <a:gd name="T86" fmla="*/ 326 w 466"/>
              <a:gd name="T87" fmla="*/ 225 h 662"/>
              <a:gd name="T88" fmla="*/ 330 w 466"/>
              <a:gd name="T89" fmla="*/ 232 h 662"/>
              <a:gd name="T90" fmla="*/ 452 w 466"/>
              <a:gd name="T91" fmla="*/ 451 h 662"/>
              <a:gd name="T92" fmla="*/ 451 w 466"/>
              <a:gd name="T93" fmla="*/ 457 h 6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66" h="662">
                <a:moveTo>
                  <a:pt x="340" y="221"/>
                </a:moveTo>
                <a:cubicBezTo>
                  <a:pt x="340" y="128"/>
                  <a:pt x="340" y="128"/>
                  <a:pt x="340" y="128"/>
                </a:cubicBezTo>
                <a:cubicBezTo>
                  <a:pt x="345" y="128"/>
                  <a:pt x="345" y="128"/>
                  <a:pt x="345" y="128"/>
                </a:cubicBezTo>
                <a:cubicBezTo>
                  <a:pt x="365" y="128"/>
                  <a:pt x="383" y="106"/>
                  <a:pt x="383" y="82"/>
                </a:cubicBezTo>
                <a:cubicBezTo>
                  <a:pt x="383" y="43"/>
                  <a:pt x="383" y="43"/>
                  <a:pt x="383" y="43"/>
                </a:cubicBezTo>
                <a:cubicBezTo>
                  <a:pt x="383" y="19"/>
                  <a:pt x="366" y="0"/>
                  <a:pt x="345" y="0"/>
                </a:cubicBezTo>
                <a:cubicBezTo>
                  <a:pt x="121" y="0"/>
                  <a:pt x="121" y="0"/>
                  <a:pt x="121" y="0"/>
                </a:cubicBezTo>
                <a:cubicBezTo>
                  <a:pt x="121" y="0"/>
                  <a:pt x="120" y="0"/>
                  <a:pt x="120" y="0"/>
                </a:cubicBezTo>
                <a:cubicBezTo>
                  <a:pt x="100" y="0"/>
                  <a:pt x="83" y="20"/>
                  <a:pt x="83" y="43"/>
                </a:cubicBezTo>
                <a:cubicBezTo>
                  <a:pt x="83" y="82"/>
                  <a:pt x="83" y="82"/>
                  <a:pt x="83" y="82"/>
                </a:cubicBezTo>
                <a:cubicBezTo>
                  <a:pt x="83" y="105"/>
                  <a:pt x="103" y="128"/>
                  <a:pt x="124" y="128"/>
                </a:cubicBezTo>
                <a:cubicBezTo>
                  <a:pt x="127" y="128"/>
                  <a:pt x="127" y="128"/>
                  <a:pt x="127" y="128"/>
                </a:cubicBezTo>
                <a:cubicBezTo>
                  <a:pt x="127" y="221"/>
                  <a:pt x="127" y="221"/>
                  <a:pt x="127" y="221"/>
                </a:cubicBezTo>
                <a:cubicBezTo>
                  <a:pt x="44" y="261"/>
                  <a:pt x="0" y="339"/>
                  <a:pt x="0" y="448"/>
                </a:cubicBezTo>
                <a:cubicBezTo>
                  <a:pt x="0" y="465"/>
                  <a:pt x="11" y="477"/>
                  <a:pt x="26" y="477"/>
                </a:cubicBezTo>
                <a:cubicBezTo>
                  <a:pt x="222" y="477"/>
                  <a:pt x="222" y="477"/>
                  <a:pt x="222" y="477"/>
                </a:cubicBezTo>
                <a:cubicBezTo>
                  <a:pt x="222" y="655"/>
                  <a:pt x="222" y="655"/>
                  <a:pt x="222" y="655"/>
                </a:cubicBezTo>
                <a:cubicBezTo>
                  <a:pt x="222" y="658"/>
                  <a:pt x="225" y="662"/>
                  <a:pt x="229" y="662"/>
                </a:cubicBezTo>
                <a:cubicBezTo>
                  <a:pt x="233" y="662"/>
                  <a:pt x="236" y="658"/>
                  <a:pt x="236" y="655"/>
                </a:cubicBezTo>
                <a:cubicBezTo>
                  <a:pt x="236" y="477"/>
                  <a:pt x="236" y="477"/>
                  <a:pt x="236" y="477"/>
                </a:cubicBezTo>
                <a:cubicBezTo>
                  <a:pt x="440" y="477"/>
                  <a:pt x="440" y="477"/>
                  <a:pt x="440" y="477"/>
                </a:cubicBezTo>
                <a:cubicBezTo>
                  <a:pt x="445" y="477"/>
                  <a:pt x="455" y="475"/>
                  <a:pt x="459" y="468"/>
                </a:cubicBezTo>
                <a:cubicBezTo>
                  <a:pt x="466" y="463"/>
                  <a:pt x="466" y="456"/>
                  <a:pt x="466" y="451"/>
                </a:cubicBezTo>
                <a:cubicBezTo>
                  <a:pt x="466" y="340"/>
                  <a:pt x="422" y="261"/>
                  <a:pt x="340" y="221"/>
                </a:cubicBezTo>
                <a:close/>
                <a:moveTo>
                  <a:pt x="451" y="457"/>
                </a:moveTo>
                <a:cubicBezTo>
                  <a:pt x="450" y="457"/>
                  <a:pt x="449" y="458"/>
                  <a:pt x="448" y="460"/>
                </a:cubicBezTo>
                <a:cubicBezTo>
                  <a:pt x="447" y="461"/>
                  <a:pt x="443" y="463"/>
                  <a:pt x="440" y="463"/>
                </a:cubicBezTo>
                <a:cubicBezTo>
                  <a:pt x="26" y="463"/>
                  <a:pt x="26" y="463"/>
                  <a:pt x="26" y="463"/>
                </a:cubicBezTo>
                <a:cubicBezTo>
                  <a:pt x="15" y="463"/>
                  <a:pt x="14" y="451"/>
                  <a:pt x="14" y="448"/>
                </a:cubicBezTo>
                <a:cubicBezTo>
                  <a:pt x="14" y="344"/>
                  <a:pt x="56" y="269"/>
                  <a:pt x="137" y="232"/>
                </a:cubicBezTo>
                <a:cubicBezTo>
                  <a:pt x="139" y="230"/>
                  <a:pt x="141" y="228"/>
                  <a:pt x="141" y="225"/>
                </a:cubicBezTo>
                <a:cubicBezTo>
                  <a:pt x="141" y="121"/>
                  <a:pt x="141" y="121"/>
                  <a:pt x="141" y="121"/>
                </a:cubicBezTo>
                <a:cubicBezTo>
                  <a:pt x="141" y="117"/>
                  <a:pt x="138" y="114"/>
                  <a:pt x="134" y="114"/>
                </a:cubicBezTo>
                <a:cubicBezTo>
                  <a:pt x="124" y="114"/>
                  <a:pt x="124" y="114"/>
                  <a:pt x="124" y="114"/>
                </a:cubicBezTo>
                <a:cubicBezTo>
                  <a:pt x="111" y="114"/>
                  <a:pt x="97" y="97"/>
                  <a:pt x="97" y="82"/>
                </a:cubicBezTo>
                <a:cubicBezTo>
                  <a:pt x="97" y="43"/>
                  <a:pt x="97" y="43"/>
                  <a:pt x="97" y="43"/>
                </a:cubicBezTo>
                <a:cubicBezTo>
                  <a:pt x="97" y="27"/>
                  <a:pt x="109" y="14"/>
                  <a:pt x="122" y="14"/>
                </a:cubicBezTo>
                <a:cubicBezTo>
                  <a:pt x="345" y="14"/>
                  <a:pt x="345" y="14"/>
                  <a:pt x="345" y="14"/>
                </a:cubicBezTo>
                <a:cubicBezTo>
                  <a:pt x="358" y="14"/>
                  <a:pt x="369" y="27"/>
                  <a:pt x="369" y="43"/>
                </a:cubicBezTo>
                <a:cubicBezTo>
                  <a:pt x="369" y="82"/>
                  <a:pt x="369" y="82"/>
                  <a:pt x="369" y="82"/>
                </a:cubicBezTo>
                <a:cubicBezTo>
                  <a:pt x="369" y="98"/>
                  <a:pt x="357" y="114"/>
                  <a:pt x="345" y="114"/>
                </a:cubicBezTo>
                <a:cubicBezTo>
                  <a:pt x="333" y="114"/>
                  <a:pt x="333" y="114"/>
                  <a:pt x="333" y="114"/>
                </a:cubicBezTo>
                <a:cubicBezTo>
                  <a:pt x="329" y="114"/>
                  <a:pt x="326" y="117"/>
                  <a:pt x="326" y="121"/>
                </a:cubicBezTo>
                <a:cubicBezTo>
                  <a:pt x="326" y="225"/>
                  <a:pt x="326" y="225"/>
                  <a:pt x="326" y="225"/>
                </a:cubicBezTo>
                <a:cubicBezTo>
                  <a:pt x="326" y="228"/>
                  <a:pt x="327" y="230"/>
                  <a:pt x="330" y="232"/>
                </a:cubicBezTo>
                <a:cubicBezTo>
                  <a:pt x="431" y="278"/>
                  <a:pt x="452" y="377"/>
                  <a:pt x="452" y="451"/>
                </a:cubicBezTo>
                <a:cubicBezTo>
                  <a:pt x="452" y="455"/>
                  <a:pt x="452" y="456"/>
                  <a:pt x="451" y="457"/>
                </a:cubicBez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9243" name="Oval 56"/>
          <p:cNvSpPr>
            <a:spLocks noChangeArrowheads="1"/>
          </p:cNvSpPr>
          <p:nvPr/>
        </p:nvSpPr>
        <p:spPr bwMode="auto">
          <a:xfrm>
            <a:off x="3073678" y="3120088"/>
            <a:ext cx="1119124" cy="1119124"/>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9318" name="Freeform 131"/>
          <p:cNvSpPr>
            <a:spLocks noEditPoints="1"/>
          </p:cNvSpPr>
          <p:nvPr/>
        </p:nvSpPr>
        <p:spPr bwMode="auto">
          <a:xfrm>
            <a:off x="3369916" y="3374007"/>
            <a:ext cx="524296" cy="610111"/>
          </a:xfrm>
          <a:custGeom>
            <a:avLst/>
            <a:gdLst>
              <a:gd name="T0" fmla="*/ 434 w 498"/>
              <a:gd name="T1" fmla="*/ 186 h 580"/>
              <a:gd name="T2" fmla="*/ 257 w 498"/>
              <a:gd name="T3" fmla="*/ 167 h 580"/>
              <a:gd name="T4" fmla="*/ 423 w 498"/>
              <a:gd name="T5" fmla="*/ 74 h 580"/>
              <a:gd name="T6" fmla="*/ 463 w 498"/>
              <a:gd name="T7" fmla="*/ 12 h 580"/>
              <a:gd name="T8" fmla="*/ 451 w 498"/>
              <a:gd name="T9" fmla="*/ 5 h 580"/>
              <a:gd name="T10" fmla="*/ 80 w 498"/>
              <a:gd name="T11" fmla="*/ 60 h 580"/>
              <a:gd name="T12" fmla="*/ 39 w 498"/>
              <a:gd name="T13" fmla="*/ 2 h 580"/>
              <a:gd name="T14" fmla="*/ 70 w 498"/>
              <a:gd name="T15" fmla="*/ 71 h 580"/>
              <a:gd name="T16" fmla="*/ 243 w 498"/>
              <a:gd name="T17" fmla="*/ 74 h 580"/>
              <a:gd name="T18" fmla="*/ 88 w 498"/>
              <a:gd name="T19" fmla="*/ 167 h 580"/>
              <a:gd name="T20" fmla="*/ 2 w 498"/>
              <a:gd name="T21" fmla="*/ 553 h 580"/>
              <a:gd name="T22" fmla="*/ 25 w 498"/>
              <a:gd name="T23" fmla="*/ 580 h 580"/>
              <a:gd name="T24" fmla="*/ 498 w 498"/>
              <a:gd name="T25" fmla="*/ 557 h 580"/>
              <a:gd name="T26" fmla="*/ 475 w 498"/>
              <a:gd name="T27" fmla="*/ 566 h 580"/>
              <a:gd name="T28" fmla="*/ 17 w 498"/>
              <a:gd name="T29" fmla="*/ 563 h 580"/>
              <a:gd name="T30" fmla="*/ 79 w 498"/>
              <a:gd name="T31" fmla="*/ 189 h 580"/>
              <a:gd name="T32" fmla="*/ 411 w 498"/>
              <a:gd name="T33" fmla="*/ 181 h 580"/>
              <a:gd name="T34" fmla="*/ 484 w 498"/>
              <a:gd name="T35" fmla="*/ 553 h 580"/>
              <a:gd name="T36" fmla="*/ 484 w 498"/>
              <a:gd name="T37" fmla="*/ 557 h 580"/>
              <a:gd name="T38" fmla="*/ 250 w 498"/>
              <a:gd name="T39" fmla="*/ 224 h 580"/>
              <a:gd name="T40" fmla="*/ 250 w 498"/>
              <a:gd name="T41" fmla="*/ 523 h 580"/>
              <a:gd name="T42" fmla="*/ 250 w 498"/>
              <a:gd name="T43" fmla="*/ 224 h 580"/>
              <a:gd name="T44" fmla="*/ 114 w 498"/>
              <a:gd name="T45" fmla="*/ 373 h 580"/>
              <a:gd name="T46" fmla="*/ 385 w 498"/>
              <a:gd name="T47" fmla="*/ 373 h 580"/>
              <a:gd name="T48" fmla="*/ 320 w 498"/>
              <a:gd name="T49" fmla="*/ 297 h 580"/>
              <a:gd name="T50" fmla="*/ 250 w 498"/>
              <a:gd name="T51" fmla="*/ 343 h 580"/>
              <a:gd name="T52" fmla="*/ 250 w 498"/>
              <a:gd name="T53" fmla="*/ 404 h 580"/>
              <a:gd name="T54" fmla="*/ 276 w 498"/>
              <a:gd name="T55" fmla="*/ 358 h 580"/>
              <a:gd name="T56" fmla="*/ 330 w 498"/>
              <a:gd name="T57" fmla="*/ 297 h 580"/>
              <a:gd name="T58" fmla="*/ 266 w 498"/>
              <a:gd name="T59" fmla="*/ 373 h 580"/>
              <a:gd name="T60" fmla="*/ 233 w 498"/>
              <a:gd name="T61" fmla="*/ 373 h 580"/>
              <a:gd name="T62" fmla="*/ 256 w 498"/>
              <a:gd name="T63" fmla="*/ 358 h 580"/>
              <a:gd name="T64" fmla="*/ 245 w 498"/>
              <a:gd name="T65" fmla="*/ 378 h 580"/>
              <a:gd name="T66" fmla="*/ 255 w 498"/>
              <a:gd name="T67" fmla="*/ 378 h 580"/>
              <a:gd name="T68" fmla="*/ 266 w 498"/>
              <a:gd name="T69" fmla="*/ 373 h 5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98" h="580">
                <a:moveTo>
                  <a:pt x="497" y="550"/>
                </a:moveTo>
                <a:cubicBezTo>
                  <a:pt x="434" y="186"/>
                  <a:pt x="434" y="186"/>
                  <a:pt x="434" y="186"/>
                </a:cubicBezTo>
                <a:cubicBezTo>
                  <a:pt x="432" y="175"/>
                  <a:pt x="422" y="167"/>
                  <a:pt x="411" y="167"/>
                </a:cubicBezTo>
                <a:cubicBezTo>
                  <a:pt x="257" y="167"/>
                  <a:pt x="257" y="167"/>
                  <a:pt x="257" y="167"/>
                </a:cubicBezTo>
                <a:cubicBezTo>
                  <a:pt x="257" y="74"/>
                  <a:pt x="257" y="74"/>
                  <a:pt x="257" y="74"/>
                </a:cubicBezTo>
                <a:cubicBezTo>
                  <a:pt x="423" y="74"/>
                  <a:pt x="423" y="74"/>
                  <a:pt x="423" y="74"/>
                </a:cubicBezTo>
                <a:cubicBezTo>
                  <a:pt x="426" y="74"/>
                  <a:pt x="428" y="73"/>
                  <a:pt x="430" y="71"/>
                </a:cubicBezTo>
                <a:cubicBezTo>
                  <a:pt x="463" y="12"/>
                  <a:pt x="463" y="12"/>
                  <a:pt x="463" y="12"/>
                </a:cubicBezTo>
                <a:cubicBezTo>
                  <a:pt x="465" y="8"/>
                  <a:pt x="464" y="4"/>
                  <a:pt x="461" y="2"/>
                </a:cubicBezTo>
                <a:cubicBezTo>
                  <a:pt x="457" y="0"/>
                  <a:pt x="453" y="2"/>
                  <a:pt x="451" y="5"/>
                </a:cubicBezTo>
                <a:cubicBezTo>
                  <a:pt x="419" y="60"/>
                  <a:pt x="419" y="60"/>
                  <a:pt x="419" y="60"/>
                </a:cubicBezTo>
                <a:cubicBezTo>
                  <a:pt x="80" y="60"/>
                  <a:pt x="80" y="60"/>
                  <a:pt x="80" y="60"/>
                </a:cubicBezTo>
                <a:cubicBezTo>
                  <a:pt x="48" y="5"/>
                  <a:pt x="48" y="5"/>
                  <a:pt x="48" y="5"/>
                </a:cubicBezTo>
                <a:cubicBezTo>
                  <a:pt x="46" y="2"/>
                  <a:pt x="42" y="0"/>
                  <a:pt x="39" y="2"/>
                </a:cubicBezTo>
                <a:cubicBezTo>
                  <a:pt x="35" y="4"/>
                  <a:pt x="34" y="8"/>
                  <a:pt x="36" y="12"/>
                </a:cubicBezTo>
                <a:cubicBezTo>
                  <a:pt x="70" y="71"/>
                  <a:pt x="70" y="71"/>
                  <a:pt x="70" y="71"/>
                </a:cubicBezTo>
                <a:cubicBezTo>
                  <a:pt x="71" y="73"/>
                  <a:pt x="73" y="74"/>
                  <a:pt x="76" y="74"/>
                </a:cubicBezTo>
                <a:cubicBezTo>
                  <a:pt x="243" y="74"/>
                  <a:pt x="243" y="74"/>
                  <a:pt x="243" y="74"/>
                </a:cubicBezTo>
                <a:cubicBezTo>
                  <a:pt x="243" y="167"/>
                  <a:pt x="243" y="167"/>
                  <a:pt x="243" y="167"/>
                </a:cubicBezTo>
                <a:cubicBezTo>
                  <a:pt x="88" y="167"/>
                  <a:pt x="88" y="167"/>
                  <a:pt x="88" y="167"/>
                </a:cubicBezTo>
                <a:cubicBezTo>
                  <a:pt x="77" y="167"/>
                  <a:pt x="68" y="175"/>
                  <a:pt x="66" y="186"/>
                </a:cubicBezTo>
                <a:cubicBezTo>
                  <a:pt x="2" y="553"/>
                  <a:pt x="2" y="553"/>
                  <a:pt x="2" y="553"/>
                </a:cubicBezTo>
                <a:cubicBezTo>
                  <a:pt x="0" y="559"/>
                  <a:pt x="2" y="566"/>
                  <a:pt x="7" y="572"/>
                </a:cubicBezTo>
                <a:cubicBezTo>
                  <a:pt x="11" y="577"/>
                  <a:pt x="18" y="580"/>
                  <a:pt x="25" y="580"/>
                </a:cubicBezTo>
                <a:cubicBezTo>
                  <a:pt x="475" y="580"/>
                  <a:pt x="475" y="580"/>
                  <a:pt x="475" y="580"/>
                </a:cubicBezTo>
                <a:cubicBezTo>
                  <a:pt x="488" y="580"/>
                  <a:pt x="498" y="569"/>
                  <a:pt x="498" y="557"/>
                </a:cubicBezTo>
                <a:cubicBezTo>
                  <a:pt x="498" y="554"/>
                  <a:pt x="498" y="552"/>
                  <a:pt x="497" y="550"/>
                </a:cubicBezTo>
                <a:close/>
                <a:moveTo>
                  <a:pt x="475" y="566"/>
                </a:moveTo>
                <a:cubicBezTo>
                  <a:pt x="25" y="566"/>
                  <a:pt x="25" y="566"/>
                  <a:pt x="25" y="566"/>
                </a:cubicBezTo>
                <a:cubicBezTo>
                  <a:pt x="22" y="566"/>
                  <a:pt x="19" y="565"/>
                  <a:pt x="17" y="563"/>
                </a:cubicBezTo>
                <a:cubicBezTo>
                  <a:pt x="16" y="560"/>
                  <a:pt x="15" y="558"/>
                  <a:pt x="15" y="555"/>
                </a:cubicBezTo>
                <a:cubicBezTo>
                  <a:pt x="79" y="189"/>
                  <a:pt x="79" y="189"/>
                  <a:pt x="79" y="189"/>
                </a:cubicBezTo>
                <a:cubicBezTo>
                  <a:pt x="80" y="184"/>
                  <a:pt x="84" y="181"/>
                  <a:pt x="88" y="181"/>
                </a:cubicBezTo>
                <a:cubicBezTo>
                  <a:pt x="411" y="181"/>
                  <a:pt x="411" y="181"/>
                  <a:pt x="411" y="181"/>
                </a:cubicBezTo>
                <a:cubicBezTo>
                  <a:pt x="415" y="181"/>
                  <a:pt x="419" y="184"/>
                  <a:pt x="420" y="189"/>
                </a:cubicBezTo>
                <a:cubicBezTo>
                  <a:pt x="484" y="553"/>
                  <a:pt x="484" y="553"/>
                  <a:pt x="484" y="553"/>
                </a:cubicBezTo>
                <a:cubicBezTo>
                  <a:pt x="484" y="553"/>
                  <a:pt x="484" y="553"/>
                  <a:pt x="484" y="554"/>
                </a:cubicBezTo>
                <a:cubicBezTo>
                  <a:pt x="484" y="555"/>
                  <a:pt x="484" y="556"/>
                  <a:pt x="484" y="557"/>
                </a:cubicBezTo>
                <a:cubicBezTo>
                  <a:pt x="484" y="562"/>
                  <a:pt x="480" y="566"/>
                  <a:pt x="475" y="566"/>
                </a:cubicBezTo>
                <a:close/>
                <a:moveTo>
                  <a:pt x="250" y="224"/>
                </a:moveTo>
                <a:cubicBezTo>
                  <a:pt x="167" y="224"/>
                  <a:pt x="100" y="291"/>
                  <a:pt x="100" y="373"/>
                </a:cubicBezTo>
                <a:cubicBezTo>
                  <a:pt x="100" y="456"/>
                  <a:pt x="167" y="523"/>
                  <a:pt x="250" y="523"/>
                </a:cubicBezTo>
                <a:cubicBezTo>
                  <a:pt x="332" y="523"/>
                  <a:pt x="399" y="456"/>
                  <a:pt x="399" y="373"/>
                </a:cubicBezTo>
                <a:cubicBezTo>
                  <a:pt x="399" y="291"/>
                  <a:pt x="332" y="224"/>
                  <a:pt x="250" y="224"/>
                </a:cubicBezTo>
                <a:close/>
                <a:moveTo>
                  <a:pt x="250" y="509"/>
                </a:moveTo>
                <a:cubicBezTo>
                  <a:pt x="175" y="509"/>
                  <a:pt x="114" y="448"/>
                  <a:pt x="114" y="373"/>
                </a:cubicBezTo>
                <a:cubicBezTo>
                  <a:pt x="114" y="299"/>
                  <a:pt x="175" y="238"/>
                  <a:pt x="250" y="238"/>
                </a:cubicBezTo>
                <a:cubicBezTo>
                  <a:pt x="324" y="238"/>
                  <a:pt x="385" y="299"/>
                  <a:pt x="385" y="373"/>
                </a:cubicBezTo>
                <a:cubicBezTo>
                  <a:pt x="385" y="448"/>
                  <a:pt x="324" y="509"/>
                  <a:pt x="250" y="509"/>
                </a:cubicBezTo>
                <a:close/>
                <a:moveTo>
                  <a:pt x="320" y="297"/>
                </a:moveTo>
                <a:cubicBezTo>
                  <a:pt x="266" y="348"/>
                  <a:pt x="266" y="348"/>
                  <a:pt x="266" y="348"/>
                </a:cubicBezTo>
                <a:cubicBezTo>
                  <a:pt x="262" y="345"/>
                  <a:pt x="256" y="343"/>
                  <a:pt x="250" y="343"/>
                </a:cubicBezTo>
                <a:cubicBezTo>
                  <a:pt x="233" y="343"/>
                  <a:pt x="219" y="357"/>
                  <a:pt x="219" y="373"/>
                </a:cubicBezTo>
                <a:cubicBezTo>
                  <a:pt x="219" y="390"/>
                  <a:pt x="233" y="404"/>
                  <a:pt x="250" y="404"/>
                </a:cubicBezTo>
                <a:cubicBezTo>
                  <a:pt x="266" y="404"/>
                  <a:pt x="280" y="390"/>
                  <a:pt x="280" y="373"/>
                </a:cubicBezTo>
                <a:cubicBezTo>
                  <a:pt x="280" y="368"/>
                  <a:pt x="278" y="363"/>
                  <a:pt x="276" y="358"/>
                </a:cubicBezTo>
                <a:cubicBezTo>
                  <a:pt x="330" y="307"/>
                  <a:pt x="330" y="307"/>
                  <a:pt x="330" y="307"/>
                </a:cubicBezTo>
                <a:cubicBezTo>
                  <a:pt x="333" y="304"/>
                  <a:pt x="333" y="300"/>
                  <a:pt x="330" y="297"/>
                </a:cubicBezTo>
                <a:cubicBezTo>
                  <a:pt x="328" y="294"/>
                  <a:pt x="323" y="294"/>
                  <a:pt x="320" y="297"/>
                </a:cubicBezTo>
                <a:close/>
                <a:moveTo>
                  <a:pt x="266" y="373"/>
                </a:moveTo>
                <a:cubicBezTo>
                  <a:pt x="266" y="382"/>
                  <a:pt x="259" y="390"/>
                  <a:pt x="250" y="390"/>
                </a:cubicBezTo>
                <a:cubicBezTo>
                  <a:pt x="241" y="390"/>
                  <a:pt x="233" y="382"/>
                  <a:pt x="233" y="373"/>
                </a:cubicBezTo>
                <a:cubicBezTo>
                  <a:pt x="233" y="364"/>
                  <a:pt x="241" y="357"/>
                  <a:pt x="250" y="357"/>
                </a:cubicBezTo>
                <a:cubicBezTo>
                  <a:pt x="252" y="357"/>
                  <a:pt x="254" y="357"/>
                  <a:pt x="256" y="358"/>
                </a:cubicBezTo>
                <a:cubicBezTo>
                  <a:pt x="245" y="368"/>
                  <a:pt x="245" y="368"/>
                  <a:pt x="245" y="368"/>
                </a:cubicBezTo>
                <a:cubicBezTo>
                  <a:pt x="242" y="371"/>
                  <a:pt x="242" y="375"/>
                  <a:pt x="245" y="378"/>
                </a:cubicBezTo>
                <a:cubicBezTo>
                  <a:pt x="246" y="380"/>
                  <a:pt x="248" y="380"/>
                  <a:pt x="250" y="380"/>
                </a:cubicBezTo>
                <a:cubicBezTo>
                  <a:pt x="251" y="380"/>
                  <a:pt x="253" y="380"/>
                  <a:pt x="255" y="378"/>
                </a:cubicBezTo>
                <a:cubicBezTo>
                  <a:pt x="265" y="368"/>
                  <a:pt x="265" y="368"/>
                  <a:pt x="265" y="368"/>
                </a:cubicBezTo>
                <a:cubicBezTo>
                  <a:pt x="266" y="370"/>
                  <a:pt x="266" y="372"/>
                  <a:pt x="266" y="373"/>
                </a:cubicBez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9257" name="Oval 66"/>
          <p:cNvSpPr>
            <a:spLocks noChangeArrowheads="1"/>
          </p:cNvSpPr>
          <p:nvPr/>
        </p:nvSpPr>
        <p:spPr bwMode="auto">
          <a:xfrm>
            <a:off x="10105564" y="4711628"/>
            <a:ext cx="1119124" cy="1119124"/>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9323" name="Freeform 136"/>
          <p:cNvSpPr>
            <a:spLocks/>
          </p:cNvSpPr>
          <p:nvPr/>
        </p:nvSpPr>
        <p:spPr bwMode="auto">
          <a:xfrm>
            <a:off x="10419436" y="5025830"/>
            <a:ext cx="490205" cy="490720"/>
          </a:xfrm>
          <a:custGeom>
            <a:avLst/>
            <a:gdLst>
              <a:gd name="T0" fmla="*/ 464 w 466"/>
              <a:gd name="T1" fmla="*/ 453 h 465"/>
              <a:gd name="T2" fmla="*/ 464 w 466"/>
              <a:gd name="T3" fmla="*/ 463 h 465"/>
              <a:gd name="T4" fmla="*/ 459 w 466"/>
              <a:gd name="T5" fmla="*/ 465 h 465"/>
              <a:gd name="T6" fmla="*/ 454 w 466"/>
              <a:gd name="T7" fmla="*/ 463 h 465"/>
              <a:gd name="T8" fmla="*/ 233 w 466"/>
              <a:gd name="T9" fmla="*/ 243 h 465"/>
              <a:gd name="T10" fmla="*/ 13 w 466"/>
              <a:gd name="T11" fmla="*/ 463 h 465"/>
              <a:gd name="T12" fmla="*/ 8 w 466"/>
              <a:gd name="T13" fmla="*/ 465 h 465"/>
              <a:gd name="T14" fmla="*/ 3 w 466"/>
              <a:gd name="T15" fmla="*/ 463 h 465"/>
              <a:gd name="T16" fmla="*/ 3 w 466"/>
              <a:gd name="T17" fmla="*/ 453 h 465"/>
              <a:gd name="T18" fmla="*/ 223 w 466"/>
              <a:gd name="T19" fmla="*/ 233 h 465"/>
              <a:gd name="T20" fmla="*/ 3 w 466"/>
              <a:gd name="T21" fmla="*/ 12 h 465"/>
              <a:gd name="T22" fmla="*/ 3 w 466"/>
              <a:gd name="T23" fmla="*/ 2 h 465"/>
              <a:gd name="T24" fmla="*/ 13 w 466"/>
              <a:gd name="T25" fmla="*/ 2 h 465"/>
              <a:gd name="T26" fmla="*/ 233 w 466"/>
              <a:gd name="T27" fmla="*/ 223 h 465"/>
              <a:gd name="T28" fmla="*/ 454 w 466"/>
              <a:gd name="T29" fmla="*/ 2 h 465"/>
              <a:gd name="T30" fmla="*/ 464 w 466"/>
              <a:gd name="T31" fmla="*/ 2 h 465"/>
              <a:gd name="T32" fmla="*/ 464 w 466"/>
              <a:gd name="T33" fmla="*/ 12 h 465"/>
              <a:gd name="T34" fmla="*/ 243 w 466"/>
              <a:gd name="T35" fmla="*/ 233 h 465"/>
              <a:gd name="T36" fmla="*/ 464 w 466"/>
              <a:gd name="T37" fmla="*/ 453 h 4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6" h="465">
                <a:moveTo>
                  <a:pt x="464" y="453"/>
                </a:moveTo>
                <a:cubicBezTo>
                  <a:pt x="466" y="456"/>
                  <a:pt x="466" y="460"/>
                  <a:pt x="464" y="463"/>
                </a:cubicBezTo>
                <a:cubicBezTo>
                  <a:pt x="462" y="464"/>
                  <a:pt x="460" y="465"/>
                  <a:pt x="459" y="465"/>
                </a:cubicBezTo>
                <a:cubicBezTo>
                  <a:pt x="457" y="465"/>
                  <a:pt x="455" y="464"/>
                  <a:pt x="454" y="463"/>
                </a:cubicBezTo>
                <a:cubicBezTo>
                  <a:pt x="233" y="243"/>
                  <a:pt x="233" y="243"/>
                  <a:pt x="233" y="243"/>
                </a:cubicBezTo>
                <a:cubicBezTo>
                  <a:pt x="13" y="463"/>
                  <a:pt x="13" y="463"/>
                  <a:pt x="13" y="463"/>
                </a:cubicBezTo>
                <a:cubicBezTo>
                  <a:pt x="12" y="464"/>
                  <a:pt x="10" y="465"/>
                  <a:pt x="8" y="465"/>
                </a:cubicBezTo>
                <a:cubicBezTo>
                  <a:pt x="6" y="465"/>
                  <a:pt x="4" y="464"/>
                  <a:pt x="3" y="463"/>
                </a:cubicBezTo>
                <a:cubicBezTo>
                  <a:pt x="0" y="460"/>
                  <a:pt x="0" y="456"/>
                  <a:pt x="3" y="453"/>
                </a:cubicBezTo>
                <a:cubicBezTo>
                  <a:pt x="223" y="233"/>
                  <a:pt x="223" y="233"/>
                  <a:pt x="223" y="233"/>
                </a:cubicBezTo>
                <a:cubicBezTo>
                  <a:pt x="3" y="12"/>
                  <a:pt x="3" y="12"/>
                  <a:pt x="3" y="12"/>
                </a:cubicBezTo>
                <a:cubicBezTo>
                  <a:pt x="0" y="10"/>
                  <a:pt x="0" y="5"/>
                  <a:pt x="3" y="2"/>
                </a:cubicBezTo>
                <a:cubicBezTo>
                  <a:pt x="6" y="0"/>
                  <a:pt x="10" y="0"/>
                  <a:pt x="13" y="2"/>
                </a:cubicBezTo>
                <a:cubicBezTo>
                  <a:pt x="233" y="223"/>
                  <a:pt x="233" y="223"/>
                  <a:pt x="233" y="223"/>
                </a:cubicBezTo>
                <a:cubicBezTo>
                  <a:pt x="454" y="2"/>
                  <a:pt x="454" y="2"/>
                  <a:pt x="454" y="2"/>
                </a:cubicBezTo>
                <a:cubicBezTo>
                  <a:pt x="456" y="0"/>
                  <a:pt x="461" y="0"/>
                  <a:pt x="464" y="2"/>
                </a:cubicBezTo>
                <a:cubicBezTo>
                  <a:pt x="466" y="5"/>
                  <a:pt x="466" y="10"/>
                  <a:pt x="464" y="12"/>
                </a:cubicBezTo>
                <a:cubicBezTo>
                  <a:pt x="243" y="233"/>
                  <a:pt x="243" y="233"/>
                  <a:pt x="243" y="233"/>
                </a:cubicBezTo>
                <a:lnTo>
                  <a:pt x="464" y="453"/>
                </a:ln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9258" name="Oval 67"/>
          <p:cNvSpPr>
            <a:spLocks noChangeArrowheads="1"/>
          </p:cNvSpPr>
          <p:nvPr/>
        </p:nvSpPr>
        <p:spPr bwMode="auto">
          <a:xfrm>
            <a:off x="8347593" y="4711628"/>
            <a:ext cx="1119124" cy="1119124"/>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9324" name="Freeform 137"/>
          <p:cNvSpPr>
            <a:spLocks noEditPoints="1"/>
          </p:cNvSpPr>
          <p:nvPr/>
        </p:nvSpPr>
        <p:spPr bwMode="auto">
          <a:xfrm>
            <a:off x="8684154" y="4991703"/>
            <a:ext cx="606045" cy="557797"/>
          </a:xfrm>
          <a:custGeom>
            <a:avLst/>
            <a:gdLst>
              <a:gd name="T0" fmla="*/ 571 w 575"/>
              <a:gd name="T1" fmla="*/ 3 h 530"/>
              <a:gd name="T2" fmla="*/ 561 w 575"/>
              <a:gd name="T3" fmla="*/ 4 h 530"/>
              <a:gd name="T4" fmla="*/ 491 w 575"/>
              <a:gd name="T5" fmla="*/ 94 h 530"/>
              <a:gd name="T6" fmla="*/ 491 w 575"/>
              <a:gd name="T7" fmla="*/ 46 h 530"/>
              <a:gd name="T8" fmla="*/ 484 w 575"/>
              <a:gd name="T9" fmla="*/ 39 h 530"/>
              <a:gd name="T10" fmla="*/ 7 w 575"/>
              <a:gd name="T11" fmla="*/ 39 h 530"/>
              <a:gd name="T12" fmla="*/ 0 w 575"/>
              <a:gd name="T13" fmla="*/ 46 h 530"/>
              <a:gd name="T14" fmla="*/ 0 w 575"/>
              <a:gd name="T15" fmla="*/ 523 h 530"/>
              <a:gd name="T16" fmla="*/ 7 w 575"/>
              <a:gd name="T17" fmla="*/ 530 h 530"/>
              <a:gd name="T18" fmla="*/ 484 w 575"/>
              <a:gd name="T19" fmla="*/ 530 h 530"/>
              <a:gd name="T20" fmla="*/ 491 w 575"/>
              <a:gd name="T21" fmla="*/ 523 h 530"/>
              <a:gd name="T22" fmla="*/ 491 w 575"/>
              <a:gd name="T23" fmla="*/ 117 h 530"/>
              <a:gd name="T24" fmla="*/ 572 w 575"/>
              <a:gd name="T25" fmla="*/ 12 h 530"/>
              <a:gd name="T26" fmla="*/ 571 w 575"/>
              <a:gd name="T27" fmla="*/ 3 h 530"/>
              <a:gd name="T28" fmla="*/ 477 w 575"/>
              <a:gd name="T29" fmla="*/ 516 h 530"/>
              <a:gd name="T30" fmla="*/ 14 w 575"/>
              <a:gd name="T31" fmla="*/ 516 h 530"/>
              <a:gd name="T32" fmla="*/ 14 w 575"/>
              <a:gd name="T33" fmla="*/ 53 h 530"/>
              <a:gd name="T34" fmla="*/ 477 w 575"/>
              <a:gd name="T35" fmla="*/ 53 h 530"/>
              <a:gd name="T36" fmla="*/ 477 w 575"/>
              <a:gd name="T37" fmla="*/ 112 h 530"/>
              <a:gd name="T38" fmla="*/ 235 w 575"/>
              <a:gd name="T39" fmla="*/ 423 h 530"/>
              <a:gd name="T40" fmla="*/ 84 w 575"/>
              <a:gd name="T41" fmla="*/ 287 h 530"/>
              <a:gd name="T42" fmla="*/ 74 w 575"/>
              <a:gd name="T43" fmla="*/ 288 h 530"/>
              <a:gd name="T44" fmla="*/ 74 w 575"/>
              <a:gd name="T45" fmla="*/ 298 h 530"/>
              <a:gd name="T46" fmla="*/ 231 w 575"/>
              <a:gd name="T47" fmla="*/ 438 h 530"/>
              <a:gd name="T48" fmla="*/ 236 w 575"/>
              <a:gd name="T49" fmla="*/ 440 h 530"/>
              <a:gd name="T50" fmla="*/ 236 w 575"/>
              <a:gd name="T51" fmla="*/ 440 h 530"/>
              <a:gd name="T52" fmla="*/ 241 w 575"/>
              <a:gd name="T53" fmla="*/ 437 h 530"/>
              <a:gd name="T54" fmla="*/ 477 w 575"/>
              <a:gd name="T55" fmla="*/ 135 h 530"/>
              <a:gd name="T56" fmla="*/ 477 w 575"/>
              <a:gd name="T57" fmla="*/ 516 h 5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75" h="530">
                <a:moveTo>
                  <a:pt x="571" y="3"/>
                </a:moveTo>
                <a:cubicBezTo>
                  <a:pt x="568" y="0"/>
                  <a:pt x="564" y="1"/>
                  <a:pt x="561" y="4"/>
                </a:cubicBezTo>
                <a:cubicBezTo>
                  <a:pt x="491" y="94"/>
                  <a:pt x="491" y="94"/>
                  <a:pt x="491" y="94"/>
                </a:cubicBezTo>
                <a:cubicBezTo>
                  <a:pt x="491" y="46"/>
                  <a:pt x="491" y="46"/>
                  <a:pt x="491" y="46"/>
                </a:cubicBezTo>
                <a:cubicBezTo>
                  <a:pt x="491" y="42"/>
                  <a:pt x="488" y="39"/>
                  <a:pt x="484" y="39"/>
                </a:cubicBezTo>
                <a:cubicBezTo>
                  <a:pt x="7" y="39"/>
                  <a:pt x="7" y="39"/>
                  <a:pt x="7" y="39"/>
                </a:cubicBezTo>
                <a:cubicBezTo>
                  <a:pt x="3" y="39"/>
                  <a:pt x="0" y="42"/>
                  <a:pt x="0" y="46"/>
                </a:cubicBezTo>
                <a:cubicBezTo>
                  <a:pt x="0" y="523"/>
                  <a:pt x="0" y="523"/>
                  <a:pt x="0" y="523"/>
                </a:cubicBezTo>
                <a:cubicBezTo>
                  <a:pt x="0" y="527"/>
                  <a:pt x="3" y="530"/>
                  <a:pt x="7" y="530"/>
                </a:cubicBezTo>
                <a:cubicBezTo>
                  <a:pt x="484" y="530"/>
                  <a:pt x="484" y="530"/>
                  <a:pt x="484" y="530"/>
                </a:cubicBezTo>
                <a:cubicBezTo>
                  <a:pt x="488" y="530"/>
                  <a:pt x="491" y="527"/>
                  <a:pt x="491" y="523"/>
                </a:cubicBezTo>
                <a:cubicBezTo>
                  <a:pt x="491" y="117"/>
                  <a:pt x="491" y="117"/>
                  <a:pt x="491" y="117"/>
                </a:cubicBezTo>
                <a:cubicBezTo>
                  <a:pt x="572" y="12"/>
                  <a:pt x="572" y="12"/>
                  <a:pt x="572" y="12"/>
                </a:cubicBezTo>
                <a:cubicBezTo>
                  <a:pt x="575" y="9"/>
                  <a:pt x="574" y="5"/>
                  <a:pt x="571" y="3"/>
                </a:cubicBezTo>
                <a:close/>
                <a:moveTo>
                  <a:pt x="477" y="516"/>
                </a:moveTo>
                <a:cubicBezTo>
                  <a:pt x="14" y="516"/>
                  <a:pt x="14" y="516"/>
                  <a:pt x="14" y="516"/>
                </a:cubicBezTo>
                <a:cubicBezTo>
                  <a:pt x="14" y="53"/>
                  <a:pt x="14" y="53"/>
                  <a:pt x="14" y="53"/>
                </a:cubicBezTo>
                <a:cubicBezTo>
                  <a:pt x="477" y="53"/>
                  <a:pt x="477" y="53"/>
                  <a:pt x="477" y="53"/>
                </a:cubicBezTo>
                <a:cubicBezTo>
                  <a:pt x="477" y="112"/>
                  <a:pt x="477" y="112"/>
                  <a:pt x="477" y="112"/>
                </a:cubicBezTo>
                <a:cubicBezTo>
                  <a:pt x="235" y="423"/>
                  <a:pt x="235" y="423"/>
                  <a:pt x="235" y="423"/>
                </a:cubicBezTo>
                <a:cubicBezTo>
                  <a:pt x="84" y="287"/>
                  <a:pt x="84" y="287"/>
                  <a:pt x="84" y="287"/>
                </a:cubicBezTo>
                <a:cubicBezTo>
                  <a:pt x="81" y="285"/>
                  <a:pt x="76" y="285"/>
                  <a:pt x="74" y="288"/>
                </a:cubicBezTo>
                <a:cubicBezTo>
                  <a:pt x="71" y="291"/>
                  <a:pt x="72" y="295"/>
                  <a:pt x="74" y="298"/>
                </a:cubicBezTo>
                <a:cubicBezTo>
                  <a:pt x="231" y="438"/>
                  <a:pt x="231" y="438"/>
                  <a:pt x="231" y="438"/>
                </a:cubicBezTo>
                <a:cubicBezTo>
                  <a:pt x="232" y="439"/>
                  <a:pt x="234" y="440"/>
                  <a:pt x="236" y="440"/>
                </a:cubicBezTo>
                <a:cubicBezTo>
                  <a:pt x="236" y="440"/>
                  <a:pt x="236" y="440"/>
                  <a:pt x="236" y="440"/>
                </a:cubicBezTo>
                <a:cubicBezTo>
                  <a:pt x="238" y="440"/>
                  <a:pt x="240" y="439"/>
                  <a:pt x="241" y="437"/>
                </a:cubicBezTo>
                <a:cubicBezTo>
                  <a:pt x="477" y="135"/>
                  <a:pt x="477" y="135"/>
                  <a:pt x="477" y="135"/>
                </a:cubicBezTo>
                <a:lnTo>
                  <a:pt x="477" y="516"/>
                </a:ln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9275" name="Oval 72"/>
          <p:cNvSpPr>
            <a:spLocks noChangeArrowheads="1"/>
          </p:cNvSpPr>
          <p:nvPr/>
        </p:nvSpPr>
        <p:spPr bwMode="auto">
          <a:xfrm>
            <a:off x="6589621" y="4711628"/>
            <a:ext cx="1119124" cy="1119124"/>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9327" name="Freeform 140"/>
          <p:cNvSpPr>
            <a:spLocks noEditPoints="1"/>
          </p:cNvSpPr>
          <p:nvPr/>
        </p:nvSpPr>
        <p:spPr bwMode="auto">
          <a:xfrm>
            <a:off x="6890562" y="5012885"/>
            <a:ext cx="517242" cy="516610"/>
          </a:xfrm>
          <a:custGeom>
            <a:avLst/>
            <a:gdLst>
              <a:gd name="T0" fmla="*/ 484 w 491"/>
              <a:gd name="T1" fmla="*/ 0 h 491"/>
              <a:gd name="T2" fmla="*/ 7 w 491"/>
              <a:gd name="T3" fmla="*/ 0 h 491"/>
              <a:gd name="T4" fmla="*/ 0 w 491"/>
              <a:gd name="T5" fmla="*/ 7 h 491"/>
              <a:gd name="T6" fmla="*/ 0 w 491"/>
              <a:gd name="T7" fmla="*/ 484 h 491"/>
              <a:gd name="T8" fmla="*/ 7 w 491"/>
              <a:gd name="T9" fmla="*/ 491 h 491"/>
              <a:gd name="T10" fmla="*/ 484 w 491"/>
              <a:gd name="T11" fmla="*/ 491 h 491"/>
              <a:gd name="T12" fmla="*/ 491 w 491"/>
              <a:gd name="T13" fmla="*/ 484 h 491"/>
              <a:gd name="T14" fmla="*/ 491 w 491"/>
              <a:gd name="T15" fmla="*/ 7 h 491"/>
              <a:gd name="T16" fmla="*/ 484 w 491"/>
              <a:gd name="T17" fmla="*/ 0 h 491"/>
              <a:gd name="T18" fmla="*/ 477 w 491"/>
              <a:gd name="T19" fmla="*/ 477 h 491"/>
              <a:gd name="T20" fmla="*/ 14 w 491"/>
              <a:gd name="T21" fmla="*/ 477 h 491"/>
              <a:gd name="T22" fmla="*/ 14 w 491"/>
              <a:gd name="T23" fmla="*/ 14 h 491"/>
              <a:gd name="T24" fmla="*/ 477 w 491"/>
              <a:gd name="T25" fmla="*/ 14 h 491"/>
              <a:gd name="T26" fmla="*/ 477 w 491"/>
              <a:gd name="T27" fmla="*/ 477 h 491"/>
              <a:gd name="T28" fmla="*/ 68 w 491"/>
              <a:gd name="T29" fmla="*/ 413 h 491"/>
              <a:gd name="T30" fmla="*/ 236 w 491"/>
              <a:gd name="T31" fmla="*/ 246 h 491"/>
              <a:gd name="T32" fmla="*/ 68 w 491"/>
              <a:gd name="T33" fmla="*/ 78 h 491"/>
              <a:gd name="T34" fmla="*/ 68 w 491"/>
              <a:gd name="T35" fmla="*/ 68 h 491"/>
              <a:gd name="T36" fmla="*/ 78 w 491"/>
              <a:gd name="T37" fmla="*/ 68 h 491"/>
              <a:gd name="T38" fmla="*/ 245 w 491"/>
              <a:gd name="T39" fmla="*/ 236 h 491"/>
              <a:gd name="T40" fmla="*/ 413 w 491"/>
              <a:gd name="T41" fmla="*/ 68 h 491"/>
              <a:gd name="T42" fmla="*/ 423 w 491"/>
              <a:gd name="T43" fmla="*/ 68 h 491"/>
              <a:gd name="T44" fmla="*/ 423 w 491"/>
              <a:gd name="T45" fmla="*/ 78 h 491"/>
              <a:gd name="T46" fmla="*/ 255 w 491"/>
              <a:gd name="T47" fmla="*/ 246 h 491"/>
              <a:gd name="T48" fmla="*/ 423 w 491"/>
              <a:gd name="T49" fmla="*/ 413 h 491"/>
              <a:gd name="T50" fmla="*/ 423 w 491"/>
              <a:gd name="T51" fmla="*/ 423 h 491"/>
              <a:gd name="T52" fmla="*/ 418 w 491"/>
              <a:gd name="T53" fmla="*/ 425 h 491"/>
              <a:gd name="T54" fmla="*/ 413 w 491"/>
              <a:gd name="T55" fmla="*/ 423 h 491"/>
              <a:gd name="T56" fmla="*/ 245 w 491"/>
              <a:gd name="T57" fmla="*/ 256 h 491"/>
              <a:gd name="T58" fmla="*/ 78 w 491"/>
              <a:gd name="T59" fmla="*/ 423 h 491"/>
              <a:gd name="T60" fmla="*/ 73 w 491"/>
              <a:gd name="T61" fmla="*/ 425 h 491"/>
              <a:gd name="T62" fmla="*/ 68 w 491"/>
              <a:gd name="T63" fmla="*/ 423 h 491"/>
              <a:gd name="T64" fmla="*/ 68 w 491"/>
              <a:gd name="T65" fmla="*/ 413 h 4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91" h="491">
                <a:moveTo>
                  <a:pt x="484" y="0"/>
                </a:moveTo>
                <a:cubicBezTo>
                  <a:pt x="7" y="0"/>
                  <a:pt x="7" y="0"/>
                  <a:pt x="7" y="0"/>
                </a:cubicBezTo>
                <a:cubicBezTo>
                  <a:pt x="3" y="0"/>
                  <a:pt x="0" y="3"/>
                  <a:pt x="0" y="7"/>
                </a:cubicBezTo>
                <a:cubicBezTo>
                  <a:pt x="0" y="484"/>
                  <a:pt x="0" y="484"/>
                  <a:pt x="0" y="484"/>
                </a:cubicBezTo>
                <a:cubicBezTo>
                  <a:pt x="0" y="488"/>
                  <a:pt x="3" y="491"/>
                  <a:pt x="7" y="491"/>
                </a:cubicBezTo>
                <a:cubicBezTo>
                  <a:pt x="484" y="491"/>
                  <a:pt x="484" y="491"/>
                  <a:pt x="484" y="491"/>
                </a:cubicBezTo>
                <a:cubicBezTo>
                  <a:pt x="488" y="491"/>
                  <a:pt x="491" y="488"/>
                  <a:pt x="491" y="484"/>
                </a:cubicBezTo>
                <a:cubicBezTo>
                  <a:pt x="491" y="7"/>
                  <a:pt x="491" y="7"/>
                  <a:pt x="491" y="7"/>
                </a:cubicBezTo>
                <a:cubicBezTo>
                  <a:pt x="491" y="3"/>
                  <a:pt x="488" y="0"/>
                  <a:pt x="484" y="0"/>
                </a:cubicBezTo>
                <a:close/>
                <a:moveTo>
                  <a:pt x="477" y="477"/>
                </a:moveTo>
                <a:cubicBezTo>
                  <a:pt x="14" y="477"/>
                  <a:pt x="14" y="477"/>
                  <a:pt x="14" y="477"/>
                </a:cubicBezTo>
                <a:cubicBezTo>
                  <a:pt x="14" y="14"/>
                  <a:pt x="14" y="14"/>
                  <a:pt x="14" y="14"/>
                </a:cubicBezTo>
                <a:cubicBezTo>
                  <a:pt x="477" y="14"/>
                  <a:pt x="477" y="14"/>
                  <a:pt x="477" y="14"/>
                </a:cubicBezTo>
                <a:lnTo>
                  <a:pt x="477" y="477"/>
                </a:lnTo>
                <a:close/>
                <a:moveTo>
                  <a:pt x="68" y="413"/>
                </a:moveTo>
                <a:cubicBezTo>
                  <a:pt x="236" y="246"/>
                  <a:pt x="236" y="246"/>
                  <a:pt x="236" y="246"/>
                </a:cubicBezTo>
                <a:cubicBezTo>
                  <a:pt x="68" y="78"/>
                  <a:pt x="68" y="78"/>
                  <a:pt x="68" y="78"/>
                </a:cubicBezTo>
                <a:cubicBezTo>
                  <a:pt x="65" y="75"/>
                  <a:pt x="65" y="71"/>
                  <a:pt x="68" y="68"/>
                </a:cubicBezTo>
                <a:cubicBezTo>
                  <a:pt x="71" y="66"/>
                  <a:pt x="75" y="66"/>
                  <a:pt x="78" y="68"/>
                </a:cubicBezTo>
                <a:cubicBezTo>
                  <a:pt x="245" y="236"/>
                  <a:pt x="245" y="236"/>
                  <a:pt x="245" y="236"/>
                </a:cubicBezTo>
                <a:cubicBezTo>
                  <a:pt x="413" y="68"/>
                  <a:pt x="413" y="68"/>
                  <a:pt x="413" y="68"/>
                </a:cubicBezTo>
                <a:cubicBezTo>
                  <a:pt x="416" y="66"/>
                  <a:pt x="420" y="66"/>
                  <a:pt x="423" y="68"/>
                </a:cubicBezTo>
                <a:cubicBezTo>
                  <a:pt x="426" y="71"/>
                  <a:pt x="426" y="75"/>
                  <a:pt x="423" y="78"/>
                </a:cubicBezTo>
                <a:cubicBezTo>
                  <a:pt x="255" y="246"/>
                  <a:pt x="255" y="246"/>
                  <a:pt x="255" y="246"/>
                </a:cubicBezTo>
                <a:cubicBezTo>
                  <a:pt x="423" y="413"/>
                  <a:pt x="423" y="413"/>
                  <a:pt x="423" y="413"/>
                </a:cubicBezTo>
                <a:cubicBezTo>
                  <a:pt x="426" y="416"/>
                  <a:pt x="426" y="421"/>
                  <a:pt x="423" y="423"/>
                </a:cubicBezTo>
                <a:cubicBezTo>
                  <a:pt x="422" y="425"/>
                  <a:pt x="420" y="425"/>
                  <a:pt x="418" y="425"/>
                </a:cubicBezTo>
                <a:cubicBezTo>
                  <a:pt x="416" y="425"/>
                  <a:pt x="414" y="425"/>
                  <a:pt x="413" y="423"/>
                </a:cubicBezTo>
                <a:cubicBezTo>
                  <a:pt x="245" y="256"/>
                  <a:pt x="245" y="256"/>
                  <a:pt x="245" y="256"/>
                </a:cubicBezTo>
                <a:cubicBezTo>
                  <a:pt x="78" y="423"/>
                  <a:pt x="78" y="423"/>
                  <a:pt x="78" y="423"/>
                </a:cubicBezTo>
                <a:cubicBezTo>
                  <a:pt x="76" y="425"/>
                  <a:pt x="75" y="425"/>
                  <a:pt x="73" y="425"/>
                </a:cubicBezTo>
                <a:cubicBezTo>
                  <a:pt x="71" y="425"/>
                  <a:pt x="69" y="425"/>
                  <a:pt x="68" y="423"/>
                </a:cubicBezTo>
                <a:cubicBezTo>
                  <a:pt x="65" y="421"/>
                  <a:pt x="65" y="416"/>
                  <a:pt x="68" y="413"/>
                </a:cubicBez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9277" name="Oval 74"/>
          <p:cNvSpPr>
            <a:spLocks noChangeArrowheads="1"/>
          </p:cNvSpPr>
          <p:nvPr/>
        </p:nvSpPr>
        <p:spPr bwMode="auto">
          <a:xfrm>
            <a:off x="4831649" y="4711628"/>
            <a:ext cx="1119124" cy="1119124"/>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9328" name="Freeform 141"/>
          <p:cNvSpPr>
            <a:spLocks noEditPoints="1"/>
          </p:cNvSpPr>
          <p:nvPr/>
        </p:nvSpPr>
        <p:spPr bwMode="auto">
          <a:xfrm>
            <a:off x="5091719" y="4941102"/>
            <a:ext cx="600160" cy="661354"/>
          </a:xfrm>
          <a:custGeom>
            <a:avLst/>
            <a:gdLst>
              <a:gd name="T0" fmla="*/ 190 w 570"/>
              <a:gd name="T1" fmla="*/ 205 h 628"/>
              <a:gd name="T2" fmla="*/ 125 w 570"/>
              <a:gd name="T3" fmla="*/ 239 h 628"/>
              <a:gd name="T4" fmla="*/ 190 w 570"/>
              <a:gd name="T5" fmla="*/ 325 h 628"/>
              <a:gd name="T6" fmla="*/ 256 w 570"/>
              <a:gd name="T7" fmla="*/ 239 h 628"/>
              <a:gd name="T8" fmla="*/ 190 w 570"/>
              <a:gd name="T9" fmla="*/ 311 h 628"/>
              <a:gd name="T10" fmla="*/ 163 w 570"/>
              <a:gd name="T11" fmla="*/ 207 h 628"/>
              <a:gd name="T12" fmla="*/ 196 w 570"/>
              <a:gd name="T13" fmla="*/ 219 h 628"/>
              <a:gd name="T14" fmla="*/ 242 w 570"/>
              <a:gd name="T15" fmla="*/ 239 h 628"/>
              <a:gd name="T16" fmla="*/ 290 w 570"/>
              <a:gd name="T17" fmla="*/ 70 h 628"/>
              <a:gd name="T18" fmla="*/ 284 w 570"/>
              <a:gd name="T19" fmla="*/ 65 h 628"/>
              <a:gd name="T20" fmla="*/ 250 w 570"/>
              <a:gd name="T21" fmla="*/ 134 h 628"/>
              <a:gd name="T22" fmla="*/ 242 w 570"/>
              <a:gd name="T23" fmla="*/ 153 h 628"/>
              <a:gd name="T24" fmla="*/ 249 w 570"/>
              <a:gd name="T25" fmla="*/ 162 h 628"/>
              <a:gd name="T26" fmla="*/ 261 w 570"/>
              <a:gd name="T27" fmla="*/ 144 h 628"/>
              <a:gd name="T28" fmla="*/ 312 w 570"/>
              <a:gd name="T29" fmla="*/ 158 h 628"/>
              <a:gd name="T30" fmla="*/ 325 w 570"/>
              <a:gd name="T31" fmla="*/ 153 h 628"/>
              <a:gd name="T32" fmla="*/ 267 w 570"/>
              <a:gd name="T33" fmla="*/ 130 h 628"/>
              <a:gd name="T34" fmla="*/ 301 w 570"/>
              <a:gd name="T35" fmla="*/ 130 h 628"/>
              <a:gd name="T36" fmla="*/ 135 w 570"/>
              <a:gd name="T37" fmla="*/ 357 h 628"/>
              <a:gd name="T38" fmla="*/ 120 w 570"/>
              <a:gd name="T39" fmla="*/ 375 h 628"/>
              <a:gd name="T40" fmla="*/ 69 w 570"/>
              <a:gd name="T41" fmla="*/ 361 h 628"/>
              <a:gd name="T42" fmla="*/ 56 w 570"/>
              <a:gd name="T43" fmla="*/ 366 h 628"/>
              <a:gd name="T44" fmla="*/ 97 w 570"/>
              <a:gd name="T45" fmla="*/ 453 h 628"/>
              <a:gd name="T46" fmla="*/ 104 w 570"/>
              <a:gd name="T47" fmla="*/ 449 h 628"/>
              <a:gd name="T48" fmla="*/ 131 w 570"/>
              <a:gd name="T49" fmla="*/ 384 h 628"/>
              <a:gd name="T50" fmla="*/ 135 w 570"/>
              <a:gd name="T51" fmla="*/ 357 h 628"/>
              <a:gd name="T52" fmla="*/ 80 w 570"/>
              <a:gd name="T53" fmla="*/ 389 h 628"/>
              <a:gd name="T54" fmla="*/ 97 w 570"/>
              <a:gd name="T55" fmla="*/ 428 h 628"/>
              <a:gd name="T56" fmla="*/ 540 w 570"/>
              <a:gd name="T57" fmla="*/ 138 h 628"/>
              <a:gd name="T58" fmla="*/ 381 w 570"/>
              <a:gd name="T59" fmla="*/ 43 h 628"/>
              <a:gd name="T60" fmla="*/ 44 w 570"/>
              <a:gd name="T61" fmla="*/ 0 h 628"/>
              <a:gd name="T62" fmla="*/ 0 w 570"/>
              <a:gd name="T63" fmla="*/ 476 h 628"/>
              <a:gd name="T64" fmla="*/ 79 w 570"/>
              <a:gd name="T65" fmla="*/ 519 h 628"/>
              <a:gd name="T66" fmla="*/ 358 w 570"/>
              <a:gd name="T67" fmla="*/ 625 h 628"/>
              <a:gd name="T68" fmla="*/ 391 w 570"/>
              <a:gd name="T69" fmla="*/ 624 h 628"/>
              <a:gd name="T70" fmla="*/ 566 w 570"/>
              <a:gd name="T71" fmla="*/ 195 h 628"/>
              <a:gd name="T72" fmla="*/ 14 w 570"/>
              <a:gd name="T73" fmla="*/ 476 h 628"/>
              <a:gd name="T74" fmla="*/ 44 w 570"/>
              <a:gd name="T75" fmla="*/ 14 h 628"/>
              <a:gd name="T76" fmla="*/ 367 w 570"/>
              <a:gd name="T77" fmla="*/ 43 h 628"/>
              <a:gd name="T78" fmla="*/ 337 w 570"/>
              <a:gd name="T79" fmla="*/ 505 h 628"/>
              <a:gd name="T80" fmla="*/ 14 w 570"/>
              <a:gd name="T81" fmla="*/ 476 h 628"/>
              <a:gd name="T82" fmla="*/ 401 w 570"/>
              <a:gd name="T83" fmla="*/ 595 h 628"/>
              <a:gd name="T84" fmla="*/ 363 w 570"/>
              <a:gd name="T85" fmla="*/ 612 h 628"/>
              <a:gd name="T86" fmla="*/ 337 w 570"/>
              <a:gd name="T87" fmla="*/ 519 h 628"/>
              <a:gd name="T88" fmla="*/ 381 w 570"/>
              <a:gd name="T89" fmla="*/ 94 h 628"/>
              <a:gd name="T90" fmla="*/ 552 w 570"/>
              <a:gd name="T91" fmla="*/ 167 h 628"/>
              <a:gd name="T92" fmla="*/ 467 w 570"/>
              <a:gd name="T93" fmla="*/ 181 h 628"/>
              <a:gd name="T94" fmla="*/ 398 w 570"/>
              <a:gd name="T95" fmla="*/ 249 h 628"/>
              <a:gd name="T96" fmla="*/ 408 w 570"/>
              <a:gd name="T97" fmla="*/ 258 h 628"/>
              <a:gd name="T98" fmla="*/ 461 w 570"/>
              <a:gd name="T99" fmla="*/ 263 h 628"/>
              <a:gd name="T100" fmla="*/ 468 w 570"/>
              <a:gd name="T101" fmla="*/ 285 h 628"/>
              <a:gd name="T102" fmla="*/ 475 w 570"/>
              <a:gd name="T103" fmla="*/ 278 h 628"/>
              <a:gd name="T104" fmla="*/ 467 w 570"/>
              <a:gd name="T105" fmla="*/ 181 h 628"/>
              <a:gd name="T106" fmla="*/ 458 w 570"/>
              <a:gd name="T107" fmla="*/ 205 h 628"/>
              <a:gd name="T108" fmla="*/ 429 w 570"/>
              <a:gd name="T109" fmla="*/ 236 h 6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70" h="628">
                <a:moveTo>
                  <a:pt x="218" y="193"/>
                </a:moveTo>
                <a:cubicBezTo>
                  <a:pt x="211" y="193"/>
                  <a:pt x="201" y="195"/>
                  <a:pt x="190" y="205"/>
                </a:cubicBezTo>
                <a:cubicBezTo>
                  <a:pt x="182" y="197"/>
                  <a:pt x="172" y="193"/>
                  <a:pt x="163" y="193"/>
                </a:cubicBezTo>
                <a:cubicBezTo>
                  <a:pt x="141" y="193"/>
                  <a:pt x="125" y="213"/>
                  <a:pt x="125" y="239"/>
                </a:cubicBezTo>
                <a:cubicBezTo>
                  <a:pt x="125" y="275"/>
                  <a:pt x="146" y="304"/>
                  <a:pt x="187" y="325"/>
                </a:cubicBezTo>
                <a:cubicBezTo>
                  <a:pt x="188" y="325"/>
                  <a:pt x="189" y="325"/>
                  <a:pt x="190" y="325"/>
                </a:cubicBezTo>
                <a:cubicBezTo>
                  <a:pt x="192" y="325"/>
                  <a:pt x="193" y="325"/>
                  <a:pt x="194" y="325"/>
                </a:cubicBezTo>
                <a:cubicBezTo>
                  <a:pt x="235" y="304"/>
                  <a:pt x="256" y="275"/>
                  <a:pt x="256" y="239"/>
                </a:cubicBezTo>
                <a:cubicBezTo>
                  <a:pt x="256" y="213"/>
                  <a:pt x="239" y="193"/>
                  <a:pt x="218" y="193"/>
                </a:cubicBezTo>
                <a:close/>
                <a:moveTo>
                  <a:pt x="190" y="311"/>
                </a:moveTo>
                <a:cubicBezTo>
                  <a:pt x="156" y="292"/>
                  <a:pt x="139" y="269"/>
                  <a:pt x="139" y="239"/>
                </a:cubicBezTo>
                <a:cubicBezTo>
                  <a:pt x="139" y="221"/>
                  <a:pt x="149" y="207"/>
                  <a:pt x="163" y="207"/>
                </a:cubicBezTo>
                <a:cubicBezTo>
                  <a:pt x="171" y="207"/>
                  <a:pt x="178" y="211"/>
                  <a:pt x="185" y="219"/>
                </a:cubicBezTo>
                <a:cubicBezTo>
                  <a:pt x="188" y="222"/>
                  <a:pt x="193" y="222"/>
                  <a:pt x="196" y="219"/>
                </a:cubicBezTo>
                <a:cubicBezTo>
                  <a:pt x="203" y="211"/>
                  <a:pt x="210" y="207"/>
                  <a:pt x="218" y="207"/>
                </a:cubicBezTo>
                <a:cubicBezTo>
                  <a:pt x="232" y="207"/>
                  <a:pt x="242" y="221"/>
                  <a:pt x="242" y="239"/>
                </a:cubicBezTo>
                <a:cubicBezTo>
                  <a:pt x="242" y="269"/>
                  <a:pt x="224" y="292"/>
                  <a:pt x="190" y="311"/>
                </a:cubicBezTo>
                <a:close/>
                <a:moveTo>
                  <a:pt x="290" y="70"/>
                </a:moveTo>
                <a:cubicBezTo>
                  <a:pt x="289" y="67"/>
                  <a:pt x="287" y="65"/>
                  <a:pt x="284" y="65"/>
                </a:cubicBezTo>
                <a:cubicBezTo>
                  <a:pt x="284" y="65"/>
                  <a:pt x="284" y="65"/>
                  <a:pt x="284" y="65"/>
                </a:cubicBezTo>
                <a:cubicBezTo>
                  <a:pt x="281" y="65"/>
                  <a:pt x="278" y="67"/>
                  <a:pt x="277" y="70"/>
                </a:cubicBezTo>
                <a:cubicBezTo>
                  <a:pt x="250" y="134"/>
                  <a:pt x="250" y="134"/>
                  <a:pt x="250" y="134"/>
                </a:cubicBezTo>
                <a:cubicBezTo>
                  <a:pt x="250" y="134"/>
                  <a:pt x="250" y="134"/>
                  <a:pt x="250" y="134"/>
                </a:cubicBezTo>
                <a:cubicBezTo>
                  <a:pt x="242" y="153"/>
                  <a:pt x="242" y="153"/>
                  <a:pt x="242" y="153"/>
                </a:cubicBezTo>
                <a:cubicBezTo>
                  <a:pt x="241" y="156"/>
                  <a:pt x="243" y="160"/>
                  <a:pt x="246" y="162"/>
                </a:cubicBezTo>
                <a:cubicBezTo>
                  <a:pt x="247" y="162"/>
                  <a:pt x="248" y="162"/>
                  <a:pt x="249" y="162"/>
                </a:cubicBezTo>
                <a:cubicBezTo>
                  <a:pt x="252" y="162"/>
                  <a:pt x="254" y="161"/>
                  <a:pt x="255" y="158"/>
                </a:cubicBezTo>
                <a:cubicBezTo>
                  <a:pt x="261" y="144"/>
                  <a:pt x="261" y="144"/>
                  <a:pt x="261" y="144"/>
                </a:cubicBezTo>
                <a:cubicBezTo>
                  <a:pt x="306" y="144"/>
                  <a:pt x="306" y="144"/>
                  <a:pt x="306" y="144"/>
                </a:cubicBezTo>
                <a:cubicBezTo>
                  <a:pt x="312" y="158"/>
                  <a:pt x="312" y="158"/>
                  <a:pt x="312" y="158"/>
                </a:cubicBezTo>
                <a:cubicBezTo>
                  <a:pt x="314" y="162"/>
                  <a:pt x="318" y="163"/>
                  <a:pt x="322" y="162"/>
                </a:cubicBezTo>
                <a:cubicBezTo>
                  <a:pt x="325" y="160"/>
                  <a:pt x="327" y="156"/>
                  <a:pt x="325" y="153"/>
                </a:cubicBezTo>
                <a:lnTo>
                  <a:pt x="290" y="70"/>
                </a:lnTo>
                <a:close/>
                <a:moveTo>
                  <a:pt x="267" y="130"/>
                </a:moveTo>
                <a:cubicBezTo>
                  <a:pt x="284" y="90"/>
                  <a:pt x="284" y="90"/>
                  <a:pt x="284" y="90"/>
                </a:cubicBezTo>
                <a:cubicBezTo>
                  <a:pt x="301" y="130"/>
                  <a:pt x="301" y="130"/>
                  <a:pt x="301" y="130"/>
                </a:cubicBezTo>
                <a:lnTo>
                  <a:pt x="267" y="130"/>
                </a:lnTo>
                <a:close/>
                <a:moveTo>
                  <a:pt x="135" y="357"/>
                </a:moveTo>
                <a:cubicBezTo>
                  <a:pt x="131" y="355"/>
                  <a:pt x="127" y="357"/>
                  <a:pt x="126" y="361"/>
                </a:cubicBezTo>
                <a:cubicBezTo>
                  <a:pt x="120" y="375"/>
                  <a:pt x="120" y="375"/>
                  <a:pt x="120" y="375"/>
                </a:cubicBezTo>
                <a:cubicBezTo>
                  <a:pt x="74" y="375"/>
                  <a:pt x="74" y="375"/>
                  <a:pt x="74" y="375"/>
                </a:cubicBezTo>
                <a:cubicBezTo>
                  <a:pt x="69" y="361"/>
                  <a:pt x="69" y="361"/>
                  <a:pt x="69" y="361"/>
                </a:cubicBezTo>
                <a:cubicBezTo>
                  <a:pt x="67" y="357"/>
                  <a:pt x="63" y="355"/>
                  <a:pt x="59" y="357"/>
                </a:cubicBezTo>
                <a:cubicBezTo>
                  <a:pt x="56" y="358"/>
                  <a:pt x="54" y="363"/>
                  <a:pt x="56" y="366"/>
                </a:cubicBezTo>
                <a:cubicBezTo>
                  <a:pt x="91" y="449"/>
                  <a:pt x="91" y="449"/>
                  <a:pt x="91" y="449"/>
                </a:cubicBezTo>
                <a:cubicBezTo>
                  <a:pt x="92" y="452"/>
                  <a:pt x="94" y="453"/>
                  <a:pt x="97" y="453"/>
                </a:cubicBezTo>
                <a:cubicBezTo>
                  <a:pt x="97" y="453"/>
                  <a:pt x="97" y="453"/>
                  <a:pt x="97" y="453"/>
                </a:cubicBezTo>
                <a:cubicBezTo>
                  <a:pt x="100" y="453"/>
                  <a:pt x="102" y="452"/>
                  <a:pt x="104" y="449"/>
                </a:cubicBezTo>
                <a:cubicBezTo>
                  <a:pt x="131" y="384"/>
                  <a:pt x="131" y="384"/>
                  <a:pt x="131" y="384"/>
                </a:cubicBezTo>
                <a:cubicBezTo>
                  <a:pt x="131" y="384"/>
                  <a:pt x="131" y="384"/>
                  <a:pt x="131" y="384"/>
                </a:cubicBezTo>
                <a:cubicBezTo>
                  <a:pt x="138" y="366"/>
                  <a:pt x="138" y="366"/>
                  <a:pt x="138" y="366"/>
                </a:cubicBezTo>
                <a:cubicBezTo>
                  <a:pt x="140" y="363"/>
                  <a:pt x="138" y="358"/>
                  <a:pt x="135" y="357"/>
                </a:cubicBezTo>
                <a:close/>
                <a:moveTo>
                  <a:pt x="97" y="428"/>
                </a:moveTo>
                <a:cubicBezTo>
                  <a:pt x="80" y="389"/>
                  <a:pt x="80" y="389"/>
                  <a:pt x="80" y="389"/>
                </a:cubicBezTo>
                <a:cubicBezTo>
                  <a:pt x="114" y="389"/>
                  <a:pt x="114" y="389"/>
                  <a:pt x="114" y="389"/>
                </a:cubicBezTo>
                <a:lnTo>
                  <a:pt x="97" y="428"/>
                </a:lnTo>
                <a:close/>
                <a:moveTo>
                  <a:pt x="564" y="161"/>
                </a:moveTo>
                <a:cubicBezTo>
                  <a:pt x="560" y="151"/>
                  <a:pt x="551" y="143"/>
                  <a:pt x="540" y="138"/>
                </a:cubicBezTo>
                <a:cubicBezTo>
                  <a:pt x="381" y="79"/>
                  <a:pt x="381" y="79"/>
                  <a:pt x="381" y="79"/>
                </a:cubicBezTo>
                <a:cubicBezTo>
                  <a:pt x="381" y="43"/>
                  <a:pt x="381" y="43"/>
                  <a:pt x="381" y="43"/>
                </a:cubicBezTo>
                <a:cubicBezTo>
                  <a:pt x="381" y="19"/>
                  <a:pt x="361" y="0"/>
                  <a:pt x="337" y="0"/>
                </a:cubicBezTo>
                <a:cubicBezTo>
                  <a:pt x="44" y="0"/>
                  <a:pt x="44" y="0"/>
                  <a:pt x="44" y="0"/>
                </a:cubicBezTo>
                <a:cubicBezTo>
                  <a:pt x="20" y="0"/>
                  <a:pt x="0" y="19"/>
                  <a:pt x="0" y="43"/>
                </a:cubicBezTo>
                <a:cubicBezTo>
                  <a:pt x="0" y="476"/>
                  <a:pt x="0" y="476"/>
                  <a:pt x="0" y="476"/>
                </a:cubicBezTo>
                <a:cubicBezTo>
                  <a:pt x="0" y="500"/>
                  <a:pt x="20" y="519"/>
                  <a:pt x="44" y="519"/>
                </a:cubicBezTo>
                <a:cubicBezTo>
                  <a:pt x="79" y="519"/>
                  <a:pt x="79" y="519"/>
                  <a:pt x="79" y="519"/>
                </a:cubicBezTo>
                <a:cubicBezTo>
                  <a:pt x="80" y="521"/>
                  <a:pt x="81" y="522"/>
                  <a:pt x="83" y="522"/>
                </a:cubicBezTo>
                <a:cubicBezTo>
                  <a:pt x="358" y="625"/>
                  <a:pt x="358" y="625"/>
                  <a:pt x="358" y="625"/>
                </a:cubicBezTo>
                <a:cubicBezTo>
                  <a:pt x="363" y="627"/>
                  <a:pt x="368" y="628"/>
                  <a:pt x="373" y="628"/>
                </a:cubicBezTo>
                <a:cubicBezTo>
                  <a:pt x="380" y="628"/>
                  <a:pt x="386" y="627"/>
                  <a:pt x="391" y="624"/>
                </a:cubicBezTo>
                <a:cubicBezTo>
                  <a:pt x="402" y="619"/>
                  <a:pt x="410" y="611"/>
                  <a:pt x="414" y="600"/>
                </a:cubicBezTo>
                <a:cubicBezTo>
                  <a:pt x="566" y="195"/>
                  <a:pt x="566" y="195"/>
                  <a:pt x="566" y="195"/>
                </a:cubicBezTo>
                <a:cubicBezTo>
                  <a:pt x="570" y="184"/>
                  <a:pt x="569" y="172"/>
                  <a:pt x="564" y="161"/>
                </a:cubicBezTo>
                <a:close/>
                <a:moveTo>
                  <a:pt x="14" y="476"/>
                </a:moveTo>
                <a:cubicBezTo>
                  <a:pt x="14" y="43"/>
                  <a:pt x="14" y="43"/>
                  <a:pt x="14" y="43"/>
                </a:cubicBezTo>
                <a:cubicBezTo>
                  <a:pt x="14" y="27"/>
                  <a:pt x="27" y="14"/>
                  <a:pt x="44" y="14"/>
                </a:cubicBezTo>
                <a:cubicBezTo>
                  <a:pt x="337" y="14"/>
                  <a:pt x="337" y="14"/>
                  <a:pt x="337" y="14"/>
                </a:cubicBezTo>
                <a:cubicBezTo>
                  <a:pt x="354" y="14"/>
                  <a:pt x="367" y="27"/>
                  <a:pt x="367" y="43"/>
                </a:cubicBezTo>
                <a:cubicBezTo>
                  <a:pt x="367" y="476"/>
                  <a:pt x="367" y="476"/>
                  <a:pt x="367" y="476"/>
                </a:cubicBezTo>
                <a:cubicBezTo>
                  <a:pt x="367" y="492"/>
                  <a:pt x="354" y="505"/>
                  <a:pt x="337" y="505"/>
                </a:cubicBezTo>
                <a:cubicBezTo>
                  <a:pt x="44" y="505"/>
                  <a:pt x="44" y="505"/>
                  <a:pt x="44" y="505"/>
                </a:cubicBezTo>
                <a:cubicBezTo>
                  <a:pt x="27" y="505"/>
                  <a:pt x="14" y="492"/>
                  <a:pt x="14" y="476"/>
                </a:cubicBezTo>
                <a:close/>
                <a:moveTo>
                  <a:pt x="552" y="190"/>
                </a:moveTo>
                <a:cubicBezTo>
                  <a:pt x="401" y="595"/>
                  <a:pt x="401" y="595"/>
                  <a:pt x="401" y="595"/>
                </a:cubicBezTo>
                <a:cubicBezTo>
                  <a:pt x="398" y="602"/>
                  <a:pt x="393" y="608"/>
                  <a:pt x="386" y="611"/>
                </a:cubicBezTo>
                <a:cubicBezTo>
                  <a:pt x="378" y="615"/>
                  <a:pt x="370" y="615"/>
                  <a:pt x="363" y="612"/>
                </a:cubicBezTo>
                <a:cubicBezTo>
                  <a:pt x="114" y="519"/>
                  <a:pt x="114" y="519"/>
                  <a:pt x="114" y="519"/>
                </a:cubicBezTo>
                <a:cubicBezTo>
                  <a:pt x="337" y="519"/>
                  <a:pt x="337" y="519"/>
                  <a:pt x="337" y="519"/>
                </a:cubicBezTo>
                <a:cubicBezTo>
                  <a:pt x="361" y="519"/>
                  <a:pt x="381" y="500"/>
                  <a:pt x="381" y="476"/>
                </a:cubicBezTo>
                <a:cubicBezTo>
                  <a:pt x="381" y="94"/>
                  <a:pt x="381" y="94"/>
                  <a:pt x="381" y="94"/>
                </a:cubicBezTo>
                <a:cubicBezTo>
                  <a:pt x="535" y="152"/>
                  <a:pt x="535" y="152"/>
                  <a:pt x="535" y="152"/>
                </a:cubicBezTo>
                <a:cubicBezTo>
                  <a:pt x="542" y="154"/>
                  <a:pt x="548" y="160"/>
                  <a:pt x="552" y="167"/>
                </a:cubicBezTo>
                <a:cubicBezTo>
                  <a:pt x="555" y="174"/>
                  <a:pt x="555" y="182"/>
                  <a:pt x="552" y="190"/>
                </a:cubicBezTo>
                <a:close/>
                <a:moveTo>
                  <a:pt x="467" y="181"/>
                </a:moveTo>
                <a:cubicBezTo>
                  <a:pt x="464" y="180"/>
                  <a:pt x="461" y="181"/>
                  <a:pt x="459" y="183"/>
                </a:cubicBezTo>
                <a:cubicBezTo>
                  <a:pt x="398" y="249"/>
                  <a:pt x="398" y="249"/>
                  <a:pt x="398" y="249"/>
                </a:cubicBezTo>
                <a:cubicBezTo>
                  <a:pt x="395" y="251"/>
                  <a:pt x="395" y="256"/>
                  <a:pt x="398" y="259"/>
                </a:cubicBezTo>
                <a:cubicBezTo>
                  <a:pt x="401" y="261"/>
                  <a:pt x="405" y="261"/>
                  <a:pt x="408" y="258"/>
                </a:cubicBezTo>
                <a:cubicBezTo>
                  <a:pt x="418" y="247"/>
                  <a:pt x="418" y="247"/>
                  <a:pt x="418" y="247"/>
                </a:cubicBezTo>
                <a:cubicBezTo>
                  <a:pt x="461" y="263"/>
                  <a:pt x="461" y="263"/>
                  <a:pt x="461" y="263"/>
                </a:cubicBezTo>
                <a:cubicBezTo>
                  <a:pt x="461" y="278"/>
                  <a:pt x="461" y="278"/>
                  <a:pt x="461" y="278"/>
                </a:cubicBezTo>
                <a:cubicBezTo>
                  <a:pt x="461" y="282"/>
                  <a:pt x="464" y="285"/>
                  <a:pt x="468" y="285"/>
                </a:cubicBezTo>
                <a:cubicBezTo>
                  <a:pt x="468" y="285"/>
                  <a:pt x="468" y="285"/>
                  <a:pt x="468" y="285"/>
                </a:cubicBezTo>
                <a:cubicBezTo>
                  <a:pt x="472" y="285"/>
                  <a:pt x="475" y="281"/>
                  <a:pt x="475" y="278"/>
                </a:cubicBezTo>
                <a:cubicBezTo>
                  <a:pt x="471" y="188"/>
                  <a:pt x="471" y="188"/>
                  <a:pt x="471" y="188"/>
                </a:cubicBezTo>
                <a:cubicBezTo>
                  <a:pt x="471" y="185"/>
                  <a:pt x="469" y="182"/>
                  <a:pt x="467" y="181"/>
                </a:cubicBezTo>
                <a:close/>
                <a:moveTo>
                  <a:pt x="429" y="236"/>
                </a:moveTo>
                <a:cubicBezTo>
                  <a:pt x="458" y="205"/>
                  <a:pt x="458" y="205"/>
                  <a:pt x="458" y="205"/>
                </a:cubicBezTo>
                <a:cubicBezTo>
                  <a:pt x="460" y="248"/>
                  <a:pt x="460" y="248"/>
                  <a:pt x="460" y="248"/>
                </a:cubicBezTo>
                <a:lnTo>
                  <a:pt x="429" y="236"/>
                </a:ln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endParaRPr lang="en-US" sz="1836"/>
          </a:p>
        </p:txBody>
      </p:sp>
    </p:spTree>
    <p:extLst>
      <p:ext uri="{BB962C8B-B14F-4D97-AF65-F5344CB8AC3E}">
        <p14:creationId xmlns:p14="http://schemas.microsoft.com/office/powerpoint/2010/main" val="2925544950"/>
      </p:ext>
    </p:extLst>
  </p:cSld>
  <p:clrMapOvr>
    <a:masterClrMapping/>
  </p:clrMapOvr>
  <p:transition>
    <p:fade/>
  </p:transition>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General</a:t>
            </a:r>
          </a:p>
        </p:txBody>
      </p:sp>
      <p:sp>
        <p:nvSpPr>
          <p:cNvPr id="8" name="Oval 9"/>
          <p:cNvSpPr>
            <a:spLocks noChangeArrowheads="1"/>
          </p:cNvSpPr>
          <p:nvPr/>
        </p:nvSpPr>
        <p:spPr bwMode="auto">
          <a:xfrm>
            <a:off x="8347593" y="3120088"/>
            <a:ext cx="1119124" cy="1119124"/>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6144" name="Freeform 77"/>
          <p:cNvSpPr>
            <a:spLocks noEditPoints="1"/>
          </p:cNvSpPr>
          <p:nvPr/>
        </p:nvSpPr>
        <p:spPr bwMode="auto">
          <a:xfrm>
            <a:off x="8677923" y="3353093"/>
            <a:ext cx="459641" cy="653117"/>
          </a:xfrm>
          <a:custGeom>
            <a:avLst/>
            <a:gdLst>
              <a:gd name="T0" fmla="*/ 218 w 437"/>
              <a:gd name="T1" fmla="*/ 620 h 620"/>
              <a:gd name="T2" fmla="*/ 0 w 437"/>
              <a:gd name="T3" fmla="*/ 401 h 620"/>
              <a:gd name="T4" fmla="*/ 190 w 437"/>
              <a:gd name="T5" fmla="*/ 13 h 620"/>
              <a:gd name="T6" fmla="*/ 218 w 437"/>
              <a:gd name="T7" fmla="*/ 0 h 620"/>
              <a:gd name="T8" fmla="*/ 247 w 437"/>
              <a:gd name="T9" fmla="*/ 13 h 620"/>
              <a:gd name="T10" fmla="*/ 437 w 437"/>
              <a:gd name="T11" fmla="*/ 401 h 620"/>
              <a:gd name="T12" fmla="*/ 218 w 437"/>
              <a:gd name="T13" fmla="*/ 620 h 620"/>
              <a:gd name="T14" fmla="*/ 218 w 437"/>
              <a:gd name="T15" fmla="*/ 14 h 620"/>
              <a:gd name="T16" fmla="*/ 201 w 437"/>
              <a:gd name="T17" fmla="*/ 22 h 620"/>
              <a:gd name="T18" fmla="*/ 104 w 437"/>
              <a:gd name="T19" fmla="*/ 154 h 620"/>
              <a:gd name="T20" fmla="*/ 14 w 437"/>
              <a:gd name="T21" fmla="*/ 401 h 620"/>
              <a:gd name="T22" fmla="*/ 218 w 437"/>
              <a:gd name="T23" fmla="*/ 606 h 620"/>
              <a:gd name="T24" fmla="*/ 423 w 437"/>
              <a:gd name="T25" fmla="*/ 401 h 620"/>
              <a:gd name="T26" fmla="*/ 236 w 437"/>
              <a:gd name="T27" fmla="*/ 22 h 620"/>
              <a:gd name="T28" fmla="*/ 218 w 437"/>
              <a:gd name="T29" fmla="*/ 14 h 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37" h="620">
                <a:moveTo>
                  <a:pt x="218" y="620"/>
                </a:moveTo>
                <a:cubicBezTo>
                  <a:pt x="98" y="620"/>
                  <a:pt x="0" y="522"/>
                  <a:pt x="0" y="401"/>
                </a:cubicBezTo>
                <a:cubicBezTo>
                  <a:pt x="0" y="232"/>
                  <a:pt x="182" y="22"/>
                  <a:pt x="190" y="13"/>
                </a:cubicBezTo>
                <a:cubicBezTo>
                  <a:pt x="197" y="5"/>
                  <a:pt x="208" y="0"/>
                  <a:pt x="218" y="0"/>
                </a:cubicBezTo>
                <a:cubicBezTo>
                  <a:pt x="229" y="0"/>
                  <a:pt x="240" y="5"/>
                  <a:pt x="247" y="13"/>
                </a:cubicBezTo>
                <a:cubicBezTo>
                  <a:pt x="255" y="22"/>
                  <a:pt x="437" y="233"/>
                  <a:pt x="437" y="401"/>
                </a:cubicBezTo>
                <a:cubicBezTo>
                  <a:pt x="437" y="522"/>
                  <a:pt x="339" y="620"/>
                  <a:pt x="218" y="620"/>
                </a:cubicBezTo>
                <a:close/>
                <a:moveTo>
                  <a:pt x="218" y="14"/>
                </a:moveTo>
                <a:cubicBezTo>
                  <a:pt x="212" y="14"/>
                  <a:pt x="205" y="17"/>
                  <a:pt x="201" y="22"/>
                </a:cubicBezTo>
                <a:cubicBezTo>
                  <a:pt x="199" y="25"/>
                  <a:pt x="151" y="80"/>
                  <a:pt x="104" y="154"/>
                </a:cubicBezTo>
                <a:cubicBezTo>
                  <a:pt x="45" y="249"/>
                  <a:pt x="14" y="335"/>
                  <a:pt x="14" y="401"/>
                </a:cubicBezTo>
                <a:cubicBezTo>
                  <a:pt x="14" y="514"/>
                  <a:pt x="106" y="606"/>
                  <a:pt x="218" y="606"/>
                </a:cubicBezTo>
                <a:cubicBezTo>
                  <a:pt x="331" y="606"/>
                  <a:pt x="423" y="514"/>
                  <a:pt x="423" y="401"/>
                </a:cubicBezTo>
                <a:cubicBezTo>
                  <a:pt x="423" y="238"/>
                  <a:pt x="244" y="31"/>
                  <a:pt x="236" y="22"/>
                </a:cubicBezTo>
                <a:cubicBezTo>
                  <a:pt x="232" y="17"/>
                  <a:pt x="225" y="14"/>
                  <a:pt x="218" y="14"/>
                </a:cubicBez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9278" name="Oval 75"/>
          <p:cNvSpPr>
            <a:spLocks noChangeArrowheads="1"/>
          </p:cNvSpPr>
          <p:nvPr/>
        </p:nvSpPr>
        <p:spPr bwMode="auto">
          <a:xfrm>
            <a:off x="3073678" y="3120088"/>
            <a:ext cx="1119124" cy="1119124"/>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6153" name="Freeform 83"/>
          <p:cNvSpPr>
            <a:spLocks noEditPoints="1"/>
          </p:cNvSpPr>
          <p:nvPr/>
        </p:nvSpPr>
        <p:spPr bwMode="auto">
          <a:xfrm>
            <a:off x="3346692" y="3323458"/>
            <a:ext cx="574272" cy="711208"/>
          </a:xfrm>
          <a:custGeom>
            <a:avLst/>
            <a:gdLst>
              <a:gd name="T0" fmla="*/ 404 w 546"/>
              <a:gd name="T1" fmla="*/ 203 h 676"/>
              <a:gd name="T2" fmla="*/ 302 w 546"/>
              <a:gd name="T3" fmla="*/ 11 h 676"/>
              <a:gd name="T4" fmla="*/ 290 w 546"/>
              <a:gd name="T5" fmla="*/ 3 h 676"/>
              <a:gd name="T6" fmla="*/ 218 w 546"/>
              <a:gd name="T7" fmla="*/ 221 h 676"/>
              <a:gd name="T8" fmla="*/ 189 w 546"/>
              <a:gd name="T9" fmla="*/ 294 h 676"/>
              <a:gd name="T10" fmla="*/ 157 w 546"/>
              <a:gd name="T11" fmla="*/ 257 h 676"/>
              <a:gd name="T12" fmla="*/ 146 w 546"/>
              <a:gd name="T13" fmla="*/ 250 h 676"/>
              <a:gd name="T14" fmla="*/ 0 w 546"/>
              <a:gd name="T15" fmla="*/ 457 h 676"/>
              <a:gd name="T16" fmla="*/ 227 w 546"/>
              <a:gd name="T17" fmla="*/ 676 h 676"/>
              <a:gd name="T18" fmla="*/ 234 w 546"/>
              <a:gd name="T19" fmla="*/ 669 h 676"/>
              <a:gd name="T20" fmla="*/ 225 w 546"/>
              <a:gd name="T21" fmla="*/ 661 h 676"/>
              <a:gd name="T22" fmla="*/ 145 w 546"/>
              <a:gd name="T23" fmla="*/ 577 h 676"/>
              <a:gd name="T24" fmla="*/ 181 w 546"/>
              <a:gd name="T25" fmla="*/ 504 h 676"/>
              <a:gd name="T26" fmla="*/ 223 w 546"/>
              <a:gd name="T27" fmla="*/ 385 h 676"/>
              <a:gd name="T28" fmla="*/ 315 w 546"/>
              <a:gd name="T29" fmla="*/ 272 h 676"/>
              <a:gd name="T30" fmla="*/ 309 w 546"/>
              <a:gd name="T31" fmla="*/ 407 h 676"/>
              <a:gd name="T32" fmla="*/ 336 w 546"/>
              <a:gd name="T33" fmla="*/ 520 h 676"/>
              <a:gd name="T34" fmla="*/ 385 w 546"/>
              <a:gd name="T35" fmla="*/ 471 h 676"/>
              <a:gd name="T36" fmla="*/ 346 w 546"/>
              <a:gd name="T37" fmla="*/ 662 h 676"/>
              <a:gd name="T38" fmla="*/ 352 w 546"/>
              <a:gd name="T39" fmla="*/ 674 h 676"/>
              <a:gd name="T40" fmla="*/ 408 w 546"/>
              <a:gd name="T41" fmla="*/ 207 h 676"/>
              <a:gd name="T42" fmla="*/ 432 w 546"/>
              <a:gd name="T43" fmla="*/ 552 h 676"/>
              <a:gd name="T44" fmla="*/ 379 w 546"/>
              <a:gd name="T45" fmla="*/ 449 h 676"/>
              <a:gd name="T46" fmla="*/ 372 w 546"/>
              <a:gd name="T47" fmla="*/ 457 h 676"/>
              <a:gd name="T48" fmla="*/ 336 w 546"/>
              <a:gd name="T49" fmla="*/ 506 h 676"/>
              <a:gd name="T50" fmla="*/ 320 w 546"/>
              <a:gd name="T51" fmla="*/ 415 h 676"/>
              <a:gd name="T52" fmla="*/ 315 w 546"/>
              <a:gd name="T53" fmla="*/ 251 h 676"/>
              <a:gd name="T54" fmla="*/ 304 w 546"/>
              <a:gd name="T55" fmla="*/ 256 h 676"/>
              <a:gd name="T56" fmla="*/ 215 w 546"/>
              <a:gd name="T57" fmla="*/ 374 h 676"/>
              <a:gd name="T58" fmla="*/ 168 w 546"/>
              <a:gd name="T59" fmla="*/ 509 h 676"/>
              <a:gd name="T60" fmla="*/ 145 w 546"/>
              <a:gd name="T61" fmla="*/ 563 h 676"/>
              <a:gd name="T62" fmla="*/ 117 w 546"/>
              <a:gd name="T63" fmla="*/ 555 h 676"/>
              <a:gd name="T64" fmla="*/ 158 w 546"/>
              <a:gd name="T65" fmla="*/ 637 h 676"/>
              <a:gd name="T66" fmla="*/ 139 w 546"/>
              <a:gd name="T67" fmla="*/ 271 h 676"/>
              <a:gd name="T68" fmla="*/ 150 w 546"/>
              <a:gd name="T69" fmla="*/ 289 h 676"/>
              <a:gd name="T70" fmla="*/ 239 w 546"/>
              <a:gd name="T71" fmla="*/ 257 h 676"/>
              <a:gd name="T72" fmla="*/ 220 w 546"/>
              <a:gd name="T73" fmla="*/ 146 h 676"/>
              <a:gd name="T74" fmla="*/ 376 w 546"/>
              <a:gd name="T75" fmla="*/ 195 h 676"/>
              <a:gd name="T76" fmla="*/ 398 w 546"/>
              <a:gd name="T77" fmla="*/ 217 h 676"/>
              <a:gd name="T78" fmla="*/ 397 w 546"/>
              <a:gd name="T79" fmla="*/ 639 h 6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46" h="676">
                <a:moveTo>
                  <a:pt x="408" y="207"/>
                </a:moveTo>
                <a:cubicBezTo>
                  <a:pt x="404" y="203"/>
                  <a:pt x="404" y="203"/>
                  <a:pt x="404" y="203"/>
                </a:cubicBezTo>
                <a:cubicBezTo>
                  <a:pt x="398" y="198"/>
                  <a:pt x="392" y="191"/>
                  <a:pt x="386" y="185"/>
                </a:cubicBezTo>
                <a:cubicBezTo>
                  <a:pt x="334" y="134"/>
                  <a:pt x="275" y="76"/>
                  <a:pt x="302" y="11"/>
                </a:cubicBezTo>
                <a:cubicBezTo>
                  <a:pt x="303" y="7"/>
                  <a:pt x="302" y="4"/>
                  <a:pt x="299" y="2"/>
                </a:cubicBezTo>
                <a:cubicBezTo>
                  <a:pt x="296" y="0"/>
                  <a:pt x="293" y="0"/>
                  <a:pt x="290" y="3"/>
                </a:cubicBezTo>
                <a:cubicBezTo>
                  <a:pt x="237" y="50"/>
                  <a:pt x="206" y="89"/>
                  <a:pt x="206" y="146"/>
                </a:cubicBezTo>
                <a:cubicBezTo>
                  <a:pt x="206" y="176"/>
                  <a:pt x="213" y="201"/>
                  <a:pt x="218" y="221"/>
                </a:cubicBezTo>
                <a:cubicBezTo>
                  <a:pt x="222" y="235"/>
                  <a:pt x="225" y="247"/>
                  <a:pt x="225" y="257"/>
                </a:cubicBezTo>
                <a:cubicBezTo>
                  <a:pt x="225" y="277"/>
                  <a:pt x="208" y="294"/>
                  <a:pt x="189" y="294"/>
                </a:cubicBezTo>
                <a:cubicBezTo>
                  <a:pt x="179" y="294"/>
                  <a:pt x="168" y="289"/>
                  <a:pt x="161" y="281"/>
                </a:cubicBezTo>
                <a:cubicBezTo>
                  <a:pt x="156" y="274"/>
                  <a:pt x="154" y="266"/>
                  <a:pt x="157" y="257"/>
                </a:cubicBezTo>
                <a:cubicBezTo>
                  <a:pt x="157" y="255"/>
                  <a:pt x="156" y="252"/>
                  <a:pt x="154" y="250"/>
                </a:cubicBezTo>
                <a:cubicBezTo>
                  <a:pt x="152" y="248"/>
                  <a:pt x="148" y="248"/>
                  <a:pt x="146" y="250"/>
                </a:cubicBezTo>
                <a:cubicBezTo>
                  <a:pt x="141" y="253"/>
                  <a:pt x="136" y="256"/>
                  <a:pt x="132" y="259"/>
                </a:cubicBezTo>
                <a:cubicBezTo>
                  <a:pt x="73" y="297"/>
                  <a:pt x="0" y="344"/>
                  <a:pt x="0" y="457"/>
                </a:cubicBezTo>
                <a:cubicBezTo>
                  <a:pt x="0" y="599"/>
                  <a:pt x="157" y="658"/>
                  <a:pt x="225" y="676"/>
                </a:cubicBezTo>
                <a:cubicBezTo>
                  <a:pt x="226" y="676"/>
                  <a:pt x="226" y="676"/>
                  <a:pt x="227" y="676"/>
                </a:cubicBezTo>
                <a:cubicBezTo>
                  <a:pt x="227" y="676"/>
                  <a:pt x="227" y="676"/>
                  <a:pt x="227" y="676"/>
                </a:cubicBezTo>
                <a:cubicBezTo>
                  <a:pt x="231" y="676"/>
                  <a:pt x="234" y="673"/>
                  <a:pt x="234" y="669"/>
                </a:cubicBezTo>
                <a:cubicBezTo>
                  <a:pt x="234" y="667"/>
                  <a:pt x="232" y="664"/>
                  <a:pt x="230" y="663"/>
                </a:cubicBezTo>
                <a:cubicBezTo>
                  <a:pt x="225" y="661"/>
                  <a:pt x="225" y="661"/>
                  <a:pt x="225" y="661"/>
                </a:cubicBezTo>
                <a:cubicBezTo>
                  <a:pt x="170" y="631"/>
                  <a:pt x="141" y="616"/>
                  <a:pt x="130" y="575"/>
                </a:cubicBezTo>
                <a:cubicBezTo>
                  <a:pt x="135" y="576"/>
                  <a:pt x="140" y="577"/>
                  <a:pt x="145" y="577"/>
                </a:cubicBezTo>
                <a:cubicBezTo>
                  <a:pt x="154" y="577"/>
                  <a:pt x="167" y="574"/>
                  <a:pt x="178" y="560"/>
                </a:cubicBezTo>
                <a:cubicBezTo>
                  <a:pt x="195" y="539"/>
                  <a:pt x="188" y="522"/>
                  <a:pt x="181" y="504"/>
                </a:cubicBezTo>
                <a:cubicBezTo>
                  <a:pt x="176" y="491"/>
                  <a:pt x="171" y="476"/>
                  <a:pt x="171" y="455"/>
                </a:cubicBezTo>
                <a:cubicBezTo>
                  <a:pt x="171" y="427"/>
                  <a:pt x="194" y="408"/>
                  <a:pt x="223" y="385"/>
                </a:cubicBezTo>
                <a:cubicBezTo>
                  <a:pt x="238" y="373"/>
                  <a:pt x="253" y="361"/>
                  <a:pt x="267" y="346"/>
                </a:cubicBezTo>
                <a:cubicBezTo>
                  <a:pt x="299" y="313"/>
                  <a:pt x="310" y="290"/>
                  <a:pt x="315" y="272"/>
                </a:cubicBezTo>
                <a:cubicBezTo>
                  <a:pt x="324" y="285"/>
                  <a:pt x="339" y="311"/>
                  <a:pt x="339" y="340"/>
                </a:cubicBezTo>
                <a:cubicBezTo>
                  <a:pt x="339" y="367"/>
                  <a:pt x="324" y="387"/>
                  <a:pt x="309" y="407"/>
                </a:cubicBezTo>
                <a:cubicBezTo>
                  <a:pt x="295" y="426"/>
                  <a:pt x="282" y="444"/>
                  <a:pt x="282" y="467"/>
                </a:cubicBezTo>
                <a:cubicBezTo>
                  <a:pt x="282" y="501"/>
                  <a:pt x="301" y="520"/>
                  <a:pt x="336" y="520"/>
                </a:cubicBezTo>
                <a:cubicBezTo>
                  <a:pt x="348" y="520"/>
                  <a:pt x="360" y="515"/>
                  <a:pt x="369" y="505"/>
                </a:cubicBezTo>
                <a:cubicBezTo>
                  <a:pt x="378" y="496"/>
                  <a:pt x="383" y="484"/>
                  <a:pt x="385" y="471"/>
                </a:cubicBezTo>
                <a:cubicBezTo>
                  <a:pt x="398" y="486"/>
                  <a:pt x="418" y="520"/>
                  <a:pt x="418" y="552"/>
                </a:cubicBezTo>
                <a:cubicBezTo>
                  <a:pt x="418" y="609"/>
                  <a:pt x="386" y="634"/>
                  <a:pt x="346" y="662"/>
                </a:cubicBezTo>
                <a:cubicBezTo>
                  <a:pt x="343" y="664"/>
                  <a:pt x="342" y="668"/>
                  <a:pt x="343" y="671"/>
                </a:cubicBezTo>
                <a:cubicBezTo>
                  <a:pt x="345" y="674"/>
                  <a:pt x="349" y="675"/>
                  <a:pt x="352" y="674"/>
                </a:cubicBezTo>
                <a:cubicBezTo>
                  <a:pt x="486" y="621"/>
                  <a:pt x="546" y="555"/>
                  <a:pt x="546" y="459"/>
                </a:cubicBezTo>
                <a:cubicBezTo>
                  <a:pt x="546" y="348"/>
                  <a:pt x="476" y="276"/>
                  <a:pt x="408" y="207"/>
                </a:cubicBezTo>
                <a:close/>
                <a:moveTo>
                  <a:pt x="397" y="639"/>
                </a:moveTo>
                <a:cubicBezTo>
                  <a:pt x="417" y="618"/>
                  <a:pt x="432" y="591"/>
                  <a:pt x="432" y="552"/>
                </a:cubicBezTo>
                <a:cubicBezTo>
                  <a:pt x="432" y="508"/>
                  <a:pt x="398" y="457"/>
                  <a:pt x="382" y="450"/>
                </a:cubicBezTo>
                <a:cubicBezTo>
                  <a:pt x="381" y="449"/>
                  <a:pt x="380" y="449"/>
                  <a:pt x="379" y="449"/>
                </a:cubicBezTo>
                <a:cubicBezTo>
                  <a:pt x="378" y="449"/>
                  <a:pt x="376" y="450"/>
                  <a:pt x="375" y="450"/>
                </a:cubicBezTo>
                <a:cubicBezTo>
                  <a:pt x="373" y="452"/>
                  <a:pt x="372" y="454"/>
                  <a:pt x="372" y="457"/>
                </a:cubicBezTo>
                <a:cubicBezTo>
                  <a:pt x="373" y="471"/>
                  <a:pt x="368" y="486"/>
                  <a:pt x="359" y="495"/>
                </a:cubicBezTo>
                <a:cubicBezTo>
                  <a:pt x="354" y="500"/>
                  <a:pt x="346" y="506"/>
                  <a:pt x="336" y="506"/>
                </a:cubicBezTo>
                <a:cubicBezTo>
                  <a:pt x="309" y="506"/>
                  <a:pt x="296" y="494"/>
                  <a:pt x="296" y="467"/>
                </a:cubicBezTo>
                <a:cubicBezTo>
                  <a:pt x="296" y="449"/>
                  <a:pt x="308" y="433"/>
                  <a:pt x="320" y="415"/>
                </a:cubicBezTo>
                <a:cubicBezTo>
                  <a:pt x="336" y="395"/>
                  <a:pt x="353" y="371"/>
                  <a:pt x="353" y="340"/>
                </a:cubicBezTo>
                <a:cubicBezTo>
                  <a:pt x="353" y="296"/>
                  <a:pt x="324" y="257"/>
                  <a:pt x="315" y="251"/>
                </a:cubicBezTo>
                <a:cubicBezTo>
                  <a:pt x="313" y="250"/>
                  <a:pt x="310" y="249"/>
                  <a:pt x="308" y="250"/>
                </a:cubicBezTo>
                <a:cubicBezTo>
                  <a:pt x="306" y="251"/>
                  <a:pt x="304" y="253"/>
                  <a:pt x="304" y="256"/>
                </a:cubicBezTo>
                <a:cubicBezTo>
                  <a:pt x="301" y="274"/>
                  <a:pt x="294" y="297"/>
                  <a:pt x="256" y="337"/>
                </a:cubicBezTo>
                <a:cubicBezTo>
                  <a:pt x="243" y="351"/>
                  <a:pt x="229" y="362"/>
                  <a:pt x="215" y="374"/>
                </a:cubicBezTo>
                <a:cubicBezTo>
                  <a:pt x="185" y="398"/>
                  <a:pt x="157" y="420"/>
                  <a:pt x="157" y="455"/>
                </a:cubicBezTo>
                <a:cubicBezTo>
                  <a:pt x="157" y="479"/>
                  <a:pt x="163" y="496"/>
                  <a:pt x="168" y="509"/>
                </a:cubicBezTo>
                <a:cubicBezTo>
                  <a:pt x="175" y="527"/>
                  <a:pt x="179" y="537"/>
                  <a:pt x="167" y="552"/>
                </a:cubicBezTo>
                <a:cubicBezTo>
                  <a:pt x="161" y="560"/>
                  <a:pt x="154" y="563"/>
                  <a:pt x="145" y="563"/>
                </a:cubicBezTo>
                <a:cubicBezTo>
                  <a:pt x="136" y="563"/>
                  <a:pt x="128" y="558"/>
                  <a:pt x="125" y="556"/>
                </a:cubicBezTo>
                <a:cubicBezTo>
                  <a:pt x="123" y="554"/>
                  <a:pt x="120" y="553"/>
                  <a:pt x="117" y="555"/>
                </a:cubicBezTo>
                <a:cubicBezTo>
                  <a:pt x="114" y="556"/>
                  <a:pt x="113" y="559"/>
                  <a:pt x="113" y="562"/>
                </a:cubicBezTo>
                <a:cubicBezTo>
                  <a:pt x="119" y="598"/>
                  <a:pt x="134" y="619"/>
                  <a:pt x="158" y="637"/>
                </a:cubicBezTo>
                <a:cubicBezTo>
                  <a:pt x="90" y="607"/>
                  <a:pt x="14" y="552"/>
                  <a:pt x="14" y="457"/>
                </a:cubicBezTo>
                <a:cubicBezTo>
                  <a:pt x="14" y="352"/>
                  <a:pt x="83" y="307"/>
                  <a:pt x="139" y="271"/>
                </a:cubicBezTo>
                <a:cubicBezTo>
                  <a:pt x="140" y="270"/>
                  <a:pt x="141" y="270"/>
                  <a:pt x="142" y="269"/>
                </a:cubicBezTo>
                <a:cubicBezTo>
                  <a:pt x="143" y="276"/>
                  <a:pt x="146" y="283"/>
                  <a:pt x="150" y="289"/>
                </a:cubicBezTo>
                <a:cubicBezTo>
                  <a:pt x="159" y="301"/>
                  <a:pt x="175" y="308"/>
                  <a:pt x="189" y="308"/>
                </a:cubicBezTo>
                <a:cubicBezTo>
                  <a:pt x="216" y="308"/>
                  <a:pt x="239" y="284"/>
                  <a:pt x="239" y="257"/>
                </a:cubicBezTo>
                <a:cubicBezTo>
                  <a:pt x="239" y="245"/>
                  <a:pt x="236" y="232"/>
                  <a:pt x="232" y="218"/>
                </a:cubicBezTo>
                <a:cubicBezTo>
                  <a:pt x="226" y="197"/>
                  <a:pt x="220" y="175"/>
                  <a:pt x="220" y="146"/>
                </a:cubicBezTo>
                <a:cubicBezTo>
                  <a:pt x="220" y="105"/>
                  <a:pt x="237" y="73"/>
                  <a:pt x="282" y="30"/>
                </a:cubicBezTo>
                <a:cubicBezTo>
                  <a:pt x="273" y="93"/>
                  <a:pt x="329" y="149"/>
                  <a:pt x="376" y="195"/>
                </a:cubicBezTo>
                <a:cubicBezTo>
                  <a:pt x="382" y="201"/>
                  <a:pt x="388" y="207"/>
                  <a:pt x="394" y="213"/>
                </a:cubicBezTo>
                <a:cubicBezTo>
                  <a:pt x="398" y="217"/>
                  <a:pt x="398" y="217"/>
                  <a:pt x="398" y="217"/>
                </a:cubicBezTo>
                <a:cubicBezTo>
                  <a:pt x="467" y="287"/>
                  <a:pt x="532" y="353"/>
                  <a:pt x="532" y="459"/>
                </a:cubicBezTo>
                <a:cubicBezTo>
                  <a:pt x="532" y="537"/>
                  <a:pt x="491" y="592"/>
                  <a:pt x="397" y="639"/>
                </a:cubicBez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10" name="Oval 11"/>
          <p:cNvSpPr>
            <a:spLocks noChangeArrowheads="1"/>
          </p:cNvSpPr>
          <p:nvPr/>
        </p:nvSpPr>
        <p:spPr bwMode="auto">
          <a:xfrm>
            <a:off x="4831649" y="4711628"/>
            <a:ext cx="1119124" cy="1119124"/>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6154" name="Freeform 84"/>
          <p:cNvSpPr>
            <a:spLocks noEditPoints="1"/>
          </p:cNvSpPr>
          <p:nvPr/>
        </p:nvSpPr>
        <p:spPr bwMode="auto">
          <a:xfrm>
            <a:off x="5307747" y="4892854"/>
            <a:ext cx="165753" cy="756673"/>
          </a:xfrm>
          <a:custGeom>
            <a:avLst/>
            <a:gdLst>
              <a:gd name="T0" fmla="*/ 117 w 158"/>
              <a:gd name="T1" fmla="*/ 61 h 718"/>
              <a:gd name="T2" fmla="*/ 117 w 158"/>
              <a:gd name="T3" fmla="*/ 23 h 718"/>
              <a:gd name="T4" fmla="*/ 95 w 158"/>
              <a:gd name="T5" fmla="*/ 0 h 718"/>
              <a:gd name="T6" fmla="*/ 64 w 158"/>
              <a:gd name="T7" fmla="*/ 0 h 718"/>
              <a:gd name="T8" fmla="*/ 41 w 158"/>
              <a:gd name="T9" fmla="*/ 23 h 718"/>
              <a:gd name="T10" fmla="*/ 41 w 158"/>
              <a:gd name="T11" fmla="*/ 61 h 718"/>
              <a:gd name="T12" fmla="*/ 0 w 158"/>
              <a:gd name="T13" fmla="*/ 104 h 718"/>
              <a:gd name="T14" fmla="*/ 0 w 158"/>
              <a:gd name="T15" fmla="*/ 604 h 718"/>
              <a:gd name="T16" fmla="*/ 1 w 158"/>
              <a:gd name="T17" fmla="*/ 607 h 718"/>
              <a:gd name="T18" fmla="*/ 73 w 158"/>
              <a:gd name="T19" fmla="*/ 715 h 718"/>
              <a:gd name="T20" fmla="*/ 79 w 158"/>
              <a:gd name="T21" fmla="*/ 718 h 718"/>
              <a:gd name="T22" fmla="*/ 85 w 158"/>
              <a:gd name="T23" fmla="*/ 715 h 718"/>
              <a:gd name="T24" fmla="*/ 157 w 158"/>
              <a:gd name="T25" fmla="*/ 607 h 718"/>
              <a:gd name="T26" fmla="*/ 158 w 158"/>
              <a:gd name="T27" fmla="*/ 604 h 718"/>
              <a:gd name="T28" fmla="*/ 158 w 158"/>
              <a:gd name="T29" fmla="*/ 104 h 718"/>
              <a:gd name="T30" fmla="*/ 117 w 158"/>
              <a:gd name="T31" fmla="*/ 61 h 718"/>
              <a:gd name="T32" fmla="*/ 55 w 158"/>
              <a:gd name="T33" fmla="*/ 23 h 718"/>
              <a:gd name="T34" fmla="*/ 64 w 158"/>
              <a:gd name="T35" fmla="*/ 14 h 718"/>
              <a:gd name="T36" fmla="*/ 95 w 158"/>
              <a:gd name="T37" fmla="*/ 14 h 718"/>
              <a:gd name="T38" fmla="*/ 103 w 158"/>
              <a:gd name="T39" fmla="*/ 23 h 718"/>
              <a:gd name="T40" fmla="*/ 103 w 158"/>
              <a:gd name="T41" fmla="*/ 339 h 718"/>
              <a:gd name="T42" fmla="*/ 95 w 158"/>
              <a:gd name="T43" fmla="*/ 348 h 718"/>
              <a:gd name="T44" fmla="*/ 64 w 158"/>
              <a:gd name="T45" fmla="*/ 348 h 718"/>
              <a:gd name="T46" fmla="*/ 55 w 158"/>
              <a:gd name="T47" fmla="*/ 339 h 718"/>
              <a:gd name="T48" fmla="*/ 55 w 158"/>
              <a:gd name="T49" fmla="*/ 23 h 718"/>
              <a:gd name="T50" fmla="*/ 144 w 158"/>
              <a:gd name="T51" fmla="*/ 601 h 718"/>
              <a:gd name="T52" fmla="*/ 79 w 158"/>
              <a:gd name="T53" fmla="*/ 698 h 718"/>
              <a:gd name="T54" fmla="*/ 14 w 158"/>
              <a:gd name="T55" fmla="*/ 601 h 718"/>
              <a:gd name="T56" fmla="*/ 14 w 158"/>
              <a:gd name="T57" fmla="*/ 104 h 718"/>
              <a:gd name="T58" fmla="*/ 41 w 158"/>
              <a:gd name="T59" fmla="*/ 75 h 718"/>
              <a:gd name="T60" fmla="*/ 41 w 158"/>
              <a:gd name="T61" fmla="*/ 339 h 718"/>
              <a:gd name="T62" fmla="*/ 64 w 158"/>
              <a:gd name="T63" fmla="*/ 362 h 718"/>
              <a:gd name="T64" fmla="*/ 95 w 158"/>
              <a:gd name="T65" fmla="*/ 362 h 718"/>
              <a:gd name="T66" fmla="*/ 117 w 158"/>
              <a:gd name="T67" fmla="*/ 339 h 718"/>
              <a:gd name="T68" fmla="*/ 117 w 158"/>
              <a:gd name="T69" fmla="*/ 75 h 718"/>
              <a:gd name="T70" fmla="*/ 144 w 158"/>
              <a:gd name="T71" fmla="*/ 104 h 718"/>
              <a:gd name="T72" fmla="*/ 144 w 158"/>
              <a:gd name="T73" fmla="*/ 601 h 7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58" h="718">
                <a:moveTo>
                  <a:pt x="117" y="61"/>
                </a:moveTo>
                <a:cubicBezTo>
                  <a:pt x="117" y="23"/>
                  <a:pt x="117" y="23"/>
                  <a:pt x="117" y="23"/>
                </a:cubicBezTo>
                <a:cubicBezTo>
                  <a:pt x="117" y="10"/>
                  <a:pt x="107" y="0"/>
                  <a:pt x="95" y="0"/>
                </a:cubicBezTo>
                <a:cubicBezTo>
                  <a:pt x="64" y="0"/>
                  <a:pt x="64" y="0"/>
                  <a:pt x="64" y="0"/>
                </a:cubicBezTo>
                <a:cubicBezTo>
                  <a:pt x="51" y="0"/>
                  <a:pt x="41" y="10"/>
                  <a:pt x="41" y="23"/>
                </a:cubicBezTo>
                <a:cubicBezTo>
                  <a:pt x="41" y="61"/>
                  <a:pt x="41" y="61"/>
                  <a:pt x="41" y="61"/>
                </a:cubicBezTo>
                <a:cubicBezTo>
                  <a:pt x="18" y="62"/>
                  <a:pt x="0" y="81"/>
                  <a:pt x="0" y="104"/>
                </a:cubicBezTo>
                <a:cubicBezTo>
                  <a:pt x="0" y="604"/>
                  <a:pt x="0" y="604"/>
                  <a:pt x="0" y="604"/>
                </a:cubicBezTo>
                <a:cubicBezTo>
                  <a:pt x="0" y="605"/>
                  <a:pt x="0" y="606"/>
                  <a:pt x="1" y="607"/>
                </a:cubicBezTo>
                <a:cubicBezTo>
                  <a:pt x="73" y="715"/>
                  <a:pt x="73" y="715"/>
                  <a:pt x="73" y="715"/>
                </a:cubicBezTo>
                <a:cubicBezTo>
                  <a:pt x="75" y="717"/>
                  <a:pt x="77" y="718"/>
                  <a:pt x="79" y="718"/>
                </a:cubicBezTo>
                <a:cubicBezTo>
                  <a:pt x="81" y="718"/>
                  <a:pt x="84" y="717"/>
                  <a:pt x="85" y="715"/>
                </a:cubicBezTo>
                <a:cubicBezTo>
                  <a:pt x="157" y="607"/>
                  <a:pt x="157" y="607"/>
                  <a:pt x="157" y="607"/>
                </a:cubicBezTo>
                <a:cubicBezTo>
                  <a:pt x="158" y="606"/>
                  <a:pt x="158" y="605"/>
                  <a:pt x="158" y="604"/>
                </a:cubicBezTo>
                <a:cubicBezTo>
                  <a:pt x="158" y="104"/>
                  <a:pt x="158" y="104"/>
                  <a:pt x="158" y="104"/>
                </a:cubicBezTo>
                <a:cubicBezTo>
                  <a:pt x="158" y="81"/>
                  <a:pt x="140" y="62"/>
                  <a:pt x="117" y="61"/>
                </a:cubicBezTo>
                <a:close/>
                <a:moveTo>
                  <a:pt x="55" y="23"/>
                </a:moveTo>
                <a:cubicBezTo>
                  <a:pt x="55" y="18"/>
                  <a:pt x="59" y="14"/>
                  <a:pt x="64" y="14"/>
                </a:cubicBezTo>
                <a:cubicBezTo>
                  <a:pt x="95" y="14"/>
                  <a:pt x="95" y="14"/>
                  <a:pt x="95" y="14"/>
                </a:cubicBezTo>
                <a:cubicBezTo>
                  <a:pt x="99" y="14"/>
                  <a:pt x="103" y="18"/>
                  <a:pt x="103" y="23"/>
                </a:cubicBezTo>
                <a:cubicBezTo>
                  <a:pt x="103" y="339"/>
                  <a:pt x="103" y="339"/>
                  <a:pt x="103" y="339"/>
                </a:cubicBezTo>
                <a:cubicBezTo>
                  <a:pt x="103" y="344"/>
                  <a:pt x="99" y="348"/>
                  <a:pt x="95" y="348"/>
                </a:cubicBezTo>
                <a:cubicBezTo>
                  <a:pt x="64" y="348"/>
                  <a:pt x="64" y="348"/>
                  <a:pt x="64" y="348"/>
                </a:cubicBezTo>
                <a:cubicBezTo>
                  <a:pt x="59" y="348"/>
                  <a:pt x="55" y="344"/>
                  <a:pt x="55" y="339"/>
                </a:cubicBezTo>
                <a:lnTo>
                  <a:pt x="55" y="23"/>
                </a:lnTo>
                <a:close/>
                <a:moveTo>
                  <a:pt x="144" y="601"/>
                </a:moveTo>
                <a:cubicBezTo>
                  <a:pt x="79" y="698"/>
                  <a:pt x="79" y="698"/>
                  <a:pt x="79" y="698"/>
                </a:cubicBezTo>
                <a:cubicBezTo>
                  <a:pt x="14" y="601"/>
                  <a:pt x="14" y="601"/>
                  <a:pt x="14" y="601"/>
                </a:cubicBezTo>
                <a:cubicBezTo>
                  <a:pt x="14" y="104"/>
                  <a:pt x="14" y="104"/>
                  <a:pt x="14" y="104"/>
                </a:cubicBezTo>
                <a:cubicBezTo>
                  <a:pt x="14" y="88"/>
                  <a:pt x="26" y="76"/>
                  <a:pt x="41" y="75"/>
                </a:cubicBezTo>
                <a:cubicBezTo>
                  <a:pt x="41" y="339"/>
                  <a:pt x="41" y="339"/>
                  <a:pt x="41" y="339"/>
                </a:cubicBezTo>
                <a:cubicBezTo>
                  <a:pt x="41" y="352"/>
                  <a:pt x="51" y="362"/>
                  <a:pt x="64" y="362"/>
                </a:cubicBezTo>
                <a:cubicBezTo>
                  <a:pt x="95" y="362"/>
                  <a:pt x="95" y="362"/>
                  <a:pt x="95" y="362"/>
                </a:cubicBezTo>
                <a:cubicBezTo>
                  <a:pt x="107" y="362"/>
                  <a:pt x="117" y="352"/>
                  <a:pt x="117" y="339"/>
                </a:cubicBezTo>
                <a:cubicBezTo>
                  <a:pt x="117" y="75"/>
                  <a:pt x="117" y="75"/>
                  <a:pt x="117" y="75"/>
                </a:cubicBezTo>
                <a:cubicBezTo>
                  <a:pt x="132" y="76"/>
                  <a:pt x="144" y="88"/>
                  <a:pt x="144" y="104"/>
                </a:cubicBezTo>
                <a:lnTo>
                  <a:pt x="144" y="601"/>
                </a:ln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5" name="Oval 6"/>
          <p:cNvSpPr>
            <a:spLocks noChangeArrowheads="1"/>
          </p:cNvSpPr>
          <p:nvPr/>
        </p:nvSpPr>
        <p:spPr bwMode="auto">
          <a:xfrm>
            <a:off x="3073678" y="4711628"/>
            <a:ext cx="1119124" cy="1119124"/>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6155" name="Freeform 85"/>
          <p:cNvSpPr>
            <a:spLocks noEditPoints="1"/>
          </p:cNvSpPr>
          <p:nvPr/>
        </p:nvSpPr>
        <p:spPr bwMode="auto">
          <a:xfrm>
            <a:off x="3409062" y="4924625"/>
            <a:ext cx="449532" cy="693127"/>
          </a:xfrm>
          <a:custGeom>
            <a:avLst/>
            <a:gdLst>
              <a:gd name="T0" fmla="*/ 151 w 426"/>
              <a:gd name="T1" fmla="*/ 519 h 658"/>
              <a:gd name="T2" fmla="*/ 110 w 426"/>
              <a:gd name="T3" fmla="*/ 0 h 658"/>
              <a:gd name="T4" fmla="*/ 0 w 426"/>
              <a:gd name="T5" fmla="*/ 41 h 658"/>
              <a:gd name="T6" fmla="*/ 0 w 426"/>
              <a:gd name="T7" fmla="*/ 519 h 658"/>
              <a:gd name="T8" fmla="*/ 0 w 426"/>
              <a:gd name="T9" fmla="*/ 520 h 658"/>
              <a:gd name="T10" fmla="*/ 0 w 426"/>
              <a:gd name="T11" fmla="*/ 521 h 658"/>
              <a:gd name="T12" fmla="*/ 0 w 426"/>
              <a:gd name="T13" fmla="*/ 523 h 658"/>
              <a:gd name="T14" fmla="*/ 75 w 426"/>
              <a:gd name="T15" fmla="*/ 658 h 658"/>
              <a:gd name="T16" fmla="*/ 150 w 426"/>
              <a:gd name="T17" fmla="*/ 523 h 658"/>
              <a:gd name="T18" fmla="*/ 150 w 426"/>
              <a:gd name="T19" fmla="*/ 522 h 658"/>
              <a:gd name="T20" fmla="*/ 151 w 426"/>
              <a:gd name="T21" fmla="*/ 521 h 658"/>
              <a:gd name="T22" fmla="*/ 93 w 426"/>
              <a:gd name="T23" fmla="*/ 603 h 658"/>
              <a:gd name="T24" fmla="*/ 20 w 426"/>
              <a:gd name="T25" fmla="*/ 531 h 658"/>
              <a:gd name="T26" fmla="*/ 49 w 426"/>
              <a:gd name="T27" fmla="*/ 531 h 658"/>
              <a:gd name="T28" fmla="*/ 53 w 426"/>
              <a:gd name="T29" fmla="*/ 530 h 658"/>
              <a:gd name="T30" fmla="*/ 134 w 426"/>
              <a:gd name="T31" fmla="*/ 523 h 658"/>
              <a:gd name="T32" fmla="*/ 137 w 426"/>
              <a:gd name="T33" fmla="*/ 158 h 658"/>
              <a:gd name="T34" fmla="*/ 14 w 426"/>
              <a:gd name="T35" fmla="*/ 100 h 658"/>
              <a:gd name="T36" fmla="*/ 137 w 426"/>
              <a:gd name="T37" fmla="*/ 158 h 658"/>
              <a:gd name="T38" fmla="*/ 57 w 426"/>
              <a:gd name="T39" fmla="*/ 515 h 658"/>
              <a:gd name="T40" fmla="*/ 94 w 426"/>
              <a:gd name="T41" fmla="*/ 172 h 658"/>
              <a:gd name="T42" fmla="*/ 71 w 426"/>
              <a:gd name="T43" fmla="*/ 512 h 658"/>
              <a:gd name="T44" fmla="*/ 14 w 426"/>
              <a:gd name="T45" fmla="*/ 172 h 658"/>
              <a:gd name="T46" fmla="*/ 43 w 426"/>
              <a:gd name="T47" fmla="*/ 517 h 658"/>
              <a:gd name="T48" fmla="*/ 108 w 426"/>
              <a:gd name="T49" fmla="*/ 506 h 658"/>
              <a:gd name="T50" fmla="*/ 137 w 426"/>
              <a:gd name="T51" fmla="*/ 172 h 658"/>
              <a:gd name="T52" fmla="*/ 108 w 426"/>
              <a:gd name="T53" fmla="*/ 506 h 658"/>
              <a:gd name="T54" fmla="*/ 110 w 426"/>
              <a:gd name="T55" fmla="*/ 14 h 658"/>
              <a:gd name="T56" fmla="*/ 137 w 426"/>
              <a:gd name="T57" fmla="*/ 86 h 658"/>
              <a:gd name="T58" fmla="*/ 14 w 426"/>
              <a:gd name="T59" fmla="*/ 41 h 658"/>
              <a:gd name="T60" fmla="*/ 65 w 426"/>
              <a:gd name="T61" fmla="*/ 617 h 658"/>
              <a:gd name="T62" fmla="*/ 75 w 426"/>
              <a:gd name="T63" fmla="*/ 636 h 658"/>
              <a:gd name="T64" fmla="*/ 419 w 426"/>
              <a:gd name="T65" fmla="*/ 0 h 658"/>
              <a:gd name="T66" fmla="*/ 236 w 426"/>
              <a:gd name="T67" fmla="*/ 7 h 658"/>
              <a:gd name="T68" fmla="*/ 243 w 426"/>
              <a:gd name="T69" fmla="*/ 658 h 658"/>
              <a:gd name="T70" fmla="*/ 426 w 426"/>
              <a:gd name="T71" fmla="*/ 651 h 658"/>
              <a:gd name="T72" fmla="*/ 419 w 426"/>
              <a:gd name="T73" fmla="*/ 0 h 658"/>
              <a:gd name="T74" fmla="*/ 250 w 426"/>
              <a:gd name="T75" fmla="*/ 14 h 658"/>
              <a:gd name="T76" fmla="*/ 412 w 426"/>
              <a:gd name="T77" fmla="*/ 67 h 658"/>
              <a:gd name="T78" fmla="*/ 345 w 426"/>
              <a:gd name="T79" fmla="*/ 74 h 658"/>
              <a:gd name="T80" fmla="*/ 412 w 426"/>
              <a:gd name="T81" fmla="*/ 81 h 658"/>
              <a:gd name="T82" fmla="*/ 331 w 426"/>
              <a:gd name="T83" fmla="*/ 139 h 658"/>
              <a:gd name="T84" fmla="*/ 331 w 426"/>
              <a:gd name="T85" fmla="*/ 153 h 658"/>
              <a:gd name="T86" fmla="*/ 412 w 426"/>
              <a:gd name="T87" fmla="*/ 212 h 658"/>
              <a:gd name="T88" fmla="*/ 345 w 426"/>
              <a:gd name="T89" fmla="*/ 219 h 658"/>
              <a:gd name="T90" fmla="*/ 412 w 426"/>
              <a:gd name="T91" fmla="*/ 226 h 658"/>
              <a:gd name="T92" fmla="*/ 331 w 426"/>
              <a:gd name="T93" fmla="*/ 285 h 658"/>
              <a:gd name="T94" fmla="*/ 331 w 426"/>
              <a:gd name="T95" fmla="*/ 299 h 658"/>
              <a:gd name="T96" fmla="*/ 412 w 426"/>
              <a:gd name="T97" fmla="*/ 357 h 658"/>
              <a:gd name="T98" fmla="*/ 345 w 426"/>
              <a:gd name="T99" fmla="*/ 364 h 658"/>
              <a:gd name="T100" fmla="*/ 412 w 426"/>
              <a:gd name="T101" fmla="*/ 371 h 658"/>
              <a:gd name="T102" fmla="*/ 331 w 426"/>
              <a:gd name="T103" fmla="*/ 430 h 658"/>
              <a:gd name="T104" fmla="*/ 331 w 426"/>
              <a:gd name="T105" fmla="*/ 444 h 658"/>
              <a:gd name="T106" fmla="*/ 412 w 426"/>
              <a:gd name="T107" fmla="*/ 502 h 658"/>
              <a:gd name="T108" fmla="*/ 345 w 426"/>
              <a:gd name="T109" fmla="*/ 509 h 658"/>
              <a:gd name="T110" fmla="*/ 412 w 426"/>
              <a:gd name="T111" fmla="*/ 516 h 658"/>
              <a:gd name="T112" fmla="*/ 331 w 426"/>
              <a:gd name="T113" fmla="*/ 575 h 658"/>
              <a:gd name="T114" fmla="*/ 331 w 426"/>
              <a:gd name="T115" fmla="*/ 589 h 658"/>
              <a:gd name="T116" fmla="*/ 412 w 426"/>
              <a:gd name="T117" fmla="*/ 644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26" h="658">
                <a:moveTo>
                  <a:pt x="151" y="519"/>
                </a:moveTo>
                <a:cubicBezTo>
                  <a:pt x="151" y="519"/>
                  <a:pt x="151" y="519"/>
                  <a:pt x="151" y="519"/>
                </a:cubicBezTo>
                <a:cubicBezTo>
                  <a:pt x="151" y="41"/>
                  <a:pt x="151" y="41"/>
                  <a:pt x="151" y="41"/>
                </a:cubicBezTo>
                <a:cubicBezTo>
                  <a:pt x="151" y="19"/>
                  <a:pt x="132" y="0"/>
                  <a:pt x="110" y="0"/>
                </a:cubicBezTo>
                <a:cubicBezTo>
                  <a:pt x="41" y="0"/>
                  <a:pt x="41" y="0"/>
                  <a:pt x="41" y="0"/>
                </a:cubicBezTo>
                <a:cubicBezTo>
                  <a:pt x="18" y="0"/>
                  <a:pt x="0" y="19"/>
                  <a:pt x="0" y="41"/>
                </a:cubicBezTo>
                <a:cubicBezTo>
                  <a:pt x="0" y="519"/>
                  <a:pt x="0" y="519"/>
                  <a:pt x="0" y="519"/>
                </a:cubicBezTo>
                <a:cubicBezTo>
                  <a:pt x="0" y="519"/>
                  <a:pt x="0" y="519"/>
                  <a:pt x="0" y="519"/>
                </a:cubicBezTo>
                <a:cubicBezTo>
                  <a:pt x="0" y="519"/>
                  <a:pt x="0" y="519"/>
                  <a:pt x="0" y="519"/>
                </a:cubicBezTo>
                <a:cubicBezTo>
                  <a:pt x="0" y="519"/>
                  <a:pt x="0" y="520"/>
                  <a:pt x="0" y="520"/>
                </a:cubicBezTo>
                <a:cubicBezTo>
                  <a:pt x="0" y="520"/>
                  <a:pt x="0" y="520"/>
                  <a:pt x="0" y="521"/>
                </a:cubicBezTo>
                <a:cubicBezTo>
                  <a:pt x="0" y="521"/>
                  <a:pt x="0" y="521"/>
                  <a:pt x="0" y="521"/>
                </a:cubicBezTo>
                <a:cubicBezTo>
                  <a:pt x="0" y="522"/>
                  <a:pt x="0" y="522"/>
                  <a:pt x="0" y="522"/>
                </a:cubicBezTo>
                <a:cubicBezTo>
                  <a:pt x="0" y="522"/>
                  <a:pt x="0" y="523"/>
                  <a:pt x="0" y="523"/>
                </a:cubicBezTo>
                <a:cubicBezTo>
                  <a:pt x="69" y="654"/>
                  <a:pt x="69" y="654"/>
                  <a:pt x="69" y="654"/>
                </a:cubicBezTo>
                <a:cubicBezTo>
                  <a:pt x="70" y="657"/>
                  <a:pt x="73" y="658"/>
                  <a:pt x="75" y="658"/>
                </a:cubicBezTo>
                <a:cubicBezTo>
                  <a:pt x="78" y="658"/>
                  <a:pt x="80" y="657"/>
                  <a:pt x="81" y="654"/>
                </a:cubicBezTo>
                <a:cubicBezTo>
                  <a:pt x="150" y="523"/>
                  <a:pt x="150" y="523"/>
                  <a:pt x="150" y="523"/>
                </a:cubicBezTo>
                <a:cubicBezTo>
                  <a:pt x="150" y="523"/>
                  <a:pt x="150" y="523"/>
                  <a:pt x="150" y="522"/>
                </a:cubicBezTo>
                <a:cubicBezTo>
                  <a:pt x="150" y="522"/>
                  <a:pt x="150" y="522"/>
                  <a:pt x="150" y="522"/>
                </a:cubicBezTo>
                <a:cubicBezTo>
                  <a:pt x="151" y="522"/>
                  <a:pt x="151" y="522"/>
                  <a:pt x="151" y="521"/>
                </a:cubicBezTo>
                <a:cubicBezTo>
                  <a:pt x="151" y="521"/>
                  <a:pt x="151" y="521"/>
                  <a:pt x="151" y="521"/>
                </a:cubicBezTo>
                <a:cubicBezTo>
                  <a:pt x="151" y="520"/>
                  <a:pt x="151" y="520"/>
                  <a:pt x="151" y="519"/>
                </a:cubicBezTo>
                <a:close/>
                <a:moveTo>
                  <a:pt x="93" y="603"/>
                </a:moveTo>
                <a:cubicBezTo>
                  <a:pt x="58" y="603"/>
                  <a:pt x="58" y="603"/>
                  <a:pt x="58" y="603"/>
                </a:cubicBezTo>
                <a:cubicBezTo>
                  <a:pt x="20" y="531"/>
                  <a:pt x="20" y="531"/>
                  <a:pt x="20" y="531"/>
                </a:cubicBezTo>
                <a:cubicBezTo>
                  <a:pt x="25" y="531"/>
                  <a:pt x="29" y="532"/>
                  <a:pt x="34" y="532"/>
                </a:cubicBezTo>
                <a:cubicBezTo>
                  <a:pt x="39" y="532"/>
                  <a:pt x="44" y="531"/>
                  <a:pt x="49" y="531"/>
                </a:cubicBezTo>
                <a:cubicBezTo>
                  <a:pt x="49" y="531"/>
                  <a:pt x="50" y="531"/>
                  <a:pt x="50" y="531"/>
                </a:cubicBezTo>
                <a:cubicBezTo>
                  <a:pt x="51" y="531"/>
                  <a:pt x="53" y="530"/>
                  <a:pt x="53" y="530"/>
                </a:cubicBezTo>
                <a:cubicBezTo>
                  <a:pt x="60" y="529"/>
                  <a:pt x="67" y="527"/>
                  <a:pt x="74" y="526"/>
                </a:cubicBezTo>
                <a:cubicBezTo>
                  <a:pt x="94" y="521"/>
                  <a:pt x="114" y="517"/>
                  <a:pt x="134" y="523"/>
                </a:cubicBezTo>
                <a:lnTo>
                  <a:pt x="93" y="603"/>
                </a:lnTo>
                <a:close/>
                <a:moveTo>
                  <a:pt x="137" y="158"/>
                </a:moveTo>
                <a:cubicBezTo>
                  <a:pt x="14" y="158"/>
                  <a:pt x="14" y="158"/>
                  <a:pt x="14" y="158"/>
                </a:cubicBezTo>
                <a:cubicBezTo>
                  <a:pt x="14" y="100"/>
                  <a:pt x="14" y="100"/>
                  <a:pt x="14" y="100"/>
                </a:cubicBezTo>
                <a:cubicBezTo>
                  <a:pt x="137" y="100"/>
                  <a:pt x="137" y="100"/>
                  <a:pt x="137" y="100"/>
                </a:cubicBezTo>
                <a:lnTo>
                  <a:pt x="137" y="158"/>
                </a:lnTo>
                <a:close/>
                <a:moveTo>
                  <a:pt x="71" y="512"/>
                </a:moveTo>
                <a:cubicBezTo>
                  <a:pt x="66" y="513"/>
                  <a:pt x="62" y="514"/>
                  <a:pt x="57" y="515"/>
                </a:cubicBezTo>
                <a:cubicBezTo>
                  <a:pt x="57" y="172"/>
                  <a:pt x="57" y="172"/>
                  <a:pt x="57" y="172"/>
                </a:cubicBezTo>
                <a:cubicBezTo>
                  <a:pt x="94" y="172"/>
                  <a:pt x="94" y="172"/>
                  <a:pt x="94" y="172"/>
                </a:cubicBezTo>
                <a:cubicBezTo>
                  <a:pt x="94" y="508"/>
                  <a:pt x="94" y="508"/>
                  <a:pt x="94" y="508"/>
                </a:cubicBezTo>
                <a:cubicBezTo>
                  <a:pt x="86" y="509"/>
                  <a:pt x="78" y="511"/>
                  <a:pt x="71" y="512"/>
                </a:cubicBezTo>
                <a:close/>
                <a:moveTo>
                  <a:pt x="14" y="515"/>
                </a:moveTo>
                <a:cubicBezTo>
                  <a:pt x="14" y="172"/>
                  <a:pt x="14" y="172"/>
                  <a:pt x="14" y="172"/>
                </a:cubicBezTo>
                <a:cubicBezTo>
                  <a:pt x="43" y="172"/>
                  <a:pt x="43" y="172"/>
                  <a:pt x="43" y="172"/>
                </a:cubicBezTo>
                <a:cubicBezTo>
                  <a:pt x="43" y="517"/>
                  <a:pt x="43" y="517"/>
                  <a:pt x="43" y="517"/>
                </a:cubicBezTo>
                <a:cubicBezTo>
                  <a:pt x="33" y="518"/>
                  <a:pt x="23" y="518"/>
                  <a:pt x="14" y="515"/>
                </a:cubicBezTo>
                <a:close/>
                <a:moveTo>
                  <a:pt x="108" y="506"/>
                </a:moveTo>
                <a:cubicBezTo>
                  <a:pt x="108" y="172"/>
                  <a:pt x="108" y="172"/>
                  <a:pt x="108" y="172"/>
                </a:cubicBezTo>
                <a:cubicBezTo>
                  <a:pt x="137" y="172"/>
                  <a:pt x="137" y="172"/>
                  <a:pt x="137" y="172"/>
                </a:cubicBezTo>
                <a:cubicBezTo>
                  <a:pt x="137" y="510"/>
                  <a:pt x="137" y="510"/>
                  <a:pt x="137" y="510"/>
                </a:cubicBezTo>
                <a:cubicBezTo>
                  <a:pt x="127" y="507"/>
                  <a:pt x="117" y="506"/>
                  <a:pt x="108" y="506"/>
                </a:cubicBezTo>
                <a:close/>
                <a:moveTo>
                  <a:pt x="41" y="14"/>
                </a:moveTo>
                <a:cubicBezTo>
                  <a:pt x="110" y="14"/>
                  <a:pt x="110" y="14"/>
                  <a:pt x="110" y="14"/>
                </a:cubicBezTo>
                <a:cubicBezTo>
                  <a:pt x="125" y="14"/>
                  <a:pt x="137" y="26"/>
                  <a:pt x="137" y="41"/>
                </a:cubicBezTo>
                <a:cubicBezTo>
                  <a:pt x="137" y="86"/>
                  <a:pt x="137" y="86"/>
                  <a:pt x="137" y="86"/>
                </a:cubicBezTo>
                <a:cubicBezTo>
                  <a:pt x="14" y="86"/>
                  <a:pt x="14" y="86"/>
                  <a:pt x="14" y="86"/>
                </a:cubicBezTo>
                <a:cubicBezTo>
                  <a:pt x="14" y="41"/>
                  <a:pt x="14" y="41"/>
                  <a:pt x="14" y="41"/>
                </a:cubicBezTo>
                <a:cubicBezTo>
                  <a:pt x="14" y="26"/>
                  <a:pt x="26" y="14"/>
                  <a:pt x="41" y="14"/>
                </a:cubicBezTo>
                <a:close/>
                <a:moveTo>
                  <a:pt x="65" y="617"/>
                </a:moveTo>
                <a:cubicBezTo>
                  <a:pt x="85" y="617"/>
                  <a:pt x="85" y="617"/>
                  <a:pt x="85" y="617"/>
                </a:cubicBezTo>
                <a:cubicBezTo>
                  <a:pt x="75" y="636"/>
                  <a:pt x="75" y="636"/>
                  <a:pt x="75" y="636"/>
                </a:cubicBezTo>
                <a:lnTo>
                  <a:pt x="65" y="617"/>
                </a:lnTo>
                <a:close/>
                <a:moveTo>
                  <a:pt x="419" y="0"/>
                </a:moveTo>
                <a:cubicBezTo>
                  <a:pt x="243" y="0"/>
                  <a:pt x="243" y="0"/>
                  <a:pt x="243" y="0"/>
                </a:cubicBezTo>
                <a:cubicBezTo>
                  <a:pt x="239" y="0"/>
                  <a:pt x="236" y="3"/>
                  <a:pt x="236" y="7"/>
                </a:cubicBezTo>
                <a:cubicBezTo>
                  <a:pt x="236" y="651"/>
                  <a:pt x="236" y="651"/>
                  <a:pt x="236" y="651"/>
                </a:cubicBezTo>
                <a:cubicBezTo>
                  <a:pt x="236" y="655"/>
                  <a:pt x="239" y="658"/>
                  <a:pt x="243" y="658"/>
                </a:cubicBezTo>
                <a:cubicBezTo>
                  <a:pt x="419" y="658"/>
                  <a:pt x="419" y="658"/>
                  <a:pt x="419" y="658"/>
                </a:cubicBezTo>
                <a:cubicBezTo>
                  <a:pt x="423" y="658"/>
                  <a:pt x="426" y="655"/>
                  <a:pt x="426" y="651"/>
                </a:cubicBezTo>
                <a:cubicBezTo>
                  <a:pt x="426" y="7"/>
                  <a:pt x="426" y="7"/>
                  <a:pt x="426" y="7"/>
                </a:cubicBezTo>
                <a:cubicBezTo>
                  <a:pt x="426" y="3"/>
                  <a:pt x="423" y="0"/>
                  <a:pt x="419" y="0"/>
                </a:cubicBezTo>
                <a:close/>
                <a:moveTo>
                  <a:pt x="250" y="644"/>
                </a:moveTo>
                <a:cubicBezTo>
                  <a:pt x="250" y="14"/>
                  <a:pt x="250" y="14"/>
                  <a:pt x="250" y="14"/>
                </a:cubicBezTo>
                <a:cubicBezTo>
                  <a:pt x="412" y="14"/>
                  <a:pt x="412" y="14"/>
                  <a:pt x="412" y="14"/>
                </a:cubicBezTo>
                <a:cubicBezTo>
                  <a:pt x="412" y="67"/>
                  <a:pt x="412" y="67"/>
                  <a:pt x="412" y="67"/>
                </a:cubicBezTo>
                <a:cubicBezTo>
                  <a:pt x="352" y="67"/>
                  <a:pt x="352" y="67"/>
                  <a:pt x="352" y="67"/>
                </a:cubicBezTo>
                <a:cubicBezTo>
                  <a:pt x="348" y="67"/>
                  <a:pt x="345" y="70"/>
                  <a:pt x="345" y="74"/>
                </a:cubicBezTo>
                <a:cubicBezTo>
                  <a:pt x="345" y="78"/>
                  <a:pt x="348" y="81"/>
                  <a:pt x="352" y="81"/>
                </a:cubicBezTo>
                <a:cubicBezTo>
                  <a:pt x="412" y="81"/>
                  <a:pt x="412" y="81"/>
                  <a:pt x="412" y="81"/>
                </a:cubicBezTo>
                <a:cubicBezTo>
                  <a:pt x="412" y="139"/>
                  <a:pt x="412" y="139"/>
                  <a:pt x="412" y="139"/>
                </a:cubicBezTo>
                <a:cubicBezTo>
                  <a:pt x="331" y="139"/>
                  <a:pt x="331" y="139"/>
                  <a:pt x="331" y="139"/>
                </a:cubicBezTo>
                <a:cubicBezTo>
                  <a:pt x="327" y="139"/>
                  <a:pt x="324" y="143"/>
                  <a:pt x="324" y="146"/>
                </a:cubicBezTo>
                <a:cubicBezTo>
                  <a:pt x="324" y="150"/>
                  <a:pt x="327" y="153"/>
                  <a:pt x="331" y="153"/>
                </a:cubicBezTo>
                <a:cubicBezTo>
                  <a:pt x="412" y="153"/>
                  <a:pt x="412" y="153"/>
                  <a:pt x="412" y="153"/>
                </a:cubicBezTo>
                <a:cubicBezTo>
                  <a:pt x="412" y="212"/>
                  <a:pt x="412" y="212"/>
                  <a:pt x="412" y="212"/>
                </a:cubicBezTo>
                <a:cubicBezTo>
                  <a:pt x="352" y="212"/>
                  <a:pt x="352" y="212"/>
                  <a:pt x="352" y="212"/>
                </a:cubicBezTo>
                <a:cubicBezTo>
                  <a:pt x="348" y="212"/>
                  <a:pt x="345" y="215"/>
                  <a:pt x="345" y="219"/>
                </a:cubicBezTo>
                <a:cubicBezTo>
                  <a:pt x="345" y="223"/>
                  <a:pt x="348" y="226"/>
                  <a:pt x="352" y="226"/>
                </a:cubicBezTo>
                <a:cubicBezTo>
                  <a:pt x="412" y="226"/>
                  <a:pt x="412" y="226"/>
                  <a:pt x="412" y="226"/>
                </a:cubicBezTo>
                <a:cubicBezTo>
                  <a:pt x="412" y="285"/>
                  <a:pt x="412" y="285"/>
                  <a:pt x="412" y="285"/>
                </a:cubicBezTo>
                <a:cubicBezTo>
                  <a:pt x="331" y="285"/>
                  <a:pt x="331" y="285"/>
                  <a:pt x="331" y="285"/>
                </a:cubicBezTo>
                <a:cubicBezTo>
                  <a:pt x="327" y="285"/>
                  <a:pt x="324" y="288"/>
                  <a:pt x="324" y="292"/>
                </a:cubicBezTo>
                <a:cubicBezTo>
                  <a:pt x="324" y="295"/>
                  <a:pt x="327" y="299"/>
                  <a:pt x="331" y="299"/>
                </a:cubicBezTo>
                <a:cubicBezTo>
                  <a:pt x="412" y="299"/>
                  <a:pt x="412" y="299"/>
                  <a:pt x="412" y="299"/>
                </a:cubicBezTo>
                <a:cubicBezTo>
                  <a:pt x="412" y="357"/>
                  <a:pt x="412" y="357"/>
                  <a:pt x="412" y="357"/>
                </a:cubicBezTo>
                <a:cubicBezTo>
                  <a:pt x="352" y="357"/>
                  <a:pt x="352" y="357"/>
                  <a:pt x="352" y="357"/>
                </a:cubicBezTo>
                <a:cubicBezTo>
                  <a:pt x="348" y="357"/>
                  <a:pt x="345" y="360"/>
                  <a:pt x="345" y="364"/>
                </a:cubicBezTo>
                <a:cubicBezTo>
                  <a:pt x="345" y="368"/>
                  <a:pt x="348" y="371"/>
                  <a:pt x="352" y="371"/>
                </a:cubicBezTo>
                <a:cubicBezTo>
                  <a:pt x="412" y="371"/>
                  <a:pt x="412" y="371"/>
                  <a:pt x="412" y="371"/>
                </a:cubicBezTo>
                <a:cubicBezTo>
                  <a:pt x="412" y="430"/>
                  <a:pt x="412" y="430"/>
                  <a:pt x="412" y="430"/>
                </a:cubicBezTo>
                <a:cubicBezTo>
                  <a:pt x="331" y="430"/>
                  <a:pt x="331" y="430"/>
                  <a:pt x="331" y="430"/>
                </a:cubicBezTo>
                <a:cubicBezTo>
                  <a:pt x="327" y="430"/>
                  <a:pt x="324" y="433"/>
                  <a:pt x="324" y="437"/>
                </a:cubicBezTo>
                <a:cubicBezTo>
                  <a:pt x="324" y="441"/>
                  <a:pt x="327" y="444"/>
                  <a:pt x="331" y="444"/>
                </a:cubicBezTo>
                <a:cubicBezTo>
                  <a:pt x="412" y="444"/>
                  <a:pt x="412" y="444"/>
                  <a:pt x="412" y="444"/>
                </a:cubicBezTo>
                <a:cubicBezTo>
                  <a:pt x="412" y="502"/>
                  <a:pt x="412" y="502"/>
                  <a:pt x="412" y="502"/>
                </a:cubicBezTo>
                <a:cubicBezTo>
                  <a:pt x="352" y="502"/>
                  <a:pt x="352" y="502"/>
                  <a:pt x="352" y="502"/>
                </a:cubicBezTo>
                <a:cubicBezTo>
                  <a:pt x="348" y="502"/>
                  <a:pt x="345" y="505"/>
                  <a:pt x="345" y="509"/>
                </a:cubicBezTo>
                <a:cubicBezTo>
                  <a:pt x="345" y="513"/>
                  <a:pt x="348" y="516"/>
                  <a:pt x="352" y="516"/>
                </a:cubicBezTo>
                <a:cubicBezTo>
                  <a:pt x="412" y="516"/>
                  <a:pt x="412" y="516"/>
                  <a:pt x="412" y="516"/>
                </a:cubicBezTo>
                <a:cubicBezTo>
                  <a:pt x="412" y="575"/>
                  <a:pt x="412" y="575"/>
                  <a:pt x="412" y="575"/>
                </a:cubicBezTo>
                <a:cubicBezTo>
                  <a:pt x="331" y="575"/>
                  <a:pt x="331" y="575"/>
                  <a:pt x="331" y="575"/>
                </a:cubicBezTo>
                <a:cubicBezTo>
                  <a:pt x="327" y="575"/>
                  <a:pt x="324" y="578"/>
                  <a:pt x="324" y="582"/>
                </a:cubicBezTo>
                <a:cubicBezTo>
                  <a:pt x="324" y="586"/>
                  <a:pt x="327" y="589"/>
                  <a:pt x="331" y="589"/>
                </a:cubicBezTo>
                <a:cubicBezTo>
                  <a:pt x="412" y="589"/>
                  <a:pt x="412" y="589"/>
                  <a:pt x="412" y="589"/>
                </a:cubicBezTo>
                <a:cubicBezTo>
                  <a:pt x="412" y="644"/>
                  <a:pt x="412" y="644"/>
                  <a:pt x="412" y="644"/>
                </a:cubicBezTo>
                <a:lnTo>
                  <a:pt x="250" y="644"/>
                </a:ln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12" name="Oval 13"/>
          <p:cNvSpPr>
            <a:spLocks noChangeArrowheads="1"/>
          </p:cNvSpPr>
          <p:nvPr/>
        </p:nvSpPr>
        <p:spPr bwMode="auto">
          <a:xfrm>
            <a:off x="4831649" y="3120088"/>
            <a:ext cx="1119124" cy="1119124"/>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6164" name="Freeform 86"/>
          <p:cNvSpPr>
            <a:spLocks noEditPoints="1"/>
          </p:cNvSpPr>
          <p:nvPr/>
        </p:nvSpPr>
        <p:spPr bwMode="auto">
          <a:xfrm>
            <a:off x="5092896" y="3343678"/>
            <a:ext cx="598984" cy="670768"/>
          </a:xfrm>
          <a:custGeom>
            <a:avLst/>
            <a:gdLst>
              <a:gd name="T0" fmla="*/ 559 w 569"/>
              <a:gd name="T1" fmla="*/ 10 h 637"/>
              <a:gd name="T2" fmla="*/ 467 w 569"/>
              <a:gd name="T3" fmla="*/ 51 h 637"/>
              <a:gd name="T4" fmla="*/ 306 w 569"/>
              <a:gd name="T5" fmla="*/ 194 h 637"/>
              <a:gd name="T6" fmla="*/ 122 w 569"/>
              <a:gd name="T7" fmla="*/ 391 h 637"/>
              <a:gd name="T8" fmla="*/ 70 w 569"/>
              <a:gd name="T9" fmla="*/ 408 h 637"/>
              <a:gd name="T10" fmla="*/ 29 w 569"/>
              <a:gd name="T11" fmla="*/ 579 h 637"/>
              <a:gd name="T12" fmla="*/ 35 w 569"/>
              <a:gd name="T13" fmla="*/ 583 h 637"/>
              <a:gd name="T14" fmla="*/ 36 w 569"/>
              <a:gd name="T15" fmla="*/ 583 h 637"/>
              <a:gd name="T16" fmla="*/ 42 w 569"/>
              <a:gd name="T17" fmla="*/ 578 h 637"/>
              <a:gd name="T18" fmla="*/ 104 w 569"/>
              <a:gd name="T19" fmla="*/ 525 h 637"/>
              <a:gd name="T20" fmla="*/ 158 w 569"/>
              <a:gd name="T21" fmla="*/ 497 h 637"/>
              <a:gd name="T22" fmla="*/ 177 w 569"/>
              <a:gd name="T23" fmla="*/ 449 h 637"/>
              <a:gd name="T24" fmla="*/ 177 w 569"/>
              <a:gd name="T25" fmla="*/ 448 h 637"/>
              <a:gd name="T26" fmla="*/ 375 w 569"/>
              <a:gd name="T27" fmla="*/ 264 h 637"/>
              <a:gd name="T28" fmla="*/ 518 w 569"/>
              <a:gd name="T29" fmla="*/ 103 h 637"/>
              <a:gd name="T30" fmla="*/ 559 w 569"/>
              <a:gd name="T31" fmla="*/ 10 h 637"/>
              <a:gd name="T32" fmla="*/ 172 w 569"/>
              <a:gd name="T33" fmla="*/ 435 h 637"/>
              <a:gd name="T34" fmla="*/ 167 w 569"/>
              <a:gd name="T35" fmla="*/ 434 h 637"/>
              <a:gd name="T36" fmla="*/ 162 w 569"/>
              <a:gd name="T37" fmla="*/ 443 h 637"/>
              <a:gd name="T38" fmla="*/ 148 w 569"/>
              <a:gd name="T39" fmla="*/ 487 h 637"/>
              <a:gd name="T40" fmla="*/ 100 w 569"/>
              <a:gd name="T41" fmla="*/ 512 h 637"/>
              <a:gd name="T42" fmla="*/ 35 w 569"/>
              <a:gd name="T43" fmla="*/ 557 h 637"/>
              <a:gd name="T44" fmla="*/ 80 w 569"/>
              <a:gd name="T45" fmla="*/ 418 h 637"/>
              <a:gd name="T46" fmla="*/ 127 w 569"/>
              <a:gd name="T47" fmla="*/ 406 h 637"/>
              <a:gd name="T48" fmla="*/ 135 w 569"/>
              <a:gd name="T49" fmla="*/ 401 h 637"/>
              <a:gd name="T50" fmla="*/ 135 w 569"/>
              <a:gd name="T51" fmla="*/ 397 h 637"/>
              <a:gd name="T52" fmla="*/ 192 w 569"/>
              <a:gd name="T53" fmla="*/ 333 h 637"/>
              <a:gd name="T54" fmla="*/ 236 w 569"/>
              <a:gd name="T55" fmla="*/ 377 h 637"/>
              <a:gd name="T56" fmla="*/ 172 w 569"/>
              <a:gd name="T57" fmla="*/ 435 h 637"/>
              <a:gd name="T58" fmla="*/ 365 w 569"/>
              <a:gd name="T59" fmla="*/ 254 h 637"/>
              <a:gd name="T60" fmla="*/ 246 w 569"/>
              <a:gd name="T61" fmla="*/ 368 h 637"/>
              <a:gd name="T62" fmla="*/ 201 w 569"/>
              <a:gd name="T63" fmla="*/ 323 h 637"/>
              <a:gd name="T64" fmla="*/ 316 w 569"/>
              <a:gd name="T65" fmla="*/ 204 h 637"/>
              <a:gd name="T66" fmla="*/ 549 w 569"/>
              <a:gd name="T67" fmla="*/ 20 h 637"/>
              <a:gd name="T68" fmla="*/ 365 w 569"/>
              <a:gd name="T69" fmla="*/ 254 h 637"/>
              <a:gd name="T70" fmla="*/ 451 w 569"/>
              <a:gd name="T71" fmla="*/ 605 h 637"/>
              <a:gd name="T72" fmla="*/ 451 w 569"/>
              <a:gd name="T73" fmla="*/ 615 h 637"/>
              <a:gd name="T74" fmla="*/ 441 w 569"/>
              <a:gd name="T75" fmla="*/ 615 h 637"/>
              <a:gd name="T76" fmla="*/ 247 w 569"/>
              <a:gd name="T77" fmla="*/ 609 h 637"/>
              <a:gd name="T78" fmla="*/ 129 w 569"/>
              <a:gd name="T79" fmla="*/ 632 h 637"/>
              <a:gd name="T80" fmla="*/ 45 w 569"/>
              <a:gd name="T81" fmla="*/ 600 h 637"/>
              <a:gd name="T82" fmla="*/ 45 w 569"/>
              <a:gd name="T83" fmla="*/ 590 h 637"/>
              <a:gd name="T84" fmla="*/ 55 w 569"/>
              <a:gd name="T85" fmla="*/ 590 h 637"/>
              <a:gd name="T86" fmla="*/ 243 w 569"/>
              <a:gd name="T87" fmla="*/ 595 h 637"/>
              <a:gd name="T88" fmla="*/ 451 w 569"/>
              <a:gd name="T89" fmla="*/ 605 h 6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69" h="637">
                <a:moveTo>
                  <a:pt x="559" y="10"/>
                </a:moveTo>
                <a:cubicBezTo>
                  <a:pt x="552" y="2"/>
                  <a:pt x="534" y="0"/>
                  <a:pt x="467" y="51"/>
                </a:cubicBezTo>
                <a:cubicBezTo>
                  <a:pt x="420" y="86"/>
                  <a:pt x="363" y="137"/>
                  <a:pt x="306" y="194"/>
                </a:cubicBezTo>
                <a:cubicBezTo>
                  <a:pt x="260" y="240"/>
                  <a:pt x="158" y="347"/>
                  <a:pt x="122" y="391"/>
                </a:cubicBezTo>
                <a:cubicBezTo>
                  <a:pt x="103" y="388"/>
                  <a:pt x="84" y="394"/>
                  <a:pt x="70" y="408"/>
                </a:cubicBezTo>
                <a:cubicBezTo>
                  <a:pt x="28" y="450"/>
                  <a:pt x="0" y="522"/>
                  <a:pt x="29" y="579"/>
                </a:cubicBezTo>
                <a:cubicBezTo>
                  <a:pt x="30" y="582"/>
                  <a:pt x="32" y="583"/>
                  <a:pt x="35" y="583"/>
                </a:cubicBezTo>
                <a:cubicBezTo>
                  <a:pt x="35" y="583"/>
                  <a:pt x="35" y="583"/>
                  <a:pt x="36" y="583"/>
                </a:cubicBezTo>
                <a:cubicBezTo>
                  <a:pt x="38" y="583"/>
                  <a:pt x="41" y="581"/>
                  <a:pt x="42" y="578"/>
                </a:cubicBezTo>
                <a:cubicBezTo>
                  <a:pt x="53" y="542"/>
                  <a:pt x="77" y="534"/>
                  <a:pt x="104" y="525"/>
                </a:cubicBezTo>
                <a:cubicBezTo>
                  <a:pt x="123" y="519"/>
                  <a:pt x="142" y="513"/>
                  <a:pt x="158" y="497"/>
                </a:cubicBezTo>
                <a:cubicBezTo>
                  <a:pt x="171" y="484"/>
                  <a:pt x="178" y="467"/>
                  <a:pt x="177" y="449"/>
                </a:cubicBezTo>
                <a:cubicBezTo>
                  <a:pt x="177" y="449"/>
                  <a:pt x="177" y="449"/>
                  <a:pt x="177" y="448"/>
                </a:cubicBezTo>
                <a:cubicBezTo>
                  <a:pt x="220" y="414"/>
                  <a:pt x="329" y="310"/>
                  <a:pt x="375" y="264"/>
                </a:cubicBezTo>
                <a:cubicBezTo>
                  <a:pt x="432" y="206"/>
                  <a:pt x="483" y="149"/>
                  <a:pt x="518" y="103"/>
                </a:cubicBezTo>
                <a:cubicBezTo>
                  <a:pt x="569" y="35"/>
                  <a:pt x="567" y="18"/>
                  <a:pt x="559" y="10"/>
                </a:cubicBezTo>
                <a:close/>
                <a:moveTo>
                  <a:pt x="172" y="435"/>
                </a:moveTo>
                <a:cubicBezTo>
                  <a:pt x="170" y="434"/>
                  <a:pt x="169" y="434"/>
                  <a:pt x="167" y="434"/>
                </a:cubicBezTo>
                <a:cubicBezTo>
                  <a:pt x="163" y="435"/>
                  <a:pt x="161" y="439"/>
                  <a:pt x="162" y="443"/>
                </a:cubicBezTo>
                <a:cubicBezTo>
                  <a:pt x="165" y="459"/>
                  <a:pt x="160" y="476"/>
                  <a:pt x="148" y="487"/>
                </a:cubicBezTo>
                <a:cubicBezTo>
                  <a:pt x="135" y="501"/>
                  <a:pt x="118" y="506"/>
                  <a:pt x="100" y="512"/>
                </a:cubicBezTo>
                <a:cubicBezTo>
                  <a:pt x="76" y="520"/>
                  <a:pt x="51" y="528"/>
                  <a:pt x="35" y="557"/>
                </a:cubicBezTo>
                <a:cubicBezTo>
                  <a:pt x="24" y="518"/>
                  <a:pt x="35" y="462"/>
                  <a:pt x="80" y="418"/>
                </a:cubicBezTo>
                <a:cubicBezTo>
                  <a:pt x="92" y="406"/>
                  <a:pt x="110" y="401"/>
                  <a:pt x="127" y="406"/>
                </a:cubicBezTo>
                <a:cubicBezTo>
                  <a:pt x="130" y="407"/>
                  <a:pt x="134" y="404"/>
                  <a:pt x="135" y="401"/>
                </a:cubicBezTo>
                <a:cubicBezTo>
                  <a:pt x="135" y="399"/>
                  <a:pt x="135" y="398"/>
                  <a:pt x="135" y="397"/>
                </a:cubicBezTo>
                <a:cubicBezTo>
                  <a:pt x="148" y="382"/>
                  <a:pt x="168" y="359"/>
                  <a:pt x="192" y="333"/>
                </a:cubicBezTo>
                <a:cubicBezTo>
                  <a:pt x="236" y="377"/>
                  <a:pt x="236" y="377"/>
                  <a:pt x="236" y="377"/>
                </a:cubicBezTo>
                <a:cubicBezTo>
                  <a:pt x="210" y="402"/>
                  <a:pt x="187" y="423"/>
                  <a:pt x="172" y="435"/>
                </a:cubicBezTo>
                <a:close/>
                <a:moveTo>
                  <a:pt x="365" y="254"/>
                </a:moveTo>
                <a:cubicBezTo>
                  <a:pt x="335" y="283"/>
                  <a:pt x="288" y="329"/>
                  <a:pt x="246" y="368"/>
                </a:cubicBezTo>
                <a:cubicBezTo>
                  <a:pt x="201" y="323"/>
                  <a:pt x="201" y="323"/>
                  <a:pt x="201" y="323"/>
                </a:cubicBezTo>
                <a:cubicBezTo>
                  <a:pt x="241" y="281"/>
                  <a:pt x="286" y="234"/>
                  <a:pt x="316" y="204"/>
                </a:cubicBezTo>
                <a:cubicBezTo>
                  <a:pt x="448" y="72"/>
                  <a:pt x="537" y="15"/>
                  <a:pt x="549" y="20"/>
                </a:cubicBezTo>
                <a:cubicBezTo>
                  <a:pt x="554" y="33"/>
                  <a:pt x="498" y="121"/>
                  <a:pt x="365" y="254"/>
                </a:cubicBezTo>
                <a:close/>
                <a:moveTo>
                  <a:pt x="451" y="605"/>
                </a:moveTo>
                <a:cubicBezTo>
                  <a:pt x="453" y="608"/>
                  <a:pt x="453" y="612"/>
                  <a:pt x="451" y="615"/>
                </a:cubicBezTo>
                <a:cubicBezTo>
                  <a:pt x="448" y="618"/>
                  <a:pt x="443" y="618"/>
                  <a:pt x="441" y="615"/>
                </a:cubicBezTo>
                <a:cubicBezTo>
                  <a:pt x="392" y="566"/>
                  <a:pt x="322" y="587"/>
                  <a:pt x="247" y="609"/>
                </a:cubicBezTo>
                <a:cubicBezTo>
                  <a:pt x="207" y="620"/>
                  <a:pt x="166" y="632"/>
                  <a:pt x="129" y="632"/>
                </a:cubicBezTo>
                <a:cubicBezTo>
                  <a:pt x="98" y="632"/>
                  <a:pt x="69" y="624"/>
                  <a:pt x="45" y="600"/>
                </a:cubicBezTo>
                <a:cubicBezTo>
                  <a:pt x="43" y="597"/>
                  <a:pt x="43" y="593"/>
                  <a:pt x="45" y="590"/>
                </a:cubicBezTo>
                <a:cubicBezTo>
                  <a:pt x="48" y="588"/>
                  <a:pt x="52" y="588"/>
                  <a:pt x="55" y="590"/>
                </a:cubicBezTo>
                <a:cubicBezTo>
                  <a:pt x="102" y="637"/>
                  <a:pt x="170" y="616"/>
                  <a:pt x="243" y="595"/>
                </a:cubicBezTo>
                <a:cubicBezTo>
                  <a:pt x="318" y="573"/>
                  <a:pt x="396" y="550"/>
                  <a:pt x="451" y="605"/>
                </a:cubicBez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7" name="Oval 8"/>
          <p:cNvSpPr>
            <a:spLocks noChangeArrowheads="1"/>
          </p:cNvSpPr>
          <p:nvPr/>
        </p:nvSpPr>
        <p:spPr bwMode="auto">
          <a:xfrm>
            <a:off x="10105564" y="3120088"/>
            <a:ext cx="1119124" cy="1119124"/>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6165" name="Freeform 87"/>
          <p:cNvSpPr>
            <a:spLocks noEditPoints="1"/>
          </p:cNvSpPr>
          <p:nvPr/>
        </p:nvSpPr>
        <p:spPr bwMode="auto">
          <a:xfrm>
            <a:off x="10457424" y="3260126"/>
            <a:ext cx="416582" cy="839049"/>
          </a:xfrm>
          <a:custGeom>
            <a:avLst/>
            <a:gdLst>
              <a:gd name="T0" fmla="*/ 393 w 396"/>
              <a:gd name="T1" fmla="*/ 417 h 796"/>
              <a:gd name="T2" fmla="*/ 232 w 396"/>
              <a:gd name="T3" fmla="*/ 10 h 796"/>
              <a:gd name="T4" fmla="*/ 216 w 396"/>
              <a:gd name="T5" fmla="*/ 0 h 796"/>
              <a:gd name="T6" fmla="*/ 180 w 396"/>
              <a:gd name="T7" fmla="*/ 0 h 796"/>
              <a:gd name="T8" fmla="*/ 164 w 396"/>
              <a:gd name="T9" fmla="*/ 10 h 796"/>
              <a:gd name="T10" fmla="*/ 3 w 396"/>
              <a:gd name="T11" fmla="*/ 417 h 796"/>
              <a:gd name="T12" fmla="*/ 8 w 396"/>
              <a:gd name="T13" fmla="*/ 437 h 796"/>
              <a:gd name="T14" fmla="*/ 99 w 396"/>
              <a:gd name="T15" fmla="*/ 631 h 796"/>
              <a:gd name="T16" fmla="*/ 72 w 396"/>
              <a:gd name="T17" fmla="*/ 662 h 796"/>
              <a:gd name="T18" fmla="*/ 68 w 396"/>
              <a:gd name="T19" fmla="*/ 770 h 796"/>
              <a:gd name="T20" fmla="*/ 73 w 396"/>
              <a:gd name="T21" fmla="*/ 777 h 796"/>
              <a:gd name="T22" fmla="*/ 198 w 396"/>
              <a:gd name="T23" fmla="*/ 796 h 796"/>
              <a:gd name="T24" fmla="*/ 323 w 396"/>
              <a:gd name="T25" fmla="*/ 777 h 796"/>
              <a:gd name="T26" fmla="*/ 328 w 396"/>
              <a:gd name="T27" fmla="*/ 770 h 796"/>
              <a:gd name="T28" fmla="*/ 324 w 396"/>
              <a:gd name="T29" fmla="*/ 662 h 796"/>
              <a:gd name="T30" fmla="*/ 297 w 396"/>
              <a:gd name="T31" fmla="*/ 631 h 796"/>
              <a:gd name="T32" fmla="*/ 388 w 396"/>
              <a:gd name="T33" fmla="*/ 437 h 796"/>
              <a:gd name="T34" fmla="*/ 393 w 396"/>
              <a:gd name="T35" fmla="*/ 417 h 796"/>
              <a:gd name="T36" fmla="*/ 196 w 396"/>
              <a:gd name="T37" fmla="*/ 336 h 796"/>
              <a:gd name="T38" fmla="*/ 198 w 396"/>
              <a:gd name="T39" fmla="*/ 336 h 796"/>
              <a:gd name="T40" fmla="*/ 200 w 396"/>
              <a:gd name="T41" fmla="*/ 336 h 796"/>
              <a:gd name="T42" fmla="*/ 224 w 396"/>
              <a:gd name="T43" fmla="*/ 362 h 796"/>
              <a:gd name="T44" fmla="*/ 198 w 396"/>
              <a:gd name="T45" fmla="*/ 388 h 796"/>
              <a:gd name="T46" fmla="*/ 172 w 396"/>
              <a:gd name="T47" fmla="*/ 362 h 796"/>
              <a:gd name="T48" fmla="*/ 196 w 396"/>
              <a:gd name="T49" fmla="*/ 336 h 796"/>
              <a:gd name="T50" fmla="*/ 310 w 396"/>
              <a:gd name="T51" fmla="*/ 663 h 796"/>
              <a:gd name="T52" fmla="*/ 314 w 396"/>
              <a:gd name="T53" fmla="*/ 765 h 796"/>
              <a:gd name="T54" fmla="*/ 198 w 396"/>
              <a:gd name="T55" fmla="*/ 782 h 796"/>
              <a:gd name="T56" fmla="*/ 82 w 396"/>
              <a:gd name="T57" fmla="*/ 765 h 796"/>
              <a:gd name="T58" fmla="*/ 86 w 396"/>
              <a:gd name="T59" fmla="*/ 663 h 796"/>
              <a:gd name="T60" fmla="*/ 105 w 396"/>
              <a:gd name="T61" fmla="*/ 644 h 796"/>
              <a:gd name="T62" fmla="*/ 106 w 396"/>
              <a:gd name="T63" fmla="*/ 644 h 796"/>
              <a:gd name="T64" fmla="*/ 290 w 396"/>
              <a:gd name="T65" fmla="*/ 644 h 796"/>
              <a:gd name="T66" fmla="*/ 291 w 396"/>
              <a:gd name="T67" fmla="*/ 644 h 796"/>
              <a:gd name="T68" fmla="*/ 310 w 396"/>
              <a:gd name="T69" fmla="*/ 663 h 796"/>
              <a:gd name="T70" fmla="*/ 379 w 396"/>
              <a:gd name="T71" fmla="*/ 426 h 796"/>
              <a:gd name="T72" fmla="*/ 283 w 396"/>
              <a:gd name="T73" fmla="*/ 630 h 796"/>
              <a:gd name="T74" fmla="*/ 113 w 396"/>
              <a:gd name="T75" fmla="*/ 630 h 796"/>
              <a:gd name="T76" fmla="*/ 17 w 396"/>
              <a:gd name="T77" fmla="*/ 426 h 796"/>
              <a:gd name="T78" fmla="*/ 16 w 396"/>
              <a:gd name="T79" fmla="*/ 422 h 796"/>
              <a:gd name="T80" fmla="*/ 177 w 396"/>
              <a:gd name="T81" fmla="*/ 16 h 796"/>
              <a:gd name="T82" fmla="*/ 180 w 396"/>
              <a:gd name="T83" fmla="*/ 14 h 796"/>
              <a:gd name="T84" fmla="*/ 191 w 396"/>
              <a:gd name="T85" fmla="*/ 14 h 796"/>
              <a:gd name="T86" fmla="*/ 191 w 396"/>
              <a:gd name="T87" fmla="*/ 323 h 796"/>
              <a:gd name="T88" fmla="*/ 158 w 396"/>
              <a:gd name="T89" fmla="*/ 362 h 796"/>
              <a:gd name="T90" fmla="*/ 198 w 396"/>
              <a:gd name="T91" fmla="*/ 402 h 796"/>
              <a:gd name="T92" fmla="*/ 238 w 396"/>
              <a:gd name="T93" fmla="*/ 362 h 796"/>
              <a:gd name="T94" fmla="*/ 205 w 396"/>
              <a:gd name="T95" fmla="*/ 323 h 796"/>
              <a:gd name="T96" fmla="*/ 205 w 396"/>
              <a:gd name="T97" fmla="*/ 14 h 796"/>
              <a:gd name="T98" fmla="*/ 216 w 396"/>
              <a:gd name="T99" fmla="*/ 14 h 796"/>
              <a:gd name="T100" fmla="*/ 219 w 396"/>
              <a:gd name="T101" fmla="*/ 15 h 796"/>
              <a:gd name="T102" fmla="*/ 380 w 396"/>
              <a:gd name="T103" fmla="*/ 422 h 796"/>
              <a:gd name="T104" fmla="*/ 379 w 396"/>
              <a:gd name="T105" fmla="*/ 426 h 7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96" h="796">
                <a:moveTo>
                  <a:pt x="393" y="417"/>
                </a:moveTo>
                <a:cubicBezTo>
                  <a:pt x="232" y="10"/>
                  <a:pt x="232" y="10"/>
                  <a:pt x="232" y="10"/>
                </a:cubicBezTo>
                <a:cubicBezTo>
                  <a:pt x="229" y="4"/>
                  <a:pt x="223" y="0"/>
                  <a:pt x="216" y="0"/>
                </a:cubicBezTo>
                <a:cubicBezTo>
                  <a:pt x="180" y="0"/>
                  <a:pt x="180" y="0"/>
                  <a:pt x="180" y="0"/>
                </a:cubicBezTo>
                <a:cubicBezTo>
                  <a:pt x="173" y="0"/>
                  <a:pt x="167" y="4"/>
                  <a:pt x="164" y="10"/>
                </a:cubicBezTo>
                <a:cubicBezTo>
                  <a:pt x="3" y="417"/>
                  <a:pt x="3" y="417"/>
                  <a:pt x="3" y="417"/>
                </a:cubicBezTo>
                <a:cubicBezTo>
                  <a:pt x="0" y="424"/>
                  <a:pt x="2" y="432"/>
                  <a:pt x="8" y="437"/>
                </a:cubicBezTo>
                <a:cubicBezTo>
                  <a:pt x="66" y="483"/>
                  <a:pt x="95" y="545"/>
                  <a:pt x="99" y="631"/>
                </a:cubicBezTo>
                <a:cubicBezTo>
                  <a:pt x="84" y="634"/>
                  <a:pt x="72" y="647"/>
                  <a:pt x="72" y="662"/>
                </a:cubicBezTo>
                <a:cubicBezTo>
                  <a:pt x="68" y="770"/>
                  <a:pt x="68" y="770"/>
                  <a:pt x="68" y="770"/>
                </a:cubicBezTo>
                <a:cubicBezTo>
                  <a:pt x="68" y="773"/>
                  <a:pt x="70" y="776"/>
                  <a:pt x="73" y="777"/>
                </a:cubicBezTo>
                <a:cubicBezTo>
                  <a:pt x="113" y="790"/>
                  <a:pt x="155" y="796"/>
                  <a:pt x="198" y="796"/>
                </a:cubicBezTo>
                <a:cubicBezTo>
                  <a:pt x="241" y="796"/>
                  <a:pt x="283" y="790"/>
                  <a:pt x="323" y="777"/>
                </a:cubicBezTo>
                <a:cubicBezTo>
                  <a:pt x="326" y="776"/>
                  <a:pt x="328" y="773"/>
                  <a:pt x="328" y="770"/>
                </a:cubicBezTo>
                <a:cubicBezTo>
                  <a:pt x="324" y="662"/>
                  <a:pt x="324" y="662"/>
                  <a:pt x="324" y="662"/>
                </a:cubicBezTo>
                <a:cubicBezTo>
                  <a:pt x="324" y="647"/>
                  <a:pt x="312" y="634"/>
                  <a:pt x="297" y="631"/>
                </a:cubicBezTo>
                <a:cubicBezTo>
                  <a:pt x="302" y="545"/>
                  <a:pt x="330" y="483"/>
                  <a:pt x="388" y="437"/>
                </a:cubicBezTo>
                <a:cubicBezTo>
                  <a:pt x="394" y="432"/>
                  <a:pt x="396" y="424"/>
                  <a:pt x="393" y="417"/>
                </a:cubicBezTo>
                <a:close/>
                <a:moveTo>
                  <a:pt x="196" y="336"/>
                </a:moveTo>
                <a:cubicBezTo>
                  <a:pt x="197" y="336"/>
                  <a:pt x="197" y="336"/>
                  <a:pt x="198" y="336"/>
                </a:cubicBezTo>
                <a:cubicBezTo>
                  <a:pt x="199" y="336"/>
                  <a:pt x="199" y="336"/>
                  <a:pt x="200" y="336"/>
                </a:cubicBezTo>
                <a:cubicBezTo>
                  <a:pt x="213" y="337"/>
                  <a:pt x="224" y="348"/>
                  <a:pt x="224" y="362"/>
                </a:cubicBezTo>
                <a:cubicBezTo>
                  <a:pt x="224" y="376"/>
                  <a:pt x="212" y="388"/>
                  <a:pt x="198" y="388"/>
                </a:cubicBezTo>
                <a:cubicBezTo>
                  <a:pt x="184" y="388"/>
                  <a:pt x="172" y="376"/>
                  <a:pt x="172" y="362"/>
                </a:cubicBezTo>
                <a:cubicBezTo>
                  <a:pt x="172" y="348"/>
                  <a:pt x="183" y="337"/>
                  <a:pt x="196" y="336"/>
                </a:cubicBezTo>
                <a:close/>
                <a:moveTo>
                  <a:pt x="310" y="663"/>
                </a:moveTo>
                <a:cubicBezTo>
                  <a:pt x="314" y="765"/>
                  <a:pt x="314" y="765"/>
                  <a:pt x="314" y="765"/>
                </a:cubicBezTo>
                <a:cubicBezTo>
                  <a:pt x="276" y="777"/>
                  <a:pt x="237" y="782"/>
                  <a:pt x="198" y="782"/>
                </a:cubicBezTo>
                <a:cubicBezTo>
                  <a:pt x="159" y="782"/>
                  <a:pt x="120" y="777"/>
                  <a:pt x="82" y="765"/>
                </a:cubicBezTo>
                <a:cubicBezTo>
                  <a:pt x="86" y="663"/>
                  <a:pt x="86" y="663"/>
                  <a:pt x="86" y="663"/>
                </a:cubicBezTo>
                <a:cubicBezTo>
                  <a:pt x="86" y="652"/>
                  <a:pt x="95" y="644"/>
                  <a:pt x="105" y="644"/>
                </a:cubicBezTo>
                <a:cubicBezTo>
                  <a:pt x="106" y="644"/>
                  <a:pt x="106" y="644"/>
                  <a:pt x="106" y="644"/>
                </a:cubicBezTo>
                <a:cubicBezTo>
                  <a:pt x="290" y="644"/>
                  <a:pt x="290" y="644"/>
                  <a:pt x="290" y="644"/>
                </a:cubicBezTo>
                <a:cubicBezTo>
                  <a:pt x="291" y="644"/>
                  <a:pt x="291" y="644"/>
                  <a:pt x="291" y="644"/>
                </a:cubicBezTo>
                <a:cubicBezTo>
                  <a:pt x="301" y="644"/>
                  <a:pt x="310" y="652"/>
                  <a:pt x="310" y="663"/>
                </a:cubicBezTo>
                <a:close/>
                <a:moveTo>
                  <a:pt x="379" y="426"/>
                </a:moveTo>
                <a:cubicBezTo>
                  <a:pt x="318" y="475"/>
                  <a:pt x="288" y="540"/>
                  <a:pt x="283" y="630"/>
                </a:cubicBezTo>
                <a:cubicBezTo>
                  <a:pt x="113" y="630"/>
                  <a:pt x="113" y="630"/>
                  <a:pt x="113" y="630"/>
                </a:cubicBezTo>
                <a:cubicBezTo>
                  <a:pt x="108" y="540"/>
                  <a:pt x="78" y="475"/>
                  <a:pt x="17" y="426"/>
                </a:cubicBezTo>
                <a:cubicBezTo>
                  <a:pt x="16" y="425"/>
                  <a:pt x="15" y="424"/>
                  <a:pt x="16" y="422"/>
                </a:cubicBezTo>
                <a:cubicBezTo>
                  <a:pt x="177" y="16"/>
                  <a:pt x="177" y="16"/>
                  <a:pt x="177" y="16"/>
                </a:cubicBezTo>
                <a:cubicBezTo>
                  <a:pt x="177" y="14"/>
                  <a:pt x="179" y="14"/>
                  <a:pt x="180" y="14"/>
                </a:cubicBezTo>
                <a:cubicBezTo>
                  <a:pt x="191" y="14"/>
                  <a:pt x="191" y="14"/>
                  <a:pt x="191" y="14"/>
                </a:cubicBezTo>
                <a:cubicBezTo>
                  <a:pt x="191" y="323"/>
                  <a:pt x="191" y="323"/>
                  <a:pt x="191" y="323"/>
                </a:cubicBezTo>
                <a:cubicBezTo>
                  <a:pt x="172" y="326"/>
                  <a:pt x="158" y="342"/>
                  <a:pt x="158" y="362"/>
                </a:cubicBezTo>
                <a:cubicBezTo>
                  <a:pt x="158" y="384"/>
                  <a:pt x="176" y="402"/>
                  <a:pt x="198" y="402"/>
                </a:cubicBezTo>
                <a:cubicBezTo>
                  <a:pt x="220" y="402"/>
                  <a:pt x="238" y="384"/>
                  <a:pt x="238" y="362"/>
                </a:cubicBezTo>
                <a:cubicBezTo>
                  <a:pt x="238" y="342"/>
                  <a:pt x="224" y="326"/>
                  <a:pt x="205" y="323"/>
                </a:cubicBezTo>
                <a:cubicBezTo>
                  <a:pt x="205" y="14"/>
                  <a:pt x="205" y="14"/>
                  <a:pt x="205" y="14"/>
                </a:cubicBezTo>
                <a:cubicBezTo>
                  <a:pt x="216" y="14"/>
                  <a:pt x="216" y="14"/>
                  <a:pt x="216" y="14"/>
                </a:cubicBezTo>
                <a:cubicBezTo>
                  <a:pt x="218" y="14"/>
                  <a:pt x="219" y="14"/>
                  <a:pt x="219" y="15"/>
                </a:cubicBezTo>
                <a:cubicBezTo>
                  <a:pt x="380" y="422"/>
                  <a:pt x="380" y="422"/>
                  <a:pt x="380" y="422"/>
                </a:cubicBezTo>
                <a:cubicBezTo>
                  <a:pt x="381" y="424"/>
                  <a:pt x="381" y="425"/>
                  <a:pt x="379" y="426"/>
                </a:cubicBez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9268" name="Oval 71"/>
          <p:cNvSpPr>
            <a:spLocks noChangeArrowheads="1"/>
          </p:cNvSpPr>
          <p:nvPr/>
        </p:nvSpPr>
        <p:spPr bwMode="auto">
          <a:xfrm>
            <a:off x="4831649" y="1528549"/>
            <a:ext cx="1119124" cy="1119124"/>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6170" name="Freeform 92"/>
          <p:cNvSpPr>
            <a:spLocks noEditPoints="1"/>
          </p:cNvSpPr>
          <p:nvPr/>
        </p:nvSpPr>
        <p:spPr bwMode="auto">
          <a:xfrm>
            <a:off x="5077340" y="1841574"/>
            <a:ext cx="664186" cy="494250"/>
          </a:xfrm>
          <a:custGeom>
            <a:avLst/>
            <a:gdLst>
              <a:gd name="T0" fmla="*/ 623 w 632"/>
              <a:gd name="T1" fmla="*/ 109 h 469"/>
              <a:gd name="T2" fmla="*/ 594 w 632"/>
              <a:gd name="T3" fmla="*/ 97 h 469"/>
              <a:gd name="T4" fmla="*/ 577 w 632"/>
              <a:gd name="T5" fmla="*/ 97 h 469"/>
              <a:gd name="T6" fmla="*/ 577 w 632"/>
              <a:gd name="T7" fmla="*/ 80 h 469"/>
              <a:gd name="T8" fmla="*/ 535 w 632"/>
              <a:gd name="T9" fmla="*/ 38 h 469"/>
              <a:gd name="T10" fmla="*/ 209 w 632"/>
              <a:gd name="T11" fmla="*/ 38 h 469"/>
              <a:gd name="T12" fmla="*/ 175 w 632"/>
              <a:gd name="T13" fmla="*/ 3 h 469"/>
              <a:gd name="T14" fmla="*/ 170 w 632"/>
              <a:gd name="T15" fmla="*/ 0 h 469"/>
              <a:gd name="T16" fmla="*/ 42 w 632"/>
              <a:gd name="T17" fmla="*/ 0 h 469"/>
              <a:gd name="T18" fmla="*/ 0 w 632"/>
              <a:gd name="T19" fmla="*/ 42 h 469"/>
              <a:gd name="T20" fmla="*/ 0 w 632"/>
              <a:gd name="T21" fmla="*/ 427 h 469"/>
              <a:gd name="T22" fmla="*/ 18 w 632"/>
              <a:gd name="T23" fmla="*/ 461 h 469"/>
              <a:gd name="T24" fmla="*/ 18 w 632"/>
              <a:gd name="T25" fmla="*/ 462 h 469"/>
              <a:gd name="T26" fmla="*/ 18 w 632"/>
              <a:gd name="T27" fmla="*/ 462 h 469"/>
              <a:gd name="T28" fmla="*/ 42 w 632"/>
              <a:gd name="T29" fmla="*/ 469 h 469"/>
              <a:gd name="T30" fmla="*/ 535 w 632"/>
              <a:gd name="T31" fmla="*/ 469 h 469"/>
              <a:gd name="T32" fmla="*/ 582 w 632"/>
              <a:gd name="T33" fmla="*/ 432 h 469"/>
              <a:gd name="T34" fmla="*/ 631 w 632"/>
              <a:gd name="T35" fmla="*/ 136 h 469"/>
              <a:gd name="T36" fmla="*/ 623 w 632"/>
              <a:gd name="T37" fmla="*/ 109 h 469"/>
              <a:gd name="T38" fmla="*/ 42 w 632"/>
              <a:gd name="T39" fmla="*/ 14 h 469"/>
              <a:gd name="T40" fmla="*/ 167 w 632"/>
              <a:gd name="T41" fmla="*/ 14 h 469"/>
              <a:gd name="T42" fmla="*/ 200 w 632"/>
              <a:gd name="T43" fmla="*/ 50 h 469"/>
              <a:gd name="T44" fmla="*/ 206 w 632"/>
              <a:gd name="T45" fmla="*/ 52 h 469"/>
              <a:gd name="T46" fmla="*/ 535 w 632"/>
              <a:gd name="T47" fmla="*/ 52 h 469"/>
              <a:gd name="T48" fmla="*/ 563 w 632"/>
              <a:gd name="T49" fmla="*/ 80 h 469"/>
              <a:gd name="T50" fmla="*/ 563 w 632"/>
              <a:gd name="T51" fmla="*/ 97 h 469"/>
              <a:gd name="T52" fmla="*/ 101 w 632"/>
              <a:gd name="T53" fmla="*/ 97 h 469"/>
              <a:gd name="T54" fmla="*/ 54 w 632"/>
              <a:gd name="T55" fmla="*/ 134 h 469"/>
              <a:gd name="T56" fmla="*/ 14 w 632"/>
              <a:gd name="T57" fmla="*/ 377 h 469"/>
              <a:gd name="T58" fmla="*/ 14 w 632"/>
              <a:gd name="T59" fmla="*/ 42 h 469"/>
              <a:gd name="T60" fmla="*/ 42 w 632"/>
              <a:gd name="T61" fmla="*/ 14 h 469"/>
              <a:gd name="T62" fmla="*/ 617 w 632"/>
              <a:gd name="T63" fmla="*/ 134 h 469"/>
              <a:gd name="T64" fmla="*/ 568 w 632"/>
              <a:gd name="T65" fmla="*/ 430 h 469"/>
              <a:gd name="T66" fmla="*/ 535 w 632"/>
              <a:gd name="T67" fmla="*/ 455 h 469"/>
              <a:gd name="T68" fmla="*/ 42 w 632"/>
              <a:gd name="T69" fmla="*/ 455 h 469"/>
              <a:gd name="T70" fmla="*/ 26 w 632"/>
              <a:gd name="T71" fmla="*/ 450 h 469"/>
              <a:gd name="T72" fmla="*/ 23 w 632"/>
              <a:gd name="T73" fmla="*/ 447 h 469"/>
              <a:gd name="T74" fmla="*/ 19 w 632"/>
              <a:gd name="T75" fmla="*/ 432 h 469"/>
              <a:gd name="T76" fmla="*/ 68 w 632"/>
              <a:gd name="T77" fmla="*/ 136 h 469"/>
              <a:gd name="T78" fmla="*/ 101 w 632"/>
              <a:gd name="T79" fmla="*/ 111 h 469"/>
              <a:gd name="T80" fmla="*/ 594 w 632"/>
              <a:gd name="T81" fmla="*/ 111 h 469"/>
              <a:gd name="T82" fmla="*/ 613 w 632"/>
              <a:gd name="T83" fmla="*/ 118 h 469"/>
              <a:gd name="T84" fmla="*/ 617 w 632"/>
              <a:gd name="T85" fmla="*/ 134 h 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32" h="469">
                <a:moveTo>
                  <a:pt x="623" y="109"/>
                </a:moveTo>
                <a:cubicBezTo>
                  <a:pt x="617" y="101"/>
                  <a:pt x="606" y="97"/>
                  <a:pt x="594" y="97"/>
                </a:cubicBezTo>
                <a:cubicBezTo>
                  <a:pt x="577" y="97"/>
                  <a:pt x="577" y="97"/>
                  <a:pt x="577" y="97"/>
                </a:cubicBezTo>
                <a:cubicBezTo>
                  <a:pt x="577" y="80"/>
                  <a:pt x="577" y="80"/>
                  <a:pt x="577" y="80"/>
                </a:cubicBezTo>
                <a:cubicBezTo>
                  <a:pt x="577" y="57"/>
                  <a:pt x="558" y="38"/>
                  <a:pt x="535" y="38"/>
                </a:cubicBezTo>
                <a:cubicBezTo>
                  <a:pt x="209" y="38"/>
                  <a:pt x="209" y="38"/>
                  <a:pt x="209" y="38"/>
                </a:cubicBezTo>
                <a:cubicBezTo>
                  <a:pt x="175" y="3"/>
                  <a:pt x="175" y="3"/>
                  <a:pt x="175" y="3"/>
                </a:cubicBezTo>
                <a:cubicBezTo>
                  <a:pt x="174" y="1"/>
                  <a:pt x="172" y="0"/>
                  <a:pt x="170" y="0"/>
                </a:cubicBezTo>
                <a:cubicBezTo>
                  <a:pt x="42" y="0"/>
                  <a:pt x="42" y="0"/>
                  <a:pt x="42" y="0"/>
                </a:cubicBezTo>
                <a:cubicBezTo>
                  <a:pt x="19" y="0"/>
                  <a:pt x="0" y="19"/>
                  <a:pt x="0" y="42"/>
                </a:cubicBezTo>
                <a:cubicBezTo>
                  <a:pt x="0" y="427"/>
                  <a:pt x="0" y="427"/>
                  <a:pt x="0" y="427"/>
                </a:cubicBezTo>
                <a:cubicBezTo>
                  <a:pt x="0" y="441"/>
                  <a:pt x="7" y="454"/>
                  <a:pt x="18" y="461"/>
                </a:cubicBezTo>
                <a:cubicBezTo>
                  <a:pt x="18" y="462"/>
                  <a:pt x="18" y="462"/>
                  <a:pt x="18" y="462"/>
                </a:cubicBezTo>
                <a:cubicBezTo>
                  <a:pt x="18" y="462"/>
                  <a:pt x="18" y="462"/>
                  <a:pt x="18" y="462"/>
                </a:cubicBezTo>
                <a:cubicBezTo>
                  <a:pt x="25" y="467"/>
                  <a:pt x="33" y="469"/>
                  <a:pt x="42" y="469"/>
                </a:cubicBezTo>
                <a:cubicBezTo>
                  <a:pt x="535" y="469"/>
                  <a:pt x="535" y="469"/>
                  <a:pt x="535" y="469"/>
                </a:cubicBezTo>
                <a:cubicBezTo>
                  <a:pt x="558" y="469"/>
                  <a:pt x="578" y="453"/>
                  <a:pt x="582" y="432"/>
                </a:cubicBezTo>
                <a:cubicBezTo>
                  <a:pt x="631" y="136"/>
                  <a:pt x="631" y="136"/>
                  <a:pt x="631" y="136"/>
                </a:cubicBezTo>
                <a:cubicBezTo>
                  <a:pt x="632" y="126"/>
                  <a:pt x="630" y="117"/>
                  <a:pt x="623" y="109"/>
                </a:cubicBezTo>
                <a:close/>
                <a:moveTo>
                  <a:pt x="42" y="14"/>
                </a:moveTo>
                <a:cubicBezTo>
                  <a:pt x="167" y="14"/>
                  <a:pt x="167" y="14"/>
                  <a:pt x="167" y="14"/>
                </a:cubicBezTo>
                <a:cubicBezTo>
                  <a:pt x="200" y="50"/>
                  <a:pt x="200" y="50"/>
                  <a:pt x="200" y="50"/>
                </a:cubicBezTo>
                <a:cubicBezTo>
                  <a:pt x="202" y="51"/>
                  <a:pt x="204" y="52"/>
                  <a:pt x="206" y="52"/>
                </a:cubicBezTo>
                <a:cubicBezTo>
                  <a:pt x="535" y="52"/>
                  <a:pt x="535" y="52"/>
                  <a:pt x="535" y="52"/>
                </a:cubicBezTo>
                <a:cubicBezTo>
                  <a:pt x="550" y="52"/>
                  <a:pt x="563" y="65"/>
                  <a:pt x="563" y="80"/>
                </a:cubicBezTo>
                <a:cubicBezTo>
                  <a:pt x="563" y="97"/>
                  <a:pt x="563" y="97"/>
                  <a:pt x="563" y="97"/>
                </a:cubicBezTo>
                <a:cubicBezTo>
                  <a:pt x="101" y="97"/>
                  <a:pt x="101" y="97"/>
                  <a:pt x="101" y="97"/>
                </a:cubicBezTo>
                <a:cubicBezTo>
                  <a:pt x="78" y="97"/>
                  <a:pt x="57" y="113"/>
                  <a:pt x="54" y="134"/>
                </a:cubicBezTo>
                <a:cubicBezTo>
                  <a:pt x="14" y="377"/>
                  <a:pt x="14" y="377"/>
                  <a:pt x="14" y="377"/>
                </a:cubicBezTo>
                <a:cubicBezTo>
                  <a:pt x="14" y="42"/>
                  <a:pt x="14" y="42"/>
                  <a:pt x="14" y="42"/>
                </a:cubicBezTo>
                <a:cubicBezTo>
                  <a:pt x="14" y="27"/>
                  <a:pt x="26" y="14"/>
                  <a:pt x="42" y="14"/>
                </a:cubicBezTo>
                <a:close/>
                <a:moveTo>
                  <a:pt x="617" y="134"/>
                </a:moveTo>
                <a:cubicBezTo>
                  <a:pt x="568" y="430"/>
                  <a:pt x="568" y="430"/>
                  <a:pt x="568" y="430"/>
                </a:cubicBezTo>
                <a:cubicBezTo>
                  <a:pt x="566" y="443"/>
                  <a:pt x="551" y="455"/>
                  <a:pt x="535" y="455"/>
                </a:cubicBezTo>
                <a:cubicBezTo>
                  <a:pt x="42" y="455"/>
                  <a:pt x="42" y="455"/>
                  <a:pt x="42" y="455"/>
                </a:cubicBezTo>
                <a:cubicBezTo>
                  <a:pt x="36" y="455"/>
                  <a:pt x="31" y="453"/>
                  <a:pt x="26" y="450"/>
                </a:cubicBezTo>
                <a:cubicBezTo>
                  <a:pt x="25" y="449"/>
                  <a:pt x="24" y="448"/>
                  <a:pt x="23" y="447"/>
                </a:cubicBezTo>
                <a:cubicBezTo>
                  <a:pt x="19" y="443"/>
                  <a:pt x="18" y="438"/>
                  <a:pt x="19" y="432"/>
                </a:cubicBezTo>
                <a:cubicBezTo>
                  <a:pt x="68" y="136"/>
                  <a:pt x="68" y="136"/>
                  <a:pt x="68" y="136"/>
                </a:cubicBezTo>
                <a:cubicBezTo>
                  <a:pt x="70" y="122"/>
                  <a:pt x="85" y="111"/>
                  <a:pt x="101" y="111"/>
                </a:cubicBezTo>
                <a:cubicBezTo>
                  <a:pt x="594" y="111"/>
                  <a:pt x="594" y="111"/>
                  <a:pt x="594" y="111"/>
                </a:cubicBezTo>
                <a:cubicBezTo>
                  <a:pt x="602" y="111"/>
                  <a:pt x="609" y="114"/>
                  <a:pt x="613" y="118"/>
                </a:cubicBezTo>
                <a:cubicBezTo>
                  <a:pt x="616" y="123"/>
                  <a:pt x="618" y="128"/>
                  <a:pt x="617" y="134"/>
                </a:cubicBez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9259" name="Oval 68"/>
          <p:cNvSpPr>
            <a:spLocks noChangeArrowheads="1"/>
          </p:cNvSpPr>
          <p:nvPr/>
        </p:nvSpPr>
        <p:spPr bwMode="auto">
          <a:xfrm>
            <a:off x="10105564" y="1528549"/>
            <a:ext cx="1119124" cy="1119124"/>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6173" name="Freeform 95"/>
          <p:cNvSpPr>
            <a:spLocks noEditPoints="1"/>
          </p:cNvSpPr>
          <p:nvPr/>
        </p:nvSpPr>
        <p:spPr bwMode="auto">
          <a:xfrm>
            <a:off x="10482916" y="1763907"/>
            <a:ext cx="423198" cy="648409"/>
          </a:xfrm>
          <a:custGeom>
            <a:avLst/>
            <a:gdLst>
              <a:gd name="T0" fmla="*/ 395 w 402"/>
              <a:gd name="T1" fmla="*/ 615 h 615"/>
              <a:gd name="T2" fmla="*/ 7 w 402"/>
              <a:gd name="T3" fmla="*/ 615 h 615"/>
              <a:gd name="T4" fmla="*/ 0 w 402"/>
              <a:gd name="T5" fmla="*/ 608 h 615"/>
              <a:gd name="T6" fmla="*/ 0 w 402"/>
              <a:gd name="T7" fmla="*/ 7 h 615"/>
              <a:gd name="T8" fmla="*/ 7 w 402"/>
              <a:gd name="T9" fmla="*/ 0 h 615"/>
              <a:gd name="T10" fmla="*/ 395 w 402"/>
              <a:gd name="T11" fmla="*/ 0 h 615"/>
              <a:gd name="T12" fmla="*/ 402 w 402"/>
              <a:gd name="T13" fmla="*/ 7 h 615"/>
              <a:gd name="T14" fmla="*/ 395 w 402"/>
              <a:gd name="T15" fmla="*/ 14 h 615"/>
              <a:gd name="T16" fmla="*/ 14 w 402"/>
              <a:gd name="T17" fmla="*/ 14 h 615"/>
              <a:gd name="T18" fmla="*/ 14 w 402"/>
              <a:gd name="T19" fmla="*/ 601 h 615"/>
              <a:gd name="T20" fmla="*/ 395 w 402"/>
              <a:gd name="T21" fmla="*/ 601 h 615"/>
              <a:gd name="T22" fmla="*/ 402 w 402"/>
              <a:gd name="T23" fmla="*/ 608 h 615"/>
              <a:gd name="T24" fmla="*/ 395 w 402"/>
              <a:gd name="T25" fmla="*/ 615 h 615"/>
              <a:gd name="T26" fmla="*/ 133 w 402"/>
              <a:gd name="T27" fmla="*/ 312 h 615"/>
              <a:gd name="T28" fmla="*/ 92 w 402"/>
              <a:gd name="T29" fmla="*/ 271 h 615"/>
              <a:gd name="T30" fmla="*/ 51 w 402"/>
              <a:gd name="T31" fmla="*/ 312 h 615"/>
              <a:gd name="T32" fmla="*/ 92 w 402"/>
              <a:gd name="T33" fmla="*/ 353 h 615"/>
              <a:gd name="T34" fmla="*/ 133 w 402"/>
              <a:gd name="T35" fmla="*/ 312 h 615"/>
              <a:gd name="T36" fmla="*/ 119 w 402"/>
              <a:gd name="T37" fmla="*/ 312 h 615"/>
              <a:gd name="T38" fmla="*/ 92 w 402"/>
              <a:gd name="T39" fmla="*/ 339 h 615"/>
              <a:gd name="T40" fmla="*/ 65 w 402"/>
              <a:gd name="T41" fmla="*/ 312 h 615"/>
              <a:gd name="T42" fmla="*/ 92 w 402"/>
              <a:gd name="T43" fmla="*/ 285 h 615"/>
              <a:gd name="T44" fmla="*/ 119 w 402"/>
              <a:gd name="T45" fmla="*/ 312 h 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02" h="615">
                <a:moveTo>
                  <a:pt x="395" y="615"/>
                </a:moveTo>
                <a:cubicBezTo>
                  <a:pt x="7" y="615"/>
                  <a:pt x="7" y="615"/>
                  <a:pt x="7" y="615"/>
                </a:cubicBezTo>
                <a:cubicBezTo>
                  <a:pt x="3" y="615"/>
                  <a:pt x="0" y="612"/>
                  <a:pt x="0" y="608"/>
                </a:cubicBezTo>
                <a:cubicBezTo>
                  <a:pt x="0" y="7"/>
                  <a:pt x="0" y="7"/>
                  <a:pt x="0" y="7"/>
                </a:cubicBezTo>
                <a:cubicBezTo>
                  <a:pt x="0" y="3"/>
                  <a:pt x="3" y="0"/>
                  <a:pt x="7" y="0"/>
                </a:cubicBezTo>
                <a:cubicBezTo>
                  <a:pt x="395" y="0"/>
                  <a:pt x="395" y="0"/>
                  <a:pt x="395" y="0"/>
                </a:cubicBezTo>
                <a:cubicBezTo>
                  <a:pt x="399" y="0"/>
                  <a:pt x="402" y="3"/>
                  <a:pt x="402" y="7"/>
                </a:cubicBezTo>
                <a:cubicBezTo>
                  <a:pt x="402" y="11"/>
                  <a:pt x="399" y="14"/>
                  <a:pt x="395" y="14"/>
                </a:cubicBezTo>
                <a:cubicBezTo>
                  <a:pt x="14" y="14"/>
                  <a:pt x="14" y="14"/>
                  <a:pt x="14" y="14"/>
                </a:cubicBezTo>
                <a:cubicBezTo>
                  <a:pt x="14" y="601"/>
                  <a:pt x="14" y="601"/>
                  <a:pt x="14" y="601"/>
                </a:cubicBezTo>
                <a:cubicBezTo>
                  <a:pt x="395" y="601"/>
                  <a:pt x="395" y="601"/>
                  <a:pt x="395" y="601"/>
                </a:cubicBezTo>
                <a:cubicBezTo>
                  <a:pt x="399" y="601"/>
                  <a:pt x="402" y="604"/>
                  <a:pt x="402" y="608"/>
                </a:cubicBezTo>
                <a:cubicBezTo>
                  <a:pt x="402" y="612"/>
                  <a:pt x="399" y="615"/>
                  <a:pt x="395" y="615"/>
                </a:cubicBezTo>
                <a:close/>
                <a:moveTo>
                  <a:pt x="133" y="312"/>
                </a:moveTo>
                <a:cubicBezTo>
                  <a:pt x="133" y="289"/>
                  <a:pt x="115" y="271"/>
                  <a:pt x="92" y="271"/>
                </a:cubicBezTo>
                <a:cubicBezTo>
                  <a:pt x="70" y="271"/>
                  <a:pt x="51" y="289"/>
                  <a:pt x="51" y="312"/>
                </a:cubicBezTo>
                <a:cubicBezTo>
                  <a:pt x="51" y="335"/>
                  <a:pt x="70" y="353"/>
                  <a:pt x="92" y="353"/>
                </a:cubicBezTo>
                <a:cubicBezTo>
                  <a:pt x="115" y="353"/>
                  <a:pt x="133" y="335"/>
                  <a:pt x="133" y="312"/>
                </a:cubicBezTo>
                <a:close/>
                <a:moveTo>
                  <a:pt x="119" y="312"/>
                </a:moveTo>
                <a:cubicBezTo>
                  <a:pt x="119" y="327"/>
                  <a:pt x="107" y="339"/>
                  <a:pt x="92" y="339"/>
                </a:cubicBezTo>
                <a:cubicBezTo>
                  <a:pt x="77" y="339"/>
                  <a:pt x="65" y="327"/>
                  <a:pt x="65" y="312"/>
                </a:cubicBezTo>
                <a:cubicBezTo>
                  <a:pt x="65" y="297"/>
                  <a:pt x="77" y="285"/>
                  <a:pt x="92" y="285"/>
                </a:cubicBezTo>
                <a:cubicBezTo>
                  <a:pt x="107" y="285"/>
                  <a:pt x="119" y="297"/>
                  <a:pt x="119" y="312"/>
                </a:cubicBez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9260" name="Oval 69"/>
          <p:cNvSpPr>
            <a:spLocks noChangeArrowheads="1"/>
          </p:cNvSpPr>
          <p:nvPr/>
        </p:nvSpPr>
        <p:spPr bwMode="auto">
          <a:xfrm>
            <a:off x="8347593" y="1528549"/>
            <a:ext cx="1119124" cy="1119124"/>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6174" name="Freeform 96"/>
          <p:cNvSpPr>
            <a:spLocks noEditPoints="1"/>
          </p:cNvSpPr>
          <p:nvPr/>
        </p:nvSpPr>
        <p:spPr bwMode="auto">
          <a:xfrm>
            <a:off x="8551177" y="1714481"/>
            <a:ext cx="693127" cy="747260"/>
          </a:xfrm>
          <a:custGeom>
            <a:avLst/>
            <a:gdLst>
              <a:gd name="T0" fmla="*/ 430 w 658"/>
              <a:gd name="T1" fmla="*/ 439 h 709"/>
              <a:gd name="T2" fmla="*/ 430 w 658"/>
              <a:gd name="T3" fmla="*/ 352 h 709"/>
              <a:gd name="T4" fmla="*/ 449 w 658"/>
              <a:gd name="T5" fmla="*/ 396 h 709"/>
              <a:gd name="T6" fmla="*/ 411 w 658"/>
              <a:gd name="T7" fmla="*/ 396 h 709"/>
              <a:gd name="T8" fmla="*/ 449 w 658"/>
              <a:gd name="T9" fmla="*/ 396 h 709"/>
              <a:gd name="T10" fmla="*/ 648 w 658"/>
              <a:gd name="T11" fmla="*/ 615 h 709"/>
              <a:gd name="T12" fmla="*/ 366 w 658"/>
              <a:gd name="T13" fmla="*/ 93 h 709"/>
              <a:gd name="T14" fmla="*/ 647 w 658"/>
              <a:gd name="T15" fmla="*/ 7 h 709"/>
              <a:gd name="T16" fmla="*/ 228 w 658"/>
              <a:gd name="T17" fmla="*/ 0 h 709"/>
              <a:gd name="T18" fmla="*/ 221 w 658"/>
              <a:gd name="T19" fmla="*/ 256 h 709"/>
              <a:gd name="T20" fmla="*/ 146 w 658"/>
              <a:gd name="T21" fmla="*/ 204 h 709"/>
              <a:gd name="T22" fmla="*/ 258 w 658"/>
              <a:gd name="T23" fmla="*/ 305 h 709"/>
              <a:gd name="T24" fmla="*/ 0 w 658"/>
              <a:gd name="T25" fmla="*/ 312 h 709"/>
              <a:gd name="T26" fmla="*/ 258 w 658"/>
              <a:gd name="T27" fmla="*/ 319 h 709"/>
              <a:gd name="T28" fmla="*/ 146 w 658"/>
              <a:gd name="T29" fmla="*/ 421 h 709"/>
              <a:gd name="T30" fmla="*/ 156 w 658"/>
              <a:gd name="T31" fmla="*/ 422 h 709"/>
              <a:gd name="T32" fmla="*/ 221 w 658"/>
              <a:gd name="T33" fmla="*/ 622 h 709"/>
              <a:gd name="T34" fmla="*/ 352 w 658"/>
              <a:gd name="T35" fmla="*/ 629 h 709"/>
              <a:gd name="T36" fmla="*/ 355 w 658"/>
              <a:gd name="T37" fmla="*/ 708 h 709"/>
              <a:gd name="T38" fmla="*/ 361 w 658"/>
              <a:gd name="T39" fmla="*/ 709 h 709"/>
              <a:gd name="T40" fmla="*/ 657 w 658"/>
              <a:gd name="T41" fmla="*/ 620 h 709"/>
              <a:gd name="T42" fmla="*/ 235 w 658"/>
              <a:gd name="T43" fmla="*/ 356 h 709"/>
              <a:gd name="T44" fmla="*/ 282 w 658"/>
              <a:gd name="T45" fmla="*/ 317 h 709"/>
              <a:gd name="T46" fmla="*/ 283 w 658"/>
              <a:gd name="T47" fmla="*/ 316 h 709"/>
              <a:gd name="T48" fmla="*/ 284 w 658"/>
              <a:gd name="T49" fmla="*/ 315 h 709"/>
              <a:gd name="T50" fmla="*/ 284 w 658"/>
              <a:gd name="T51" fmla="*/ 314 h 709"/>
              <a:gd name="T52" fmla="*/ 284 w 658"/>
              <a:gd name="T53" fmla="*/ 311 h 709"/>
              <a:gd name="T54" fmla="*/ 284 w 658"/>
              <a:gd name="T55" fmla="*/ 309 h 709"/>
              <a:gd name="T56" fmla="*/ 283 w 658"/>
              <a:gd name="T57" fmla="*/ 308 h 709"/>
              <a:gd name="T58" fmla="*/ 282 w 658"/>
              <a:gd name="T59" fmla="*/ 307 h 709"/>
              <a:gd name="T60" fmla="*/ 235 w 658"/>
              <a:gd name="T61" fmla="*/ 268 h 709"/>
              <a:gd name="T62" fmla="*/ 590 w 658"/>
              <a:gd name="T63" fmla="*/ 14 h 709"/>
              <a:gd name="T64" fmla="*/ 352 w 658"/>
              <a:gd name="T65" fmla="*/ 88 h 709"/>
              <a:gd name="T66" fmla="*/ 235 w 658"/>
              <a:gd name="T67" fmla="*/ 615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58" h="709">
                <a:moveTo>
                  <a:pt x="397" y="396"/>
                </a:moveTo>
                <a:cubicBezTo>
                  <a:pt x="397" y="420"/>
                  <a:pt x="412" y="439"/>
                  <a:pt x="430" y="439"/>
                </a:cubicBezTo>
                <a:cubicBezTo>
                  <a:pt x="449" y="439"/>
                  <a:pt x="463" y="420"/>
                  <a:pt x="463" y="396"/>
                </a:cubicBezTo>
                <a:cubicBezTo>
                  <a:pt x="463" y="371"/>
                  <a:pt x="449" y="352"/>
                  <a:pt x="430" y="352"/>
                </a:cubicBezTo>
                <a:cubicBezTo>
                  <a:pt x="412" y="352"/>
                  <a:pt x="397" y="371"/>
                  <a:pt x="397" y="396"/>
                </a:cubicBezTo>
                <a:close/>
                <a:moveTo>
                  <a:pt x="449" y="396"/>
                </a:moveTo>
                <a:cubicBezTo>
                  <a:pt x="449" y="412"/>
                  <a:pt x="440" y="425"/>
                  <a:pt x="430" y="425"/>
                </a:cubicBezTo>
                <a:cubicBezTo>
                  <a:pt x="420" y="425"/>
                  <a:pt x="411" y="412"/>
                  <a:pt x="411" y="396"/>
                </a:cubicBezTo>
                <a:cubicBezTo>
                  <a:pt x="411" y="380"/>
                  <a:pt x="420" y="366"/>
                  <a:pt x="430" y="366"/>
                </a:cubicBezTo>
                <a:cubicBezTo>
                  <a:pt x="440" y="366"/>
                  <a:pt x="449" y="380"/>
                  <a:pt x="449" y="396"/>
                </a:cubicBezTo>
                <a:close/>
                <a:moveTo>
                  <a:pt x="657" y="620"/>
                </a:moveTo>
                <a:cubicBezTo>
                  <a:pt x="656" y="616"/>
                  <a:pt x="652" y="614"/>
                  <a:pt x="648" y="615"/>
                </a:cubicBezTo>
                <a:cubicBezTo>
                  <a:pt x="366" y="693"/>
                  <a:pt x="366" y="693"/>
                  <a:pt x="366" y="693"/>
                </a:cubicBezTo>
                <a:cubicBezTo>
                  <a:pt x="366" y="93"/>
                  <a:pt x="366" y="93"/>
                  <a:pt x="366" y="93"/>
                </a:cubicBezTo>
                <a:cubicBezTo>
                  <a:pt x="641" y="14"/>
                  <a:pt x="641" y="14"/>
                  <a:pt x="641" y="14"/>
                </a:cubicBezTo>
                <a:cubicBezTo>
                  <a:pt x="645" y="13"/>
                  <a:pt x="647" y="10"/>
                  <a:pt x="647" y="7"/>
                </a:cubicBezTo>
                <a:cubicBezTo>
                  <a:pt x="646" y="3"/>
                  <a:pt x="643" y="0"/>
                  <a:pt x="640" y="0"/>
                </a:cubicBezTo>
                <a:cubicBezTo>
                  <a:pt x="228" y="0"/>
                  <a:pt x="228" y="0"/>
                  <a:pt x="228" y="0"/>
                </a:cubicBezTo>
                <a:cubicBezTo>
                  <a:pt x="224" y="0"/>
                  <a:pt x="221" y="4"/>
                  <a:pt x="221" y="7"/>
                </a:cubicBezTo>
                <a:cubicBezTo>
                  <a:pt x="221" y="256"/>
                  <a:pt x="221" y="256"/>
                  <a:pt x="221" y="256"/>
                </a:cubicBezTo>
                <a:cubicBezTo>
                  <a:pt x="156" y="203"/>
                  <a:pt x="156" y="203"/>
                  <a:pt x="156" y="203"/>
                </a:cubicBezTo>
                <a:cubicBezTo>
                  <a:pt x="153" y="200"/>
                  <a:pt x="149" y="201"/>
                  <a:pt x="146" y="204"/>
                </a:cubicBezTo>
                <a:cubicBezTo>
                  <a:pt x="144" y="207"/>
                  <a:pt x="144" y="211"/>
                  <a:pt x="147" y="213"/>
                </a:cubicBezTo>
                <a:cubicBezTo>
                  <a:pt x="258" y="305"/>
                  <a:pt x="258" y="305"/>
                  <a:pt x="258" y="305"/>
                </a:cubicBezTo>
                <a:cubicBezTo>
                  <a:pt x="7" y="305"/>
                  <a:pt x="7" y="305"/>
                  <a:pt x="7" y="305"/>
                </a:cubicBezTo>
                <a:cubicBezTo>
                  <a:pt x="3" y="305"/>
                  <a:pt x="0" y="308"/>
                  <a:pt x="0" y="312"/>
                </a:cubicBezTo>
                <a:cubicBezTo>
                  <a:pt x="0" y="316"/>
                  <a:pt x="3" y="319"/>
                  <a:pt x="7" y="319"/>
                </a:cubicBezTo>
                <a:cubicBezTo>
                  <a:pt x="258" y="319"/>
                  <a:pt x="258" y="319"/>
                  <a:pt x="258" y="319"/>
                </a:cubicBezTo>
                <a:cubicBezTo>
                  <a:pt x="147" y="411"/>
                  <a:pt x="147" y="411"/>
                  <a:pt x="147" y="411"/>
                </a:cubicBezTo>
                <a:cubicBezTo>
                  <a:pt x="144" y="413"/>
                  <a:pt x="144" y="418"/>
                  <a:pt x="146" y="421"/>
                </a:cubicBezTo>
                <a:cubicBezTo>
                  <a:pt x="148" y="422"/>
                  <a:pt x="150" y="423"/>
                  <a:pt x="152" y="423"/>
                </a:cubicBezTo>
                <a:cubicBezTo>
                  <a:pt x="153" y="423"/>
                  <a:pt x="155" y="423"/>
                  <a:pt x="156" y="422"/>
                </a:cubicBezTo>
                <a:cubicBezTo>
                  <a:pt x="221" y="368"/>
                  <a:pt x="221" y="368"/>
                  <a:pt x="221" y="368"/>
                </a:cubicBezTo>
                <a:cubicBezTo>
                  <a:pt x="221" y="622"/>
                  <a:pt x="221" y="622"/>
                  <a:pt x="221" y="622"/>
                </a:cubicBezTo>
                <a:cubicBezTo>
                  <a:pt x="221" y="626"/>
                  <a:pt x="224" y="629"/>
                  <a:pt x="228" y="629"/>
                </a:cubicBezTo>
                <a:cubicBezTo>
                  <a:pt x="352" y="629"/>
                  <a:pt x="352" y="629"/>
                  <a:pt x="352" y="629"/>
                </a:cubicBezTo>
                <a:cubicBezTo>
                  <a:pt x="352" y="702"/>
                  <a:pt x="352" y="702"/>
                  <a:pt x="352" y="702"/>
                </a:cubicBezTo>
                <a:cubicBezTo>
                  <a:pt x="352" y="704"/>
                  <a:pt x="353" y="706"/>
                  <a:pt x="355" y="708"/>
                </a:cubicBezTo>
                <a:cubicBezTo>
                  <a:pt x="356" y="709"/>
                  <a:pt x="358" y="709"/>
                  <a:pt x="359" y="709"/>
                </a:cubicBezTo>
                <a:cubicBezTo>
                  <a:pt x="360" y="709"/>
                  <a:pt x="360" y="709"/>
                  <a:pt x="361" y="709"/>
                </a:cubicBezTo>
                <a:cubicBezTo>
                  <a:pt x="652" y="629"/>
                  <a:pt x="652" y="629"/>
                  <a:pt x="652" y="629"/>
                </a:cubicBezTo>
                <a:cubicBezTo>
                  <a:pt x="656" y="628"/>
                  <a:pt x="658" y="624"/>
                  <a:pt x="657" y="620"/>
                </a:cubicBezTo>
                <a:close/>
                <a:moveTo>
                  <a:pt x="235" y="615"/>
                </a:moveTo>
                <a:cubicBezTo>
                  <a:pt x="235" y="356"/>
                  <a:pt x="235" y="356"/>
                  <a:pt x="235" y="356"/>
                </a:cubicBezTo>
                <a:cubicBezTo>
                  <a:pt x="282" y="318"/>
                  <a:pt x="282" y="318"/>
                  <a:pt x="282" y="318"/>
                </a:cubicBezTo>
                <a:cubicBezTo>
                  <a:pt x="282" y="317"/>
                  <a:pt x="282" y="317"/>
                  <a:pt x="282" y="317"/>
                </a:cubicBezTo>
                <a:cubicBezTo>
                  <a:pt x="282" y="317"/>
                  <a:pt x="283" y="317"/>
                  <a:pt x="283" y="317"/>
                </a:cubicBezTo>
                <a:cubicBezTo>
                  <a:pt x="283" y="317"/>
                  <a:pt x="283" y="316"/>
                  <a:pt x="283" y="316"/>
                </a:cubicBezTo>
                <a:cubicBezTo>
                  <a:pt x="283" y="316"/>
                  <a:pt x="284" y="316"/>
                  <a:pt x="284" y="315"/>
                </a:cubicBezTo>
                <a:cubicBezTo>
                  <a:pt x="284" y="315"/>
                  <a:pt x="284" y="315"/>
                  <a:pt x="284" y="315"/>
                </a:cubicBezTo>
                <a:cubicBezTo>
                  <a:pt x="284" y="315"/>
                  <a:pt x="284" y="314"/>
                  <a:pt x="284" y="314"/>
                </a:cubicBezTo>
                <a:cubicBezTo>
                  <a:pt x="284" y="314"/>
                  <a:pt x="284" y="314"/>
                  <a:pt x="284" y="314"/>
                </a:cubicBezTo>
                <a:cubicBezTo>
                  <a:pt x="285" y="313"/>
                  <a:pt x="285" y="313"/>
                  <a:pt x="285" y="312"/>
                </a:cubicBezTo>
                <a:cubicBezTo>
                  <a:pt x="285" y="312"/>
                  <a:pt x="285" y="311"/>
                  <a:pt x="284" y="311"/>
                </a:cubicBezTo>
                <a:cubicBezTo>
                  <a:pt x="284" y="311"/>
                  <a:pt x="284" y="310"/>
                  <a:pt x="284" y="310"/>
                </a:cubicBezTo>
                <a:cubicBezTo>
                  <a:pt x="284" y="310"/>
                  <a:pt x="284" y="310"/>
                  <a:pt x="284" y="309"/>
                </a:cubicBezTo>
                <a:cubicBezTo>
                  <a:pt x="284" y="309"/>
                  <a:pt x="284" y="309"/>
                  <a:pt x="284" y="309"/>
                </a:cubicBezTo>
                <a:cubicBezTo>
                  <a:pt x="284" y="309"/>
                  <a:pt x="283" y="308"/>
                  <a:pt x="283" y="308"/>
                </a:cubicBezTo>
                <a:cubicBezTo>
                  <a:pt x="283" y="308"/>
                  <a:pt x="283" y="308"/>
                  <a:pt x="283" y="308"/>
                </a:cubicBezTo>
                <a:cubicBezTo>
                  <a:pt x="283" y="307"/>
                  <a:pt x="282" y="307"/>
                  <a:pt x="282" y="307"/>
                </a:cubicBezTo>
                <a:cubicBezTo>
                  <a:pt x="282" y="307"/>
                  <a:pt x="282" y="307"/>
                  <a:pt x="282" y="307"/>
                </a:cubicBezTo>
                <a:cubicBezTo>
                  <a:pt x="235" y="268"/>
                  <a:pt x="235" y="268"/>
                  <a:pt x="235" y="268"/>
                </a:cubicBezTo>
                <a:cubicBezTo>
                  <a:pt x="235" y="14"/>
                  <a:pt x="235" y="14"/>
                  <a:pt x="235" y="14"/>
                </a:cubicBezTo>
                <a:cubicBezTo>
                  <a:pt x="590" y="14"/>
                  <a:pt x="590" y="14"/>
                  <a:pt x="590" y="14"/>
                </a:cubicBezTo>
                <a:cubicBezTo>
                  <a:pt x="357" y="81"/>
                  <a:pt x="357" y="81"/>
                  <a:pt x="357" y="81"/>
                </a:cubicBezTo>
                <a:cubicBezTo>
                  <a:pt x="354" y="82"/>
                  <a:pt x="352" y="85"/>
                  <a:pt x="352" y="88"/>
                </a:cubicBezTo>
                <a:cubicBezTo>
                  <a:pt x="352" y="615"/>
                  <a:pt x="352" y="615"/>
                  <a:pt x="352" y="615"/>
                </a:cubicBezTo>
                <a:lnTo>
                  <a:pt x="235" y="615"/>
                </a:ln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11" name="Oval 12"/>
          <p:cNvSpPr>
            <a:spLocks noChangeArrowheads="1"/>
          </p:cNvSpPr>
          <p:nvPr/>
        </p:nvSpPr>
        <p:spPr bwMode="auto">
          <a:xfrm>
            <a:off x="6589621" y="3120088"/>
            <a:ext cx="1119124" cy="1119124"/>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9288" name="Freeform 101"/>
          <p:cNvSpPr>
            <a:spLocks noEditPoints="1"/>
          </p:cNvSpPr>
          <p:nvPr/>
        </p:nvSpPr>
        <p:spPr bwMode="auto">
          <a:xfrm>
            <a:off x="6946988" y="3376628"/>
            <a:ext cx="404389" cy="606045"/>
          </a:xfrm>
          <a:custGeom>
            <a:avLst/>
            <a:gdLst>
              <a:gd name="T0" fmla="*/ 309 w 384"/>
              <a:gd name="T1" fmla="*/ 309 h 576"/>
              <a:gd name="T2" fmla="*/ 243 w 384"/>
              <a:gd name="T3" fmla="*/ 111 h 576"/>
              <a:gd name="T4" fmla="*/ 200 w 384"/>
              <a:gd name="T5" fmla="*/ 7 h 576"/>
              <a:gd name="T6" fmla="*/ 186 w 384"/>
              <a:gd name="T7" fmla="*/ 7 h 576"/>
              <a:gd name="T8" fmla="*/ 142 w 384"/>
              <a:gd name="T9" fmla="*/ 111 h 576"/>
              <a:gd name="T10" fmla="*/ 75 w 384"/>
              <a:gd name="T11" fmla="*/ 309 h 576"/>
              <a:gd name="T12" fmla="*/ 0 w 384"/>
              <a:gd name="T13" fmla="*/ 316 h 576"/>
              <a:gd name="T14" fmla="*/ 70 w 384"/>
              <a:gd name="T15" fmla="*/ 323 h 576"/>
              <a:gd name="T16" fmla="*/ 15 w 384"/>
              <a:gd name="T17" fmla="*/ 474 h 576"/>
              <a:gd name="T18" fmla="*/ 36 w 384"/>
              <a:gd name="T19" fmla="*/ 569 h 576"/>
              <a:gd name="T20" fmla="*/ 50 w 384"/>
              <a:gd name="T21" fmla="*/ 569 h 576"/>
              <a:gd name="T22" fmla="*/ 126 w 384"/>
              <a:gd name="T23" fmla="*/ 323 h 576"/>
              <a:gd name="T24" fmla="*/ 186 w 384"/>
              <a:gd name="T25" fmla="*/ 358 h 576"/>
              <a:gd name="T26" fmla="*/ 200 w 384"/>
              <a:gd name="T27" fmla="*/ 358 h 576"/>
              <a:gd name="T28" fmla="*/ 258 w 384"/>
              <a:gd name="T29" fmla="*/ 323 h 576"/>
              <a:gd name="T30" fmla="*/ 334 w 384"/>
              <a:gd name="T31" fmla="*/ 569 h 576"/>
              <a:gd name="T32" fmla="*/ 348 w 384"/>
              <a:gd name="T33" fmla="*/ 569 h 576"/>
              <a:gd name="T34" fmla="*/ 370 w 384"/>
              <a:gd name="T35" fmla="*/ 474 h 576"/>
              <a:gd name="T36" fmla="*/ 314 w 384"/>
              <a:gd name="T37" fmla="*/ 323 h 576"/>
              <a:gd name="T38" fmla="*/ 384 w 384"/>
              <a:gd name="T39" fmla="*/ 316 h 576"/>
              <a:gd name="T40" fmla="*/ 193 w 384"/>
              <a:gd name="T41" fmla="*/ 74 h 576"/>
              <a:gd name="T42" fmla="*/ 200 w 384"/>
              <a:gd name="T43" fmla="*/ 146 h 576"/>
              <a:gd name="T44" fmla="*/ 193 w 384"/>
              <a:gd name="T45" fmla="*/ 147 h 576"/>
              <a:gd name="T46" fmla="*/ 193 w 384"/>
              <a:gd name="T47" fmla="*/ 74 h 576"/>
              <a:gd name="T48" fmla="*/ 174 w 384"/>
              <a:gd name="T49" fmla="*/ 157 h 576"/>
              <a:gd name="T50" fmla="*/ 28 w 384"/>
              <a:gd name="T51" fmla="*/ 471 h 576"/>
              <a:gd name="T52" fmla="*/ 200 w 384"/>
              <a:gd name="T53" fmla="*/ 309 h 576"/>
              <a:gd name="T54" fmla="*/ 193 w 384"/>
              <a:gd name="T55" fmla="*/ 267 h 576"/>
              <a:gd name="T56" fmla="*/ 186 w 384"/>
              <a:gd name="T57" fmla="*/ 309 h 576"/>
              <a:gd name="T58" fmla="*/ 188 w 384"/>
              <a:gd name="T59" fmla="*/ 160 h 576"/>
              <a:gd name="T60" fmla="*/ 196 w 384"/>
              <a:gd name="T61" fmla="*/ 160 h 576"/>
              <a:gd name="T62" fmla="*/ 200 w 384"/>
              <a:gd name="T63" fmla="*/ 309 h 576"/>
              <a:gd name="T64" fmla="*/ 210 w 384"/>
              <a:gd name="T65" fmla="*/ 157 h 576"/>
              <a:gd name="T66" fmla="*/ 298 w 384"/>
              <a:gd name="T67" fmla="*/ 319 h 576"/>
              <a:gd name="T68" fmla="*/ 356 w 384"/>
              <a:gd name="T69" fmla="*/ 471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84" h="576">
                <a:moveTo>
                  <a:pt x="377" y="309"/>
                </a:moveTo>
                <a:cubicBezTo>
                  <a:pt x="309" y="309"/>
                  <a:pt x="309" y="309"/>
                  <a:pt x="309" y="309"/>
                </a:cubicBezTo>
                <a:cubicBezTo>
                  <a:pt x="240" y="127"/>
                  <a:pt x="240" y="127"/>
                  <a:pt x="240" y="127"/>
                </a:cubicBezTo>
                <a:cubicBezTo>
                  <a:pt x="242" y="122"/>
                  <a:pt x="243" y="116"/>
                  <a:pt x="243" y="111"/>
                </a:cubicBezTo>
                <a:cubicBezTo>
                  <a:pt x="243" y="85"/>
                  <a:pt x="224" y="64"/>
                  <a:pt x="200" y="61"/>
                </a:cubicBezTo>
                <a:cubicBezTo>
                  <a:pt x="200" y="7"/>
                  <a:pt x="200" y="7"/>
                  <a:pt x="200" y="7"/>
                </a:cubicBezTo>
                <a:cubicBezTo>
                  <a:pt x="200" y="3"/>
                  <a:pt x="196" y="0"/>
                  <a:pt x="193" y="0"/>
                </a:cubicBezTo>
                <a:cubicBezTo>
                  <a:pt x="189" y="0"/>
                  <a:pt x="186" y="3"/>
                  <a:pt x="186" y="7"/>
                </a:cubicBezTo>
                <a:cubicBezTo>
                  <a:pt x="186" y="61"/>
                  <a:pt x="186" y="61"/>
                  <a:pt x="186" y="61"/>
                </a:cubicBezTo>
                <a:cubicBezTo>
                  <a:pt x="161" y="64"/>
                  <a:pt x="142" y="85"/>
                  <a:pt x="142" y="111"/>
                </a:cubicBezTo>
                <a:cubicBezTo>
                  <a:pt x="142" y="116"/>
                  <a:pt x="143" y="121"/>
                  <a:pt x="145" y="126"/>
                </a:cubicBezTo>
                <a:cubicBezTo>
                  <a:pt x="75" y="309"/>
                  <a:pt x="75" y="309"/>
                  <a:pt x="75" y="309"/>
                </a:cubicBezTo>
                <a:cubicBezTo>
                  <a:pt x="7" y="309"/>
                  <a:pt x="7" y="309"/>
                  <a:pt x="7" y="309"/>
                </a:cubicBezTo>
                <a:cubicBezTo>
                  <a:pt x="3" y="309"/>
                  <a:pt x="0" y="312"/>
                  <a:pt x="0" y="316"/>
                </a:cubicBezTo>
                <a:cubicBezTo>
                  <a:pt x="0" y="320"/>
                  <a:pt x="3" y="323"/>
                  <a:pt x="7" y="323"/>
                </a:cubicBezTo>
                <a:cubicBezTo>
                  <a:pt x="70" y="323"/>
                  <a:pt x="70" y="323"/>
                  <a:pt x="70" y="323"/>
                </a:cubicBezTo>
                <a:cubicBezTo>
                  <a:pt x="14" y="469"/>
                  <a:pt x="14" y="469"/>
                  <a:pt x="14" y="469"/>
                </a:cubicBezTo>
                <a:cubicBezTo>
                  <a:pt x="14" y="471"/>
                  <a:pt x="14" y="473"/>
                  <a:pt x="15" y="474"/>
                </a:cubicBezTo>
                <a:cubicBezTo>
                  <a:pt x="36" y="523"/>
                  <a:pt x="36" y="523"/>
                  <a:pt x="36" y="523"/>
                </a:cubicBezTo>
                <a:cubicBezTo>
                  <a:pt x="36" y="569"/>
                  <a:pt x="36" y="569"/>
                  <a:pt x="36" y="569"/>
                </a:cubicBezTo>
                <a:cubicBezTo>
                  <a:pt x="36" y="573"/>
                  <a:pt x="39" y="576"/>
                  <a:pt x="43" y="576"/>
                </a:cubicBezTo>
                <a:cubicBezTo>
                  <a:pt x="47" y="576"/>
                  <a:pt x="50" y="573"/>
                  <a:pt x="50" y="569"/>
                </a:cubicBezTo>
                <a:cubicBezTo>
                  <a:pt x="50" y="523"/>
                  <a:pt x="50" y="523"/>
                  <a:pt x="50" y="523"/>
                </a:cubicBezTo>
                <a:cubicBezTo>
                  <a:pt x="126" y="323"/>
                  <a:pt x="126" y="323"/>
                  <a:pt x="126" y="323"/>
                </a:cubicBezTo>
                <a:cubicBezTo>
                  <a:pt x="186" y="323"/>
                  <a:pt x="186" y="323"/>
                  <a:pt x="186" y="323"/>
                </a:cubicBezTo>
                <a:cubicBezTo>
                  <a:pt x="186" y="358"/>
                  <a:pt x="186" y="358"/>
                  <a:pt x="186" y="358"/>
                </a:cubicBezTo>
                <a:cubicBezTo>
                  <a:pt x="186" y="362"/>
                  <a:pt x="189" y="365"/>
                  <a:pt x="193" y="365"/>
                </a:cubicBezTo>
                <a:cubicBezTo>
                  <a:pt x="196" y="365"/>
                  <a:pt x="200" y="362"/>
                  <a:pt x="200" y="358"/>
                </a:cubicBezTo>
                <a:cubicBezTo>
                  <a:pt x="200" y="323"/>
                  <a:pt x="200" y="323"/>
                  <a:pt x="200" y="323"/>
                </a:cubicBezTo>
                <a:cubicBezTo>
                  <a:pt x="258" y="323"/>
                  <a:pt x="258" y="323"/>
                  <a:pt x="258" y="323"/>
                </a:cubicBezTo>
                <a:cubicBezTo>
                  <a:pt x="334" y="523"/>
                  <a:pt x="334" y="523"/>
                  <a:pt x="334" y="523"/>
                </a:cubicBezTo>
                <a:cubicBezTo>
                  <a:pt x="334" y="569"/>
                  <a:pt x="334" y="569"/>
                  <a:pt x="334" y="569"/>
                </a:cubicBezTo>
                <a:cubicBezTo>
                  <a:pt x="334" y="573"/>
                  <a:pt x="337" y="576"/>
                  <a:pt x="341" y="576"/>
                </a:cubicBezTo>
                <a:cubicBezTo>
                  <a:pt x="345" y="576"/>
                  <a:pt x="348" y="573"/>
                  <a:pt x="348" y="569"/>
                </a:cubicBezTo>
                <a:cubicBezTo>
                  <a:pt x="348" y="523"/>
                  <a:pt x="348" y="523"/>
                  <a:pt x="348" y="523"/>
                </a:cubicBezTo>
                <a:cubicBezTo>
                  <a:pt x="370" y="474"/>
                  <a:pt x="370" y="474"/>
                  <a:pt x="370" y="474"/>
                </a:cubicBezTo>
                <a:cubicBezTo>
                  <a:pt x="371" y="473"/>
                  <a:pt x="371" y="471"/>
                  <a:pt x="370" y="469"/>
                </a:cubicBezTo>
                <a:cubicBezTo>
                  <a:pt x="314" y="323"/>
                  <a:pt x="314" y="323"/>
                  <a:pt x="314" y="323"/>
                </a:cubicBezTo>
                <a:cubicBezTo>
                  <a:pt x="377" y="323"/>
                  <a:pt x="377" y="323"/>
                  <a:pt x="377" y="323"/>
                </a:cubicBezTo>
                <a:cubicBezTo>
                  <a:pt x="381" y="323"/>
                  <a:pt x="384" y="320"/>
                  <a:pt x="384" y="316"/>
                </a:cubicBezTo>
                <a:cubicBezTo>
                  <a:pt x="384" y="312"/>
                  <a:pt x="381" y="309"/>
                  <a:pt x="377" y="309"/>
                </a:cubicBezTo>
                <a:close/>
                <a:moveTo>
                  <a:pt x="193" y="74"/>
                </a:moveTo>
                <a:cubicBezTo>
                  <a:pt x="212" y="74"/>
                  <a:pt x="229" y="91"/>
                  <a:pt x="229" y="111"/>
                </a:cubicBezTo>
                <a:cubicBezTo>
                  <a:pt x="229" y="128"/>
                  <a:pt x="216" y="143"/>
                  <a:pt x="200" y="146"/>
                </a:cubicBezTo>
                <a:cubicBezTo>
                  <a:pt x="200" y="146"/>
                  <a:pt x="200" y="146"/>
                  <a:pt x="200" y="146"/>
                </a:cubicBezTo>
                <a:cubicBezTo>
                  <a:pt x="197" y="146"/>
                  <a:pt x="195" y="147"/>
                  <a:pt x="193" y="147"/>
                </a:cubicBezTo>
                <a:cubicBezTo>
                  <a:pt x="173" y="147"/>
                  <a:pt x="156" y="130"/>
                  <a:pt x="156" y="111"/>
                </a:cubicBezTo>
                <a:cubicBezTo>
                  <a:pt x="156" y="91"/>
                  <a:pt x="173" y="74"/>
                  <a:pt x="193" y="74"/>
                </a:cubicBezTo>
                <a:close/>
                <a:moveTo>
                  <a:pt x="154" y="142"/>
                </a:moveTo>
                <a:cubicBezTo>
                  <a:pt x="159" y="149"/>
                  <a:pt x="166" y="154"/>
                  <a:pt x="174" y="157"/>
                </a:cubicBezTo>
                <a:cubicBezTo>
                  <a:pt x="43" y="503"/>
                  <a:pt x="43" y="503"/>
                  <a:pt x="43" y="503"/>
                </a:cubicBezTo>
                <a:cubicBezTo>
                  <a:pt x="28" y="471"/>
                  <a:pt x="28" y="471"/>
                  <a:pt x="28" y="471"/>
                </a:cubicBezTo>
                <a:lnTo>
                  <a:pt x="154" y="142"/>
                </a:lnTo>
                <a:close/>
                <a:moveTo>
                  <a:pt x="200" y="309"/>
                </a:moveTo>
                <a:cubicBezTo>
                  <a:pt x="200" y="274"/>
                  <a:pt x="200" y="274"/>
                  <a:pt x="200" y="274"/>
                </a:cubicBezTo>
                <a:cubicBezTo>
                  <a:pt x="200" y="270"/>
                  <a:pt x="196" y="267"/>
                  <a:pt x="193" y="267"/>
                </a:cubicBezTo>
                <a:cubicBezTo>
                  <a:pt x="189" y="267"/>
                  <a:pt x="186" y="270"/>
                  <a:pt x="186" y="274"/>
                </a:cubicBezTo>
                <a:cubicBezTo>
                  <a:pt x="186" y="309"/>
                  <a:pt x="186" y="309"/>
                  <a:pt x="186" y="309"/>
                </a:cubicBezTo>
                <a:cubicBezTo>
                  <a:pt x="132" y="309"/>
                  <a:pt x="132" y="309"/>
                  <a:pt x="132" y="309"/>
                </a:cubicBezTo>
                <a:cubicBezTo>
                  <a:pt x="188" y="160"/>
                  <a:pt x="188" y="160"/>
                  <a:pt x="188" y="160"/>
                </a:cubicBezTo>
                <a:cubicBezTo>
                  <a:pt x="190" y="161"/>
                  <a:pt x="191" y="161"/>
                  <a:pt x="193" y="161"/>
                </a:cubicBezTo>
                <a:cubicBezTo>
                  <a:pt x="194" y="161"/>
                  <a:pt x="195" y="161"/>
                  <a:pt x="196" y="160"/>
                </a:cubicBezTo>
                <a:cubicBezTo>
                  <a:pt x="253" y="309"/>
                  <a:pt x="253" y="309"/>
                  <a:pt x="253" y="309"/>
                </a:cubicBezTo>
                <a:lnTo>
                  <a:pt x="200" y="309"/>
                </a:lnTo>
                <a:close/>
                <a:moveTo>
                  <a:pt x="342" y="503"/>
                </a:moveTo>
                <a:cubicBezTo>
                  <a:pt x="210" y="157"/>
                  <a:pt x="210" y="157"/>
                  <a:pt x="210" y="157"/>
                </a:cubicBezTo>
                <a:cubicBezTo>
                  <a:pt x="218" y="154"/>
                  <a:pt x="225" y="149"/>
                  <a:pt x="231" y="143"/>
                </a:cubicBezTo>
                <a:cubicBezTo>
                  <a:pt x="298" y="319"/>
                  <a:pt x="298" y="319"/>
                  <a:pt x="298" y="319"/>
                </a:cubicBezTo>
                <a:cubicBezTo>
                  <a:pt x="298" y="319"/>
                  <a:pt x="298" y="319"/>
                  <a:pt x="298" y="319"/>
                </a:cubicBezTo>
                <a:cubicBezTo>
                  <a:pt x="356" y="471"/>
                  <a:pt x="356" y="471"/>
                  <a:pt x="356" y="471"/>
                </a:cubicBezTo>
                <a:lnTo>
                  <a:pt x="342" y="503"/>
                </a:ln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6" name="Oval 7"/>
          <p:cNvSpPr>
            <a:spLocks noChangeArrowheads="1"/>
          </p:cNvSpPr>
          <p:nvPr/>
        </p:nvSpPr>
        <p:spPr bwMode="auto">
          <a:xfrm>
            <a:off x="1315706" y="4711628"/>
            <a:ext cx="1119124" cy="1119124"/>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9291" name="Freeform 104"/>
          <p:cNvSpPr>
            <a:spLocks noEditPoints="1"/>
          </p:cNvSpPr>
          <p:nvPr/>
        </p:nvSpPr>
        <p:spPr bwMode="auto">
          <a:xfrm>
            <a:off x="1608727" y="4809301"/>
            <a:ext cx="653117" cy="828458"/>
          </a:xfrm>
          <a:custGeom>
            <a:avLst/>
            <a:gdLst>
              <a:gd name="T0" fmla="*/ 480 w 620"/>
              <a:gd name="T1" fmla="*/ 419 h 787"/>
              <a:gd name="T2" fmla="*/ 618 w 620"/>
              <a:gd name="T3" fmla="*/ 203 h 787"/>
              <a:gd name="T4" fmla="*/ 606 w 620"/>
              <a:gd name="T5" fmla="*/ 196 h 787"/>
              <a:gd name="T6" fmla="*/ 396 w 620"/>
              <a:gd name="T7" fmla="*/ 319 h 787"/>
              <a:gd name="T8" fmla="*/ 524 w 620"/>
              <a:gd name="T9" fmla="*/ 97 h 787"/>
              <a:gd name="T10" fmla="*/ 382 w 620"/>
              <a:gd name="T11" fmla="*/ 314 h 787"/>
              <a:gd name="T12" fmla="*/ 259 w 620"/>
              <a:gd name="T13" fmla="*/ 303 h 787"/>
              <a:gd name="T14" fmla="*/ 419 w 620"/>
              <a:gd name="T15" fmla="*/ 27 h 787"/>
              <a:gd name="T16" fmla="*/ 245 w 620"/>
              <a:gd name="T17" fmla="*/ 299 h 787"/>
              <a:gd name="T18" fmla="*/ 292 w 620"/>
              <a:gd name="T19" fmla="*/ 11 h 787"/>
              <a:gd name="T20" fmla="*/ 280 w 620"/>
              <a:gd name="T21" fmla="*/ 4 h 787"/>
              <a:gd name="T22" fmla="*/ 153 w 620"/>
              <a:gd name="T23" fmla="*/ 212 h 787"/>
              <a:gd name="T24" fmla="*/ 153 w 620"/>
              <a:gd name="T25" fmla="*/ 213 h 787"/>
              <a:gd name="T26" fmla="*/ 0 w 620"/>
              <a:gd name="T27" fmla="*/ 779 h 787"/>
              <a:gd name="T28" fmla="*/ 0 w 620"/>
              <a:gd name="T29" fmla="*/ 780 h 787"/>
              <a:gd name="T30" fmla="*/ 0 w 620"/>
              <a:gd name="T31" fmla="*/ 781 h 787"/>
              <a:gd name="T32" fmla="*/ 0 w 620"/>
              <a:gd name="T33" fmla="*/ 782 h 787"/>
              <a:gd name="T34" fmla="*/ 1 w 620"/>
              <a:gd name="T35" fmla="*/ 784 h 787"/>
              <a:gd name="T36" fmla="*/ 2 w 620"/>
              <a:gd name="T37" fmla="*/ 785 h 787"/>
              <a:gd name="T38" fmla="*/ 2 w 620"/>
              <a:gd name="T39" fmla="*/ 786 h 787"/>
              <a:gd name="T40" fmla="*/ 4 w 620"/>
              <a:gd name="T41" fmla="*/ 786 h 787"/>
              <a:gd name="T42" fmla="*/ 5 w 620"/>
              <a:gd name="T43" fmla="*/ 787 h 787"/>
              <a:gd name="T44" fmla="*/ 5 w 620"/>
              <a:gd name="T45" fmla="*/ 787 h 787"/>
              <a:gd name="T46" fmla="*/ 7 w 620"/>
              <a:gd name="T47" fmla="*/ 787 h 787"/>
              <a:gd name="T48" fmla="*/ 521 w 620"/>
              <a:gd name="T49" fmla="*/ 787 h 787"/>
              <a:gd name="T50" fmla="*/ 521 w 620"/>
              <a:gd name="T51" fmla="*/ 773 h 787"/>
              <a:gd name="T52" fmla="*/ 479 w 620"/>
              <a:gd name="T53" fmla="*/ 420 h 787"/>
              <a:gd name="T54" fmla="*/ 317 w 620"/>
              <a:gd name="T55" fmla="*/ 322 h 787"/>
              <a:gd name="T56" fmla="*/ 129 w 620"/>
              <a:gd name="T57" fmla="*/ 719 h 787"/>
              <a:gd name="T58" fmla="*/ 46 w 620"/>
              <a:gd name="T59" fmla="*/ 661 h 787"/>
              <a:gd name="T60" fmla="*/ 317 w 620"/>
              <a:gd name="T61" fmla="*/ 322 h 787"/>
              <a:gd name="T62" fmla="*/ 43 w 620"/>
              <a:gd name="T63" fmla="*/ 675 h 787"/>
              <a:gd name="T64" fmla="*/ 117 w 620"/>
              <a:gd name="T65" fmla="*/ 730 h 787"/>
              <a:gd name="T66" fmla="*/ 16 w 620"/>
              <a:gd name="T67" fmla="*/ 773 h 7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20" h="787">
                <a:moveTo>
                  <a:pt x="479" y="420"/>
                </a:moveTo>
                <a:cubicBezTo>
                  <a:pt x="479" y="419"/>
                  <a:pt x="480" y="419"/>
                  <a:pt x="480" y="419"/>
                </a:cubicBezTo>
                <a:cubicBezTo>
                  <a:pt x="480" y="419"/>
                  <a:pt x="480" y="419"/>
                  <a:pt x="480" y="419"/>
                </a:cubicBezTo>
                <a:cubicBezTo>
                  <a:pt x="618" y="203"/>
                  <a:pt x="618" y="203"/>
                  <a:pt x="618" y="203"/>
                </a:cubicBezTo>
                <a:cubicBezTo>
                  <a:pt x="620" y="200"/>
                  <a:pt x="619" y="196"/>
                  <a:pt x="616" y="193"/>
                </a:cubicBezTo>
                <a:cubicBezTo>
                  <a:pt x="613" y="191"/>
                  <a:pt x="608" y="192"/>
                  <a:pt x="606" y="196"/>
                </a:cubicBezTo>
                <a:cubicBezTo>
                  <a:pt x="475" y="401"/>
                  <a:pt x="475" y="401"/>
                  <a:pt x="475" y="401"/>
                </a:cubicBezTo>
                <a:cubicBezTo>
                  <a:pt x="450" y="353"/>
                  <a:pt x="423" y="330"/>
                  <a:pt x="396" y="319"/>
                </a:cubicBezTo>
                <a:cubicBezTo>
                  <a:pt x="527" y="107"/>
                  <a:pt x="527" y="107"/>
                  <a:pt x="527" y="107"/>
                </a:cubicBezTo>
                <a:cubicBezTo>
                  <a:pt x="529" y="103"/>
                  <a:pt x="528" y="99"/>
                  <a:pt x="524" y="97"/>
                </a:cubicBezTo>
                <a:cubicBezTo>
                  <a:pt x="521" y="95"/>
                  <a:pt x="517" y="96"/>
                  <a:pt x="515" y="99"/>
                </a:cubicBezTo>
                <a:cubicBezTo>
                  <a:pt x="382" y="314"/>
                  <a:pt x="382" y="314"/>
                  <a:pt x="382" y="314"/>
                </a:cubicBezTo>
                <a:cubicBezTo>
                  <a:pt x="360" y="308"/>
                  <a:pt x="338" y="308"/>
                  <a:pt x="317" y="308"/>
                </a:cubicBezTo>
                <a:cubicBezTo>
                  <a:pt x="297" y="308"/>
                  <a:pt x="278" y="308"/>
                  <a:pt x="259" y="303"/>
                </a:cubicBezTo>
                <a:cubicBezTo>
                  <a:pt x="421" y="36"/>
                  <a:pt x="421" y="36"/>
                  <a:pt x="421" y="36"/>
                </a:cubicBezTo>
                <a:cubicBezTo>
                  <a:pt x="423" y="33"/>
                  <a:pt x="422" y="29"/>
                  <a:pt x="419" y="27"/>
                </a:cubicBezTo>
                <a:cubicBezTo>
                  <a:pt x="415" y="25"/>
                  <a:pt x="411" y="26"/>
                  <a:pt x="409" y="29"/>
                </a:cubicBezTo>
                <a:cubicBezTo>
                  <a:pt x="245" y="299"/>
                  <a:pt x="245" y="299"/>
                  <a:pt x="245" y="299"/>
                </a:cubicBezTo>
                <a:cubicBezTo>
                  <a:pt x="218" y="288"/>
                  <a:pt x="192" y="265"/>
                  <a:pt x="167" y="216"/>
                </a:cubicBezTo>
                <a:cubicBezTo>
                  <a:pt x="292" y="11"/>
                  <a:pt x="292" y="11"/>
                  <a:pt x="292" y="11"/>
                </a:cubicBezTo>
                <a:cubicBezTo>
                  <a:pt x="294" y="8"/>
                  <a:pt x="293" y="4"/>
                  <a:pt x="289" y="2"/>
                </a:cubicBezTo>
                <a:cubicBezTo>
                  <a:pt x="286" y="0"/>
                  <a:pt x="282" y="1"/>
                  <a:pt x="280" y="4"/>
                </a:cubicBezTo>
                <a:cubicBezTo>
                  <a:pt x="153" y="212"/>
                  <a:pt x="153" y="212"/>
                  <a:pt x="153" y="212"/>
                </a:cubicBezTo>
                <a:cubicBezTo>
                  <a:pt x="153" y="212"/>
                  <a:pt x="153" y="212"/>
                  <a:pt x="153" y="212"/>
                </a:cubicBezTo>
                <a:cubicBezTo>
                  <a:pt x="153" y="212"/>
                  <a:pt x="153" y="213"/>
                  <a:pt x="153" y="213"/>
                </a:cubicBezTo>
                <a:cubicBezTo>
                  <a:pt x="153" y="213"/>
                  <a:pt x="153" y="213"/>
                  <a:pt x="153" y="213"/>
                </a:cubicBezTo>
                <a:cubicBezTo>
                  <a:pt x="0" y="779"/>
                  <a:pt x="0" y="779"/>
                  <a:pt x="0" y="779"/>
                </a:cubicBezTo>
                <a:cubicBezTo>
                  <a:pt x="0" y="779"/>
                  <a:pt x="0" y="779"/>
                  <a:pt x="0" y="779"/>
                </a:cubicBezTo>
                <a:cubicBezTo>
                  <a:pt x="0" y="779"/>
                  <a:pt x="0" y="779"/>
                  <a:pt x="0" y="779"/>
                </a:cubicBezTo>
                <a:cubicBezTo>
                  <a:pt x="0" y="780"/>
                  <a:pt x="0" y="780"/>
                  <a:pt x="0" y="780"/>
                </a:cubicBezTo>
                <a:cubicBezTo>
                  <a:pt x="0" y="780"/>
                  <a:pt x="0" y="780"/>
                  <a:pt x="0" y="780"/>
                </a:cubicBezTo>
                <a:cubicBezTo>
                  <a:pt x="0" y="781"/>
                  <a:pt x="0" y="781"/>
                  <a:pt x="0" y="781"/>
                </a:cubicBezTo>
                <a:cubicBezTo>
                  <a:pt x="0" y="781"/>
                  <a:pt x="0" y="781"/>
                  <a:pt x="0" y="782"/>
                </a:cubicBezTo>
                <a:cubicBezTo>
                  <a:pt x="0" y="782"/>
                  <a:pt x="0" y="782"/>
                  <a:pt x="0" y="782"/>
                </a:cubicBezTo>
                <a:cubicBezTo>
                  <a:pt x="0" y="782"/>
                  <a:pt x="1" y="783"/>
                  <a:pt x="1" y="783"/>
                </a:cubicBezTo>
                <a:cubicBezTo>
                  <a:pt x="1" y="783"/>
                  <a:pt x="1" y="783"/>
                  <a:pt x="1" y="784"/>
                </a:cubicBezTo>
                <a:cubicBezTo>
                  <a:pt x="1" y="784"/>
                  <a:pt x="1" y="784"/>
                  <a:pt x="1" y="784"/>
                </a:cubicBezTo>
                <a:cubicBezTo>
                  <a:pt x="1" y="784"/>
                  <a:pt x="1" y="784"/>
                  <a:pt x="2" y="785"/>
                </a:cubicBezTo>
                <a:cubicBezTo>
                  <a:pt x="2" y="785"/>
                  <a:pt x="2" y="785"/>
                  <a:pt x="2" y="785"/>
                </a:cubicBezTo>
                <a:cubicBezTo>
                  <a:pt x="2" y="785"/>
                  <a:pt x="2" y="785"/>
                  <a:pt x="2" y="786"/>
                </a:cubicBezTo>
                <a:cubicBezTo>
                  <a:pt x="3" y="786"/>
                  <a:pt x="3" y="786"/>
                  <a:pt x="3" y="786"/>
                </a:cubicBezTo>
                <a:cubicBezTo>
                  <a:pt x="3" y="786"/>
                  <a:pt x="3" y="786"/>
                  <a:pt x="4" y="786"/>
                </a:cubicBezTo>
                <a:cubicBezTo>
                  <a:pt x="4" y="787"/>
                  <a:pt x="4" y="787"/>
                  <a:pt x="4" y="787"/>
                </a:cubicBezTo>
                <a:cubicBezTo>
                  <a:pt x="4" y="787"/>
                  <a:pt x="5" y="787"/>
                  <a:pt x="5" y="787"/>
                </a:cubicBezTo>
                <a:cubicBezTo>
                  <a:pt x="5" y="787"/>
                  <a:pt x="5" y="787"/>
                  <a:pt x="5" y="787"/>
                </a:cubicBezTo>
                <a:cubicBezTo>
                  <a:pt x="5" y="787"/>
                  <a:pt x="5" y="787"/>
                  <a:pt x="5" y="787"/>
                </a:cubicBezTo>
                <a:cubicBezTo>
                  <a:pt x="6" y="787"/>
                  <a:pt x="7" y="787"/>
                  <a:pt x="7" y="787"/>
                </a:cubicBezTo>
                <a:cubicBezTo>
                  <a:pt x="7" y="787"/>
                  <a:pt x="7" y="787"/>
                  <a:pt x="7" y="787"/>
                </a:cubicBezTo>
                <a:cubicBezTo>
                  <a:pt x="7" y="787"/>
                  <a:pt x="7" y="787"/>
                  <a:pt x="7" y="787"/>
                </a:cubicBezTo>
                <a:cubicBezTo>
                  <a:pt x="521" y="787"/>
                  <a:pt x="521" y="787"/>
                  <a:pt x="521" y="787"/>
                </a:cubicBezTo>
                <a:cubicBezTo>
                  <a:pt x="525" y="787"/>
                  <a:pt x="528" y="784"/>
                  <a:pt x="528" y="780"/>
                </a:cubicBezTo>
                <a:cubicBezTo>
                  <a:pt x="528" y="777"/>
                  <a:pt x="525" y="773"/>
                  <a:pt x="521" y="773"/>
                </a:cubicBezTo>
                <a:cubicBezTo>
                  <a:pt x="90" y="773"/>
                  <a:pt x="90" y="773"/>
                  <a:pt x="90" y="773"/>
                </a:cubicBezTo>
                <a:cubicBezTo>
                  <a:pt x="479" y="420"/>
                  <a:pt x="479" y="420"/>
                  <a:pt x="479" y="420"/>
                </a:cubicBezTo>
                <a:cubicBezTo>
                  <a:pt x="479" y="420"/>
                  <a:pt x="479" y="420"/>
                  <a:pt x="479" y="420"/>
                </a:cubicBezTo>
                <a:close/>
                <a:moveTo>
                  <a:pt x="317" y="322"/>
                </a:moveTo>
                <a:cubicBezTo>
                  <a:pt x="370" y="322"/>
                  <a:pt x="420" y="322"/>
                  <a:pt x="466" y="413"/>
                </a:cubicBezTo>
                <a:cubicBezTo>
                  <a:pt x="129" y="719"/>
                  <a:pt x="129" y="719"/>
                  <a:pt x="129" y="719"/>
                </a:cubicBezTo>
                <a:cubicBezTo>
                  <a:pt x="119" y="718"/>
                  <a:pt x="106" y="705"/>
                  <a:pt x="94" y="693"/>
                </a:cubicBezTo>
                <a:cubicBezTo>
                  <a:pt x="80" y="679"/>
                  <a:pt x="64" y="663"/>
                  <a:pt x="46" y="661"/>
                </a:cubicBezTo>
                <a:cubicBezTo>
                  <a:pt x="161" y="234"/>
                  <a:pt x="161" y="234"/>
                  <a:pt x="161" y="234"/>
                </a:cubicBezTo>
                <a:cubicBezTo>
                  <a:pt x="209" y="322"/>
                  <a:pt x="264" y="322"/>
                  <a:pt x="317" y="322"/>
                </a:cubicBezTo>
                <a:close/>
                <a:moveTo>
                  <a:pt x="16" y="773"/>
                </a:moveTo>
                <a:cubicBezTo>
                  <a:pt x="43" y="675"/>
                  <a:pt x="43" y="675"/>
                  <a:pt x="43" y="675"/>
                </a:cubicBezTo>
                <a:cubicBezTo>
                  <a:pt x="56" y="674"/>
                  <a:pt x="70" y="689"/>
                  <a:pt x="84" y="703"/>
                </a:cubicBezTo>
                <a:cubicBezTo>
                  <a:pt x="95" y="714"/>
                  <a:pt x="106" y="725"/>
                  <a:pt x="117" y="730"/>
                </a:cubicBezTo>
                <a:cubicBezTo>
                  <a:pt x="69" y="773"/>
                  <a:pt x="69" y="773"/>
                  <a:pt x="69" y="773"/>
                </a:cubicBezTo>
                <a:lnTo>
                  <a:pt x="16" y="773"/>
                </a:ln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9276" name="Oval 73"/>
          <p:cNvSpPr>
            <a:spLocks noChangeArrowheads="1"/>
          </p:cNvSpPr>
          <p:nvPr/>
        </p:nvSpPr>
        <p:spPr bwMode="auto">
          <a:xfrm>
            <a:off x="1315706" y="3120088"/>
            <a:ext cx="1119124" cy="1119124"/>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9294" name="Freeform 107"/>
          <p:cNvSpPr>
            <a:spLocks noEditPoints="1"/>
          </p:cNvSpPr>
          <p:nvPr/>
        </p:nvSpPr>
        <p:spPr bwMode="auto">
          <a:xfrm>
            <a:off x="1556694" y="3361331"/>
            <a:ext cx="641850" cy="637818"/>
          </a:xfrm>
          <a:custGeom>
            <a:avLst/>
            <a:gdLst>
              <a:gd name="T0" fmla="*/ 591 w 610"/>
              <a:gd name="T1" fmla="*/ 523 h 606"/>
              <a:gd name="T2" fmla="*/ 463 w 610"/>
              <a:gd name="T3" fmla="*/ 395 h 606"/>
              <a:gd name="T4" fmla="*/ 432 w 610"/>
              <a:gd name="T5" fmla="*/ 74 h 606"/>
              <a:gd name="T6" fmla="*/ 253 w 610"/>
              <a:gd name="T7" fmla="*/ 0 h 606"/>
              <a:gd name="T8" fmla="*/ 74 w 610"/>
              <a:gd name="T9" fmla="*/ 74 h 606"/>
              <a:gd name="T10" fmla="*/ 0 w 610"/>
              <a:gd name="T11" fmla="*/ 253 h 606"/>
              <a:gd name="T12" fmla="*/ 74 w 610"/>
              <a:gd name="T13" fmla="*/ 433 h 606"/>
              <a:gd name="T14" fmla="*/ 253 w 610"/>
              <a:gd name="T15" fmla="*/ 507 h 606"/>
              <a:gd name="T16" fmla="*/ 395 w 610"/>
              <a:gd name="T17" fmla="*/ 464 h 606"/>
              <a:gd name="T18" fmla="*/ 522 w 610"/>
              <a:gd name="T19" fmla="*/ 591 h 606"/>
              <a:gd name="T20" fmla="*/ 557 w 610"/>
              <a:gd name="T21" fmla="*/ 606 h 606"/>
              <a:gd name="T22" fmla="*/ 591 w 610"/>
              <a:gd name="T23" fmla="*/ 591 h 606"/>
              <a:gd name="T24" fmla="*/ 591 w 610"/>
              <a:gd name="T25" fmla="*/ 523 h 606"/>
              <a:gd name="T26" fmla="*/ 84 w 610"/>
              <a:gd name="T27" fmla="*/ 423 h 606"/>
              <a:gd name="T28" fmla="*/ 14 w 610"/>
              <a:gd name="T29" fmla="*/ 253 h 606"/>
              <a:gd name="T30" fmla="*/ 84 w 610"/>
              <a:gd name="T31" fmla="*/ 84 h 606"/>
              <a:gd name="T32" fmla="*/ 253 w 610"/>
              <a:gd name="T33" fmla="*/ 14 h 606"/>
              <a:gd name="T34" fmla="*/ 422 w 610"/>
              <a:gd name="T35" fmla="*/ 84 h 606"/>
              <a:gd name="T36" fmla="*/ 449 w 610"/>
              <a:gd name="T37" fmla="*/ 391 h 606"/>
              <a:gd name="T38" fmla="*/ 448 w 610"/>
              <a:gd name="T39" fmla="*/ 392 h 606"/>
              <a:gd name="T40" fmla="*/ 422 w 610"/>
              <a:gd name="T41" fmla="*/ 423 h 606"/>
              <a:gd name="T42" fmla="*/ 392 w 610"/>
              <a:gd name="T43" fmla="*/ 448 h 606"/>
              <a:gd name="T44" fmla="*/ 391 w 610"/>
              <a:gd name="T45" fmla="*/ 449 h 606"/>
              <a:gd name="T46" fmla="*/ 253 w 610"/>
              <a:gd name="T47" fmla="*/ 493 h 606"/>
              <a:gd name="T48" fmla="*/ 84 w 610"/>
              <a:gd name="T49" fmla="*/ 423 h 606"/>
              <a:gd name="T50" fmla="*/ 581 w 610"/>
              <a:gd name="T51" fmla="*/ 581 h 606"/>
              <a:gd name="T52" fmla="*/ 532 w 610"/>
              <a:gd name="T53" fmla="*/ 581 h 606"/>
              <a:gd name="T54" fmla="*/ 406 w 610"/>
              <a:gd name="T55" fmla="*/ 455 h 606"/>
              <a:gd name="T56" fmla="*/ 432 w 610"/>
              <a:gd name="T57" fmla="*/ 433 h 606"/>
              <a:gd name="T58" fmla="*/ 455 w 610"/>
              <a:gd name="T59" fmla="*/ 406 h 606"/>
              <a:gd name="T60" fmla="*/ 581 w 610"/>
              <a:gd name="T61" fmla="*/ 533 h 606"/>
              <a:gd name="T62" fmla="*/ 581 w 610"/>
              <a:gd name="T63" fmla="*/ 581 h 6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10" h="606">
                <a:moveTo>
                  <a:pt x="591" y="523"/>
                </a:moveTo>
                <a:cubicBezTo>
                  <a:pt x="463" y="395"/>
                  <a:pt x="463" y="395"/>
                  <a:pt x="463" y="395"/>
                </a:cubicBezTo>
                <a:cubicBezTo>
                  <a:pt x="530" y="296"/>
                  <a:pt x="519" y="161"/>
                  <a:pt x="432" y="74"/>
                </a:cubicBezTo>
                <a:cubicBezTo>
                  <a:pt x="384" y="26"/>
                  <a:pt x="321" y="0"/>
                  <a:pt x="253" y="0"/>
                </a:cubicBezTo>
                <a:cubicBezTo>
                  <a:pt x="185" y="0"/>
                  <a:pt x="122" y="26"/>
                  <a:pt x="74" y="74"/>
                </a:cubicBezTo>
                <a:cubicBezTo>
                  <a:pt x="26" y="122"/>
                  <a:pt x="0" y="186"/>
                  <a:pt x="0" y="253"/>
                </a:cubicBezTo>
                <a:cubicBezTo>
                  <a:pt x="0" y="321"/>
                  <a:pt x="26" y="385"/>
                  <a:pt x="74" y="433"/>
                </a:cubicBezTo>
                <a:cubicBezTo>
                  <a:pt x="122" y="480"/>
                  <a:pt x="185" y="507"/>
                  <a:pt x="253" y="507"/>
                </a:cubicBezTo>
                <a:cubicBezTo>
                  <a:pt x="304" y="507"/>
                  <a:pt x="353" y="492"/>
                  <a:pt x="395" y="464"/>
                </a:cubicBezTo>
                <a:cubicBezTo>
                  <a:pt x="522" y="591"/>
                  <a:pt x="522" y="591"/>
                  <a:pt x="522" y="591"/>
                </a:cubicBezTo>
                <a:cubicBezTo>
                  <a:pt x="532" y="601"/>
                  <a:pt x="544" y="606"/>
                  <a:pt x="557" y="606"/>
                </a:cubicBezTo>
                <a:cubicBezTo>
                  <a:pt x="569" y="606"/>
                  <a:pt x="582" y="601"/>
                  <a:pt x="591" y="591"/>
                </a:cubicBezTo>
                <a:cubicBezTo>
                  <a:pt x="610" y="572"/>
                  <a:pt x="610" y="542"/>
                  <a:pt x="591" y="523"/>
                </a:cubicBezTo>
                <a:close/>
                <a:moveTo>
                  <a:pt x="84" y="423"/>
                </a:moveTo>
                <a:cubicBezTo>
                  <a:pt x="39" y="377"/>
                  <a:pt x="14" y="317"/>
                  <a:pt x="14" y="253"/>
                </a:cubicBezTo>
                <a:cubicBezTo>
                  <a:pt x="14" y="189"/>
                  <a:pt x="39" y="129"/>
                  <a:pt x="84" y="84"/>
                </a:cubicBezTo>
                <a:cubicBezTo>
                  <a:pt x="129" y="39"/>
                  <a:pt x="189" y="14"/>
                  <a:pt x="253" y="14"/>
                </a:cubicBezTo>
                <a:cubicBezTo>
                  <a:pt x="317" y="14"/>
                  <a:pt x="377" y="39"/>
                  <a:pt x="422" y="84"/>
                </a:cubicBezTo>
                <a:cubicBezTo>
                  <a:pt x="506" y="168"/>
                  <a:pt x="514" y="298"/>
                  <a:pt x="449" y="391"/>
                </a:cubicBezTo>
                <a:cubicBezTo>
                  <a:pt x="448" y="392"/>
                  <a:pt x="448" y="392"/>
                  <a:pt x="448" y="392"/>
                </a:cubicBezTo>
                <a:cubicBezTo>
                  <a:pt x="440" y="403"/>
                  <a:pt x="432" y="413"/>
                  <a:pt x="422" y="423"/>
                </a:cubicBezTo>
                <a:cubicBezTo>
                  <a:pt x="413" y="432"/>
                  <a:pt x="403" y="441"/>
                  <a:pt x="392" y="448"/>
                </a:cubicBezTo>
                <a:cubicBezTo>
                  <a:pt x="392" y="448"/>
                  <a:pt x="391" y="449"/>
                  <a:pt x="391" y="449"/>
                </a:cubicBezTo>
                <a:cubicBezTo>
                  <a:pt x="351" y="477"/>
                  <a:pt x="303" y="493"/>
                  <a:pt x="253" y="493"/>
                </a:cubicBezTo>
                <a:cubicBezTo>
                  <a:pt x="189" y="493"/>
                  <a:pt x="129" y="468"/>
                  <a:pt x="84" y="423"/>
                </a:cubicBezTo>
                <a:close/>
                <a:moveTo>
                  <a:pt x="581" y="581"/>
                </a:moveTo>
                <a:cubicBezTo>
                  <a:pt x="568" y="595"/>
                  <a:pt x="546" y="595"/>
                  <a:pt x="532" y="581"/>
                </a:cubicBezTo>
                <a:cubicBezTo>
                  <a:pt x="406" y="455"/>
                  <a:pt x="406" y="455"/>
                  <a:pt x="406" y="455"/>
                </a:cubicBezTo>
                <a:cubicBezTo>
                  <a:pt x="415" y="448"/>
                  <a:pt x="424" y="441"/>
                  <a:pt x="432" y="433"/>
                </a:cubicBezTo>
                <a:cubicBezTo>
                  <a:pt x="440" y="424"/>
                  <a:pt x="448" y="415"/>
                  <a:pt x="455" y="406"/>
                </a:cubicBezTo>
                <a:cubicBezTo>
                  <a:pt x="581" y="533"/>
                  <a:pt x="581" y="533"/>
                  <a:pt x="581" y="533"/>
                </a:cubicBezTo>
                <a:cubicBezTo>
                  <a:pt x="595" y="546"/>
                  <a:pt x="595" y="568"/>
                  <a:pt x="581" y="581"/>
                </a:cubicBez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9261" name="Oval 70"/>
          <p:cNvSpPr>
            <a:spLocks noChangeArrowheads="1"/>
          </p:cNvSpPr>
          <p:nvPr/>
        </p:nvSpPr>
        <p:spPr bwMode="auto">
          <a:xfrm>
            <a:off x="6589621" y="1528549"/>
            <a:ext cx="1119124" cy="1119124"/>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9316" name="Freeform 129"/>
          <p:cNvSpPr>
            <a:spLocks noEditPoints="1"/>
          </p:cNvSpPr>
          <p:nvPr/>
        </p:nvSpPr>
        <p:spPr bwMode="auto">
          <a:xfrm>
            <a:off x="6812976" y="1747431"/>
            <a:ext cx="693575" cy="682536"/>
          </a:xfrm>
          <a:custGeom>
            <a:avLst/>
            <a:gdLst>
              <a:gd name="T0" fmla="*/ 115 w 659"/>
              <a:gd name="T1" fmla="*/ 648 h 648"/>
              <a:gd name="T2" fmla="*/ 41 w 659"/>
              <a:gd name="T3" fmla="*/ 617 h 648"/>
              <a:gd name="T4" fmla="*/ 41 w 659"/>
              <a:gd name="T5" fmla="*/ 469 h 648"/>
              <a:gd name="T6" fmla="*/ 115 w 659"/>
              <a:gd name="T7" fmla="*/ 438 h 648"/>
              <a:gd name="T8" fmla="*/ 190 w 659"/>
              <a:gd name="T9" fmla="*/ 469 h 648"/>
              <a:gd name="T10" fmla="*/ 190 w 659"/>
              <a:gd name="T11" fmla="*/ 617 h 648"/>
              <a:gd name="T12" fmla="*/ 115 w 659"/>
              <a:gd name="T13" fmla="*/ 648 h 648"/>
              <a:gd name="T14" fmla="*/ 115 w 659"/>
              <a:gd name="T15" fmla="*/ 452 h 648"/>
              <a:gd name="T16" fmla="*/ 51 w 659"/>
              <a:gd name="T17" fmla="*/ 479 h 648"/>
              <a:gd name="T18" fmla="*/ 51 w 659"/>
              <a:gd name="T19" fmla="*/ 607 h 648"/>
              <a:gd name="T20" fmla="*/ 115 w 659"/>
              <a:gd name="T21" fmla="*/ 634 h 648"/>
              <a:gd name="T22" fmla="*/ 180 w 659"/>
              <a:gd name="T23" fmla="*/ 607 h 648"/>
              <a:gd name="T24" fmla="*/ 180 w 659"/>
              <a:gd name="T25" fmla="*/ 479 h 648"/>
              <a:gd name="T26" fmla="*/ 115 w 659"/>
              <a:gd name="T27" fmla="*/ 452 h 648"/>
              <a:gd name="T28" fmla="*/ 652 w 659"/>
              <a:gd name="T29" fmla="*/ 539 h 648"/>
              <a:gd name="T30" fmla="*/ 652 w 659"/>
              <a:gd name="T31" fmla="*/ 539 h 648"/>
              <a:gd name="T32" fmla="*/ 515 w 659"/>
              <a:gd name="T33" fmla="*/ 539 h 648"/>
              <a:gd name="T34" fmla="*/ 508 w 659"/>
              <a:gd name="T35" fmla="*/ 532 h 648"/>
              <a:gd name="T36" fmla="*/ 126 w 659"/>
              <a:gd name="T37" fmla="*/ 151 h 648"/>
              <a:gd name="T38" fmla="*/ 119 w 659"/>
              <a:gd name="T39" fmla="*/ 144 h 648"/>
              <a:gd name="T40" fmla="*/ 119 w 659"/>
              <a:gd name="T41" fmla="*/ 7 h 648"/>
              <a:gd name="T42" fmla="*/ 126 w 659"/>
              <a:gd name="T43" fmla="*/ 0 h 648"/>
              <a:gd name="T44" fmla="*/ 503 w 659"/>
              <a:gd name="T45" fmla="*/ 156 h 648"/>
              <a:gd name="T46" fmla="*/ 659 w 659"/>
              <a:gd name="T47" fmla="*/ 532 h 648"/>
              <a:gd name="T48" fmla="*/ 657 w 659"/>
              <a:gd name="T49" fmla="*/ 537 h 648"/>
              <a:gd name="T50" fmla="*/ 652 w 659"/>
              <a:gd name="T51" fmla="*/ 539 h 648"/>
              <a:gd name="T52" fmla="*/ 522 w 659"/>
              <a:gd name="T53" fmla="*/ 525 h 648"/>
              <a:gd name="T54" fmla="*/ 645 w 659"/>
              <a:gd name="T55" fmla="*/ 525 h 648"/>
              <a:gd name="T56" fmla="*/ 493 w 659"/>
              <a:gd name="T57" fmla="*/ 166 h 648"/>
              <a:gd name="T58" fmla="*/ 133 w 659"/>
              <a:gd name="T59" fmla="*/ 14 h 648"/>
              <a:gd name="T60" fmla="*/ 133 w 659"/>
              <a:gd name="T61" fmla="*/ 137 h 648"/>
              <a:gd name="T62" fmla="*/ 522 w 659"/>
              <a:gd name="T63" fmla="*/ 525 h 648"/>
              <a:gd name="T64" fmla="*/ 290 w 659"/>
              <a:gd name="T65" fmla="*/ 534 h 648"/>
              <a:gd name="T66" fmla="*/ 283 w 659"/>
              <a:gd name="T67" fmla="*/ 527 h 648"/>
              <a:gd name="T68" fmla="*/ 131 w 659"/>
              <a:gd name="T69" fmla="*/ 375 h 648"/>
              <a:gd name="T70" fmla="*/ 124 w 659"/>
              <a:gd name="T71" fmla="*/ 368 h 648"/>
              <a:gd name="T72" fmla="*/ 124 w 659"/>
              <a:gd name="T73" fmla="*/ 231 h 648"/>
              <a:gd name="T74" fmla="*/ 131 w 659"/>
              <a:gd name="T75" fmla="*/ 224 h 648"/>
              <a:gd name="T76" fmla="*/ 345 w 659"/>
              <a:gd name="T77" fmla="*/ 313 h 648"/>
              <a:gd name="T78" fmla="*/ 434 w 659"/>
              <a:gd name="T79" fmla="*/ 527 h 648"/>
              <a:gd name="T80" fmla="*/ 427 w 659"/>
              <a:gd name="T81" fmla="*/ 534 h 648"/>
              <a:gd name="T82" fmla="*/ 290 w 659"/>
              <a:gd name="T83" fmla="*/ 534 h 648"/>
              <a:gd name="T84" fmla="*/ 138 w 659"/>
              <a:gd name="T85" fmla="*/ 362 h 648"/>
              <a:gd name="T86" fmla="*/ 297 w 659"/>
              <a:gd name="T87" fmla="*/ 520 h 648"/>
              <a:gd name="T88" fmla="*/ 420 w 659"/>
              <a:gd name="T89" fmla="*/ 520 h 648"/>
              <a:gd name="T90" fmla="*/ 335 w 659"/>
              <a:gd name="T91" fmla="*/ 323 h 648"/>
              <a:gd name="T92" fmla="*/ 138 w 659"/>
              <a:gd name="T93" fmla="*/ 238 h 648"/>
              <a:gd name="T94" fmla="*/ 138 w 659"/>
              <a:gd name="T95" fmla="*/ 362 h 6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659" h="648">
                <a:moveTo>
                  <a:pt x="115" y="648"/>
                </a:moveTo>
                <a:cubicBezTo>
                  <a:pt x="87" y="648"/>
                  <a:pt x="61" y="637"/>
                  <a:pt x="41" y="617"/>
                </a:cubicBezTo>
                <a:cubicBezTo>
                  <a:pt x="0" y="576"/>
                  <a:pt x="0" y="510"/>
                  <a:pt x="41" y="469"/>
                </a:cubicBezTo>
                <a:cubicBezTo>
                  <a:pt x="61" y="449"/>
                  <a:pt x="87" y="438"/>
                  <a:pt x="115" y="438"/>
                </a:cubicBezTo>
                <a:cubicBezTo>
                  <a:pt x="144" y="438"/>
                  <a:pt x="170" y="449"/>
                  <a:pt x="190" y="469"/>
                </a:cubicBezTo>
                <a:cubicBezTo>
                  <a:pt x="231" y="510"/>
                  <a:pt x="231" y="576"/>
                  <a:pt x="190" y="617"/>
                </a:cubicBezTo>
                <a:cubicBezTo>
                  <a:pt x="170" y="637"/>
                  <a:pt x="144" y="648"/>
                  <a:pt x="115" y="648"/>
                </a:cubicBezTo>
                <a:close/>
                <a:moveTo>
                  <a:pt x="115" y="452"/>
                </a:moveTo>
                <a:cubicBezTo>
                  <a:pt x="91" y="452"/>
                  <a:pt x="68" y="461"/>
                  <a:pt x="51" y="479"/>
                </a:cubicBezTo>
                <a:cubicBezTo>
                  <a:pt x="16" y="514"/>
                  <a:pt x="16" y="572"/>
                  <a:pt x="51" y="607"/>
                </a:cubicBezTo>
                <a:cubicBezTo>
                  <a:pt x="68" y="625"/>
                  <a:pt x="91" y="634"/>
                  <a:pt x="115" y="634"/>
                </a:cubicBezTo>
                <a:cubicBezTo>
                  <a:pt x="140" y="634"/>
                  <a:pt x="163" y="625"/>
                  <a:pt x="180" y="607"/>
                </a:cubicBezTo>
                <a:cubicBezTo>
                  <a:pt x="215" y="572"/>
                  <a:pt x="215" y="514"/>
                  <a:pt x="180" y="479"/>
                </a:cubicBezTo>
                <a:cubicBezTo>
                  <a:pt x="163" y="461"/>
                  <a:pt x="140" y="452"/>
                  <a:pt x="115" y="452"/>
                </a:cubicBezTo>
                <a:close/>
                <a:moveTo>
                  <a:pt x="652" y="539"/>
                </a:moveTo>
                <a:cubicBezTo>
                  <a:pt x="652" y="539"/>
                  <a:pt x="652" y="539"/>
                  <a:pt x="652" y="539"/>
                </a:cubicBezTo>
                <a:cubicBezTo>
                  <a:pt x="515" y="539"/>
                  <a:pt x="515" y="539"/>
                  <a:pt x="515" y="539"/>
                </a:cubicBezTo>
                <a:cubicBezTo>
                  <a:pt x="511" y="539"/>
                  <a:pt x="508" y="536"/>
                  <a:pt x="508" y="532"/>
                </a:cubicBezTo>
                <a:cubicBezTo>
                  <a:pt x="508" y="322"/>
                  <a:pt x="337" y="151"/>
                  <a:pt x="126" y="151"/>
                </a:cubicBezTo>
                <a:cubicBezTo>
                  <a:pt x="122" y="151"/>
                  <a:pt x="119" y="148"/>
                  <a:pt x="119" y="144"/>
                </a:cubicBezTo>
                <a:cubicBezTo>
                  <a:pt x="119" y="7"/>
                  <a:pt x="119" y="7"/>
                  <a:pt x="119" y="7"/>
                </a:cubicBezTo>
                <a:cubicBezTo>
                  <a:pt x="119" y="3"/>
                  <a:pt x="122" y="0"/>
                  <a:pt x="126" y="0"/>
                </a:cubicBezTo>
                <a:cubicBezTo>
                  <a:pt x="268" y="0"/>
                  <a:pt x="402" y="55"/>
                  <a:pt x="503" y="156"/>
                </a:cubicBezTo>
                <a:cubicBezTo>
                  <a:pt x="603" y="256"/>
                  <a:pt x="659" y="390"/>
                  <a:pt x="659" y="532"/>
                </a:cubicBezTo>
                <a:cubicBezTo>
                  <a:pt x="659" y="534"/>
                  <a:pt x="658" y="536"/>
                  <a:pt x="657" y="537"/>
                </a:cubicBezTo>
                <a:cubicBezTo>
                  <a:pt x="656" y="538"/>
                  <a:pt x="654" y="539"/>
                  <a:pt x="652" y="539"/>
                </a:cubicBezTo>
                <a:close/>
                <a:moveTo>
                  <a:pt x="522" y="525"/>
                </a:moveTo>
                <a:cubicBezTo>
                  <a:pt x="645" y="525"/>
                  <a:pt x="645" y="525"/>
                  <a:pt x="645" y="525"/>
                </a:cubicBezTo>
                <a:cubicBezTo>
                  <a:pt x="643" y="389"/>
                  <a:pt x="589" y="262"/>
                  <a:pt x="493" y="166"/>
                </a:cubicBezTo>
                <a:cubicBezTo>
                  <a:pt x="396" y="69"/>
                  <a:pt x="269" y="15"/>
                  <a:pt x="133" y="14"/>
                </a:cubicBezTo>
                <a:cubicBezTo>
                  <a:pt x="133" y="137"/>
                  <a:pt x="133" y="137"/>
                  <a:pt x="133" y="137"/>
                </a:cubicBezTo>
                <a:cubicBezTo>
                  <a:pt x="346" y="140"/>
                  <a:pt x="518" y="313"/>
                  <a:pt x="522" y="525"/>
                </a:cubicBezTo>
                <a:close/>
                <a:moveTo>
                  <a:pt x="290" y="534"/>
                </a:moveTo>
                <a:cubicBezTo>
                  <a:pt x="286" y="534"/>
                  <a:pt x="283" y="531"/>
                  <a:pt x="283" y="527"/>
                </a:cubicBezTo>
                <a:cubicBezTo>
                  <a:pt x="283" y="443"/>
                  <a:pt x="215" y="376"/>
                  <a:pt x="131" y="375"/>
                </a:cubicBezTo>
                <a:cubicBezTo>
                  <a:pt x="128" y="375"/>
                  <a:pt x="124" y="372"/>
                  <a:pt x="124" y="368"/>
                </a:cubicBezTo>
                <a:cubicBezTo>
                  <a:pt x="124" y="231"/>
                  <a:pt x="124" y="231"/>
                  <a:pt x="124" y="231"/>
                </a:cubicBezTo>
                <a:cubicBezTo>
                  <a:pt x="124" y="227"/>
                  <a:pt x="128" y="224"/>
                  <a:pt x="131" y="224"/>
                </a:cubicBezTo>
                <a:cubicBezTo>
                  <a:pt x="212" y="224"/>
                  <a:pt x="288" y="256"/>
                  <a:pt x="345" y="313"/>
                </a:cubicBezTo>
                <a:cubicBezTo>
                  <a:pt x="403" y="370"/>
                  <a:pt x="434" y="446"/>
                  <a:pt x="434" y="527"/>
                </a:cubicBezTo>
                <a:cubicBezTo>
                  <a:pt x="434" y="531"/>
                  <a:pt x="431" y="534"/>
                  <a:pt x="427" y="534"/>
                </a:cubicBezTo>
                <a:lnTo>
                  <a:pt x="290" y="534"/>
                </a:lnTo>
                <a:close/>
                <a:moveTo>
                  <a:pt x="138" y="362"/>
                </a:moveTo>
                <a:cubicBezTo>
                  <a:pt x="224" y="365"/>
                  <a:pt x="293" y="434"/>
                  <a:pt x="297" y="520"/>
                </a:cubicBezTo>
                <a:cubicBezTo>
                  <a:pt x="420" y="520"/>
                  <a:pt x="420" y="520"/>
                  <a:pt x="420" y="520"/>
                </a:cubicBezTo>
                <a:cubicBezTo>
                  <a:pt x="418" y="446"/>
                  <a:pt x="388" y="376"/>
                  <a:pt x="335" y="323"/>
                </a:cubicBezTo>
                <a:cubicBezTo>
                  <a:pt x="283" y="270"/>
                  <a:pt x="213" y="240"/>
                  <a:pt x="138" y="238"/>
                </a:cubicBezTo>
                <a:lnTo>
                  <a:pt x="138" y="362"/>
                </a:ln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9255" name="Oval 64"/>
          <p:cNvSpPr>
            <a:spLocks noChangeArrowheads="1"/>
          </p:cNvSpPr>
          <p:nvPr/>
        </p:nvSpPr>
        <p:spPr bwMode="auto">
          <a:xfrm>
            <a:off x="3073678" y="1528549"/>
            <a:ext cx="1119124" cy="1119124"/>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9325" name="Freeform 138"/>
          <p:cNvSpPr>
            <a:spLocks noEditPoints="1"/>
          </p:cNvSpPr>
          <p:nvPr/>
        </p:nvSpPr>
        <p:spPr bwMode="auto">
          <a:xfrm>
            <a:off x="3381673" y="1849812"/>
            <a:ext cx="541929" cy="476599"/>
          </a:xfrm>
          <a:custGeom>
            <a:avLst/>
            <a:gdLst>
              <a:gd name="T0" fmla="*/ 512 w 515"/>
              <a:gd name="T1" fmla="*/ 2 h 453"/>
              <a:gd name="T2" fmla="*/ 502 w 515"/>
              <a:gd name="T3" fmla="*/ 3 h 453"/>
              <a:gd name="T4" fmla="*/ 398 w 515"/>
              <a:gd name="T5" fmla="*/ 134 h 453"/>
              <a:gd name="T6" fmla="*/ 398 w 515"/>
              <a:gd name="T7" fmla="*/ 63 h 453"/>
              <a:gd name="T8" fmla="*/ 391 w 515"/>
              <a:gd name="T9" fmla="*/ 56 h 453"/>
              <a:gd name="T10" fmla="*/ 7 w 515"/>
              <a:gd name="T11" fmla="*/ 56 h 453"/>
              <a:gd name="T12" fmla="*/ 0 w 515"/>
              <a:gd name="T13" fmla="*/ 63 h 453"/>
              <a:gd name="T14" fmla="*/ 0 w 515"/>
              <a:gd name="T15" fmla="*/ 446 h 453"/>
              <a:gd name="T16" fmla="*/ 7 w 515"/>
              <a:gd name="T17" fmla="*/ 453 h 453"/>
              <a:gd name="T18" fmla="*/ 391 w 515"/>
              <a:gd name="T19" fmla="*/ 453 h 453"/>
              <a:gd name="T20" fmla="*/ 398 w 515"/>
              <a:gd name="T21" fmla="*/ 446 h 453"/>
              <a:gd name="T22" fmla="*/ 398 w 515"/>
              <a:gd name="T23" fmla="*/ 156 h 453"/>
              <a:gd name="T24" fmla="*/ 513 w 515"/>
              <a:gd name="T25" fmla="*/ 12 h 453"/>
              <a:gd name="T26" fmla="*/ 512 w 515"/>
              <a:gd name="T27" fmla="*/ 2 h 453"/>
              <a:gd name="T28" fmla="*/ 384 w 515"/>
              <a:gd name="T29" fmla="*/ 439 h 453"/>
              <a:gd name="T30" fmla="*/ 14 w 515"/>
              <a:gd name="T31" fmla="*/ 439 h 453"/>
              <a:gd name="T32" fmla="*/ 14 w 515"/>
              <a:gd name="T33" fmla="*/ 70 h 453"/>
              <a:gd name="T34" fmla="*/ 384 w 515"/>
              <a:gd name="T35" fmla="*/ 70 h 453"/>
              <a:gd name="T36" fmla="*/ 384 w 515"/>
              <a:gd name="T37" fmla="*/ 151 h 453"/>
              <a:gd name="T38" fmla="*/ 204 w 515"/>
              <a:gd name="T39" fmla="*/ 376 h 453"/>
              <a:gd name="T40" fmla="*/ 49 w 515"/>
              <a:gd name="T41" fmla="*/ 245 h 453"/>
              <a:gd name="T42" fmla="*/ 39 w 515"/>
              <a:gd name="T43" fmla="*/ 246 h 453"/>
              <a:gd name="T44" fmla="*/ 40 w 515"/>
              <a:gd name="T45" fmla="*/ 256 h 453"/>
              <a:gd name="T46" fmla="*/ 201 w 515"/>
              <a:gd name="T47" fmla="*/ 391 h 453"/>
              <a:gd name="T48" fmla="*/ 205 w 515"/>
              <a:gd name="T49" fmla="*/ 393 h 453"/>
              <a:gd name="T50" fmla="*/ 206 w 515"/>
              <a:gd name="T51" fmla="*/ 393 h 453"/>
              <a:gd name="T52" fmla="*/ 211 w 515"/>
              <a:gd name="T53" fmla="*/ 390 h 453"/>
              <a:gd name="T54" fmla="*/ 384 w 515"/>
              <a:gd name="T55" fmla="*/ 174 h 453"/>
              <a:gd name="T56" fmla="*/ 384 w 515"/>
              <a:gd name="T57" fmla="*/ 439 h 4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15" h="453">
                <a:moveTo>
                  <a:pt x="512" y="2"/>
                </a:moveTo>
                <a:cubicBezTo>
                  <a:pt x="509" y="0"/>
                  <a:pt x="504" y="0"/>
                  <a:pt x="502" y="3"/>
                </a:cubicBezTo>
                <a:cubicBezTo>
                  <a:pt x="398" y="134"/>
                  <a:pt x="398" y="134"/>
                  <a:pt x="398" y="134"/>
                </a:cubicBezTo>
                <a:cubicBezTo>
                  <a:pt x="398" y="63"/>
                  <a:pt x="398" y="63"/>
                  <a:pt x="398" y="63"/>
                </a:cubicBezTo>
                <a:cubicBezTo>
                  <a:pt x="398" y="59"/>
                  <a:pt x="394" y="56"/>
                  <a:pt x="391" y="56"/>
                </a:cubicBezTo>
                <a:cubicBezTo>
                  <a:pt x="7" y="56"/>
                  <a:pt x="7" y="56"/>
                  <a:pt x="7" y="56"/>
                </a:cubicBezTo>
                <a:cubicBezTo>
                  <a:pt x="4" y="56"/>
                  <a:pt x="0" y="59"/>
                  <a:pt x="0" y="63"/>
                </a:cubicBezTo>
                <a:cubicBezTo>
                  <a:pt x="0" y="446"/>
                  <a:pt x="0" y="446"/>
                  <a:pt x="0" y="446"/>
                </a:cubicBezTo>
                <a:cubicBezTo>
                  <a:pt x="0" y="450"/>
                  <a:pt x="4" y="453"/>
                  <a:pt x="7" y="453"/>
                </a:cubicBezTo>
                <a:cubicBezTo>
                  <a:pt x="391" y="453"/>
                  <a:pt x="391" y="453"/>
                  <a:pt x="391" y="453"/>
                </a:cubicBezTo>
                <a:cubicBezTo>
                  <a:pt x="394" y="453"/>
                  <a:pt x="398" y="450"/>
                  <a:pt x="398" y="446"/>
                </a:cubicBezTo>
                <a:cubicBezTo>
                  <a:pt x="398" y="156"/>
                  <a:pt x="398" y="156"/>
                  <a:pt x="398" y="156"/>
                </a:cubicBezTo>
                <a:cubicBezTo>
                  <a:pt x="513" y="12"/>
                  <a:pt x="513" y="12"/>
                  <a:pt x="513" y="12"/>
                </a:cubicBezTo>
                <a:cubicBezTo>
                  <a:pt x="515" y="9"/>
                  <a:pt x="515" y="5"/>
                  <a:pt x="512" y="2"/>
                </a:cubicBezTo>
                <a:close/>
                <a:moveTo>
                  <a:pt x="384" y="439"/>
                </a:moveTo>
                <a:cubicBezTo>
                  <a:pt x="14" y="439"/>
                  <a:pt x="14" y="439"/>
                  <a:pt x="14" y="439"/>
                </a:cubicBezTo>
                <a:cubicBezTo>
                  <a:pt x="14" y="70"/>
                  <a:pt x="14" y="70"/>
                  <a:pt x="14" y="70"/>
                </a:cubicBezTo>
                <a:cubicBezTo>
                  <a:pt x="384" y="70"/>
                  <a:pt x="384" y="70"/>
                  <a:pt x="384" y="70"/>
                </a:cubicBezTo>
                <a:cubicBezTo>
                  <a:pt x="384" y="151"/>
                  <a:pt x="384" y="151"/>
                  <a:pt x="384" y="151"/>
                </a:cubicBezTo>
                <a:cubicBezTo>
                  <a:pt x="204" y="376"/>
                  <a:pt x="204" y="376"/>
                  <a:pt x="204" y="376"/>
                </a:cubicBezTo>
                <a:cubicBezTo>
                  <a:pt x="49" y="245"/>
                  <a:pt x="49" y="245"/>
                  <a:pt x="49" y="245"/>
                </a:cubicBezTo>
                <a:cubicBezTo>
                  <a:pt x="46" y="243"/>
                  <a:pt x="42" y="243"/>
                  <a:pt x="39" y="246"/>
                </a:cubicBezTo>
                <a:cubicBezTo>
                  <a:pt x="37" y="249"/>
                  <a:pt x="37" y="253"/>
                  <a:pt x="40" y="256"/>
                </a:cubicBezTo>
                <a:cubicBezTo>
                  <a:pt x="201" y="391"/>
                  <a:pt x="201" y="391"/>
                  <a:pt x="201" y="391"/>
                </a:cubicBezTo>
                <a:cubicBezTo>
                  <a:pt x="202" y="392"/>
                  <a:pt x="204" y="393"/>
                  <a:pt x="205" y="393"/>
                </a:cubicBezTo>
                <a:cubicBezTo>
                  <a:pt x="206" y="393"/>
                  <a:pt x="206" y="393"/>
                  <a:pt x="206" y="393"/>
                </a:cubicBezTo>
                <a:cubicBezTo>
                  <a:pt x="208" y="393"/>
                  <a:pt x="210" y="392"/>
                  <a:pt x="211" y="390"/>
                </a:cubicBezTo>
                <a:cubicBezTo>
                  <a:pt x="384" y="174"/>
                  <a:pt x="384" y="174"/>
                  <a:pt x="384" y="174"/>
                </a:cubicBezTo>
                <a:lnTo>
                  <a:pt x="384" y="439"/>
                </a:ln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9256" name="Oval 65"/>
          <p:cNvSpPr>
            <a:spLocks noChangeArrowheads="1"/>
          </p:cNvSpPr>
          <p:nvPr/>
        </p:nvSpPr>
        <p:spPr bwMode="auto">
          <a:xfrm>
            <a:off x="1315706" y="1528549"/>
            <a:ext cx="1119124" cy="1119124"/>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9326" name="Freeform 139"/>
          <p:cNvSpPr>
            <a:spLocks noEditPoints="1"/>
          </p:cNvSpPr>
          <p:nvPr/>
        </p:nvSpPr>
        <p:spPr bwMode="auto">
          <a:xfrm>
            <a:off x="1554344" y="1766260"/>
            <a:ext cx="643026" cy="643702"/>
          </a:xfrm>
          <a:custGeom>
            <a:avLst/>
            <a:gdLst>
              <a:gd name="T0" fmla="*/ 522 w 611"/>
              <a:gd name="T1" fmla="*/ 91 h 611"/>
              <a:gd name="T2" fmla="*/ 521 w 611"/>
              <a:gd name="T3" fmla="*/ 90 h 611"/>
              <a:gd name="T4" fmla="*/ 520 w 611"/>
              <a:gd name="T5" fmla="*/ 89 h 611"/>
              <a:gd name="T6" fmla="*/ 305 w 611"/>
              <a:gd name="T7" fmla="*/ 0 h 611"/>
              <a:gd name="T8" fmla="*/ 0 w 611"/>
              <a:gd name="T9" fmla="*/ 306 h 611"/>
              <a:gd name="T10" fmla="*/ 88 w 611"/>
              <a:gd name="T11" fmla="*/ 521 h 611"/>
              <a:gd name="T12" fmla="*/ 89 w 611"/>
              <a:gd name="T13" fmla="*/ 522 h 611"/>
              <a:gd name="T14" fmla="*/ 90 w 611"/>
              <a:gd name="T15" fmla="*/ 523 h 611"/>
              <a:gd name="T16" fmla="*/ 305 w 611"/>
              <a:gd name="T17" fmla="*/ 611 h 611"/>
              <a:gd name="T18" fmla="*/ 611 w 611"/>
              <a:gd name="T19" fmla="*/ 306 h 611"/>
              <a:gd name="T20" fmla="*/ 522 w 611"/>
              <a:gd name="T21" fmla="*/ 91 h 611"/>
              <a:gd name="T22" fmla="*/ 305 w 611"/>
              <a:gd name="T23" fmla="*/ 14 h 611"/>
              <a:gd name="T24" fmla="*/ 506 w 611"/>
              <a:gd name="T25" fmla="*/ 95 h 611"/>
              <a:gd name="T26" fmla="*/ 94 w 611"/>
              <a:gd name="T27" fmla="*/ 507 h 611"/>
              <a:gd name="T28" fmla="*/ 14 w 611"/>
              <a:gd name="T29" fmla="*/ 306 h 611"/>
              <a:gd name="T30" fmla="*/ 305 w 611"/>
              <a:gd name="T31" fmla="*/ 14 h 611"/>
              <a:gd name="T32" fmla="*/ 305 w 611"/>
              <a:gd name="T33" fmla="*/ 597 h 611"/>
              <a:gd name="T34" fmla="*/ 104 w 611"/>
              <a:gd name="T35" fmla="*/ 517 h 611"/>
              <a:gd name="T36" fmla="*/ 516 w 611"/>
              <a:gd name="T37" fmla="*/ 105 h 611"/>
              <a:gd name="T38" fmla="*/ 597 w 611"/>
              <a:gd name="T39" fmla="*/ 306 h 611"/>
              <a:gd name="T40" fmla="*/ 305 w 611"/>
              <a:gd name="T41" fmla="*/ 597 h 6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11" h="611">
                <a:moveTo>
                  <a:pt x="522" y="91"/>
                </a:moveTo>
                <a:cubicBezTo>
                  <a:pt x="522" y="91"/>
                  <a:pt x="522" y="90"/>
                  <a:pt x="521" y="90"/>
                </a:cubicBezTo>
                <a:cubicBezTo>
                  <a:pt x="521" y="89"/>
                  <a:pt x="520" y="89"/>
                  <a:pt x="520" y="89"/>
                </a:cubicBezTo>
                <a:cubicBezTo>
                  <a:pt x="465" y="34"/>
                  <a:pt x="389" y="0"/>
                  <a:pt x="305" y="0"/>
                </a:cubicBezTo>
                <a:cubicBezTo>
                  <a:pt x="137" y="0"/>
                  <a:pt x="0" y="137"/>
                  <a:pt x="0" y="306"/>
                </a:cubicBezTo>
                <a:cubicBezTo>
                  <a:pt x="0" y="389"/>
                  <a:pt x="34" y="465"/>
                  <a:pt x="88" y="521"/>
                </a:cubicBezTo>
                <a:cubicBezTo>
                  <a:pt x="89" y="521"/>
                  <a:pt x="89" y="521"/>
                  <a:pt x="89" y="522"/>
                </a:cubicBezTo>
                <a:cubicBezTo>
                  <a:pt x="90" y="522"/>
                  <a:pt x="90" y="522"/>
                  <a:pt x="90" y="523"/>
                </a:cubicBezTo>
                <a:cubicBezTo>
                  <a:pt x="146" y="577"/>
                  <a:pt x="222" y="611"/>
                  <a:pt x="305" y="611"/>
                </a:cubicBezTo>
                <a:cubicBezTo>
                  <a:pt x="474" y="611"/>
                  <a:pt x="611" y="474"/>
                  <a:pt x="611" y="306"/>
                </a:cubicBezTo>
                <a:cubicBezTo>
                  <a:pt x="611" y="222"/>
                  <a:pt x="577" y="146"/>
                  <a:pt x="522" y="91"/>
                </a:cubicBezTo>
                <a:close/>
                <a:moveTo>
                  <a:pt x="305" y="14"/>
                </a:moveTo>
                <a:cubicBezTo>
                  <a:pt x="383" y="14"/>
                  <a:pt x="454" y="45"/>
                  <a:pt x="506" y="95"/>
                </a:cubicBezTo>
                <a:cubicBezTo>
                  <a:pt x="94" y="507"/>
                  <a:pt x="94" y="507"/>
                  <a:pt x="94" y="507"/>
                </a:cubicBezTo>
                <a:cubicBezTo>
                  <a:pt x="44" y="454"/>
                  <a:pt x="14" y="384"/>
                  <a:pt x="14" y="306"/>
                </a:cubicBezTo>
                <a:cubicBezTo>
                  <a:pt x="14" y="145"/>
                  <a:pt x="145" y="14"/>
                  <a:pt x="305" y="14"/>
                </a:cubicBezTo>
                <a:close/>
                <a:moveTo>
                  <a:pt x="305" y="597"/>
                </a:moveTo>
                <a:cubicBezTo>
                  <a:pt x="227" y="597"/>
                  <a:pt x="157" y="566"/>
                  <a:pt x="104" y="517"/>
                </a:cubicBezTo>
                <a:cubicBezTo>
                  <a:pt x="516" y="105"/>
                  <a:pt x="516" y="105"/>
                  <a:pt x="516" y="105"/>
                </a:cubicBezTo>
                <a:cubicBezTo>
                  <a:pt x="566" y="157"/>
                  <a:pt x="597" y="228"/>
                  <a:pt x="597" y="306"/>
                </a:cubicBezTo>
                <a:cubicBezTo>
                  <a:pt x="597" y="466"/>
                  <a:pt x="466" y="597"/>
                  <a:pt x="305" y="597"/>
                </a:cubicBez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9" name="Oval 10"/>
          <p:cNvSpPr>
            <a:spLocks noChangeArrowheads="1"/>
          </p:cNvSpPr>
          <p:nvPr/>
        </p:nvSpPr>
        <p:spPr bwMode="auto">
          <a:xfrm>
            <a:off x="6589621" y="4711628"/>
            <a:ext cx="1119124" cy="1119124"/>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9332" name="Freeform 145"/>
          <p:cNvSpPr>
            <a:spLocks noEditPoints="1"/>
          </p:cNvSpPr>
          <p:nvPr/>
        </p:nvSpPr>
        <p:spPr bwMode="auto">
          <a:xfrm>
            <a:off x="6896440" y="4945809"/>
            <a:ext cx="504312" cy="675475"/>
          </a:xfrm>
          <a:custGeom>
            <a:avLst/>
            <a:gdLst>
              <a:gd name="T0" fmla="*/ 472 w 479"/>
              <a:gd name="T1" fmla="*/ 641 h 641"/>
              <a:gd name="T2" fmla="*/ 0 w 479"/>
              <a:gd name="T3" fmla="*/ 36 h 641"/>
              <a:gd name="T4" fmla="*/ 57 w 479"/>
              <a:gd name="T5" fmla="*/ 36 h 641"/>
              <a:gd name="T6" fmla="*/ 14 w 479"/>
              <a:gd name="T7" fmla="*/ 627 h 641"/>
              <a:gd name="T8" fmla="*/ 406 w 479"/>
              <a:gd name="T9" fmla="*/ 43 h 641"/>
              <a:gd name="T10" fmla="*/ 392 w 479"/>
              <a:gd name="T11" fmla="*/ 65 h 641"/>
              <a:gd name="T12" fmla="*/ 406 w 479"/>
              <a:gd name="T13" fmla="*/ 7 h 641"/>
              <a:gd name="T14" fmla="*/ 479 w 479"/>
              <a:gd name="T15" fmla="*/ 36 h 641"/>
              <a:gd name="T16" fmla="*/ 244 w 479"/>
              <a:gd name="T17" fmla="*/ 43 h 641"/>
              <a:gd name="T18" fmla="*/ 266 w 479"/>
              <a:gd name="T19" fmla="*/ 29 h 641"/>
              <a:gd name="T20" fmla="*/ 237 w 479"/>
              <a:gd name="T21" fmla="*/ 0 h 641"/>
              <a:gd name="T22" fmla="*/ 237 w 479"/>
              <a:gd name="T23" fmla="*/ 72 h 641"/>
              <a:gd name="T24" fmla="*/ 190 w 479"/>
              <a:gd name="T25" fmla="*/ 43 h 641"/>
              <a:gd name="T26" fmla="*/ 212 w 479"/>
              <a:gd name="T27" fmla="*/ 29 h 641"/>
              <a:gd name="T28" fmla="*/ 183 w 479"/>
              <a:gd name="T29" fmla="*/ 0 h 641"/>
              <a:gd name="T30" fmla="*/ 183 w 479"/>
              <a:gd name="T31" fmla="*/ 72 h 641"/>
              <a:gd name="T32" fmla="*/ 135 w 479"/>
              <a:gd name="T33" fmla="*/ 43 h 641"/>
              <a:gd name="T34" fmla="*/ 157 w 479"/>
              <a:gd name="T35" fmla="*/ 29 h 641"/>
              <a:gd name="T36" fmla="*/ 128 w 479"/>
              <a:gd name="T37" fmla="*/ 0 h 641"/>
              <a:gd name="T38" fmla="*/ 128 w 479"/>
              <a:gd name="T39" fmla="*/ 72 h 641"/>
              <a:gd name="T40" fmla="*/ 81 w 479"/>
              <a:gd name="T41" fmla="*/ 43 h 641"/>
              <a:gd name="T42" fmla="*/ 103 w 479"/>
              <a:gd name="T43" fmla="*/ 29 h 641"/>
              <a:gd name="T44" fmla="*/ 74 w 479"/>
              <a:gd name="T45" fmla="*/ 0 h 641"/>
              <a:gd name="T46" fmla="*/ 74 w 479"/>
              <a:gd name="T47" fmla="*/ 72 h 641"/>
              <a:gd name="T48" fmla="*/ 352 w 479"/>
              <a:gd name="T49" fmla="*/ 43 h 641"/>
              <a:gd name="T50" fmla="*/ 374 w 479"/>
              <a:gd name="T51" fmla="*/ 29 h 641"/>
              <a:gd name="T52" fmla="*/ 345 w 479"/>
              <a:gd name="T53" fmla="*/ 0 h 641"/>
              <a:gd name="T54" fmla="*/ 345 w 479"/>
              <a:gd name="T55" fmla="*/ 72 h 641"/>
              <a:gd name="T56" fmla="*/ 298 w 479"/>
              <a:gd name="T57" fmla="*/ 43 h 641"/>
              <a:gd name="T58" fmla="*/ 320 w 479"/>
              <a:gd name="T59" fmla="*/ 29 h 641"/>
              <a:gd name="T60" fmla="*/ 291 w 479"/>
              <a:gd name="T61" fmla="*/ 0 h 641"/>
              <a:gd name="T62" fmla="*/ 291 w 479"/>
              <a:gd name="T63" fmla="*/ 72 h 641"/>
              <a:gd name="T64" fmla="*/ 73 w 479"/>
              <a:gd name="T65" fmla="*/ 554 h 641"/>
              <a:gd name="T66" fmla="*/ 406 w 479"/>
              <a:gd name="T67" fmla="*/ 554 h 641"/>
              <a:gd name="T68" fmla="*/ 80 w 479"/>
              <a:gd name="T69" fmla="*/ 488 h 641"/>
              <a:gd name="T70" fmla="*/ 399 w 479"/>
              <a:gd name="T71" fmla="*/ 502 h 641"/>
              <a:gd name="T72" fmla="*/ 399 w 479"/>
              <a:gd name="T73" fmla="*/ 428 h 641"/>
              <a:gd name="T74" fmla="*/ 80 w 479"/>
              <a:gd name="T75" fmla="*/ 442 h 641"/>
              <a:gd name="T76" fmla="*/ 399 w 479"/>
              <a:gd name="T77" fmla="*/ 428 h 641"/>
              <a:gd name="T78" fmla="*/ 73 w 479"/>
              <a:gd name="T79" fmla="*/ 376 h 641"/>
              <a:gd name="T80" fmla="*/ 406 w 479"/>
              <a:gd name="T81" fmla="*/ 376 h 641"/>
              <a:gd name="T82" fmla="*/ 80 w 479"/>
              <a:gd name="T83" fmla="*/ 310 h 641"/>
              <a:gd name="T84" fmla="*/ 399 w 479"/>
              <a:gd name="T85" fmla="*/ 324 h 641"/>
              <a:gd name="T86" fmla="*/ 399 w 479"/>
              <a:gd name="T87" fmla="*/ 250 h 641"/>
              <a:gd name="T88" fmla="*/ 80 w 479"/>
              <a:gd name="T89" fmla="*/ 264 h 641"/>
              <a:gd name="T90" fmla="*/ 399 w 479"/>
              <a:gd name="T91" fmla="*/ 250 h 641"/>
              <a:gd name="T92" fmla="*/ 73 w 479"/>
              <a:gd name="T93" fmla="*/ 198 h 641"/>
              <a:gd name="T94" fmla="*/ 406 w 479"/>
              <a:gd name="T95" fmla="*/ 198 h 641"/>
              <a:gd name="T96" fmla="*/ 80 w 479"/>
              <a:gd name="T97" fmla="*/ 131 h 641"/>
              <a:gd name="T98" fmla="*/ 399 w 479"/>
              <a:gd name="T99" fmla="*/ 145 h 6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79" h="641">
                <a:moveTo>
                  <a:pt x="479" y="36"/>
                </a:moveTo>
                <a:cubicBezTo>
                  <a:pt x="479" y="634"/>
                  <a:pt x="479" y="634"/>
                  <a:pt x="479" y="634"/>
                </a:cubicBezTo>
                <a:cubicBezTo>
                  <a:pt x="479" y="638"/>
                  <a:pt x="476" y="641"/>
                  <a:pt x="472" y="641"/>
                </a:cubicBezTo>
                <a:cubicBezTo>
                  <a:pt x="7" y="641"/>
                  <a:pt x="7" y="641"/>
                  <a:pt x="7" y="641"/>
                </a:cubicBezTo>
                <a:cubicBezTo>
                  <a:pt x="3" y="641"/>
                  <a:pt x="0" y="638"/>
                  <a:pt x="0" y="634"/>
                </a:cubicBezTo>
                <a:cubicBezTo>
                  <a:pt x="0" y="36"/>
                  <a:pt x="0" y="36"/>
                  <a:pt x="0" y="36"/>
                </a:cubicBezTo>
                <a:cubicBezTo>
                  <a:pt x="0" y="32"/>
                  <a:pt x="3" y="29"/>
                  <a:pt x="7" y="29"/>
                </a:cubicBezTo>
                <a:cubicBezTo>
                  <a:pt x="50" y="29"/>
                  <a:pt x="50" y="29"/>
                  <a:pt x="50" y="29"/>
                </a:cubicBezTo>
                <a:cubicBezTo>
                  <a:pt x="54" y="29"/>
                  <a:pt x="57" y="32"/>
                  <a:pt x="57" y="36"/>
                </a:cubicBezTo>
                <a:cubicBezTo>
                  <a:pt x="57" y="40"/>
                  <a:pt x="54" y="43"/>
                  <a:pt x="50" y="43"/>
                </a:cubicBezTo>
                <a:cubicBezTo>
                  <a:pt x="14" y="43"/>
                  <a:pt x="14" y="43"/>
                  <a:pt x="14" y="43"/>
                </a:cubicBezTo>
                <a:cubicBezTo>
                  <a:pt x="14" y="627"/>
                  <a:pt x="14" y="627"/>
                  <a:pt x="14" y="627"/>
                </a:cubicBezTo>
                <a:cubicBezTo>
                  <a:pt x="465" y="627"/>
                  <a:pt x="465" y="627"/>
                  <a:pt x="465" y="627"/>
                </a:cubicBezTo>
                <a:cubicBezTo>
                  <a:pt x="465" y="43"/>
                  <a:pt x="465" y="43"/>
                  <a:pt x="465" y="43"/>
                </a:cubicBezTo>
                <a:cubicBezTo>
                  <a:pt x="406" y="43"/>
                  <a:pt x="406" y="43"/>
                  <a:pt x="406" y="43"/>
                </a:cubicBezTo>
                <a:cubicBezTo>
                  <a:pt x="406" y="65"/>
                  <a:pt x="406" y="65"/>
                  <a:pt x="406" y="65"/>
                </a:cubicBezTo>
                <a:cubicBezTo>
                  <a:pt x="406" y="69"/>
                  <a:pt x="403" y="72"/>
                  <a:pt x="399" y="72"/>
                </a:cubicBezTo>
                <a:cubicBezTo>
                  <a:pt x="395" y="72"/>
                  <a:pt x="392" y="69"/>
                  <a:pt x="392" y="65"/>
                </a:cubicBezTo>
                <a:cubicBezTo>
                  <a:pt x="392" y="7"/>
                  <a:pt x="392" y="7"/>
                  <a:pt x="392" y="7"/>
                </a:cubicBezTo>
                <a:cubicBezTo>
                  <a:pt x="392" y="3"/>
                  <a:pt x="395" y="0"/>
                  <a:pt x="399" y="0"/>
                </a:cubicBezTo>
                <a:cubicBezTo>
                  <a:pt x="403" y="0"/>
                  <a:pt x="406" y="3"/>
                  <a:pt x="406" y="7"/>
                </a:cubicBezTo>
                <a:cubicBezTo>
                  <a:pt x="406" y="29"/>
                  <a:pt x="406" y="29"/>
                  <a:pt x="406" y="29"/>
                </a:cubicBezTo>
                <a:cubicBezTo>
                  <a:pt x="472" y="29"/>
                  <a:pt x="472" y="29"/>
                  <a:pt x="472" y="29"/>
                </a:cubicBezTo>
                <a:cubicBezTo>
                  <a:pt x="476" y="29"/>
                  <a:pt x="479" y="32"/>
                  <a:pt x="479" y="36"/>
                </a:cubicBezTo>
                <a:close/>
                <a:moveTo>
                  <a:pt x="237" y="72"/>
                </a:moveTo>
                <a:cubicBezTo>
                  <a:pt x="241" y="72"/>
                  <a:pt x="244" y="69"/>
                  <a:pt x="244" y="65"/>
                </a:cubicBezTo>
                <a:cubicBezTo>
                  <a:pt x="244" y="43"/>
                  <a:pt x="244" y="43"/>
                  <a:pt x="244" y="43"/>
                </a:cubicBezTo>
                <a:cubicBezTo>
                  <a:pt x="266" y="43"/>
                  <a:pt x="266" y="43"/>
                  <a:pt x="266" y="43"/>
                </a:cubicBezTo>
                <a:cubicBezTo>
                  <a:pt x="269" y="43"/>
                  <a:pt x="273" y="40"/>
                  <a:pt x="273" y="36"/>
                </a:cubicBezTo>
                <a:cubicBezTo>
                  <a:pt x="273" y="32"/>
                  <a:pt x="269" y="29"/>
                  <a:pt x="266" y="29"/>
                </a:cubicBezTo>
                <a:cubicBezTo>
                  <a:pt x="244" y="29"/>
                  <a:pt x="244" y="29"/>
                  <a:pt x="244" y="29"/>
                </a:cubicBezTo>
                <a:cubicBezTo>
                  <a:pt x="244" y="7"/>
                  <a:pt x="244" y="7"/>
                  <a:pt x="244" y="7"/>
                </a:cubicBezTo>
                <a:cubicBezTo>
                  <a:pt x="244" y="3"/>
                  <a:pt x="241" y="0"/>
                  <a:pt x="237" y="0"/>
                </a:cubicBezTo>
                <a:cubicBezTo>
                  <a:pt x="233" y="0"/>
                  <a:pt x="230" y="3"/>
                  <a:pt x="230" y="7"/>
                </a:cubicBezTo>
                <a:cubicBezTo>
                  <a:pt x="230" y="65"/>
                  <a:pt x="230" y="65"/>
                  <a:pt x="230" y="65"/>
                </a:cubicBezTo>
                <a:cubicBezTo>
                  <a:pt x="230" y="69"/>
                  <a:pt x="233" y="72"/>
                  <a:pt x="237" y="72"/>
                </a:cubicBezTo>
                <a:close/>
                <a:moveTo>
                  <a:pt x="183" y="72"/>
                </a:moveTo>
                <a:cubicBezTo>
                  <a:pt x="186" y="72"/>
                  <a:pt x="190" y="69"/>
                  <a:pt x="190" y="65"/>
                </a:cubicBezTo>
                <a:cubicBezTo>
                  <a:pt x="190" y="43"/>
                  <a:pt x="190" y="43"/>
                  <a:pt x="190" y="43"/>
                </a:cubicBezTo>
                <a:cubicBezTo>
                  <a:pt x="212" y="43"/>
                  <a:pt x="212" y="43"/>
                  <a:pt x="212" y="43"/>
                </a:cubicBezTo>
                <a:cubicBezTo>
                  <a:pt x="215" y="43"/>
                  <a:pt x="219" y="40"/>
                  <a:pt x="219" y="36"/>
                </a:cubicBezTo>
                <a:cubicBezTo>
                  <a:pt x="219" y="32"/>
                  <a:pt x="215" y="29"/>
                  <a:pt x="212" y="29"/>
                </a:cubicBezTo>
                <a:cubicBezTo>
                  <a:pt x="190" y="29"/>
                  <a:pt x="190" y="29"/>
                  <a:pt x="190" y="29"/>
                </a:cubicBezTo>
                <a:cubicBezTo>
                  <a:pt x="190" y="7"/>
                  <a:pt x="190" y="7"/>
                  <a:pt x="190" y="7"/>
                </a:cubicBezTo>
                <a:cubicBezTo>
                  <a:pt x="190" y="3"/>
                  <a:pt x="186" y="0"/>
                  <a:pt x="183" y="0"/>
                </a:cubicBezTo>
                <a:cubicBezTo>
                  <a:pt x="179" y="0"/>
                  <a:pt x="176" y="3"/>
                  <a:pt x="176" y="7"/>
                </a:cubicBezTo>
                <a:cubicBezTo>
                  <a:pt x="176" y="65"/>
                  <a:pt x="176" y="65"/>
                  <a:pt x="176" y="65"/>
                </a:cubicBezTo>
                <a:cubicBezTo>
                  <a:pt x="176" y="69"/>
                  <a:pt x="179" y="72"/>
                  <a:pt x="183" y="72"/>
                </a:cubicBezTo>
                <a:close/>
                <a:moveTo>
                  <a:pt x="128" y="72"/>
                </a:moveTo>
                <a:cubicBezTo>
                  <a:pt x="132" y="72"/>
                  <a:pt x="135" y="69"/>
                  <a:pt x="135" y="65"/>
                </a:cubicBezTo>
                <a:cubicBezTo>
                  <a:pt x="135" y="43"/>
                  <a:pt x="135" y="43"/>
                  <a:pt x="135" y="43"/>
                </a:cubicBezTo>
                <a:cubicBezTo>
                  <a:pt x="157" y="43"/>
                  <a:pt x="157" y="43"/>
                  <a:pt x="157" y="43"/>
                </a:cubicBezTo>
                <a:cubicBezTo>
                  <a:pt x="161" y="43"/>
                  <a:pt x="164" y="40"/>
                  <a:pt x="164" y="36"/>
                </a:cubicBezTo>
                <a:cubicBezTo>
                  <a:pt x="164" y="32"/>
                  <a:pt x="161" y="29"/>
                  <a:pt x="157" y="29"/>
                </a:cubicBezTo>
                <a:cubicBezTo>
                  <a:pt x="135" y="29"/>
                  <a:pt x="135" y="29"/>
                  <a:pt x="135" y="29"/>
                </a:cubicBezTo>
                <a:cubicBezTo>
                  <a:pt x="135" y="7"/>
                  <a:pt x="135" y="7"/>
                  <a:pt x="135" y="7"/>
                </a:cubicBezTo>
                <a:cubicBezTo>
                  <a:pt x="135" y="3"/>
                  <a:pt x="132" y="0"/>
                  <a:pt x="128" y="0"/>
                </a:cubicBezTo>
                <a:cubicBezTo>
                  <a:pt x="125" y="0"/>
                  <a:pt x="121" y="3"/>
                  <a:pt x="121" y="7"/>
                </a:cubicBezTo>
                <a:cubicBezTo>
                  <a:pt x="121" y="65"/>
                  <a:pt x="121" y="65"/>
                  <a:pt x="121" y="65"/>
                </a:cubicBezTo>
                <a:cubicBezTo>
                  <a:pt x="121" y="69"/>
                  <a:pt x="125" y="72"/>
                  <a:pt x="128" y="72"/>
                </a:cubicBezTo>
                <a:close/>
                <a:moveTo>
                  <a:pt x="74" y="72"/>
                </a:moveTo>
                <a:cubicBezTo>
                  <a:pt x="78" y="72"/>
                  <a:pt x="81" y="69"/>
                  <a:pt x="81" y="65"/>
                </a:cubicBezTo>
                <a:cubicBezTo>
                  <a:pt x="81" y="43"/>
                  <a:pt x="81" y="43"/>
                  <a:pt x="81" y="43"/>
                </a:cubicBezTo>
                <a:cubicBezTo>
                  <a:pt x="103" y="43"/>
                  <a:pt x="103" y="43"/>
                  <a:pt x="103" y="43"/>
                </a:cubicBezTo>
                <a:cubicBezTo>
                  <a:pt x="107" y="43"/>
                  <a:pt x="110" y="40"/>
                  <a:pt x="110" y="36"/>
                </a:cubicBezTo>
                <a:cubicBezTo>
                  <a:pt x="110" y="32"/>
                  <a:pt x="107" y="29"/>
                  <a:pt x="103" y="29"/>
                </a:cubicBezTo>
                <a:cubicBezTo>
                  <a:pt x="81" y="29"/>
                  <a:pt x="81" y="29"/>
                  <a:pt x="81" y="29"/>
                </a:cubicBezTo>
                <a:cubicBezTo>
                  <a:pt x="81" y="7"/>
                  <a:pt x="81" y="7"/>
                  <a:pt x="81" y="7"/>
                </a:cubicBezTo>
                <a:cubicBezTo>
                  <a:pt x="81" y="3"/>
                  <a:pt x="78" y="0"/>
                  <a:pt x="74" y="0"/>
                </a:cubicBezTo>
                <a:cubicBezTo>
                  <a:pt x="71" y="0"/>
                  <a:pt x="67" y="3"/>
                  <a:pt x="67" y="7"/>
                </a:cubicBezTo>
                <a:cubicBezTo>
                  <a:pt x="67" y="65"/>
                  <a:pt x="67" y="65"/>
                  <a:pt x="67" y="65"/>
                </a:cubicBezTo>
                <a:cubicBezTo>
                  <a:pt x="67" y="69"/>
                  <a:pt x="71" y="72"/>
                  <a:pt x="74" y="72"/>
                </a:cubicBezTo>
                <a:close/>
                <a:moveTo>
                  <a:pt x="345" y="72"/>
                </a:moveTo>
                <a:cubicBezTo>
                  <a:pt x="349" y="72"/>
                  <a:pt x="352" y="69"/>
                  <a:pt x="352" y="65"/>
                </a:cubicBezTo>
                <a:cubicBezTo>
                  <a:pt x="352" y="43"/>
                  <a:pt x="352" y="43"/>
                  <a:pt x="352" y="43"/>
                </a:cubicBezTo>
                <a:cubicBezTo>
                  <a:pt x="374" y="43"/>
                  <a:pt x="374" y="43"/>
                  <a:pt x="374" y="43"/>
                </a:cubicBezTo>
                <a:cubicBezTo>
                  <a:pt x="378" y="43"/>
                  <a:pt x="381" y="40"/>
                  <a:pt x="381" y="36"/>
                </a:cubicBezTo>
                <a:cubicBezTo>
                  <a:pt x="381" y="32"/>
                  <a:pt x="378" y="29"/>
                  <a:pt x="374" y="29"/>
                </a:cubicBezTo>
                <a:cubicBezTo>
                  <a:pt x="352" y="29"/>
                  <a:pt x="352" y="29"/>
                  <a:pt x="352" y="29"/>
                </a:cubicBezTo>
                <a:cubicBezTo>
                  <a:pt x="352" y="7"/>
                  <a:pt x="352" y="7"/>
                  <a:pt x="352" y="7"/>
                </a:cubicBezTo>
                <a:cubicBezTo>
                  <a:pt x="352" y="3"/>
                  <a:pt x="349" y="0"/>
                  <a:pt x="345" y="0"/>
                </a:cubicBezTo>
                <a:cubicBezTo>
                  <a:pt x="341" y="0"/>
                  <a:pt x="338" y="3"/>
                  <a:pt x="338" y="7"/>
                </a:cubicBezTo>
                <a:cubicBezTo>
                  <a:pt x="338" y="65"/>
                  <a:pt x="338" y="65"/>
                  <a:pt x="338" y="65"/>
                </a:cubicBezTo>
                <a:cubicBezTo>
                  <a:pt x="338" y="69"/>
                  <a:pt x="341" y="72"/>
                  <a:pt x="345" y="72"/>
                </a:cubicBezTo>
                <a:close/>
                <a:moveTo>
                  <a:pt x="291" y="72"/>
                </a:moveTo>
                <a:cubicBezTo>
                  <a:pt x="295" y="72"/>
                  <a:pt x="298" y="69"/>
                  <a:pt x="298" y="65"/>
                </a:cubicBezTo>
                <a:cubicBezTo>
                  <a:pt x="298" y="43"/>
                  <a:pt x="298" y="43"/>
                  <a:pt x="298" y="43"/>
                </a:cubicBezTo>
                <a:cubicBezTo>
                  <a:pt x="320" y="43"/>
                  <a:pt x="320" y="43"/>
                  <a:pt x="320" y="43"/>
                </a:cubicBezTo>
                <a:cubicBezTo>
                  <a:pt x="324" y="43"/>
                  <a:pt x="327" y="40"/>
                  <a:pt x="327" y="36"/>
                </a:cubicBezTo>
                <a:cubicBezTo>
                  <a:pt x="327" y="32"/>
                  <a:pt x="324" y="29"/>
                  <a:pt x="320" y="29"/>
                </a:cubicBezTo>
                <a:cubicBezTo>
                  <a:pt x="298" y="29"/>
                  <a:pt x="298" y="29"/>
                  <a:pt x="298" y="29"/>
                </a:cubicBezTo>
                <a:cubicBezTo>
                  <a:pt x="298" y="7"/>
                  <a:pt x="298" y="7"/>
                  <a:pt x="298" y="7"/>
                </a:cubicBezTo>
                <a:cubicBezTo>
                  <a:pt x="298" y="3"/>
                  <a:pt x="295" y="0"/>
                  <a:pt x="291" y="0"/>
                </a:cubicBezTo>
                <a:cubicBezTo>
                  <a:pt x="287" y="0"/>
                  <a:pt x="284" y="3"/>
                  <a:pt x="284" y="7"/>
                </a:cubicBezTo>
                <a:cubicBezTo>
                  <a:pt x="284" y="65"/>
                  <a:pt x="284" y="65"/>
                  <a:pt x="284" y="65"/>
                </a:cubicBezTo>
                <a:cubicBezTo>
                  <a:pt x="284" y="69"/>
                  <a:pt x="287" y="72"/>
                  <a:pt x="291" y="72"/>
                </a:cubicBezTo>
                <a:close/>
                <a:moveTo>
                  <a:pt x="399" y="547"/>
                </a:moveTo>
                <a:cubicBezTo>
                  <a:pt x="80" y="547"/>
                  <a:pt x="80" y="547"/>
                  <a:pt x="80" y="547"/>
                </a:cubicBezTo>
                <a:cubicBezTo>
                  <a:pt x="76" y="547"/>
                  <a:pt x="73" y="550"/>
                  <a:pt x="73" y="554"/>
                </a:cubicBezTo>
                <a:cubicBezTo>
                  <a:pt x="73" y="558"/>
                  <a:pt x="76" y="561"/>
                  <a:pt x="80" y="561"/>
                </a:cubicBezTo>
                <a:cubicBezTo>
                  <a:pt x="399" y="561"/>
                  <a:pt x="399" y="561"/>
                  <a:pt x="399" y="561"/>
                </a:cubicBezTo>
                <a:cubicBezTo>
                  <a:pt x="403" y="561"/>
                  <a:pt x="406" y="558"/>
                  <a:pt x="406" y="554"/>
                </a:cubicBezTo>
                <a:cubicBezTo>
                  <a:pt x="406" y="550"/>
                  <a:pt x="403" y="547"/>
                  <a:pt x="399" y="547"/>
                </a:cubicBezTo>
                <a:close/>
                <a:moveTo>
                  <a:pt x="399" y="488"/>
                </a:moveTo>
                <a:cubicBezTo>
                  <a:pt x="80" y="488"/>
                  <a:pt x="80" y="488"/>
                  <a:pt x="80" y="488"/>
                </a:cubicBezTo>
                <a:cubicBezTo>
                  <a:pt x="76" y="488"/>
                  <a:pt x="73" y="491"/>
                  <a:pt x="73" y="495"/>
                </a:cubicBezTo>
                <a:cubicBezTo>
                  <a:pt x="73" y="499"/>
                  <a:pt x="76" y="502"/>
                  <a:pt x="80" y="502"/>
                </a:cubicBezTo>
                <a:cubicBezTo>
                  <a:pt x="399" y="502"/>
                  <a:pt x="399" y="502"/>
                  <a:pt x="399" y="502"/>
                </a:cubicBezTo>
                <a:cubicBezTo>
                  <a:pt x="403" y="502"/>
                  <a:pt x="406" y="499"/>
                  <a:pt x="406" y="495"/>
                </a:cubicBezTo>
                <a:cubicBezTo>
                  <a:pt x="406" y="491"/>
                  <a:pt x="403" y="488"/>
                  <a:pt x="399" y="488"/>
                </a:cubicBezTo>
                <a:close/>
                <a:moveTo>
                  <a:pt x="399" y="428"/>
                </a:moveTo>
                <a:cubicBezTo>
                  <a:pt x="80" y="428"/>
                  <a:pt x="80" y="428"/>
                  <a:pt x="80" y="428"/>
                </a:cubicBezTo>
                <a:cubicBezTo>
                  <a:pt x="76" y="428"/>
                  <a:pt x="73" y="431"/>
                  <a:pt x="73" y="435"/>
                </a:cubicBezTo>
                <a:cubicBezTo>
                  <a:pt x="73" y="439"/>
                  <a:pt x="76" y="442"/>
                  <a:pt x="80" y="442"/>
                </a:cubicBezTo>
                <a:cubicBezTo>
                  <a:pt x="399" y="442"/>
                  <a:pt x="399" y="442"/>
                  <a:pt x="399" y="442"/>
                </a:cubicBezTo>
                <a:cubicBezTo>
                  <a:pt x="403" y="442"/>
                  <a:pt x="406" y="439"/>
                  <a:pt x="406" y="435"/>
                </a:cubicBezTo>
                <a:cubicBezTo>
                  <a:pt x="406" y="431"/>
                  <a:pt x="403" y="428"/>
                  <a:pt x="399" y="428"/>
                </a:cubicBezTo>
                <a:close/>
                <a:moveTo>
                  <a:pt x="399" y="369"/>
                </a:moveTo>
                <a:cubicBezTo>
                  <a:pt x="80" y="369"/>
                  <a:pt x="80" y="369"/>
                  <a:pt x="80" y="369"/>
                </a:cubicBezTo>
                <a:cubicBezTo>
                  <a:pt x="76" y="369"/>
                  <a:pt x="73" y="372"/>
                  <a:pt x="73" y="376"/>
                </a:cubicBezTo>
                <a:cubicBezTo>
                  <a:pt x="73" y="380"/>
                  <a:pt x="76" y="383"/>
                  <a:pt x="80" y="383"/>
                </a:cubicBezTo>
                <a:cubicBezTo>
                  <a:pt x="399" y="383"/>
                  <a:pt x="399" y="383"/>
                  <a:pt x="399" y="383"/>
                </a:cubicBezTo>
                <a:cubicBezTo>
                  <a:pt x="403" y="383"/>
                  <a:pt x="406" y="380"/>
                  <a:pt x="406" y="376"/>
                </a:cubicBezTo>
                <a:cubicBezTo>
                  <a:pt x="406" y="372"/>
                  <a:pt x="403" y="369"/>
                  <a:pt x="399" y="369"/>
                </a:cubicBezTo>
                <a:close/>
                <a:moveTo>
                  <a:pt x="399" y="310"/>
                </a:moveTo>
                <a:cubicBezTo>
                  <a:pt x="80" y="310"/>
                  <a:pt x="80" y="310"/>
                  <a:pt x="80" y="310"/>
                </a:cubicBezTo>
                <a:cubicBezTo>
                  <a:pt x="76" y="310"/>
                  <a:pt x="73" y="313"/>
                  <a:pt x="73" y="317"/>
                </a:cubicBezTo>
                <a:cubicBezTo>
                  <a:pt x="73" y="320"/>
                  <a:pt x="76" y="324"/>
                  <a:pt x="80" y="324"/>
                </a:cubicBezTo>
                <a:cubicBezTo>
                  <a:pt x="399" y="324"/>
                  <a:pt x="399" y="324"/>
                  <a:pt x="399" y="324"/>
                </a:cubicBezTo>
                <a:cubicBezTo>
                  <a:pt x="403" y="324"/>
                  <a:pt x="406" y="320"/>
                  <a:pt x="406" y="317"/>
                </a:cubicBezTo>
                <a:cubicBezTo>
                  <a:pt x="406" y="313"/>
                  <a:pt x="403" y="310"/>
                  <a:pt x="399" y="310"/>
                </a:cubicBezTo>
                <a:close/>
                <a:moveTo>
                  <a:pt x="399" y="250"/>
                </a:moveTo>
                <a:cubicBezTo>
                  <a:pt x="80" y="250"/>
                  <a:pt x="80" y="250"/>
                  <a:pt x="80" y="250"/>
                </a:cubicBezTo>
                <a:cubicBezTo>
                  <a:pt x="76" y="250"/>
                  <a:pt x="73" y="253"/>
                  <a:pt x="73" y="257"/>
                </a:cubicBezTo>
                <a:cubicBezTo>
                  <a:pt x="73" y="261"/>
                  <a:pt x="76" y="264"/>
                  <a:pt x="80" y="264"/>
                </a:cubicBezTo>
                <a:cubicBezTo>
                  <a:pt x="399" y="264"/>
                  <a:pt x="399" y="264"/>
                  <a:pt x="399" y="264"/>
                </a:cubicBezTo>
                <a:cubicBezTo>
                  <a:pt x="403" y="264"/>
                  <a:pt x="406" y="261"/>
                  <a:pt x="406" y="257"/>
                </a:cubicBezTo>
                <a:cubicBezTo>
                  <a:pt x="406" y="253"/>
                  <a:pt x="403" y="250"/>
                  <a:pt x="399" y="250"/>
                </a:cubicBezTo>
                <a:close/>
                <a:moveTo>
                  <a:pt x="399" y="191"/>
                </a:moveTo>
                <a:cubicBezTo>
                  <a:pt x="80" y="191"/>
                  <a:pt x="80" y="191"/>
                  <a:pt x="80" y="191"/>
                </a:cubicBezTo>
                <a:cubicBezTo>
                  <a:pt x="76" y="191"/>
                  <a:pt x="73" y="194"/>
                  <a:pt x="73" y="198"/>
                </a:cubicBezTo>
                <a:cubicBezTo>
                  <a:pt x="73" y="202"/>
                  <a:pt x="76" y="205"/>
                  <a:pt x="80" y="205"/>
                </a:cubicBezTo>
                <a:cubicBezTo>
                  <a:pt x="399" y="205"/>
                  <a:pt x="399" y="205"/>
                  <a:pt x="399" y="205"/>
                </a:cubicBezTo>
                <a:cubicBezTo>
                  <a:pt x="403" y="205"/>
                  <a:pt x="406" y="202"/>
                  <a:pt x="406" y="198"/>
                </a:cubicBezTo>
                <a:cubicBezTo>
                  <a:pt x="406" y="194"/>
                  <a:pt x="403" y="191"/>
                  <a:pt x="399" y="191"/>
                </a:cubicBezTo>
                <a:close/>
                <a:moveTo>
                  <a:pt x="399" y="131"/>
                </a:moveTo>
                <a:cubicBezTo>
                  <a:pt x="80" y="131"/>
                  <a:pt x="80" y="131"/>
                  <a:pt x="80" y="131"/>
                </a:cubicBezTo>
                <a:cubicBezTo>
                  <a:pt x="76" y="131"/>
                  <a:pt x="73" y="134"/>
                  <a:pt x="73" y="138"/>
                </a:cubicBezTo>
                <a:cubicBezTo>
                  <a:pt x="73" y="142"/>
                  <a:pt x="76" y="145"/>
                  <a:pt x="80" y="145"/>
                </a:cubicBezTo>
                <a:cubicBezTo>
                  <a:pt x="399" y="145"/>
                  <a:pt x="399" y="145"/>
                  <a:pt x="399" y="145"/>
                </a:cubicBezTo>
                <a:cubicBezTo>
                  <a:pt x="403" y="145"/>
                  <a:pt x="406" y="142"/>
                  <a:pt x="406" y="138"/>
                </a:cubicBezTo>
                <a:cubicBezTo>
                  <a:pt x="406" y="134"/>
                  <a:pt x="403" y="131"/>
                  <a:pt x="399" y="131"/>
                </a:cubicBez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106" name="Oval 75"/>
          <p:cNvSpPr>
            <a:spLocks noChangeArrowheads="1"/>
          </p:cNvSpPr>
          <p:nvPr/>
        </p:nvSpPr>
        <p:spPr bwMode="auto">
          <a:xfrm>
            <a:off x="8347593" y="4711628"/>
            <a:ext cx="1119124" cy="1119124"/>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107" name="Freeform 151"/>
          <p:cNvSpPr>
            <a:spLocks noEditPoints="1"/>
          </p:cNvSpPr>
          <p:nvPr/>
        </p:nvSpPr>
        <p:spPr bwMode="auto">
          <a:xfrm>
            <a:off x="8700744" y="4911341"/>
            <a:ext cx="412822" cy="652720"/>
          </a:xfrm>
          <a:custGeom>
            <a:avLst/>
            <a:gdLst>
              <a:gd name="T0" fmla="*/ 341 w 392"/>
              <a:gd name="T1" fmla="*/ 317 h 620"/>
              <a:gd name="T2" fmla="*/ 175 w 392"/>
              <a:gd name="T3" fmla="*/ 482 h 620"/>
              <a:gd name="T4" fmla="*/ 170 w 392"/>
              <a:gd name="T5" fmla="*/ 479 h 620"/>
              <a:gd name="T6" fmla="*/ 76 w 392"/>
              <a:gd name="T7" fmla="*/ 374 h 620"/>
              <a:gd name="T8" fmla="*/ 175 w 392"/>
              <a:gd name="T9" fmla="*/ 462 h 620"/>
              <a:gd name="T10" fmla="*/ 341 w 392"/>
              <a:gd name="T11" fmla="*/ 305 h 620"/>
              <a:gd name="T12" fmla="*/ 392 w 392"/>
              <a:gd name="T13" fmla="*/ 585 h 620"/>
              <a:gd name="T14" fmla="*/ 35 w 392"/>
              <a:gd name="T15" fmla="*/ 620 h 620"/>
              <a:gd name="T16" fmla="*/ 0 w 392"/>
              <a:gd name="T17" fmla="*/ 143 h 620"/>
              <a:gd name="T18" fmla="*/ 70 w 392"/>
              <a:gd name="T19" fmla="*/ 107 h 620"/>
              <a:gd name="T20" fmla="*/ 105 w 392"/>
              <a:gd name="T21" fmla="*/ 66 h 620"/>
              <a:gd name="T22" fmla="*/ 133 w 392"/>
              <a:gd name="T23" fmla="*/ 48 h 620"/>
              <a:gd name="T24" fmla="*/ 218 w 392"/>
              <a:gd name="T25" fmla="*/ 0 h 620"/>
              <a:gd name="T26" fmla="*/ 267 w 392"/>
              <a:gd name="T27" fmla="*/ 66 h 620"/>
              <a:gd name="T28" fmla="*/ 330 w 392"/>
              <a:gd name="T29" fmla="*/ 102 h 620"/>
              <a:gd name="T30" fmla="*/ 357 w 392"/>
              <a:gd name="T31" fmla="*/ 107 h 620"/>
              <a:gd name="T32" fmla="*/ 86 w 392"/>
              <a:gd name="T33" fmla="*/ 129 h 620"/>
              <a:gd name="T34" fmla="*/ 294 w 392"/>
              <a:gd name="T35" fmla="*/ 148 h 620"/>
              <a:gd name="T36" fmla="*/ 314 w 392"/>
              <a:gd name="T37" fmla="*/ 102 h 620"/>
              <a:gd name="T38" fmla="*/ 259 w 392"/>
              <a:gd name="T39" fmla="*/ 82 h 620"/>
              <a:gd name="T40" fmla="*/ 251 w 392"/>
              <a:gd name="T41" fmla="*/ 48 h 620"/>
              <a:gd name="T42" fmla="*/ 182 w 392"/>
              <a:gd name="T43" fmla="*/ 16 h 620"/>
              <a:gd name="T44" fmla="*/ 149 w 392"/>
              <a:gd name="T45" fmla="*/ 74 h 620"/>
              <a:gd name="T46" fmla="*/ 105 w 392"/>
              <a:gd name="T47" fmla="*/ 82 h 620"/>
              <a:gd name="T48" fmla="*/ 86 w 392"/>
              <a:gd name="T49" fmla="*/ 129 h 620"/>
              <a:gd name="T50" fmla="*/ 357 w 392"/>
              <a:gd name="T51" fmla="*/ 123 h 620"/>
              <a:gd name="T52" fmla="*/ 330 w 392"/>
              <a:gd name="T53" fmla="*/ 129 h 620"/>
              <a:gd name="T54" fmla="*/ 105 w 392"/>
              <a:gd name="T55" fmla="*/ 164 h 620"/>
              <a:gd name="T56" fmla="*/ 70 w 392"/>
              <a:gd name="T57" fmla="*/ 123 h 620"/>
              <a:gd name="T58" fmla="*/ 16 w 392"/>
              <a:gd name="T59" fmla="*/ 143 h 620"/>
              <a:gd name="T60" fmla="*/ 35 w 392"/>
              <a:gd name="T61" fmla="*/ 604 h 620"/>
              <a:gd name="T62" fmla="*/ 376 w 392"/>
              <a:gd name="T63" fmla="*/ 585 h 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92" h="620">
                <a:moveTo>
                  <a:pt x="341" y="305"/>
                </a:moveTo>
                <a:cubicBezTo>
                  <a:pt x="345" y="308"/>
                  <a:pt x="345" y="313"/>
                  <a:pt x="341" y="317"/>
                </a:cubicBezTo>
                <a:cubicBezTo>
                  <a:pt x="181" y="479"/>
                  <a:pt x="181" y="479"/>
                  <a:pt x="181" y="479"/>
                </a:cubicBezTo>
                <a:cubicBezTo>
                  <a:pt x="180" y="481"/>
                  <a:pt x="178" y="482"/>
                  <a:pt x="175" y="482"/>
                </a:cubicBezTo>
                <a:cubicBezTo>
                  <a:pt x="175" y="482"/>
                  <a:pt x="175" y="482"/>
                  <a:pt x="175" y="482"/>
                </a:cubicBezTo>
                <a:cubicBezTo>
                  <a:pt x="173" y="482"/>
                  <a:pt x="171" y="481"/>
                  <a:pt x="170" y="479"/>
                </a:cubicBezTo>
                <a:cubicBezTo>
                  <a:pt x="76" y="385"/>
                  <a:pt x="76" y="385"/>
                  <a:pt x="76" y="385"/>
                </a:cubicBezTo>
                <a:cubicBezTo>
                  <a:pt x="73" y="382"/>
                  <a:pt x="73" y="377"/>
                  <a:pt x="76" y="374"/>
                </a:cubicBezTo>
                <a:cubicBezTo>
                  <a:pt x="79" y="371"/>
                  <a:pt x="84" y="371"/>
                  <a:pt x="87" y="374"/>
                </a:cubicBezTo>
                <a:cubicBezTo>
                  <a:pt x="175" y="462"/>
                  <a:pt x="175" y="462"/>
                  <a:pt x="175" y="462"/>
                </a:cubicBezTo>
                <a:cubicBezTo>
                  <a:pt x="330" y="305"/>
                  <a:pt x="330" y="305"/>
                  <a:pt x="330" y="305"/>
                </a:cubicBezTo>
                <a:cubicBezTo>
                  <a:pt x="333" y="302"/>
                  <a:pt x="338" y="302"/>
                  <a:pt x="341" y="305"/>
                </a:cubicBezTo>
                <a:close/>
                <a:moveTo>
                  <a:pt x="392" y="143"/>
                </a:moveTo>
                <a:cubicBezTo>
                  <a:pt x="392" y="585"/>
                  <a:pt x="392" y="585"/>
                  <a:pt x="392" y="585"/>
                </a:cubicBezTo>
                <a:cubicBezTo>
                  <a:pt x="392" y="604"/>
                  <a:pt x="376" y="620"/>
                  <a:pt x="357" y="620"/>
                </a:cubicBezTo>
                <a:cubicBezTo>
                  <a:pt x="35" y="620"/>
                  <a:pt x="35" y="620"/>
                  <a:pt x="35" y="620"/>
                </a:cubicBezTo>
                <a:cubicBezTo>
                  <a:pt x="16" y="620"/>
                  <a:pt x="0" y="604"/>
                  <a:pt x="0" y="585"/>
                </a:cubicBezTo>
                <a:cubicBezTo>
                  <a:pt x="0" y="143"/>
                  <a:pt x="0" y="143"/>
                  <a:pt x="0" y="143"/>
                </a:cubicBezTo>
                <a:cubicBezTo>
                  <a:pt x="0" y="123"/>
                  <a:pt x="16" y="107"/>
                  <a:pt x="35" y="107"/>
                </a:cubicBezTo>
                <a:cubicBezTo>
                  <a:pt x="70" y="107"/>
                  <a:pt x="70" y="107"/>
                  <a:pt x="70" y="107"/>
                </a:cubicBezTo>
                <a:cubicBezTo>
                  <a:pt x="70" y="102"/>
                  <a:pt x="70" y="102"/>
                  <a:pt x="70" y="102"/>
                </a:cubicBezTo>
                <a:cubicBezTo>
                  <a:pt x="70" y="82"/>
                  <a:pt x="86" y="66"/>
                  <a:pt x="105" y="66"/>
                </a:cubicBezTo>
                <a:cubicBezTo>
                  <a:pt x="133" y="66"/>
                  <a:pt x="133" y="66"/>
                  <a:pt x="133" y="66"/>
                </a:cubicBezTo>
                <a:cubicBezTo>
                  <a:pt x="133" y="48"/>
                  <a:pt x="133" y="48"/>
                  <a:pt x="133" y="48"/>
                </a:cubicBezTo>
                <a:cubicBezTo>
                  <a:pt x="133" y="22"/>
                  <a:pt x="155" y="0"/>
                  <a:pt x="182" y="0"/>
                </a:cubicBezTo>
                <a:cubicBezTo>
                  <a:pt x="218" y="0"/>
                  <a:pt x="218" y="0"/>
                  <a:pt x="218" y="0"/>
                </a:cubicBezTo>
                <a:cubicBezTo>
                  <a:pt x="245" y="0"/>
                  <a:pt x="267" y="22"/>
                  <a:pt x="267" y="48"/>
                </a:cubicBezTo>
                <a:cubicBezTo>
                  <a:pt x="267" y="66"/>
                  <a:pt x="267" y="66"/>
                  <a:pt x="267" y="66"/>
                </a:cubicBezTo>
                <a:cubicBezTo>
                  <a:pt x="294" y="66"/>
                  <a:pt x="294" y="66"/>
                  <a:pt x="294" y="66"/>
                </a:cubicBezTo>
                <a:cubicBezTo>
                  <a:pt x="314" y="66"/>
                  <a:pt x="330" y="82"/>
                  <a:pt x="330" y="102"/>
                </a:cubicBezTo>
                <a:cubicBezTo>
                  <a:pt x="330" y="107"/>
                  <a:pt x="330" y="107"/>
                  <a:pt x="330" y="107"/>
                </a:cubicBezTo>
                <a:cubicBezTo>
                  <a:pt x="357" y="107"/>
                  <a:pt x="357" y="107"/>
                  <a:pt x="357" y="107"/>
                </a:cubicBezTo>
                <a:cubicBezTo>
                  <a:pt x="376" y="107"/>
                  <a:pt x="392" y="123"/>
                  <a:pt x="392" y="143"/>
                </a:cubicBezTo>
                <a:close/>
                <a:moveTo>
                  <a:pt x="86" y="129"/>
                </a:moveTo>
                <a:cubicBezTo>
                  <a:pt x="86" y="139"/>
                  <a:pt x="95" y="148"/>
                  <a:pt x="105" y="148"/>
                </a:cubicBezTo>
                <a:cubicBezTo>
                  <a:pt x="294" y="148"/>
                  <a:pt x="294" y="148"/>
                  <a:pt x="294" y="148"/>
                </a:cubicBezTo>
                <a:cubicBezTo>
                  <a:pt x="305" y="148"/>
                  <a:pt x="314" y="139"/>
                  <a:pt x="314" y="129"/>
                </a:cubicBezTo>
                <a:cubicBezTo>
                  <a:pt x="314" y="102"/>
                  <a:pt x="314" y="102"/>
                  <a:pt x="314" y="102"/>
                </a:cubicBezTo>
                <a:cubicBezTo>
                  <a:pt x="314" y="91"/>
                  <a:pt x="305" y="82"/>
                  <a:pt x="294" y="82"/>
                </a:cubicBezTo>
                <a:cubicBezTo>
                  <a:pt x="259" y="82"/>
                  <a:pt x="259" y="82"/>
                  <a:pt x="259" y="82"/>
                </a:cubicBezTo>
                <a:cubicBezTo>
                  <a:pt x="254" y="82"/>
                  <a:pt x="251" y="79"/>
                  <a:pt x="251" y="74"/>
                </a:cubicBezTo>
                <a:cubicBezTo>
                  <a:pt x="251" y="48"/>
                  <a:pt x="251" y="48"/>
                  <a:pt x="251" y="48"/>
                </a:cubicBezTo>
                <a:cubicBezTo>
                  <a:pt x="251" y="30"/>
                  <a:pt x="236" y="16"/>
                  <a:pt x="218" y="16"/>
                </a:cubicBezTo>
                <a:cubicBezTo>
                  <a:pt x="182" y="16"/>
                  <a:pt x="182" y="16"/>
                  <a:pt x="182" y="16"/>
                </a:cubicBezTo>
                <a:cubicBezTo>
                  <a:pt x="164" y="16"/>
                  <a:pt x="149" y="30"/>
                  <a:pt x="149" y="48"/>
                </a:cubicBezTo>
                <a:cubicBezTo>
                  <a:pt x="149" y="74"/>
                  <a:pt x="149" y="74"/>
                  <a:pt x="149" y="74"/>
                </a:cubicBezTo>
                <a:cubicBezTo>
                  <a:pt x="149" y="79"/>
                  <a:pt x="146" y="82"/>
                  <a:pt x="141" y="82"/>
                </a:cubicBezTo>
                <a:cubicBezTo>
                  <a:pt x="105" y="82"/>
                  <a:pt x="105" y="82"/>
                  <a:pt x="105" y="82"/>
                </a:cubicBezTo>
                <a:cubicBezTo>
                  <a:pt x="95" y="82"/>
                  <a:pt x="86" y="91"/>
                  <a:pt x="86" y="102"/>
                </a:cubicBezTo>
                <a:lnTo>
                  <a:pt x="86" y="129"/>
                </a:lnTo>
                <a:close/>
                <a:moveTo>
                  <a:pt x="376" y="143"/>
                </a:moveTo>
                <a:cubicBezTo>
                  <a:pt x="376" y="132"/>
                  <a:pt x="368" y="123"/>
                  <a:pt x="357" y="123"/>
                </a:cubicBezTo>
                <a:cubicBezTo>
                  <a:pt x="330" y="123"/>
                  <a:pt x="330" y="123"/>
                  <a:pt x="330" y="123"/>
                </a:cubicBezTo>
                <a:cubicBezTo>
                  <a:pt x="330" y="129"/>
                  <a:pt x="330" y="129"/>
                  <a:pt x="330" y="129"/>
                </a:cubicBezTo>
                <a:cubicBezTo>
                  <a:pt x="330" y="148"/>
                  <a:pt x="314" y="164"/>
                  <a:pt x="294" y="164"/>
                </a:cubicBezTo>
                <a:cubicBezTo>
                  <a:pt x="105" y="164"/>
                  <a:pt x="105" y="164"/>
                  <a:pt x="105" y="164"/>
                </a:cubicBezTo>
                <a:cubicBezTo>
                  <a:pt x="86" y="164"/>
                  <a:pt x="70" y="148"/>
                  <a:pt x="70" y="129"/>
                </a:cubicBezTo>
                <a:cubicBezTo>
                  <a:pt x="70" y="123"/>
                  <a:pt x="70" y="123"/>
                  <a:pt x="70" y="123"/>
                </a:cubicBezTo>
                <a:cubicBezTo>
                  <a:pt x="35" y="123"/>
                  <a:pt x="35" y="123"/>
                  <a:pt x="35" y="123"/>
                </a:cubicBezTo>
                <a:cubicBezTo>
                  <a:pt x="24" y="123"/>
                  <a:pt x="16" y="132"/>
                  <a:pt x="16" y="143"/>
                </a:cubicBezTo>
                <a:cubicBezTo>
                  <a:pt x="16" y="585"/>
                  <a:pt x="16" y="585"/>
                  <a:pt x="16" y="585"/>
                </a:cubicBezTo>
                <a:cubicBezTo>
                  <a:pt x="16" y="596"/>
                  <a:pt x="24" y="604"/>
                  <a:pt x="35" y="604"/>
                </a:cubicBezTo>
                <a:cubicBezTo>
                  <a:pt x="357" y="604"/>
                  <a:pt x="357" y="604"/>
                  <a:pt x="357" y="604"/>
                </a:cubicBezTo>
                <a:cubicBezTo>
                  <a:pt x="368" y="604"/>
                  <a:pt x="376" y="596"/>
                  <a:pt x="376" y="585"/>
                </a:cubicBezTo>
                <a:lnTo>
                  <a:pt x="376" y="143"/>
                </a:ln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endParaRPr lang="en-US" sz="1836"/>
          </a:p>
        </p:txBody>
      </p:sp>
    </p:spTree>
    <p:extLst>
      <p:ext uri="{BB962C8B-B14F-4D97-AF65-F5344CB8AC3E}">
        <p14:creationId xmlns:p14="http://schemas.microsoft.com/office/powerpoint/2010/main" val="567191496"/>
      </p:ext>
    </p:extLst>
  </p:cSld>
  <p:clrMapOvr>
    <a:masterClrMapping/>
  </p:clrMapOvr>
  <p:transition>
    <p:fade/>
  </p:transition>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mmunication</a:t>
            </a:r>
          </a:p>
        </p:txBody>
      </p:sp>
      <p:grpSp>
        <p:nvGrpSpPr>
          <p:cNvPr id="9251" name="Group 9250"/>
          <p:cNvGrpSpPr/>
          <p:nvPr/>
        </p:nvGrpSpPr>
        <p:grpSpPr>
          <a:xfrm>
            <a:off x="1315706" y="1528549"/>
            <a:ext cx="1119124" cy="1119124"/>
            <a:chOff x="1477963" y="2476500"/>
            <a:chExt cx="949325" cy="949325"/>
          </a:xfrm>
        </p:grpSpPr>
        <p:sp>
          <p:nvSpPr>
            <p:cNvPr id="21" name="Oval 14"/>
            <p:cNvSpPr>
              <a:spLocks noChangeArrowheads="1"/>
            </p:cNvSpPr>
            <p:nvPr/>
          </p:nvSpPr>
          <p:spPr bwMode="auto">
            <a:xfrm>
              <a:off x="1477963" y="2476500"/>
              <a:ext cx="949325" cy="949325"/>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24" name="Freeform 17"/>
            <p:cNvSpPr>
              <a:spLocks noEditPoints="1"/>
            </p:cNvSpPr>
            <p:nvPr/>
          </p:nvSpPr>
          <p:spPr bwMode="auto">
            <a:xfrm>
              <a:off x="1655763" y="2674938"/>
              <a:ext cx="581025" cy="550863"/>
            </a:xfrm>
            <a:custGeom>
              <a:avLst/>
              <a:gdLst>
                <a:gd name="T0" fmla="*/ 148 w 651"/>
                <a:gd name="T1" fmla="*/ 616 h 616"/>
                <a:gd name="T2" fmla="*/ 35 w 651"/>
                <a:gd name="T3" fmla="*/ 537 h 616"/>
                <a:gd name="T4" fmla="*/ 216 w 651"/>
                <a:gd name="T5" fmla="*/ 193 h 616"/>
                <a:gd name="T6" fmla="*/ 523 w 651"/>
                <a:gd name="T7" fmla="*/ 0 h 616"/>
                <a:gd name="T8" fmla="*/ 561 w 651"/>
                <a:gd name="T9" fmla="*/ 11 h 616"/>
                <a:gd name="T10" fmla="*/ 636 w 651"/>
                <a:gd name="T11" fmla="*/ 139 h 616"/>
                <a:gd name="T12" fmla="*/ 485 w 651"/>
                <a:gd name="T13" fmla="*/ 232 h 616"/>
                <a:gd name="T14" fmla="*/ 485 w 651"/>
                <a:gd name="T15" fmla="*/ 232 h 616"/>
                <a:gd name="T16" fmla="*/ 481 w 651"/>
                <a:gd name="T17" fmla="*/ 231 h 616"/>
                <a:gd name="T18" fmla="*/ 442 w 651"/>
                <a:gd name="T19" fmla="*/ 211 h 616"/>
                <a:gd name="T20" fmla="*/ 399 w 651"/>
                <a:gd name="T21" fmla="*/ 188 h 616"/>
                <a:gd name="T22" fmla="*/ 397 w 651"/>
                <a:gd name="T23" fmla="*/ 188 h 616"/>
                <a:gd name="T24" fmla="*/ 291 w 651"/>
                <a:gd name="T25" fmla="*/ 267 h 616"/>
                <a:gd name="T26" fmla="*/ 212 w 651"/>
                <a:gd name="T27" fmla="*/ 375 h 616"/>
                <a:gd name="T28" fmla="*/ 235 w 651"/>
                <a:gd name="T29" fmla="*/ 418 h 616"/>
                <a:gd name="T30" fmla="*/ 255 w 651"/>
                <a:gd name="T31" fmla="*/ 457 h 616"/>
                <a:gd name="T32" fmla="*/ 219 w 651"/>
                <a:gd name="T33" fmla="*/ 539 h 616"/>
                <a:gd name="T34" fmla="*/ 161 w 651"/>
                <a:gd name="T35" fmla="*/ 614 h 616"/>
                <a:gd name="T36" fmla="*/ 148 w 651"/>
                <a:gd name="T37" fmla="*/ 616 h 616"/>
                <a:gd name="T38" fmla="*/ 523 w 651"/>
                <a:gd name="T39" fmla="*/ 14 h 616"/>
                <a:gd name="T40" fmla="*/ 226 w 651"/>
                <a:gd name="T41" fmla="*/ 202 h 616"/>
                <a:gd name="T42" fmla="*/ 47 w 651"/>
                <a:gd name="T43" fmla="*/ 529 h 616"/>
                <a:gd name="T44" fmla="*/ 92 w 651"/>
                <a:gd name="T45" fmla="*/ 576 h 616"/>
                <a:gd name="T46" fmla="*/ 156 w 651"/>
                <a:gd name="T47" fmla="*/ 601 h 616"/>
                <a:gd name="T48" fmla="*/ 242 w 651"/>
                <a:gd name="T49" fmla="*/ 461 h 616"/>
                <a:gd name="T50" fmla="*/ 222 w 651"/>
                <a:gd name="T51" fmla="*/ 425 h 616"/>
                <a:gd name="T52" fmla="*/ 199 w 651"/>
                <a:gd name="T53" fmla="*/ 380 h 616"/>
                <a:gd name="T54" fmla="*/ 221 w 651"/>
                <a:gd name="T55" fmla="*/ 325 h 616"/>
                <a:gd name="T56" fmla="*/ 281 w 651"/>
                <a:gd name="T57" fmla="*/ 257 h 616"/>
                <a:gd name="T58" fmla="*/ 397 w 651"/>
                <a:gd name="T59" fmla="*/ 174 h 616"/>
                <a:gd name="T60" fmla="*/ 404 w 651"/>
                <a:gd name="T61" fmla="*/ 175 h 616"/>
                <a:gd name="T62" fmla="*/ 449 w 651"/>
                <a:gd name="T63" fmla="*/ 199 h 616"/>
                <a:gd name="T64" fmla="*/ 485 w 651"/>
                <a:gd name="T65" fmla="*/ 218 h 616"/>
                <a:gd name="T66" fmla="*/ 623 w 651"/>
                <a:gd name="T67" fmla="*/ 134 h 616"/>
                <a:gd name="T68" fmla="*/ 553 w 651"/>
                <a:gd name="T69" fmla="*/ 22 h 616"/>
                <a:gd name="T70" fmla="*/ 523 w 651"/>
                <a:gd name="T71" fmla="*/ 14 h 6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51" h="616">
                  <a:moveTo>
                    <a:pt x="148" y="616"/>
                  </a:moveTo>
                  <a:cubicBezTo>
                    <a:pt x="110" y="616"/>
                    <a:pt x="52" y="565"/>
                    <a:pt x="35" y="537"/>
                  </a:cubicBezTo>
                  <a:cubicBezTo>
                    <a:pt x="0" y="479"/>
                    <a:pt x="78" y="331"/>
                    <a:pt x="216" y="193"/>
                  </a:cubicBezTo>
                  <a:cubicBezTo>
                    <a:pt x="333" y="76"/>
                    <a:pt x="454" y="0"/>
                    <a:pt x="523" y="0"/>
                  </a:cubicBezTo>
                  <a:cubicBezTo>
                    <a:pt x="539" y="0"/>
                    <a:pt x="551" y="4"/>
                    <a:pt x="561" y="11"/>
                  </a:cubicBezTo>
                  <a:cubicBezTo>
                    <a:pt x="590" y="33"/>
                    <a:pt x="651" y="102"/>
                    <a:pt x="636" y="139"/>
                  </a:cubicBezTo>
                  <a:cubicBezTo>
                    <a:pt x="627" y="162"/>
                    <a:pt x="507" y="232"/>
                    <a:pt x="485" y="232"/>
                  </a:cubicBezTo>
                  <a:cubicBezTo>
                    <a:pt x="485" y="232"/>
                    <a:pt x="485" y="232"/>
                    <a:pt x="485" y="232"/>
                  </a:cubicBezTo>
                  <a:cubicBezTo>
                    <a:pt x="484" y="232"/>
                    <a:pt x="482" y="232"/>
                    <a:pt x="481" y="231"/>
                  </a:cubicBezTo>
                  <a:cubicBezTo>
                    <a:pt x="474" y="229"/>
                    <a:pt x="459" y="221"/>
                    <a:pt x="442" y="211"/>
                  </a:cubicBezTo>
                  <a:cubicBezTo>
                    <a:pt x="426" y="202"/>
                    <a:pt x="408" y="192"/>
                    <a:pt x="399" y="188"/>
                  </a:cubicBezTo>
                  <a:cubicBezTo>
                    <a:pt x="399" y="188"/>
                    <a:pt x="398" y="188"/>
                    <a:pt x="397" y="188"/>
                  </a:cubicBezTo>
                  <a:cubicBezTo>
                    <a:pt x="381" y="188"/>
                    <a:pt x="337" y="220"/>
                    <a:pt x="291" y="267"/>
                  </a:cubicBezTo>
                  <a:cubicBezTo>
                    <a:pt x="236" y="321"/>
                    <a:pt x="208" y="365"/>
                    <a:pt x="212" y="375"/>
                  </a:cubicBezTo>
                  <a:cubicBezTo>
                    <a:pt x="216" y="384"/>
                    <a:pt x="226" y="402"/>
                    <a:pt x="235" y="418"/>
                  </a:cubicBezTo>
                  <a:cubicBezTo>
                    <a:pt x="244" y="435"/>
                    <a:pt x="253" y="450"/>
                    <a:pt x="255" y="457"/>
                  </a:cubicBezTo>
                  <a:cubicBezTo>
                    <a:pt x="259" y="469"/>
                    <a:pt x="234" y="514"/>
                    <a:pt x="219" y="539"/>
                  </a:cubicBezTo>
                  <a:cubicBezTo>
                    <a:pt x="207" y="559"/>
                    <a:pt x="177" y="608"/>
                    <a:pt x="161" y="614"/>
                  </a:cubicBezTo>
                  <a:cubicBezTo>
                    <a:pt x="157" y="616"/>
                    <a:pt x="153" y="616"/>
                    <a:pt x="148" y="616"/>
                  </a:cubicBezTo>
                  <a:close/>
                  <a:moveTo>
                    <a:pt x="523" y="14"/>
                  </a:moveTo>
                  <a:cubicBezTo>
                    <a:pt x="458" y="14"/>
                    <a:pt x="339" y="90"/>
                    <a:pt x="226" y="202"/>
                  </a:cubicBezTo>
                  <a:cubicBezTo>
                    <a:pt x="79" y="350"/>
                    <a:pt x="19" y="484"/>
                    <a:pt x="47" y="529"/>
                  </a:cubicBezTo>
                  <a:cubicBezTo>
                    <a:pt x="55" y="543"/>
                    <a:pt x="73" y="561"/>
                    <a:pt x="92" y="576"/>
                  </a:cubicBezTo>
                  <a:cubicBezTo>
                    <a:pt x="119" y="596"/>
                    <a:pt x="143" y="606"/>
                    <a:pt x="156" y="601"/>
                  </a:cubicBezTo>
                  <a:cubicBezTo>
                    <a:pt x="174" y="594"/>
                    <a:pt x="242" y="477"/>
                    <a:pt x="242" y="461"/>
                  </a:cubicBezTo>
                  <a:cubicBezTo>
                    <a:pt x="239" y="455"/>
                    <a:pt x="231" y="440"/>
                    <a:pt x="222" y="425"/>
                  </a:cubicBezTo>
                  <a:cubicBezTo>
                    <a:pt x="213" y="408"/>
                    <a:pt x="203" y="390"/>
                    <a:pt x="199" y="380"/>
                  </a:cubicBezTo>
                  <a:cubicBezTo>
                    <a:pt x="196" y="373"/>
                    <a:pt x="196" y="360"/>
                    <a:pt x="221" y="325"/>
                  </a:cubicBezTo>
                  <a:cubicBezTo>
                    <a:pt x="236" y="305"/>
                    <a:pt x="257" y="281"/>
                    <a:pt x="281" y="257"/>
                  </a:cubicBezTo>
                  <a:cubicBezTo>
                    <a:pt x="294" y="243"/>
                    <a:pt x="365" y="174"/>
                    <a:pt x="397" y="174"/>
                  </a:cubicBezTo>
                  <a:cubicBezTo>
                    <a:pt x="400" y="174"/>
                    <a:pt x="402" y="175"/>
                    <a:pt x="404" y="175"/>
                  </a:cubicBezTo>
                  <a:cubicBezTo>
                    <a:pt x="414" y="179"/>
                    <a:pt x="432" y="189"/>
                    <a:pt x="449" y="199"/>
                  </a:cubicBezTo>
                  <a:cubicBezTo>
                    <a:pt x="463" y="207"/>
                    <a:pt x="479" y="216"/>
                    <a:pt x="485" y="218"/>
                  </a:cubicBezTo>
                  <a:cubicBezTo>
                    <a:pt x="503" y="217"/>
                    <a:pt x="616" y="151"/>
                    <a:pt x="623" y="134"/>
                  </a:cubicBezTo>
                  <a:cubicBezTo>
                    <a:pt x="634" y="108"/>
                    <a:pt x="582" y="44"/>
                    <a:pt x="553" y="22"/>
                  </a:cubicBezTo>
                  <a:cubicBezTo>
                    <a:pt x="545" y="17"/>
                    <a:pt x="536" y="14"/>
                    <a:pt x="523" y="14"/>
                  </a:cubicBez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endParaRPr lang="en-US" sz="1836"/>
            </a:p>
          </p:txBody>
        </p:sp>
      </p:grpSp>
      <p:grpSp>
        <p:nvGrpSpPr>
          <p:cNvPr id="9252" name="Group 9251"/>
          <p:cNvGrpSpPr/>
          <p:nvPr/>
        </p:nvGrpSpPr>
        <p:grpSpPr>
          <a:xfrm>
            <a:off x="3073678" y="1528549"/>
            <a:ext cx="1119124" cy="1119124"/>
            <a:chOff x="2524125" y="2476500"/>
            <a:chExt cx="949325" cy="949325"/>
          </a:xfrm>
        </p:grpSpPr>
        <p:sp>
          <p:nvSpPr>
            <p:cNvPr id="20" name="Oval 13"/>
            <p:cNvSpPr>
              <a:spLocks noChangeArrowheads="1"/>
            </p:cNvSpPr>
            <p:nvPr/>
          </p:nvSpPr>
          <p:spPr bwMode="auto">
            <a:xfrm>
              <a:off x="2524125" y="2476500"/>
              <a:ext cx="949325" cy="949325"/>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25" name="Freeform 18"/>
            <p:cNvSpPr>
              <a:spLocks noEditPoints="1"/>
            </p:cNvSpPr>
            <p:nvPr/>
          </p:nvSpPr>
          <p:spPr bwMode="auto">
            <a:xfrm>
              <a:off x="2709863" y="2693988"/>
              <a:ext cx="579438" cy="514350"/>
            </a:xfrm>
            <a:custGeom>
              <a:avLst/>
              <a:gdLst>
                <a:gd name="T0" fmla="*/ 601 w 649"/>
                <a:gd name="T1" fmla="*/ 226 h 575"/>
                <a:gd name="T2" fmla="*/ 449 w 649"/>
                <a:gd name="T3" fmla="*/ 150 h 575"/>
                <a:gd name="T4" fmla="*/ 324 w 649"/>
                <a:gd name="T5" fmla="*/ 92 h 575"/>
                <a:gd name="T6" fmla="*/ 200 w 649"/>
                <a:gd name="T7" fmla="*/ 150 h 575"/>
                <a:gd name="T8" fmla="*/ 46 w 649"/>
                <a:gd name="T9" fmla="*/ 226 h 575"/>
                <a:gd name="T10" fmla="*/ 5 w 649"/>
                <a:gd name="T11" fmla="*/ 168 h 575"/>
                <a:gd name="T12" fmla="*/ 324 w 649"/>
                <a:gd name="T13" fmla="*/ 0 h 575"/>
                <a:gd name="T14" fmla="*/ 612 w 649"/>
                <a:gd name="T15" fmla="*/ 224 h 575"/>
                <a:gd name="T16" fmla="*/ 473 w 649"/>
                <a:gd name="T17" fmla="*/ 179 h 575"/>
                <a:gd name="T18" fmla="*/ 601 w 649"/>
                <a:gd name="T19" fmla="*/ 212 h 575"/>
                <a:gd name="T20" fmla="*/ 629 w 649"/>
                <a:gd name="T21" fmla="*/ 166 h 575"/>
                <a:gd name="T22" fmla="*/ 324 w 649"/>
                <a:gd name="T23" fmla="*/ 14 h 575"/>
                <a:gd name="T24" fmla="*/ 40 w 649"/>
                <a:gd name="T25" fmla="*/ 211 h 575"/>
                <a:gd name="T26" fmla="*/ 176 w 649"/>
                <a:gd name="T27" fmla="*/ 179 h 575"/>
                <a:gd name="T28" fmla="*/ 199 w 649"/>
                <a:gd name="T29" fmla="*/ 104 h 575"/>
                <a:gd name="T30" fmla="*/ 450 w 649"/>
                <a:gd name="T31" fmla="*/ 104 h 575"/>
                <a:gd name="T32" fmla="*/ 473 w 649"/>
                <a:gd name="T33" fmla="*/ 179 h 575"/>
                <a:gd name="T34" fmla="*/ 163 w 649"/>
                <a:gd name="T35" fmla="*/ 316 h 575"/>
                <a:gd name="T36" fmla="*/ 254 w 649"/>
                <a:gd name="T37" fmla="*/ 316 h 575"/>
                <a:gd name="T38" fmla="*/ 209 w 649"/>
                <a:gd name="T39" fmla="*/ 285 h 575"/>
                <a:gd name="T40" fmla="*/ 209 w 649"/>
                <a:gd name="T41" fmla="*/ 348 h 575"/>
                <a:gd name="T42" fmla="*/ 209 w 649"/>
                <a:gd name="T43" fmla="*/ 285 h 575"/>
                <a:gd name="T44" fmla="*/ 270 w 649"/>
                <a:gd name="T45" fmla="*/ 316 h 575"/>
                <a:gd name="T46" fmla="*/ 361 w 649"/>
                <a:gd name="T47" fmla="*/ 316 h 575"/>
                <a:gd name="T48" fmla="*/ 316 w 649"/>
                <a:gd name="T49" fmla="*/ 285 h 575"/>
                <a:gd name="T50" fmla="*/ 316 w 649"/>
                <a:gd name="T51" fmla="*/ 348 h 575"/>
                <a:gd name="T52" fmla="*/ 316 w 649"/>
                <a:gd name="T53" fmla="*/ 285 h 575"/>
                <a:gd name="T54" fmla="*/ 377 w 649"/>
                <a:gd name="T55" fmla="*/ 316 h 575"/>
                <a:gd name="T56" fmla="*/ 468 w 649"/>
                <a:gd name="T57" fmla="*/ 316 h 575"/>
                <a:gd name="T58" fmla="*/ 422 w 649"/>
                <a:gd name="T59" fmla="*/ 285 h 575"/>
                <a:gd name="T60" fmla="*/ 422 w 649"/>
                <a:gd name="T61" fmla="*/ 348 h 575"/>
                <a:gd name="T62" fmla="*/ 422 w 649"/>
                <a:gd name="T63" fmla="*/ 285 h 575"/>
                <a:gd name="T64" fmla="*/ 163 w 649"/>
                <a:gd name="T65" fmla="*/ 426 h 575"/>
                <a:gd name="T66" fmla="*/ 254 w 649"/>
                <a:gd name="T67" fmla="*/ 426 h 575"/>
                <a:gd name="T68" fmla="*/ 209 w 649"/>
                <a:gd name="T69" fmla="*/ 394 h 575"/>
                <a:gd name="T70" fmla="*/ 209 w 649"/>
                <a:gd name="T71" fmla="*/ 458 h 575"/>
                <a:gd name="T72" fmla="*/ 209 w 649"/>
                <a:gd name="T73" fmla="*/ 394 h 575"/>
                <a:gd name="T74" fmla="*/ 270 w 649"/>
                <a:gd name="T75" fmla="*/ 426 h 575"/>
                <a:gd name="T76" fmla="*/ 361 w 649"/>
                <a:gd name="T77" fmla="*/ 426 h 575"/>
                <a:gd name="T78" fmla="*/ 316 w 649"/>
                <a:gd name="T79" fmla="*/ 394 h 575"/>
                <a:gd name="T80" fmla="*/ 316 w 649"/>
                <a:gd name="T81" fmla="*/ 458 h 575"/>
                <a:gd name="T82" fmla="*/ 316 w 649"/>
                <a:gd name="T83" fmla="*/ 394 h 575"/>
                <a:gd name="T84" fmla="*/ 377 w 649"/>
                <a:gd name="T85" fmla="*/ 426 h 575"/>
                <a:gd name="T86" fmla="*/ 468 w 649"/>
                <a:gd name="T87" fmla="*/ 426 h 575"/>
                <a:gd name="T88" fmla="*/ 422 w 649"/>
                <a:gd name="T89" fmla="*/ 394 h 575"/>
                <a:gd name="T90" fmla="*/ 422 w 649"/>
                <a:gd name="T91" fmla="*/ 458 h 575"/>
                <a:gd name="T92" fmla="*/ 422 w 649"/>
                <a:gd name="T93" fmla="*/ 394 h 575"/>
                <a:gd name="T94" fmla="*/ 163 w 649"/>
                <a:gd name="T95" fmla="*/ 529 h 575"/>
                <a:gd name="T96" fmla="*/ 254 w 649"/>
                <a:gd name="T97" fmla="*/ 529 h 575"/>
                <a:gd name="T98" fmla="*/ 209 w 649"/>
                <a:gd name="T99" fmla="*/ 497 h 575"/>
                <a:gd name="T100" fmla="*/ 209 w 649"/>
                <a:gd name="T101" fmla="*/ 561 h 575"/>
                <a:gd name="T102" fmla="*/ 209 w 649"/>
                <a:gd name="T103" fmla="*/ 497 h 575"/>
                <a:gd name="T104" fmla="*/ 270 w 649"/>
                <a:gd name="T105" fmla="*/ 529 h 575"/>
                <a:gd name="T106" fmla="*/ 361 w 649"/>
                <a:gd name="T107" fmla="*/ 529 h 575"/>
                <a:gd name="T108" fmla="*/ 316 w 649"/>
                <a:gd name="T109" fmla="*/ 497 h 575"/>
                <a:gd name="T110" fmla="*/ 316 w 649"/>
                <a:gd name="T111" fmla="*/ 561 h 575"/>
                <a:gd name="T112" fmla="*/ 316 w 649"/>
                <a:gd name="T113" fmla="*/ 497 h 575"/>
                <a:gd name="T114" fmla="*/ 377 w 649"/>
                <a:gd name="T115" fmla="*/ 529 h 575"/>
                <a:gd name="T116" fmla="*/ 468 w 649"/>
                <a:gd name="T117" fmla="*/ 529 h 575"/>
                <a:gd name="T118" fmla="*/ 422 w 649"/>
                <a:gd name="T119" fmla="*/ 497 h 575"/>
                <a:gd name="T120" fmla="*/ 422 w 649"/>
                <a:gd name="T121" fmla="*/ 561 h 575"/>
                <a:gd name="T122" fmla="*/ 422 w 649"/>
                <a:gd name="T123" fmla="*/ 497 h 5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49" h="575">
                  <a:moveTo>
                    <a:pt x="601" y="226"/>
                  </a:moveTo>
                  <a:cubicBezTo>
                    <a:pt x="601" y="226"/>
                    <a:pt x="601" y="226"/>
                    <a:pt x="601" y="226"/>
                  </a:cubicBezTo>
                  <a:cubicBezTo>
                    <a:pt x="573" y="226"/>
                    <a:pt x="469" y="202"/>
                    <a:pt x="461" y="186"/>
                  </a:cubicBezTo>
                  <a:cubicBezTo>
                    <a:pt x="458" y="180"/>
                    <a:pt x="454" y="166"/>
                    <a:pt x="449" y="150"/>
                  </a:cubicBezTo>
                  <a:cubicBezTo>
                    <a:pt x="445" y="135"/>
                    <a:pt x="440" y="118"/>
                    <a:pt x="437" y="110"/>
                  </a:cubicBezTo>
                  <a:cubicBezTo>
                    <a:pt x="433" y="102"/>
                    <a:pt x="389" y="92"/>
                    <a:pt x="324" y="92"/>
                  </a:cubicBezTo>
                  <a:cubicBezTo>
                    <a:pt x="260" y="92"/>
                    <a:pt x="216" y="102"/>
                    <a:pt x="212" y="110"/>
                  </a:cubicBezTo>
                  <a:cubicBezTo>
                    <a:pt x="209" y="118"/>
                    <a:pt x="204" y="135"/>
                    <a:pt x="200" y="150"/>
                  </a:cubicBezTo>
                  <a:cubicBezTo>
                    <a:pt x="195" y="166"/>
                    <a:pt x="191" y="180"/>
                    <a:pt x="188" y="186"/>
                  </a:cubicBezTo>
                  <a:cubicBezTo>
                    <a:pt x="180" y="202"/>
                    <a:pt x="75" y="226"/>
                    <a:pt x="46" y="226"/>
                  </a:cubicBezTo>
                  <a:cubicBezTo>
                    <a:pt x="41" y="226"/>
                    <a:pt x="37" y="226"/>
                    <a:pt x="35" y="224"/>
                  </a:cubicBezTo>
                  <a:cubicBezTo>
                    <a:pt x="17" y="217"/>
                    <a:pt x="8" y="189"/>
                    <a:pt x="5" y="168"/>
                  </a:cubicBezTo>
                  <a:cubicBezTo>
                    <a:pt x="0" y="144"/>
                    <a:pt x="0" y="116"/>
                    <a:pt x="4" y="100"/>
                  </a:cubicBezTo>
                  <a:cubicBezTo>
                    <a:pt x="18" y="43"/>
                    <a:pt x="156" y="0"/>
                    <a:pt x="324" y="0"/>
                  </a:cubicBezTo>
                  <a:cubicBezTo>
                    <a:pt x="501" y="0"/>
                    <a:pt x="636" y="42"/>
                    <a:pt x="645" y="100"/>
                  </a:cubicBezTo>
                  <a:cubicBezTo>
                    <a:pt x="649" y="131"/>
                    <a:pt x="644" y="211"/>
                    <a:pt x="612" y="224"/>
                  </a:cubicBezTo>
                  <a:cubicBezTo>
                    <a:pt x="610" y="226"/>
                    <a:pt x="606" y="226"/>
                    <a:pt x="601" y="226"/>
                  </a:cubicBezTo>
                  <a:close/>
                  <a:moveTo>
                    <a:pt x="473" y="179"/>
                  </a:moveTo>
                  <a:cubicBezTo>
                    <a:pt x="482" y="187"/>
                    <a:pt x="567" y="212"/>
                    <a:pt x="601" y="212"/>
                  </a:cubicBezTo>
                  <a:cubicBezTo>
                    <a:pt x="601" y="212"/>
                    <a:pt x="601" y="212"/>
                    <a:pt x="601" y="212"/>
                  </a:cubicBezTo>
                  <a:cubicBezTo>
                    <a:pt x="605" y="212"/>
                    <a:pt x="607" y="212"/>
                    <a:pt x="607" y="211"/>
                  </a:cubicBezTo>
                  <a:cubicBezTo>
                    <a:pt x="616" y="208"/>
                    <a:pt x="624" y="191"/>
                    <a:pt x="629" y="166"/>
                  </a:cubicBezTo>
                  <a:cubicBezTo>
                    <a:pt x="633" y="141"/>
                    <a:pt x="633" y="115"/>
                    <a:pt x="631" y="102"/>
                  </a:cubicBezTo>
                  <a:cubicBezTo>
                    <a:pt x="624" y="59"/>
                    <a:pt x="508" y="14"/>
                    <a:pt x="324" y="14"/>
                  </a:cubicBezTo>
                  <a:cubicBezTo>
                    <a:pt x="146" y="14"/>
                    <a:pt x="29" y="59"/>
                    <a:pt x="18" y="103"/>
                  </a:cubicBezTo>
                  <a:cubicBezTo>
                    <a:pt x="10" y="134"/>
                    <a:pt x="19" y="203"/>
                    <a:pt x="40" y="211"/>
                  </a:cubicBezTo>
                  <a:cubicBezTo>
                    <a:pt x="40" y="212"/>
                    <a:pt x="42" y="212"/>
                    <a:pt x="46" y="212"/>
                  </a:cubicBezTo>
                  <a:cubicBezTo>
                    <a:pt x="80" y="212"/>
                    <a:pt x="167" y="187"/>
                    <a:pt x="176" y="179"/>
                  </a:cubicBezTo>
                  <a:cubicBezTo>
                    <a:pt x="178" y="174"/>
                    <a:pt x="182" y="160"/>
                    <a:pt x="186" y="146"/>
                  </a:cubicBezTo>
                  <a:cubicBezTo>
                    <a:pt x="191" y="130"/>
                    <a:pt x="195" y="113"/>
                    <a:pt x="199" y="104"/>
                  </a:cubicBezTo>
                  <a:cubicBezTo>
                    <a:pt x="203" y="97"/>
                    <a:pt x="222" y="78"/>
                    <a:pt x="324" y="78"/>
                  </a:cubicBezTo>
                  <a:cubicBezTo>
                    <a:pt x="427" y="78"/>
                    <a:pt x="446" y="97"/>
                    <a:pt x="450" y="104"/>
                  </a:cubicBezTo>
                  <a:cubicBezTo>
                    <a:pt x="454" y="113"/>
                    <a:pt x="458" y="130"/>
                    <a:pt x="463" y="146"/>
                  </a:cubicBezTo>
                  <a:cubicBezTo>
                    <a:pt x="467" y="160"/>
                    <a:pt x="471" y="174"/>
                    <a:pt x="473" y="179"/>
                  </a:cubicBezTo>
                  <a:close/>
                  <a:moveTo>
                    <a:pt x="209" y="362"/>
                  </a:moveTo>
                  <a:cubicBezTo>
                    <a:pt x="184" y="362"/>
                    <a:pt x="163" y="341"/>
                    <a:pt x="163" y="316"/>
                  </a:cubicBezTo>
                  <a:cubicBezTo>
                    <a:pt x="163" y="291"/>
                    <a:pt x="184" y="271"/>
                    <a:pt x="209" y="271"/>
                  </a:cubicBezTo>
                  <a:cubicBezTo>
                    <a:pt x="234" y="271"/>
                    <a:pt x="254" y="291"/>
                    <a:pt x="254" y="316"/>
                  </a:cubicBezTo>
                  <a:cubicBezTo>
                    <a:pt x="254" y="341"/>
                    <a:pt x="234" y="362"/>
                    <a:pt x="209" y="362"/>
                  </a:cubicBezTo>
                  <a:close/>
                  <a:moveTo>
                    <a:pt x="209" y="285"/>
                  </a:moveTo>
                  <a:cubicBezTo>
                    <a:pt x="191" y="285"/>
                    <a:pt x="177" y="299"/>
                    <a:pt x="177" y="316"/>
                  </a:cubicBezTo>
                  <a:cubicBezTo>
                    <a:pt x="177" y="334"/>
                    <a:pt x="191" y="348"/>
                    <a:pt x="209" y="348"/>
                  </a:cubicBezTo>
                  <a:cubicBezTo>
                    <a:pt x="226" y="348"/>
                    <a:pt x="240" y="334"/>
                    <a:pt x="240" y="316"/>
                  </a:cubicBezTo>
                  <a:cubicBezTo>
                    <a:pt x="240" y="299"/>
                    <a:pt x="226" y="285"/>
                    <a:pt x="209" y="285"/>
                  </a:cubicBezTo>
                  <a:close/>
                  <a:moveTo>
                    <a:pt x="316" y="362"/>
                  </a:moveTo>
                  <a:cubicBezTo>
                    <a:pt x="290" y="362"/>
                    <a:pt x="270" y="341"/>
                    <a:pt x="270" y="316"/>
                  </a:cubicBezTo>
                  <a:cubicBezTo>
                    <a:pt x="270" y="291"/>
                    <a:pt x="290" y="271"/>
                    <a:pt x="316" y="271"/>
                  </a:cubicBezTo>
                  <a:cubicBezTo>
                    <a:pt x="341" y="271"/>
                    <a:pt x="361" y="291"/>
                    <a:pt x="361" y="316"/>
                  </a:cubicBezTo>
                  <a:cubicBezTo>
                    <a:pt x="361" y="341"/>
                    <a:pt x="341" y="362"/>
                    <a:pt x="316" y="362"/>
                  </a:cubicBezTo>
                  <a:close/>
                  <a:moveTo>
                    <a:pt x="316" y="285"/>
                  </a:moveTo>
                  <a:cubicBezTo>
                    <a:pt x="298" y="285"/>
                    <a:pt x="284" y="299"/>
                    <a:pt x="284" y="316"/>
                  </a:cubicBezTo>
                  <a:cubicBezTo>
                    <a:pt x="284" y="334"/>
                    <a:pt x="298" y="348"/>
                    <a:pt x="316" y="348"/>
                  </a:cubicBezTo>
                  <a:cubicBezTo>
                    <a:pt x="333" y="348"/>
                    <a:pt x="347" y="334"/>
                    <a:pt x="347" y="316"/>
                  </a:cubicBezTo>
                  <a:cubicBezTo>
                    <a:pt x="347" y="299"/>
                    <a:pt x="333" y="285"/>
                    <a:pt x="316" y="285"/>
                  </a:cubicBezTo>
                  <a:close/>
                  <a:moveTo>
                    <a:pt x="422" y="362"/>
                  </a:moveTo>
                  <a:cubicBezTo>
                    <a:pt x="397" y="362"/>
                    <a:pt x="377" y="341"/>
                    <a:pt x="377" y="316"/>
                  </a:cubicBezTo>
                  <a:cubicBezTo>
                    <a:pt x="377" y="291"/>
                    <a:pt x="397" y="271"/>
                    <a:pt x="422" y="271"/>
                  </a:cubicBezTo>
                  <a:cubicBezTo>
                    <a:pt x="448" y="271"/>
                    <a:pt x="468" y="291"/>
                    <a:pt x="468" y="316"/>
                  </a:cubicBezTo>
                  <a:cubicBezTo>
                    <a:pt x="468" y="341"/>
                    <a:pt x="448" y="362"/>
                    <a:pt x="422" y="362"/>
                  </a:cubicBezTo>
                  <a:close/>
                  <a:moveTo>
                    <a:pt x="422" y="285"/>
                  </a:moveTo>
                  <a:cubicBezTo>
                    <a:pt x="405" y="285"/>
                    <a:pt x="391" y="299"/>
                    <a:pt x="391" y="316"/>
                  </a:cubicBezTo>
                  <a:cubicBezTo>
                    <a:pt x="391" y="334"/>
                    <a:pt x="405" y="348"/>
                    <a:pt x="422" y="348"/>
                  </a:cubicBezTo>
                  <a:cubicBezTo>
                    <a:pt x="440" y="348"/>
                    <a:pt x="454" y="334"/>
                    <a:pt x="454" y="316"/>
                  </a:cubicBezTo>
                  <a:cubicBezTo>
                    <a:pt x="454" y="299"/>
                    <a:pt x="440" y="285"/>
                    <a:pt x="422" y="285"/>
                  </a:cubicBezTo>
                  <a:close/>
                  <a:moveTo>
                    <a:pt x="209" y="472"/>
                  </a:moveTo>
                  <a:cubicBezTo>
                    <a:pt x="184" y="472"/>
                    <a:pt x="163" y="451"/>
                    <a:pt x="163" y="426"/>
                  </a:cubicBezTo>
                  <a:cubicBezTo>
                    <a:pt x="163" y="401"/>
                    <a:pt x="184" y="380"/>
                    <a:pt x="209" y="380"/>
                  </a:cubicBezTo>
                  <a:cubicBezTo>
                    <a:pt x="234" y="380"/>
                    <a:pt x="254" y="401"/>
                    <a:pt x="254" y="426"/>
                  </a:cubicBezTo>
                  <a:cubicBezTo>
                    <a:pt x="254" y="451"/>
                    <a:pt x="234" y="472"/>
                    <a:pt x="209" y="472"/>
                  </a:cubicBezTo>
                  <a:close/>
                  <a:moveTo>
                    <a:pt x="209" y="394"/>
                  </a:moveTo>
                  <a:cubicBezTo>
                    <a:pt x="191" y="394"/>
                    <a:pt x="177" y="409"/>
                    <a:pt x="177" y="426"/>
                  </a:cubicBezTo>
                  <a:cubicBezTo>
                    <a:pt x="177" y="443"/>
                    <a:pt x="191" y="458"/>
                    <a:pt x="209" y="458"/>
                  </a:cubicBezTo>
                  <a:cubicBezTo>
                    <a:pt x="226" y="458"/>
                    <a:pt x="240" y="443"/>
                    <a:pt x="240" y="426"/>
                  </a:cubicBezTo>
                  <a:cubicBezTo>
                    <a:pt x="240" y="409"/>
                    <a:pt x="226" y="394"/>
                    <a:pt x="209" y="394"/>
                  </a:cubicBezTo>
                  <a:close/>
                  <a:moveTo>
                    <a:pt x="316" y="472"/>
                  </a:moveTo>
                  <a:cubicBezTo>
                    <a:pt x="290" y="472"/>
                    <a:pt x="270" y="451"/>
                    <a:pt x="270" y="426"/>
                  </a:cubicBezTo>
                  <a:cubicBezTo>
                    <a:pt x="270" y="401"/>
                    <a:pt x="290" y="380"/>
                    <a:pt x="316" y="380"/>
                  </a:cubicBezTo>
                  <a:cubicBezTo>
                    <a:pt x="341" y="380"/>
                    <a:pt x="361" y="401"/>
                    <a:pt x="361" y="426"/>
                  </a:cubicBezTo>
                  <a:cubicBezTo>
                    <a:pt x="361" y="451"/>
                    <a:pt x="341" y="472"/>
                    <a:pt x="316" y="472"/>
                  </a:cubicBezTo>
                  <a:close/>
                  <a:moveTo>
                    <a:pt x="316" y="394"/>
                  </a:moveTo>
                  <a:cubicBezTo>
                    <a:pt x="298" y="394"/>
                    <a:pt x="284" y="409"/>
                    <a:pt x="284" y="426"/>
                  </a:cubicBezTo>
                  <a:cubicBezTo>
                    <a:pt x="284" y="443"/>
                    <a:pt x="298" y="458"/>
                    <a:pt x="316" y="458"/>
                  </a:cubicBezTo>
                  <a:cubicBezTo>
                    <a:pt x="333" y="458"/>
                    <a:pt x="347" y="443"/>
                    <a:pt x="347" y="426"/>
                  </a:cubicBezTo>
                  <a:cubicBezTo>
                    <a:pt x="347" y="409"/>
                    <a:pt x="333" y="394"/>
                    <a:pt x="316" y="394"/>
                  </a:cubicBezTo>
                  <a:close/>
                  <a:moveTo>
                    <a:pt x="422" y="472"/>
                  </a:moveTo>
                  <a:cubicBezTo>
                    <a:pt x="397" y="472"/>
                    <a:pt x="377" y="451"/>
                    <a:pt x="377" y="426"/>
                  </a:cubicBezTo>
                  <a:cubicBezTo>
                    <a:pt x="377" y="401"/>
                    <a:pt x="397" y="380"/>
                    <a:pt x="422" y="380"/>
                  </a:cubicBezTo>
                  <a:cubicBezTo>
                    <a:pt x="448" y="380"/>
                    <a:pt x="468" y="401"/>
                    <a:pt x="468" y="426"/>
                  </a:cubicBezTo>
                  <a:cubicBezTo>
                    <a:pt x="468" y="451"/>
                    <a:pt x="448" y="472"/>
                    <a:pt x="422" y="472"/>
                  </a:cubicBezTo>
                  <a:close/>
                  <a:moveTo>
                    <a:pt x="422" y="394"/>
                  </a:moveTo>
                  <a:cubicBezTo>
                    <a:pt x="405" y="394"/>
                    <a:pt x="391" y="409"/>
                    <a:pt x="391" y="426"/>
                  </a:cubicBezTo>
                  <a:cubicBezTo>
                    <a:pt x="391" y="443"/>
                    <a:pt x="405" y="458"/>
                    <a:pt x="422" y="458"/>
                  </a:cubicBezTo>
                  <a:cubicBezTo>
                    <a:pt x="440" y="458"/>
                    <a:pt x="454" y="443"/>
                    <a:pt x="454" y="426"/>
                  </a:cubicBezTo>
                  <a:cubicBezTo>
                    <a:pt x="454" y="409"/>
                    <a:pt x="440" y="394"/>
                    <a:pt x="422" y="394"/>
                  </a:cubicBezTo>
                  <a:close/>
                  <a:moveTo>
                    <a:pt x="209" y="575"/>
                  </a:moveTo>
                  <a:cubicBezTo>
                    <a:pt x="184" y="575"/>
                    <a:pt x="163" y="554"/>
                    <a:pt x="163" y="529"/>
                  </a:cubicBezTo>
                  <a:cubicBezTo>
                    <a:pt x="163" y="504"/>
                    <a:pt x="184" y="483"/>
                    <a:pt x="209" y="483"/>
                  </a:cubicBezTo>
                  <a:cubicBezTo>
                    <a:pt x="234" y="483"/>
                    <a:pt x="254" y="504"/>
                    <a:pt x="254" y="529"/>
                  </a:cubicBezTo>
                  <a:cubicBezTo>
                    <a:pt x="254" y="554"/>
                    <a:pt x="234" y="575"/>
                    <a:pt x="209" y="575"/>
                  </a:cubicBezTo>
                  <a:close/>
                  <a:moveTo>
                    <a:pt x="209" y="497"/>
                  </a:moveTo>
                  <a:cubicBezTo>
                    <a:pt x="191" y="497"/>
                    <a:pt x="177" y="512"/>
                    <a:pt x="177" y="529"/>
                  </a:cubicBezTo>
                  <a:cubicBezTo>
                    <a:pt x="177" y="546"/>
                    <a:pt x="191" y="561"/>
                    <a:pt x="209" y="561"/>
                  </a:cubicBezTo>
                  <a:cubicBezTo>
                    <a:pt x="226" y="561"/>
                    <a:pt x="240" y="546"/>
                    <a:pt x="240" y="529"/>
                  </a:cubicBezTo>
                  <a:cubicBezTo>
                    <a:pt x="240" y="512"/>
                    <a:pt x="226" y="497"/>
                    <a:pt x="209" y="497"/>
                  </a:cubicBezTo>
                  <a:close/>
                  <a:moveTo>
                    <a:pt x="316" y="575"/>
                  </a:moveTo>
                  <a:cubicBezTo>
                    <a:pt x="290" y="575"/>
                    <a:pt x="270" y="554"/>
                    <a:pt x="270" y="529"/>
                  </a:cubicBezTo>
                  <a:cubicBezTo>
                    <a:pt x="270" y="504"/>
                    <a:pt x="290" y="483"/>
                    <a:pt x="316" y="483"/>
                  </a:cubicBezTo>
                  <a:cubicBezTo>
                    <a:pt x="341" y="483"/>
                    <a:pt x="361" y="504"/>
                    <a:pt x="361" y="529"/>
                  </a:cubicBezTo>
                  <a:cubicBezTo>
                    <a:pt x="361" y="554"/>
                    <a:pt x="341" y="575"/>
                    <a:pt x="316" y="575"/>
                  </a:cubicBezTo>
                  <a:close/>
                  <a:moveTo>
                    <a:pt x="316" y="497"/>
                  </a:moveTo>
                  <a:cubicBezTo>
                    <a:pt x="298" y="497"/>
                    <a:pt x="284" y="512"/>
                    <a:pt x="284" y="529"/>
                  </a:cubicBezTo>
                  <a:cubicBezTo>
                    <a:pt x="284" y="546"/>
                    <a:pt x="298" y="561"/>
                    <a:pt x="316" y="561"/>
                  </a:cubicBezTo>
                  <a:cubicBezTo>
                    <a:pt x="333" y="561"/>
                    <a:pt x="347" y="546"/>
                    <a:pt x="347" y="529"/>
                  </a:cubicBezTo>
                  <a:cubicBezTo>
                    <a:pt x="347" y="512"/>
                    <a:pt x="333" y="497"/>
                    <a:pt x="316" y="497"/>
                  </a:cubicBezTo>
                  <a:close/>
                  <a:moveTo>
                    <a:pt x="422" y="575"/>
                  </a:moveTo>
                  <a:cubicBezTo>
                    <a:pt x="397" y="575"/>
                    <a:pt x="377" y="554"/>
                    <a:pt x="377" y="529"/>
                  </a:cubicBezTo>
                  <a:cubicBezTo>
                    <a:pt x="377" y="504"/>
                    <a:pt x="397" y="483"/>
                    <a:pt x="422" y="483"/>
                  </a:cubicBezTo>
                  <a:cubicBezTo>
                    <a:pt x="448" y="483"/>
                    <a:pt x="468" y="504"/>
                    <a:pt x="468" y="529"/>
                  </a:cubicBezTo>
                  <a:cubicBezTo>
                    <a:pt x="468" y="554"/>
                    <a:pt x="448" y="575"/>
                    <a:pt x="422" y="575"/>
                  </a:cubicBezTo>
                  <a:close/>
                  <a:moveTo>
                    <a:pt x="422" y="497"/>
                  </a:moveTo>
                  <a:cubicBezTo>
                    <a:pt x="405" y="497"/>
                    <a:pt x="391" y="512"/>
                    <a:pt x="391" y="529"/>
                  </a:cubicBezTo>
                  <a:cubicBezTo>
                    <a:pt x="391" y="546"/>
                    <a:pt x="405" y="561"/>
                    <a:pt x="422" y="561"/>
                  </a:cubicBezTo>
                  <a:cubicBezTo>
                    <a:pt x="440" y="561"/>
                    <a:pt x="454" y="546"/>
                    <a:pt x="454" y="529"/>
                  </a:cubicBezTo>
                  <a:cubicBezTo>
                    <a:pt x="454" y="512"/>
                    <a:pt x="440" y="497"/>
                    <a:pt x="422" y="497"/>
                  </a:cubicBez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endParaRPr lang="en-US" sz="1836"/>
            </a:p>
          </p:txBody>
        </p:sp>
      </p:grpSp>
      <p:grpSp>
        <p:nvGrpSpPr>
          <p:cNvPr id="9253" name="Group 9252"/>
          <p:cNvGrpSpPr/>
          <p:nvPr/>
        </p:nvGrpSpPr>
        <p:grpSpPr>
          <a:xfrm>
            <a:off x="4831649" y="1528549"/>
            <a:ext cx="1119124" cy="1119124"/>
            <a:chOff x="3541713" y="2476500"/>
            <a:chExt cx="949325" cy="949325"/>
          </a:xfrm>
        </p:grpSpPr>
        <p:sp>
          <p:nvSpPr>
            <p:cNvPr id="16" name="Oval 9"/>
            <p:cNvSpPr>
              <a:spLocks noChangeArrowheads="1"/>
            </p:cNvSpPr>
            <p:nvPr/>
          </p:nvSpPr>
          <p:spPr bwMode="auto">
            <a:xfrm>
              <a:off x="3541713" y="2476500"/>
              <a:ext cx="949325" cy="949325"/>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26" name="Freeform 19"/>
            <p:cNvSpPr>
              <a:spLocks noEditPoints="1"/>
            </p:cNvSpPr>
            <p:nvPr/>
          </p:nvSpPr>
          <p:spPr bwMode="auto">
            <a:xfrm>
              <a:off x="3775075" y="2730500"/>
              <a:ext cx="482600" cy="441325"/>
            </a:xfrm>
            <a:custGeom>
              <a:avLst/>
              <a:gdLst>
                <a:gd name="T0" fmla="*/ 129 w 540"/>
                <a:gd name="T1" fmla="*/ 0 h 493"/>
                <a:gd name="T2" fmla="*/ 84 w 540"/>
                <a:gd name="T3" fmla="*/ 82 h 493"/>
                <a:gd name="T4" fmla="*/ 0 w 540"/>
                <a:gd name="T5" fmla="*/ 127 h 493"/>
                <a:gd name="T6" fmla="*/ 49 w 540"/>
                <a:gd name="T7" fmla="*/ 493 h 493"/>
                <a:gd name="T8" fmla="*/ 540 w 540"/>
                <a:gd name="T9" fmla="*/ 449 h 493"/>
                <a:gd name="T10" fmla="*/ 495 w 540"/>
                <a:gd name="T11" fmla="*/ 0 h 493"/>
                <a:gd name="T12" fmla="*/ 14 w 540"/>
                <a:gd name="T13" fmla="*/ 127 h 493"/>
                <a:gd name="T14" fmla="*/ 84 w 540"/>
                <a:gd name="T15" fmla="*/ 96 h 493"/>
                <a:gd name="T16" fmla="*/ 49 w 540"/>
                <a:gd name="T17" fmla="*/ 479 h 493"/>
                <a:gd name="T18" fmla="*/ 526 w 540"/>
                <a:gd name="T19" fmla="*/ 449 h 493"/>
                <a:gd name="T20" fmla="*/ 84 w 540"/>
                <a:gd name="T21" fmla="*/ 479 h 493"/>
                <a:gd name="T22" fmla="*/ 98 w 540"/>
                <a:gd name="T23" fmla="*/ 44 h 493"/>
                <a:gd name="T24" fmla="*/ 495 w 540"/>
                <a:gd name="T25" fmla="*/ 14 h 493"/>
                <a:gd name="T26" fmla="*/ 526 w 540"/>
                <a:gd name="T27" fmla="*/ 449 h 493"/>
                <a:gd name="T28" fmla="*/ 289 w 540"/>
                <a:gd name="T29" fmla="*/ 107 h 493"/>
                <a:gd name="T30" fmla="*/ 163 w 540"/>
                <a:gd name="T31" fmla="*/ 100 h 493"/>
                <a:gd name="T32" fmla="*/ 289 w 540"/>
                <a:gd name="T33" fmla="*/ 93 h 493"/>
                <a:gd name="T34" fmla="*/ 464 w 540"/>
                <a:gd name="T35" fmla="*/ 100 h 493"/>
                <a:gd name="T36" fmla="*/ 338 w 540"/>
                <a:gd name="T37" fmla="*/ 107 h 493"/>
                <a:gd name="T38" fmla="*/ 338 w 540"/>
                <a:gd name="T39" fmla="*/ 93 h 493"/>
                <a:gd name="T40" fmla="*/ 464 w 540"/>
                <a:gd name="T41" fmla="*/ 100 h 493"/>
                <a:gd name="T42" fmla="*/ 289 w 540"/>
                <a:gd name="T43" fmla="*/ 195 h 493"/>
                <a:gd name="T44" fmla="*/ 163 w 540"/>
                <a:gd name="T45" fmla="*/ 188 h 493"/>
                <a:gd name="T46" fmla="*/ 289 w 540"/>
                <a:gd name="T47" fmla="*/ 181 h 493"/>
                <a:gd name="T48" fmla="*/ 296 w 540"/>
                <a:gd name="T49" fmla="*/ 276 h 493"/>
                <a:gd name="T50" fmla="*/ 170 w 540"/>
                <a:gd name="T51" fmla="*/ 283 h 493"/>
                <a:gd name="T52" fmla="*/ 170 w 540"/>
                <a:gd name="T53" fmla="*/ 269 h 493"/>
                <a:gd name="T54" fmla="*/ 296 w 540"/>
                <a:gd name="T55" fmla="*/ 276 h 493"/>
                <a:gd name="T56" fmla="*/ 289 w 540"/>
                <a:gd name="T57" fmla="*/ 371 h 493"/>
                <a:gd name="T58" fmla="*/ 163 w 540"/>
                <a:gd name="T59" fmla="*/ 364 h 493"/>
                <a:gd name="T60" fmla="*/ 289 w 540"/>
                <a:gd name="T61" fmla="*/ 357 h 493"/>
                <a:gd name="T62" fmla="*/ 457 w 540"/>
                <a:gd name="T63" fmla="*/ 181 h 493"/>
                <a:gd name="T64" fmla="*/ 331 w 540"/>
                <a:gd name="T65" fmla="*/ 188 h 493"/>
                <a:gd name="T66" fmla="*/ 338 w 540"/>
                <a:gd name="T67" fmla="*/ 371 h 493"/>
                <a:gd name="T68" fmla="*/ 464 w 540"/>
                <a:gd name="T69" fmla="*/ 364 h 493"/>
                <a:gd name="T70" fmla="*/ 457 w 540"/>
                <a:gd name="T71" fmla="*/ 181 h 493"/>
                <a:gd name="T72" fmla="*/ 345 w 540"/>
                <a:gd name="T73" fmla="*/ 357 h 493"/>
                <a:gd name="T74" fmla="*/ 450 w 540"/>
                <a:gd name="T75" fmla="*/ 195 h 4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40" h="493">
                  <a:moveTo>
                    <a:pt x="495" y="0"/>
                  </a:moveTo>
                  <a:cubicBezTo>
                    <a:pt x="129" y="0"/>
                    <a:pt x="129" y="0"/>
                    <a:pt x="129" y="0"/>
                  </a:cubicBezTo>
                  <a:cubicBezTo>
                    <a:pt x="104" y="0"/>
                    <a:pt x="84" y="20"/>
                    <a:pt x="84" y="44"/>
                  </a:cubicBezTo>
                  <a:cubicBezTo>
                    <a:pt x="84" y="82"/>
                    <a:pt x="84" y="82"/>
                    <a:pt x="84" y="82"/>
                  </a:cubicBezTo>
                  <a:cubicBezTo>
                    <a:pt x="45" y="82"/>
                    <a:pt x="45" y="82"/>
                    <a:pt x="45" y="82"/>
                  </a:cubicBezTo>
                  <a:cubicBezTo>
                    <a:pt x="20" y="82"/>
                    <a:pt x="0" y="102"/>
                    <a:pt x="0" y="127"/>
                  </a:cubicBezTo>
                  <a:cubicBezTo>
                    <a:pt x="0" y="449"/>
                    <a:pt x="0" y="449"/>
                    <a:pt x="0" y="449"/>
                  </a:cubicBezTo>
                  <a:cubicBezTo>
                    <a:pt x="0" y="472"/>
                    <a:pt x="23" y="493"/>
                    <a:pt x="49" y="493"/>
                  </a:cubicBezTo>
                  <a:cubicBezTo>
                    <a:pt x="495" y="493"/>
                    <a:pt x="495" y="493"/>
                    <a:pt x="495" y="493"/>
                  </a:cubicBezTo>
                  <a:cubicBezTo>
                    <a:pt x="520" y="493"/>
                    <a:pt x="540" y="473"/>
                    <a:pt x="540" y="449"/>
                  </a:cubicBezTo>
                  <a:cubicBezTo>
                    <a:pt x="540" y="44"/>
                    <a:pt x="540" y="44"/>
                    <a:pt x="540" y="44"/>
                  </a:cubicBezTo>
                  <a:cubicBezTo>
                    <a:pt x="540" y="20"/>
                    <a:pt x="520" y="0"/>
                    <a:pt x="495" y="0"/>
                  </a:cubicBezTo>
                  <a:close/>
                  <a:moveTo>
                    <a:pt x="14" y="449"/>
                  </a:moveTo>
                  <a:cubicBezTo>
                    <a:pt x="14" y="127"/>
                    <a:pt x="14" y="127"/>
                    <a:pt x="14" y="127"/>
                  </a:cubicBezTo>
                  <a:cubicBezTo>
                    <a:pt x="14" y="110"/>
                    <a:pt x="28" y="96"/>
                    <a:pt x="45" y="96"/>
                  </a:cubicBezTo>
                  <a:cubicBezTo>
                    <a:pt x="84" y="96"/>
                    <a:pt x="84" y="96"/>
                    <a:pt x="84" y="96"/>
                  </a:cubicBezTo>
                  <a:cubicBezTo>
                    <a:pt x="84" y="449"/>
                    <a:pt x="84" y="449"/>
                    <a:pt x="84" y="449"/>
                  </a:cubicBezTo>
                  <a:cubicBezTo>
                    <a:pt x="84" y="465"/>
                    <a:pt x="67" y="479"/>
                    <a:pt x="49" y="479"/>
                  </a:cubicBezTo>
                  <a:cubicBezTo>
                    <a:pt x="32" y="479"/>
                    <a:pt x="14" y="466"/>
                    <a:pt x="14" y="449"/>
                  </a:cubicBezTo>
                  <a:close/>
                  <a:moveTo>
                    <a:pt x="526" y="449"/>
                  </a:moveTo>
                  <a:cubicBezTo>
                    <a:pt x="526" y="465"/>
                    <a:pt x="512" y="479"/>
                    <a:pt x="495" y="479"/>
                  </a:cubicBezTo>
                  <a:cubicBezTo>
                    <a:pt x="84" y="479"/>
                    <a:pt x="84" y="479"/>
                    <a:pt x="84" y="479"/>
                  </a:cubicBezTo>
                  <a:cubicBezTo>
                    <a:pt x="93" y="471"/>
                    <a:pt x="98" y="460"/>
                    <a:pt x="98" y="449"/>
                  </a:cubicBezTo>
                  <a:cubicBezTo>
                    <a:pt x="98" y="44"/>
                    <a:pt x="98" y="44"/>
                    <a:pt x="98" y="44"/>
                  </a:cubicBezTo>
                  <a:cubicBezTo>
                    <a:pt x="98" y="27"/>
                    <a:pt x="112" y="14"/>
                    <a:pt x="129" y="14"/>
                  </a:cubicBezTo>
                  <a:cubicBezTo>
                    <a:pt x="495" y="14"/>
                    <a:pt x="495" y="14"/>
                    <a:pt x="495" y="14"/>
                  </a:cubicBezTo>
                  <a:cubicBezTo>
                    <a:pt x="512" y="14"/>
                    <a:pt x="526" y="27"/>
                    <a:pt x="526" y="44"/>
                  </a:cubicBezTo>
                  <a:lnTo>
                    <a:pt x="526" y="449"/>
                  </a:lnTo>
                  <a:close/>
                  <a:moveTo>
                    <a:pt x="296" y="100"/>
                  </a:moveTo>
                  <a:cubicBezTo>
                    <a:pt x="296" y="104"/>
                    <a:pt x="293" y="107"/>
                    <a:pt x="289" y="107"/>
                  </a:cubicBezTo>
                  <a:cubicBezTo>
                    <a:pt x="170" y="107"/>
                    <a:pt x="170" y="107"/>
                    <a:pt x="170" y="107"/>
                  </a:cubicBezTo>
                  <a:cubicBezTo>
                    <a:pt x="166" y="107"/>
                    <a:pt x="163" y="104"/>
                    <a:pt x="163" y="100"/>
                  </a:cubicBezTo>
                  <a:cubicBezTo>
                    <a:pt x="163" y="96"/>
                    <a:pt x="166" y="93"/>
                    <a:pt x="170" y="93"/>
                  </a:cubicBezTo>
                  <a:cubicBezTo>
                    <a:pt x="289" y="93"/>
                    <a:pt x="289" y="93"/>
                    <a:pt x="289" y="93"/>
                  </a:cubicBezTo>
                  <a:cubicBezTo>
                    <a:pt x="293" y="93"/>
                    <a:pt x="296" y="96"/>
                    <a:pt x="296" y="100"/>
                  </a:cubicBezTo>
                  <a:close/>
                  <a:moveTo>
                    <a:pt x="464" y="100"/>
                  </a:moveTo>
                  <a:cubicBezTo>
                    <a:pt x="464" y="104"/>
                    <a:pt x="461" y="107"/>
                    <a:pt x="457" y="107"/>
                  </a:cubicBezTo>
                  <a:cubicBezTo>
                    <a:pt x="338" y="107"/>
                    <a:pt x="338" y="107"/>
                    <a:pt x="338" y="107"/>
                  </a:cubicBezTo>
                  <a:cubicBezTo>
                    <a:pt x="335" y="107"/>
                    <a:pt x="331" y="104"/>
                    <a:pt x="331" y="100"/>
                  </a:cubicBezTo>
                  <a:cubicBezTo>
                    <a:pt x="331" y="96"/>
                    <a:pt x="335" y="93"/>
                    <a:pt x="338" y="93"/>
                  </a:cubicBezTo>
                  <a:cubicBezTo>
                    <a:pt x="457" y="93"/>
                    <a:pt x="457" y="93"/>
                    <a:pt x="457" y="93"/>
                  </a:cubicBezTo>
                  <a:cubicBezTo>
                    <a:pt x="461" y="93"/>
                    <a:pt x="464" y="96"/>
                    <a:pt x="464" y="100"/>
                  </a:cubicBezTo>
                  <a:close/>
                  <a:moveTo>
                    <a:pt x="296" y="188"/>
                  </a:moveTo>
                  <a:cubicBezTo>
                    <a:pt x="296" y="192"/>
                    <a:pt x="293" y="195"/>
                    <a:pt x="289" y="195"/>
                  </a:cubicBezTo>
                  <a:cubicBezTo>
                    <a:pt x="170" y="195"/>
                    <a:pt x="170" y="195"/>
                    <a:pt x="170" y="195"/>
                  </a:cubicBezTo>
                  <a:cubicBezTo>
                    <a:pt x="166" y="195"/>
                    <a:pt x="163" y="192"/>
                    <a:pt x="163" y="188"/>
                  </a:cubicBezTo>
                  <a:cubicBezTo>
                    <a:pt x="163" y="184"/>
                    <a:pt x="166" y="181"/>
                    <a:pt x="170" y="181"/>
                  </a:cubicBezTo>
                  <a:cubicBezTo>
                    <a:pt x="289" y="181"/>
                    <a:pt x="289" y="181"/>
                    <a:pt x="289" y="181"/>
                  </a:cubicBezTo>
                  <a:cubicBezTo>
                    <a:pt x="293" y="181"/>
                    <a:pt x="296" y="184"/>
                    <a:pt x="296" y="188"/>
                  </a:cubicBezTo>
                  <a:close/>
                  <a:moveTo>
                    <a:pt x="296" y="276"/>
                  </a:moveTo>
                  <a:cubicBezTo>
                    <a:pt x="296" y="280"/>
                    <a:pt x="293" y="283"/>
                    <a:pt x="289" y="283"/>
                  </a:cubicBezTo>
                  <a:cubicBezTo>
                    <a:pt x="170" y="283"/>
                    <a:pt x="170" y="283"/>
                    <a:pt x="170" y="283"/>
                  </a:cubicBezTo>
                  <a:cubicBezTo>
                    <a:pt x="166" y="283"/>
                    <a:pt x="163" y="280"/>
                    <a:pt x="163" y="276"/>
                  </a:cubicBezTo>
                  <a:cubicBezTo>
                    <a:pt x="163" y="272"/>
                    <a:pt x="166" y="269"/>
                    <a:pt x="170" y="269"/>
                  </a:cubicBezTo>
                  <a:cubicBezTo>
                    <a:pt x="289" y="269"/>
                    <a:pt x="289" y="269"/>
                    <a:pt x="289" y="269"/>
                  </a:cubicBezTo>
                  <a:cubicBezTo>
                    <a:pt x="293" y="269"/>
                    <a:pt x="296" y="272"/>
                    <a:pt x="296" y="276"/>
                  </a:cubicBezTo>
                  <a:close/>
                  <a:moveTo>
                    <a:pt x="296" y="364"/>
                  </a:moveTo>
                  <a:cubicBezTo>
                    <a:pt x="296" y="367"/>
                    <a:pt x="293" y="371"/>
                    <a:pt x="289" y="371"/>
                  </a:cubicBezTo>
                  <a:cubicBezTo>
                    <a:pt x="170" y="371"/>
                    <a:pt x="170" y="371"/>
                    <a:pt x="170" y="371"/>
                  </a:cubicBezTo>
                  <a:cubicBezTo>
                    <a:pt x="166" y="371"/>
                    <a:pt x="163" y="367"/>
                    <a:pt x="163" y="364"/>
                  </a:cubicBezTo>
                  <a:cubicBezTo>
                    <a:pt x="163" y="360"/>
                    <a:pt x="166" y="357"/>
                    <a:pt x="170" y="357"/>
                  </a:cubicBezTo>
                  <a:cubicBezTo>
                    <a:pt x="289" y="357"/>
                    <a:pt x="289" y="357"/>
                    <a:pt x="289" y="357"/>
                  </a:cubicBezTo>
                  <a:cubicBezTo>
                    <a:pt x="293" y="357"/>
                    <a:pt x="296" y="360"/>
                    <a:pt x="296" y="364"/>
                  </a:cubicBezTo>
                  <a:close/>
                  <a:moveTo>
                    <a:pt x="457" y="181"/>
                  </a:moveTo>
                  <a:cubicBezTo>
                    <a:pt x="338" y="181"/>
                    <a:pt x="338" y="181"/>
                    <a:pt x="338" y="181"/>
                  </a:cubicBezTo>
                  <a:cubicBezTo>
                    <a:pt x="335" y="181"/>
                    <a:pt x="331" y="184"/>
                    <a:pt x="331" y="188"/>
                  </a:cubicBezTo>
                  <a:cubicBezTo>
                    <a:pt x="331" y="364"/>
                    <a:pt x="331" y="364"/>
                    <a:pt x="331" y="364"/>
                  </a:cubicBezTo>
                  <a:cubicBezTo>
                    <a:pt x="331" y="367"/>
                    <a:pt x="335" y="371"/>
                    <a:pt x="338" y="371"/>
                  </a:cubicBezTo>
                  <a:cubicBezTo>
                    <a:pt x="457" y="371"/>
                    <a:pt x="457" y="371"/>
                    <a:pt x="457" y="371"/>
                  </a:cubicBezTo>
                  <a:cubicBezTo>
                    <a:pt x="461" y="371"/>
                    <a:pt x="464" y="367"/>
                    <a:pt x="464" y="364"/>
                  </a:cubicBezTo>
                  <a:cubicBezTo>
                    <a:pt x="464" y="188"/>
                    <a:pt x="464" y="188"/>
                    <a:pt x="464" y="188"/>
                  </a:cubicBezTo>
                  <a:cubicBezTo>
                    <a:pt x="464" y="184"/>
                    <a:pt x="461" y="181"/>
                    <a:pt x="457" y="181"/>
                  </a:cubicBezTo>
                  <a:close/>
                  <a:moveTo>
                    <a:pt x="450" y="357"/>
                  </a:moveTo>
                  <a:cubicBezTo>
                    <a:pt x="345" y="357"/>
                    <a:pt x="345" y="357"/>
                    <a:pt x="345" y="357"/>
                  </a:cubicBezTo>
                  <a:cubicBezTo>
                    <a:pt x="345" y="195"/>
                    <a:pt x="345" y="195"/>
                    <a:pt x="345" y="195"/>
                  </a:cubicBezTo>
                  <a:cubicBezTo>
                    <a:pt x="450" y="195"/>
                    <a:pt x="450" y="195"/>
                    <a:pt x="450" y="195"/>
                  </a:cubicBezTo>
                  <a:lnTo>
                    <a:pt x="450" y="357"/>
                  </a:ln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endParaRPr lang="en-US" sz="1836"/>
            </a:p>
          </p:txBody>
        </p:sp>
      </p:grpSp>
      <p:grpSp>
        <p:nvGrpSpPr>
          <p:cNvPr id="9257" name="Group 9256"/>
          <p:cNvGrpSpPr/>
          <p:nvPr/>
        </p:nvGrpSpPr>
        <p:grpSpPr>
          <a:xfrm>
            <a:off x="8347593" y="1528549"/>
            <a:ext cx="1119124" cy="1119124"/>
            <a:chOff x="5592763" y="2484438"/>
            <a:chExt cx="949325" cy="949325"/>
          </a:xfrm>
        </p:grpSpPr>
        <p:sp>
          <p:nvSpPr>
            <p:cNvPr id="14" name="Oval 7"/>
            <p:cNvSpPr>
              <a:spLocks noChangeArrowheads="1"/>
            </p:cNvSpPr>
            <p:nvPr/>
          </p:nvSpPr>
          <p:spPr bwMode="auto">
            <a:xfrm>
              <a:off x="5592763" y="2484438"/>
              <a:ext cx="949325" cy="949325"/>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27" name="Freeform 20"/>
            <p:cNvSpPr>
              <a:spLocks noEditPoints="1"/>
            </p:cNvSpPr>
            <p:nvPr/>
          </p:nvSpPr>
          <p:spPr bwMode="auto">
            <a:xfrm>
              <a:off x="5718175" y="2703513"/>
              <a:ext cx="698500" cy="509588"/>
            </a:xfrm>
            <a:custGeom>
              <a:avLst/>
              <a:gdLst>
                <a:gd name="T0" fmla="*/ 461 w 782"/>
                <a:gd name="T1" fmla="*/ 81 h 570"/>
                <a:gd name="T2" fmla="*/ 450 w 782"/>
                <a:gd name="T3" fmla="*/ 76 h 570"/>
                <a:gd name="T4" fmla="*/ 43 w 782"/>
                <a:gd name="T5" fmla="*/ 177 h 570"/>
                <a:gd name="T6" fmla="*/ 38 w 782"/>
                <a:gd name="T7" fmla="*/ 179 h 570"/>
                <a:gd name="T8" fmla="*/ 36 w 782"/>
                <a:gd name="T9" fmla="*/ 205 h 570"/>
                <a:gd name="T10" fmla="*/ 36 w 782"/>
                <a:gd name="T11" fmla="*/ 343 h 570"/>
                <a:gd name="T12" fmla="*/ 38 w 782"/>
                <a:gd name="T13" fmla="*/ 365 h 570"/>
                <a:gd name="T14" fmla="*/ 43 w 782"/>
                <a:gd name="T15" fmla="*/ 367 h 570"/>
                <a:gd name="T16" fmla="*/ 157 w 782"/>
                <a:gd name="T17" fmla="*/ 566 h 570"/>
                <a:gd name="T18" fmla="*/ 256 w 782"/>
                <a:gd name="T19" fmla="*/ 570 h 570"/>
                <a:gd name="T20" fmla="*/ 271 w 782"/>
                <a:gd name="T21" fmla="*/ 525 h 570"/>
                <a:gd name="T22" fmla="*/ 227 w 782"/>
                <a:gd name="T23" fmla="*/ 476 h 570"/>
                <a:gd name="T24" fmla="*/ 221 w 782"/>
                <a:gd name="T25" fmla="*/ 409 h 570"/>
                <a:gd name="T26" fmla="*/ 188 w 782"/>
                <a:gd name="T27" fmla="*/ 367 h 570"/>
                <a:gd name="T28" fmla="*/ 192 w 782"/>
                <a:gd name="T29" fmla="*/ 367 h 570"/>
                <a:gd name="T30" fmla="*/ 454 w 782"/>
                <a:gd name="T31" fmla="*/ 470 h 570"/>
                <a:gd name="T32" fmla="*/ 461 w 782"/>
                <a:gd name="T33" fmla="*/ 463 h 570"/>
                <a:gd name="T34" fmla="*/ 498 w 782"/>
                <a:gd name="T35" fmla="*/ 274 h 570"/>
                <a:gd name="T36" fmla="*/ 14 w 782"/>
                <a:gd name="T37" fmla="*/ 274 h 570"/>
                <a:gd name="T38" fmla="*/ 36 w 782"/>
                <a:gd name="T39" fmla="*/ 328 h 570"/>
                <a:gd name="T40" fmla="*/ 197 w 782"/>
                <a:gd name="T41" fmla="*/ 402 h 570"/>
                <a:gd name="T42" fmla="*/ 211 w 782"/>
                <a:gd name="T43" fmla="*/ 446 h 570"/>
                <a:gd name="T44" fmla="*/ 237 w 782"/>
                <a:gd name="T45" fmla="*/ 507 h 570"/>
                <a:gd name="T46" fmla="*/ 260 w 782"/>
                <a:gd name="T47" fmla="*/ 551 h 570"/>
                <a:gd name="T48" fmla="*/ 168 w 782"/>
                <a:gd name="T49" fmla="*/ 556 h 570"/>
                <a:gd name="T50" fmla="*/ 172 w 782"/>
                <a:gd name="T51" fmla="*/ 367 h 570"/>
                <a:gd name="T52" fmla="*/ 447 w 782"/>
                <a:gd name="T53" fmla="*/ 447 h 570"/>
                <a:gd name="T54" fmla="*/ 50 w 782"/>
                <a:gd name="T55" fmla="*/ 353 h 570"/>
                <a:gd name="T56" fmla="*/ 192 w 782"/>
                <a:gd name="T57" fmla="*/ 191 h 570"/>
                <a:gd name="T58" fmla="*/ 447 w 782"/>
                <a:gd name="T59" fmla="*/ 97 h 570"/>
                <a:gd name="T60" fmla="*/ 461 w 782"/>
                <a:gd name="T61" fmla="*/ 328 h 570"/>
                <a:gd name="T62" fmla="*/ 484 w 782"/>
                <a:gd name="T63" fmla="*/ 274 h 570"/>
                <a:gd name="T64" fmla="*/ 624 w 782"/>
                <a:gd name="T65" fmla="*/ 277 h 570"/>
                <a:gd name="T66" fmla="*/ 564 w 782"/>
                <a:gd name="T67" fmla="*/ 417 h 570"/>
                <a:gd name="T68" fmla="*/ 559 w 782"/>
                <a:gd name="T69" fmla="*/ 405 h 570"/>
                <a:gd name="T70" fmla="*/ 560 w 782"/>
                <a:gd name="T71" fmla="*/ 148 h 570"/>
                <a:gd name="T72" fmla="*/ 570 w 782"/>
                <a:gd name="T73" fmla="*/ 139 h 570"/>
                <a:gd name="T74" fmla="*/ 703 w 782"/>
                <a:gd name="T75" fmla="*/ 277 h 570"/>
                <a:gd name="T76" fmla="*/ 617 w 782"/>
                <a:gd name="T77" fmla="*/ 485 h 570"/>
                <a:gd name="T78" fmla="*/ 612 w 782"/>
                <a:gd name="T79" fmla="*/ 474 h 570"/>
                <a:gd name="T80" fmla="*/ 613 w 782"/>
                <a:gd name="T81" fmla="*/ 80 h 570"/>
                <a:gd name="T82" fmla="*/ 623 w 782"/>
                <a:gd name="T83" fmla="*/ 71 h 570"/>
                <a:gd name="T84" fmla="*/ 782 w 782"/>
                <a:gd name="T85" fmla="*/ 277 h 570"/>
                <a:gd name="T86" fmla="*/ 669 w 782"/>
                <a:gd name="T87" fmla="*/ 554 h 570"/>
                <a:gd name="T88" fmla="*/ 664 w 782"/>
                <a:gd name="T89" fmla="*/ 542 h 570"/>
                <a:gd name="T90" fmla="*/ 665 w 782"/>
                <a:gd name="T91" fmla="*/ 12 h 570"/>
                <a:gd name="T92" fmla="*/ 676 w 782"/>
                <a:gd name="T93" fmla="*/ 3 h 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782" h="570">
                  <a:moveTo>
                    <a:pt x="461" y="205"/>
                  </a:moveTo>
                  <a:cubicBezTo>
                    <a:pt x="461" y="81"/>
                    <a:pt x="461" y="81"/>
                    <a:pt x="461" y="81"/>
                  </a:cubicBezTo>
                  <a:cubicBezTo>
                    <a:pt x="461" y="78"/>
                    <a:pt x="460" y="76"/>
                    <a:pt x="457" y="75"/>
                  </a:cubicBezTo>
                  <a:cubicBezTo>
                    <a:pt x="455" y="74"/>
                    <a:pt x="452" y="74"/>
                    <a:pt x="450" y="76"/>
                  </a:cubicBezTo>
                  <a:cubicBezTo>
                    <a:pt x="369" y="151"/>
                    <a:pt x="264" y="177"/>
                    <a:pt x="193" y="177"/>
                  </a:cubicBezTo>
                  <a:cubicBezTo>
                    <a:pt x="43" y="177"/>
                    <a:pt x="43" y="177"/>
                    <a:pt x="43" y="177"/>
                  </a:cubicBezTo>
                  <a:cubicBezTo>
                    <a:pt x="43" y="177"/>
                    <a:pt x="43" y="177"/>
                    <a:pt x="43" y="177"/>
                  </a:cubicBezTo>
                  <a:cubicBezTo>
                    <a:pt x="41" y="177"/>
                    <a:pt x="40" y="178"/>
                    <a:pt x="38" y="179"/>
                  </a:cubicBezTo>
                  <a:cubicBezTo>
                    <a:pt x="37" y="180"/>
                    <a:pt x="36" y="182"/>
                    <a:pt x="36" y="184"/>
                  </a:cubicBezTo>
                  <a:cubicBezTo>
                    <a:pt x="36" y="205"/>
                    <a:pt x="36" y="205"/>
                    <a:pt x="36" y="205"/>
                  </a:cubicBezTo>
                  <a:cubicBezTo>
                    <a:pt x="15" y="211"/>
                    <a:pt x="0" y="239"/>
                    <a:pt x="0" y="274"/>
                  </a:cubicBezTo>
                  <a:cubicBezTo>
                    <a:pt x="0" y="310"/>
                    <a:pt x="15" y="338"/>
                    <a:pt x="36" y="343"/>
                  </a:cubicBezTo>
                  <a:cubicBezTo>
                    <a:pt x="36" y="360"/>
                    <a:pt x="36" y="360"/>
                    <a:pt x="36" y="360"/>
                  </a:cubicBezTo>
                  <a:cubicBezTo>
                    <a:pt x="36" y="362"/>
                    <a:pt x="37" y="364"/>
                    <a:pt x="38" y="365"/>
                  </a:cubicBezTo>
                  <a:cubicBezTo>
                    <a:pt x="40" y="366"/>
                    <a:pt x="41" y="367"/>
                    <a:pt x="43" y="367"/>
                  </a:cubicBezTo>
                  <a:cubicBezTo>
                    <a:pt x="43" y="367"/>
                    <a:pt x="43" y="367"/>
                    <a:pt x="43" y="367"/>
                  </a:cubicBezTo>
                  <a:cubicBezTo>
                    <a:pt x="79" y="367"/>
                    <a:pt x="79" y="367"/>
                    <a:pt x="79" y="367"/>
                  </a:cubicBezTo>
                  <a:cubicBezTo>
                    <a:pt x="157" y="566"/>
                    <a:pt x="157" y="566"/>
                    <a:pt x="157" y="566"/>
                  </a:cubicBezTo>
                  <a:cubicBezTo>
                    <a:pt x="158" y="568"/>
                    <a:pt x="161" y="570"/>
                    <a:pt x="164" y="570"/>
                  </a:cubicBezTo>
                  <a:cubicBezTo>
                    <a:pt x="256" y="570"/>
                    <a:pt x="256" y="570"/>
                    <a:pt x="256" y="570"/>
                  </a:cubicBezTo>
                  <a:cubicBezTo>
                    <a:pt x="262" y="570"/>
                    <a:pt x="267" y="567"/>
                    <a:pt x="271" y="561"/>
                  </a:cubicBezTo>
                  <a:cubicBezTo>
                    <a:pt x="275" y="553"/>
                    <a:pt x="278" y="539"/>
                    <a:pt x="271" y="525"/>
                  </a:cubicBezTo>
                  <a:cubicBezTo>
                    <a:pt x="264" y="510"/>
                    <a:pt x="254" y="502"/>
                    <a:pt x="246" y="496"/>
                  </a:cubicBezTo>
                  <a:cubicBezTo>
                    <a:pt x="238" y="490"/>
                    <a:pt x="232" y="485"/>
                    <a:pt x="227" y="476"/>
                  </a:cubicBezTo>
                  <a:cubicBezTo>
                    <a:pt x="222" y="467"/>
                    <a:pt x="223" y="458"/>
                    <a:pt x="225" y="447"/>
                  </a:cubicBezTo>
                  <a:cubicBezTo>
                    <a:pt x="226" y="436"/>
                    <a:pt x="228" y="423"/>
                    <a:pt x="221" y="409"/>
                  </a:cubicBezTo>
                  <a:cubicBezTo>
                    <a:pt x="216" y="398"/>
                    <a:pt x="210" y="394"/>
                    <a:pt x="205" y="390"/>
                  </a:cubicBezTo>
                  <a:cubicBezTo>
                    <a:pt x="200" y="386"/>
                    <a:pt x="195" y="383"/>
                    <a:pt x="188" y="367"/>
                  </a:cubicBezTo>
                  <a:cubicBezTo>
                    <a:pt x="192" y="367"/>
                    <a:pt x="192" y="367"/>
                    <a:pt x="192" y="367"/>
                  </a:cubicBezTo>
                  <a:cubicBezTo>
                    <a:pt x="192" y="367"/>
                    <a:pt x="192" y="367"/>
                    <a:pt x="192" y="367"/>
                  </a:cubicBezTo>
                  <a:cubicBezTo>
                    <a:pt x="264" y="367"/>
                    <a:pt x="369" y="393"/>
                    <a:pt x="450" y="468"/>
                  </a:cubicBezTo>
                  <a:cubicBezTo>
                    <a:pt x="451" y="469"/>
                    <a:pt x="453" y="470"/>
                    <a:pt x="454" y="470"/>
                  </a:cubicBezTo>
                  <a:cubicBezTo>
                    <a:pt x="455" y="470"/>
                    <a:pt x="456" y="470"/>
                    <a:pt x="457" y="469"/>
                  </a:cubicBezTo>
                  <a:cubicBezTo>
                    <a:pt x="460" y="468"/>
                    <a:pt x="461" y="466"/>
                    <a:pt x="461" y="463"/>
                  </a:cubicBezTo>
                  <a:cubicBezTo>
                    <a:pt x="461" y="343"/>
                    <a:pt x="461" y="343"/>
                    <a:pt x="461" y="343"/>
                  </a:cubicBezTo>
                  <a:cubicBezTo>
                    <a:pt x="482" y="338"/>
                    <a:pt x="498" y="310"/>
                    <a:pt x="498" y="274"/>
                  </a:cubicBezTo>
                  <a:cubicBezTo>
                    <a:pt x="498" y="239"/>
                    <a:pt x="482" y="211"/>
                    <a:pt x="461" y="205"/>
                  </a:cubicBezTo>
                  <a:close/>
                  <a:moveTo>
                    <a:pt x="14" y="274"/>
                  </a:moveTo>
                  <a:cubicBezTo>
                    <a:pt x="14" y="249"/>
                    <a:pt x="24" y="226"/>
                    <a:pt x="36" y="220"/>
                  </a:cubicBezTo>
                  <a:cubicBezTo>
                    <a:pt x="36" y="328"/>
                    <a:pt x="36" y="328"/>
                    <a:pt x="36" y="328"/>
                  </a:cubicBezTo>
                  <a:cubicBezTo>
                    <a:pt x="24" y="322"/>
                    <a:pt x="14" y="300"/>
                    <a:pt x="14" y="274"/>
                  </a:cubicBezTo>
                  <a:close/>
                  <a:moveTo>
                    <a:pt x="197" y="402"/>
                  </a:moveTo>
                  <a:cubicBezTo>
                    <a:pt x="201" y="405"/>
                    <a:pt x="205" y="407"/>
                    <a:pt x="209" y="415"/>
                  </a:cubicBezTo>
                  <a:cubicBezTo>
                    <a:pt x="213" y="425"/>
                    <a:pt x="212" y="435"/>
                    <a:pt x="211" y="446"/>
                  </a:cubicBezTo>
                  <a:cubicBezTo>
                    <a:pt x="209" y="457"/>
                    <a:pt x="208" y="470"/>
                    <a:pt x="215" y="483"/>
                  </a:cubicBezTo>
                  <a:cubicBezTo>
                    <a:pt x="221" y="495"/>
                    <a:pt x="229" y="501"/>
                    <a:pt x="237" y="507"/>
                  </a:cubicBezTo>
                  <a:cubicBezTo>
                    <a:pt x="245" y="513"/>
                    <a:pt x="253" y="519"/>
                    <a:pt x="259" y="531"/>
                  </a:cubicBezTo>
                  <a:cubicBezTo>
                    <a:pt x="263" y="540"/>
                    <a:pt x="261" y="548"/>
                    <a:pt x="260" y="551"/>
                  </a:cubicBezTo>
                  <a:cubicBezTo>
                    <a:pt x="259" y="554"/>
                    <a:pt x="257" y="556"/>
                    <a:pt x="256" y="556"/>
                  </a:cubicBezTo>
                  <a:cubicBezTo>
                    <a:pt x="168" y="556"/>
                    <a:pt x="168" y="556"/>
                    <a:pt x="168" y="556"/>
                  </a:cubicBezTo>
                  <a:cubicBezTo>
                    <a:pt x="94" y="367"/>
                    <a:pt x="94" y="367"/>
                    <a:pt x="94" y="367"/>
                  </a:cubicBezTo>
                  <a:cubicBezTo>
                    <a:pt x="172" y="367"/>
                    <a:pt x="172" y="367"/>
                    <a:pt x="172" y="367"/>
                  </a:cubicBezTo>
                  <a:cubicBezTo>
                    <a:pt x="182" y="391"/>
                    <a:pt x="190" y="397"/>
                    <a:pt x="197" y="402"/>
                  </a:cubicBezTo>
                  <a:close/>
                  <a:moveTo>
                    <a:pt x="447" y="447"/>
                  </a:moveTo>
                  <a:cubicBezTo>
                    <a:pt x="366" y="378"/>
                    <a:pt x="263" y="353"/>
                    <a:pt x="192" y="353"/>
                  </a:cubicBezTo>
                  <a:cubicBezTo>
                    <a:pt x="50" y="353"/>
                    <a:pt x="50" y="353"/>
                    <a:pt x="50" y="353"/>
                  </a:cubicBezTo>
                  <a:cubicBezTo>
                    <a:pt x="50" y="191"/>
                    <a:pt x="50" y="191"/>
                    <a:pt x="50" y="191"/>
                  </a:cubicBezTo>
                  <a:cubicBezTo>
                    <a:pt x="192" y="191"/>
                    <a:pt x="192" y="191"/>
                    <a:pt x="192" y="191"/>
                  </a:cubicBezTo>
                  <a:cubicBezTo>
                    <a:pt x="193" y="191"/>
                    <a:pt x="193" y="191"/>
                    <a:pt x="193" y="191"/>
                  </a:cubicBezTo>
                  <a:cubicBezTo>
                    <a:pt x="263" y="191"/>
                    <a:pt x="366" y="166"/>
                    <a:pt x="447" y="97"/>
                  </a:cubicBezTo>
                  <a:lnTo>
                    <a:pt x="447" y="447"/>
                  </a:lnTo>
                  <a:close/>
                  <a:moveTo>
                    <a:pt x="461" y="328"/>
                  </a:moveTo>
                  <a:cubicBezTo>
                    <a:pt x="461" y="220"/>
                    <a:pt x="461" y="220"/>
                    <a:pt x="461" y="220"/>
                  </a:cubicBezTo>
                  <a:cubicBezTo>
                    <a:pt x="474" y="226"/>
                    <a:pt x="484" y="249"/>
                    <a:pt x="484" y="274"/>
                  </a:cubicBezTo>
                  <a:cubicBezTo>
                    <a:pt x="484" y="300"/>
                    <a:pt x="474" y="322"/>
                    <a:pt x="461" y="328"/>
                  </a:cubicBezTo>
                  <a:close/>
                  <a:moveTo>
                    <a:pt x="624" y="277"/>
                  </a:moveTo>
                  <a:cubicBezTo>
                    <a:pt x="623" y="329"/>
                    <a:pt x="604" y="378"/>
                    <a:pt x="569" y="415"/>
                  </a:cubicBezTo>
                  <a:cubicBezTo>
                    <a:pt x="568" y="416"/>
                    <a:pt x="566" y="417"/>
                    <a:pt x="564" y="417"/>
                  </a:cubicBezTo>
                  <a:cubicBezTo>
                    <a:pt x="563" y="417"/>
                    <a:pt x="561" y="417"/>
                    <a:pt x="560" y="415"/>
                  </a:cubicBezTo>
                  <a:cubicBezTo>
                    <a:pt x="557" y="413"/>
                    <a:pt x="557" y="408"/>
                    <a:pt x="559" y="405"/>
                  </a:cubicBezTo>
                  <a:cubicBezTo>
                    <a:pt x="592" y="371"/>
                    <a:pt x="609" y="326"/>
                    <a:pt x="610" y="277"/>
                  </a:cubicBezTo>
                  <a:cubicBezTo>
                    <a:pt x="610" y="228"/>
                    <a:pt x="592" y="182"/>
                    <a:pt x="560" y="148"/>
                  </a:cubicBezTo>
                  <a:cubicBezTo>
                    <a:pt x="557" y="145"/>
                    <a:pt x="557" y="141"/>
                    <a:pt x="560" y="138"/>
                  </a:cubicBezTo>
                  <a:cubicBezTo>
                    <a:pt x="563" y="136"/>
                    <a:pt x="567" y="136"/>
                    <a:pt x="570" y="139"/>
                  </a:cubicBezTo>
                  <a:cubicBezTo>
                    <a:pt x="605" y="175"/>
                    <a:pt x="624" y="224"/>
                    <a:pt x="624" y="277"/>
                  </a:cubicBezTo>
                  <a:close/>
                  <a:moveTo>
                    <a:pt x="703" y="277"/>
                  </a:moveTo>
                  <a:cubicBezTo>
                    <a:pt x="702" y="355"/>
                    <a:pt x="674" y="429"/>
                    <a:pt x="622" y="483"/>
                  </a:cubicBezTo>
                  <a:cubicBezTo>
                    <a:pt x="621" y="485"/>
                    <a:pt x="619" y="485"/>
                    <a:pt x="617" y="485"/>
                  </a:cubicBezTo>
                  <a:cubicBezTo>
                    <a:pt x="615" y="485"/>
                    <a:pt x="613" y="485"/>
                    <a:pt x="612" y="483"/>
                  </a:cubicBezTo>
                  <a:cubicBezTo>
                    <a:pt x="609" y="481"/>
                    <a:pt x="609" y="476"/>
                    <a:pt x="612" y="474"/>
                  </a:cubicBezTo>
                  <a:cubicBezTo>
                    <a:pt x="661" y="422"/>
                    <a:pt x="688" y="352"/>
                    <a:pt x="689" y="277"/>
                  </a:cubicBezTo>
                  <a:cubicBezTo>
                    <a:pt x="689" y="202"/>
                    <a:pt x="662" y="132"/>
                    <a:pt x="613" y="80"/>
                  </a:cubicBezTo>
                  <a:cubicBezTo>
                    <a:pt x="610" y="77"/>
                    <a:pt x="610" y="73"/>
                    <a:pt x="613" y="70"/>
                  </a:cubicBezTo>
                  <a:cubicBezTo>
                    <a:pt x="616" y="68"/>
                    <a:pt x="620" y="68"/>
                    <a:pt x="623" y="71"/>
                  </a:cubicBezTo>
                  <a:cubicBezTo>
                    <a:pt x="674" y="125"/>
                    <a:pt x="703" y="199"/>
                    <a:pt x="703" y="277"/>
                  </a:cubicBezTo>
                  <a:close/>
                  <a:moveTo>
                    <a:pt x="782" y="277"/>
                  </a:moveTo>
                  <a:cubicBezTo>
                    <a:pt x="781" y="382"/>
                    <a:pt x="743" y="479"/>
                    <a:pt x="674" y="551"/>
                  </a:cubicBezTo>
                  <a:cubicBezTo>
                    <a:pt x="673" y="553"/>
                    <a:pt x="671" y="554"/>
                    <a:pt x="669" y="554"/>
                  </a:cubicBezTo>
                  <a:cubicBezTo>
                    <a:pt x="668" y="554"/>
                    <a:pt x="666" y="553"/>
                    <a:pt x="664" y="552"/>
                  </a:cubicBezTo>
                  <a:cubicBezTo>
                    <a:pt x="662" y="549"/>
                    <a:pt x="662" y="544"/>
                    <a:pt x="664" y="542"/>
                  </a:cubicBezTo>
                  <a:cubicBezTo>
                    <a:pt x="731" y="472"/>
                    <a:pt x="767" y="378"/>
                    <a:pt x="768" y="277"/>
                  </a:cubicBezTo>
                  <a:cubicBezTo>
                    <a:pt x="768" y="176"/>
                    <a:pt x="732" y="82"/>
                    <a:pt x="665" y="12"/>
                  </a:cubicBezTo>
                  <a:cubicBezTo>
                    <a:pt x="663" y="10"/>
                    <a:pt x="663" y="5"/>
                    <a:pt x="666" y="2"/>
                  </a:cubicBezTo>
                  <a:cubicBezTo>
                    <a:pt x="669" y="0"/>
                    <a:pt x="673" y="0"/>
                    <a:pt x="676" y="3"/>
                  </a:cubicBezTo>
                  <a:cubicBezTo>
                    <a:pt x="744" y="75"/>
                    <a:pt x="782" y="173"/>
                    <a:pt x="782" y="277"/>
                  </a:cubicBez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endParaRPr lang="en-US" sz="1836"/>
            </a:p>
          </p:txBody>
        </p:sp>
      </p:grpSp>
      <p:grpSp>
        <p:nvGrpSpPr>
          <p:cNvPr id="9254" name="Group 9253"/>
          <p:cNvGrpSpPr/>
          <p:nvPr/>
        </p:nvGrpSpPr>
        <p:grpSpPr>
          <a:xfrm>
            <a:off x="6589621" y="1528549"/>
            <a:ext cx="1119124" cy="1119124"/>
            <a:chOff x="4556125" y="2476500"/>
            <a:chExt cx="949325" cy="949325"/>
          </a:xfrm>
        </p:grpSpPr>
        <p:sp>
          <p:nvSpPr>
            <p:cNvPr id="15" name="Oval 8"/>
            <p:cNvSpPr>
              <a:spLocks noChangeArrowheads="1"/>
            </p:cNvSpPr>
            <p:nvPr/>
          </p:nvSpPr>
          <p:spPr bwMode="auto">
            <a:xfrm>
              <a:off x="4556125" y="2476500"/>
              <a:ext cx="949325" cy="949325"/>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28" name="Freeform 21"/>
            <p:cNvSpPr>
              <a:spLocks noEditPoints="1"/>
            </p:cNvSpPr>
            <p:nvPr/>
          </p:nvSpPr>
          <p:spPr bwMode="auto">
            <a:xfrm>
              <a:off x="4768850" y="2697163"/>
              <a:ext cx="523875" cy="508000"/>
            </a:xfrm>
            <a:custGeom>
              <a:avLst/>
              <a:gdLst>
                <a:gd name="T0" fmla="*/ 537 w 587"/>
                <a:gd name="T1" fmla="*/ 74 h 569"/>
                <a:gd name="T2" fmla="*/ 530 w 587"/>
                <a:gd name="T3" fmla="*/ 0 h 569"/>
                <a:gd name="T4" fmla="*/ 293 w 587"/>
                <a:gd name="T5" fmla="*/ 71 h 569"/>
                <a:gd name="T6" fmla="*/ 56 w 587"/>
                <a:gd name="T7" fmla="*/ 0 h 569"/>
                <a:gd name="T8" fmla="*/ 49 w 587"/>
                <a:gd name="T9" fmla="*/ 74 h 569"/>
                <a:gd name="T10" fmla="*/ 0 w 587"/>
                <a:gd name="T11" fmla="*/ 102 h 569"/>
                <a:gd name="T12" fmla="*/ 28 w 587"/>
                <a:gd name="T13" fmla="*/ 537 h 569"/>
                <a:gd name="T14" fmla="*/ 293 w 587"/>
                <a:gd name="T15" fmla="*/ 569 h 569"/>
                <a:gd name="T16" fmla="*/ 558 w 587"/>
                <a:gd name="T17" fmla="*/ 537 h 569"/>
                <a:gd name="T18" fmla="*/ 587 w 587"/>
                <a:gd name="T19" fmla="*/ 102 h 569"/>
                <a:gd name="T20" fmla="*/ 523 w 587"/>
                <a:gd name="T21" fmla="*/ 14 h 569"/>
                <a:gd name="T22" fmla="*/ 516 w 587"/>
                <a:gd name="T23" fmla="*/ 439 h 569"/>
                <a:gd name="T24" fmla="*/ 300 w 587"/>
                <a:gd name="T25" fmla="*/ 83 h 569"/>
                <a:gd name="T26" fmla="*/ 523 w 587"/>
                <a:gd name="T27" fmla="*/ 14 h 569"/>
                <a:gd name="T28" fmla="*/ 71 w 587"/>
                <a:gd name="T29" fmla="*/ 14 h 569"/>
                <a:gd name="T30" fmla="*/ 286 w 587"/>
                <a:gd name="T31" fmla="*/ 479 h 569"/>
                <a:gd name="T32" fmla="*/ 63 w 587"/>
                <a:gd name="T33" fmla="*/ 439 h 569"/>
                <a:gd name="T34" fmla="*/ 573 w 587"/>
                <a:gd name="T35" fmla="*/ 508 h 569"/>
                <a:gd name="T36" fmla="*/ 353 w 587"/>
                <a:gd name="T37" fmla="*/ 523 h 569"/>
                <a:gd name="T38" fmla="*/ 293 w 587"/>
                <a:gd name="T39" fmla="*/ 555 h 569"/>
                <a:gd name="T40" fmla="*/ 234 w 587"/>
                <a:gd name="T41" fmla="*/ 523 h 569"/>
                <a:gd name="T42" fmla="*/ 14 w 587"/>
                <a:gd name="T43" fmla="*/ 508 h 569"/>
                <a:gd name="T44" fmla="*/ 28 w 587"/>
                <a:gd name="T45" fmla="*/ 88 h 569"/>
                <a:gd name="T46" fmla="*/ 49 w 587"/>
                <a:gd name="T47" fmla="*/ 446 h 569"/>
                <a:gd name="T48" fmla="*/ 71 w 587"/>
                <a:gd name="T49" fmla="*/ 453 h 569"/>
                <a:gd name="T50" fmla="*/ 289 w 587"/>
                <a:gd name="T51" fmla="*/ 498 h 569"/>
                <a:gd name="T52" fmla="*/ 291 w 587"/>
                <a:gd name="T53" fmla="*/ 498 h 569"/>
                <a:gd name="T54" fmla="*/ 293 w 587"/>
                <a:gd name="T55" fmla="*/ 499 h 569"/>
                <a:gd name="T56" fmla="*/ 296 w 587"/>
                <a:gd name="T57" fmla="*/ 498 h 569"/>
                <a:gd name="T58" fmla="*/ 297 w 587"/>
                <a:gd name="T59" fmla="*/ 498 h 569"/>
                <a:gd name="T60" fmla="*/ 516 w 587"/>
                <a:gd name="T61" fmla="*/ 453 h 569"/>
                <a:gd name="T62" fmla="*/ 537 w 587"/>
                <a:gd name="T63" fmla="*/ 446 h 569"/>
                <a:gd name="T64" fmla="*/ 558 w 587"/>
                <a:gd name="T65" fmla="*/ 88 h 569"/>
                <a:gd name="T66" fmla="*/ 573 w 587"/>
                <a:gd name="T67" fmla="*/ 508 h 5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87" h="569">
                  <a:moveTo>
                    <a:pt x="558" y="74"/>
                  </a:moveTo>
                  <a:cubicBezTo>
                    <a:pt x="537" y="74"/>
                    <a:pt x="537" y="74"/>
                    <a:pt x="537" y="74"/>
                  </a:cubicBezTo>
                  <a:cubicBezTo>
                    <a:pt x="537" y="7"/>
                    <a:pt x="537" y="7"/>
                    <a:pt x="537" y="7"/>
                  </a:cubicBezTo>
                  <a:cubicBezTo>
                    <a:pt x="537" y="3"/>
                    <a:pt x="534" y="0"/>
                    <a:pt x="530" y="0"/>
                  </a:cubicBezTo>
                  <a:cubicBezTo>
                    <a:pt x="516" y="0"/>
                    <a:pt x="516" y="0"/>
                    <a:pt x="516" y="0"/>
                  </a:cubicBezTo>
                  <a:cubicBezTo>
                    <a:pt x="462" y="0"/>
                    <a:pt x="364" y="0"/>
                    <a:pt x="293" y="71"/>
                  </a:cubicBezTo>
                  <a:cubicBezTo>
                    <a:pt x="222" y="0"/>
                    <a:pt x="124" y="0"/>
                    <a:pt x="71" y="0"/>
                  </a:cubicBezTo>
                  <a:cubicBezTo>
                    <a:pt x="56" y="0"/>
                    <a:pt x="56" y="0"/>
                    <a:pt x="56" y="0"/>
                  </a:cubicBezTo>
                  <a:cubicBezTo>
                    <a:pt x="52" y="0"/>
                    <a:pt x="49" y="3"/>
                    <a:pt x="49" y="7"/>
                  </a:cubicBezTo>
                  <a:cubicBezTo>
                    <a:pt x="49" y="74"/>
                    <a:pt x="49" y="74"/>
                    <a:pt x="49" y="74"/>
                  </a:cubicBezTo>
                  <a:cubicBezTo>
                    <a:pt x="28" y="74"/>
                    <a:pt x="28" y="74"/>
                    <a:pt x="28" y="74"/>
                  </a:cubicBezTo>
                  <a:cubicBezTo>
                    <a:pt x="12" y="74"/>
                    <a:pt x="0" y="86"/>
                    <a:pt x="0" y="102"/>
                  </a:cubicBezTo>
                  <a:cubicBezTo>
                    <a:pt x="0" y="508"/>
                    <a:pt x="0" y="508"/>
                    <a:pt x="0" y="508"/>
                  </a:cubicBezTo>
                  <a:cubicBezTo>
                    <a:pt x="0" y="524"/>
                    <a:pt x="12" y="537"/>
                    <a:pt x="28" y="537"/>
                  </a:cubicBezTo>
                  <a:cubicBezTo>
                    <a:pt x="230" y="537"/>
                    <a:pt x="230" y="537"/>
                    <a:pt x="230" y="537"/>
                  </a:cubicBezTo>
                  <a:cubicBezTo>
                    <a:pt x="242" y="556"/>
                    <a:pt x="267" y="569"/>
                    <a:pt x="293" y="569"/>
                  </a:cubicBezTo>
                  <a:cubicBezTo>
                    <a:pt x="320" y="569"/>
                    <a:pt x="344" y="556"/>
                    <a:pt x="357" y="537"/>
                  </a:cubicBezTo>
                  <a:cubicBezTo>
                    <a:pt x="558" y="537"/>
                    <a:pt x="558" y="537"/>
                    <a:pt x="558" y="537"/>
                  </a:cubicBezTo>
                  <a:cubicBezTo>
                    <a:pt x="574" y="537"/>
                    <a:pt x="587" y="524"/>
                    <a:pt x="587" y="508"/>
                  </a:cubicBezTo>
                  <a:cubicBezTo>
                    <a:pt x="587" y="102"/>
                    <a:pt x="587" y="102"/>
                    <a:pt x="587" y="102"/>
                  </a:cubicBezTo>
                  <a:cubicBezTo>
                    <a:pt x="587" y="86"/>
                    <a:pt x="574" y="74"/>
                    <a:pt x="558" y="74"/>
                  </a:cubicBezTo>
                  <a:close/>
                  <a:moveTo>
                    <a:pt x="523" y="14"/>
                  </a:moveTo>
                  <a:cubicBezTo>
                    <a:pt x="523" y="439"/>
                    <a:pt x="523" y="439"/>
                    <a:pt x="523" y="439"/>
                  </a:cubicBezTo>
                  <a:cubicBezTo>
                    <a:pt x="516" y="439"/>
                    <a:pt x="516" y="439"/>
                    <a:pt x="516" y="439"/>
                  </a:cubicBezTo>
                  <a:cubicBezTo>
                    <a:pt x="464" y="439"/>
                    <a:pt x="370" y="439"/>
                    <a:pt x="300" y="479"/>
                  </a:cubicBezTo>
                  <a:cubicBezTo>
                    <a:pt x="300" y="83"/>
                    <a:pt x="300" y="83"/>
                    <a:pt x="300" y="83"/>
                  </a:cubicBezTo>
                  <a:cubicBezTo>
                    <a:pt x="367" y="14"/>
                    <a:pt x="463" y="14"/>
                    <a:pt x="516" y="14"/>
                  </a:cubicBezTo>
                  <a:lnTo>
                    <a:pt x="523" y="14"/>
                  </a:lnTo>
                  <a:close/>
                  <a:moveTo>
                    <a:pt x="63" y="14"/>
                  </a:moveTo>
                  <a:cubicBezTo>
                    <a:pt x="71" y="14"/>
                    <a:pt x="71" y="14"/>
                    <a:pt x="71" y="14"/>
                  </a:cubicBezTo>
                  <a:cubicBezTo>
                    <a:pt x="123" y="14"/>
                    <a:pt x="219" y="14"/>
                    <a:pt x="286" y="83"/>
                  </a:cubicBezTo>
                  <a:cubicBezTo>
                    <a:pt x="286" y="479"/>
                    <a:pt x="286" y="479"/>
                    <a:pt x="286" y="479"/>
                  </a:cubicBezTo>
                  <a:cubicBezTo>
                    <a:pt x="216" y="439"/>
                    <a:pt x="122" y="439"/>
                    <a:pt x="71" y="439"/>
                  </a:cubicBezTo>
                  <a:cubicBezTo>
                    <a:pt x="63" y="439"/>
                    <a:pt x="63" y="439"/>
                    <a:pt x="63" y="439"/>
                  </a:cubicBezTo>
                  <a:lnTo>
                    <a:pt x="63" y="14"/>
                  </a:lnTo>
                  <a:close/>
                  <a:moveTo>
                    <a:pt x="573" y="508"/>
                  </a:moveTo>
                  <a:cubicBezTo>
                    <a:pt x="573" y="516"/>
                    <a:pt x="566" y="523"/>
                    <a:pt x="558" y="523"/>
                  </a:cubicBezTo>
                  <a:cubicBezTo>
                    <a:pt x="353" y="523"/>
                    <a:pt x="353" y="523"/>
                    <a:pt x="353" y="523"/>
                  </a:cubicBezTo>
                  <a:cubicBezTo>
                    <a:pt x="350" y="523"/>
                    <a:pt x="348" y="524"/>
                    <a:pt x="346" y="526"/>
                  </a:cubicBezTo>
                  <a:cubicBezTo>
                    <a:pt x="337" y="544"/>
                    <a:pt x="316" y="555"/>
                    <a:pt x="293" y="555"/>
                  </a:cubicBezTo>
                  <a:cubicBezTo>
                    <a:pt x="270" y="555"/>
                    <a:pt x="249" y="544"/>
                    <a:pt x="240" y="526"/>
                  </a:cubicBezTo>
                  <a:cubicBezTo>
                    <a:pt x="239" y="524"/>
                    <a:pt x="236" y="523"/>
                    <a:pt x="234" y="523"/>
                  </a:cubicBezTo>
                  <a:cubicBezTo>
                    <a:pt x="28" y="523"/>
                    <a:pt x="28" y="523"/>
                    <a:pt x="28" y="523"/>
                  </a:cubicBezTo>
                  <a:cubicBezTo>
                    <a:pt x="20" y="523"/>
                    <a:pt x="14" y="516"/>
                    <a:pt x="14" y="508"/>
                  </a:cubicBezTo>
                  <a:cubicBezTo>
                    <a:pt x="14" y="102"/>
                    <a:pt x="14" y="102"/>
                    <a:pt x="14" y="102"/>
                  </a:cubicBezTo>
                  <a:cubicBezTo>
                    <a:pt x="14" y="94"/>
                    <a:pt x="20" y="88"/>
                    <a:pt x="28" y="88"/>
                  </a:cubicBezTo>
                  <a:cubicBezTo>
                    <a:pt x="49" y="88"/>
                    <a:pt x="49" y="88"/>
                    <a:pt x="49" y="88"/>
                  </a:cubicBezTo>
                  <a:cubicBezTo>
                    <a:pt x="49" y="446"/>
                    <a:pt x="49" y="446"/>
                    <a:pt x="49" y="446"/>
                  </a:cubicBezTo>
                  <a:cubicBezTo>
                    <a:pt x="49" y="450"/>
                    <a:pt x="52" y="453"/>
                    <a:pt x="56" y="453"/>
                  </a:cubicBezTo>
                  <a:cubicBezTo>
                    <a:pt x="71" y="453"/>
                    <a:pt x="71" y="453"/>
                    <a:pt x="71" y="453"/>
                  </a:cubicBezTo>
                  <a:cubicBezTo>
                    <a:pt x="123" y="453"/>
                    <a:pt x="222" y="453"/>
                    <a:pt x="289" y="498"/>
                  </a:cubicBezTo>
                  <a:cubicBezTo>
                    <a:pt x="289" y="498"/>
                    <a:pt x="289" y="498"/>
                    <a:pt x="289" y="498"/>
                  </a:cubicBezTo>
                  <a:cubicBezTo>
                    <a:pt x="290" y="498"/>
                    <a:pt x="290" y="498"/>
                    <a:pt x="290" y="498"/>
                  </a:cubicBezTo>
                  <a:cubicBezTo>
                    <a:pt x="290" y="498"/>
                    <a:pt x="290" y="498"/>
                    <a:pt x="291" y="498"/>
                  </a:cubicBezTo>
                  <a:cubicBezTo>
                    <a:pt x="291" y="498"/>
                    <a:pt x="291" y="499"/>
                    <a:pt x="291" y="499"/>
                  </a:cubicBezTo>
                  <a:cubicBezTo>
                    <a:pt x="292" y="499"/>
                    <a:pt x="292" y="499"/>
                    <a:pt x="293" y="499"/>
                  </a:cubicBezTo>
                  <a:cubicBezTo>
                    <a:pt x="294" y="499"/>
                    <a:pt x="294" y="499"/>
                    <a:pt x="295" y="499"/>
                  </a:cubicBezTo>
                  <a:cubicBezTo>
                    <a:pt x="295" y="499"/>
                    <a:pt x="295" y="498"/>
                    <a:pt x="296" y="498"/>
                  </a:cubicBezTo>
                  <a:cubicBezTo>
                    <a:pt x="296" y="498"/>
                    <a:pt x="296" y="498"/>
                    <a:pt x="296" y="498"/>
                  </a:cubicBezTo>
                  <a:cubicBezTo>
                    <a:pt x="297" y="498"/>
                    <a:pt x="297" y="498"/>
                    <a:pt x="297" y="498"/>
                  </a:cubicBezTo>
                  <a:cubicBezTo>
                    <a:pt x="297" y="498"/>
                    <a:pt x="297" y="498"/>
                    <a:pt x="297" y="498"/>
                  </a:cubicBezTo>
                  <a:cubicBezTo>
                    <a:pt x="364" y="453"/>
                    <a:pt x="463" y="453"/>
                    <a:pt x="516" y="453"/>
                  </a:cubicBezTo>
                  <a:cubicBezTo>
                    <a:pt x="530" y="453"/>
                    <a:pt x="530" y="453"/>
                    <a:pt x="530" y="453"/>
                  </a:cubicBezTo>
                  <a:cubicBezTo>
                    <a:pt x="534" y="453"/>
                    <a:pt x="537" y="450"/>
                    <a:pt x="537" y="446"/>
                  </a:cubicBezTo>
                  <a:cubicBezTo>
                    <a:pt x="537" y="88"/>
                    <a:pt x="537" y="88"/>
                    <a:pt x="537" y="88"/>
                  </a:cubicBezTo>
                  <a:cubicBezTo>
                    <a:pt x="558" y="88"/>
                    <a:pt x="558" y="88"/>
                    <a:pt x="558" y="88"/>
                  </a:cubicBezTo>
                  <a:cubicBezTo>
                    <a:pt x="566" y="88"/>
                    <a:pt x="573" y="94"/>
                    <a:pt x="573" y="102"/>
                  </a:cubicBezTo>
                  <a:lnTo>
                    <a:pt x="573" y="508"/>
                  </a:ln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endParaRPr lang="en-US" sz="1836"/>
            </a:p>
          </p:txBody>
        </p:sp>
      </p:grpSp>
      <p:grpSp>
        <p:nvGrpSpPr>
          <p:cNvPr id="9258" name="Group 9257"/>
          <p:cNvGrpSpPr/>
          <p:nvPr/>
        </p:nvGrpSpPr>
        <p:grpSpPr>
          <a:xfrm>
            <a:off x="10105564" y="1528549"/>
            <a:ext cx="1119124" cy="1119124"/>
            <a:chOff x="6657975" y="2476500"/>
            <a:chExt cx="949325" cy="949325"/>
          </a:xfrm>
        </p:grpSpPr>
        <p:sp>
          <p:nvSpPr>
            <p:cNvPr id="13" name="Oval 6"/>
            <p:cNvSpPr>
              <a:spLocks noChangeArrowheads="1"/>
            </p:cNvSpPr>
            <p:nvPr/>
          </p:nvSpPr>
          <p:spPr bwMode="auto">
            <a:xfrm>
              <a:off x="6657975" y="2476500"/>
              <a:ext cx="949325" cy="949325"/>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29" name="Freeform 22"/>
            <p:cNvSpPr>
              <a:spLocks noEditPoints="1"/>
            </p:cNvSpPr>
            <p:nvPr/>
          </p:nvSpPr>
          <p:spPr bwMode="auto">
            <a:xfrm>
              <a:off x="6905625" y="2643188"/>
              <a:ext cx="454025" cy="615950"/>
            </a:xfrm>
            <a:custGeom>
              <a:avLst/>
              <a:gdLst>
                <a:gd name="T0" fmla="*/ 253 w 509"/>
                <a:gd name="T1" fmla="*/ 113 h 690"/>
                <a:gd name="T2" fmla="*/ 142 w 509"/>
                <a:gd name="T3" fmla="*/ 464 h 690"/>
                <a:gd name="T4" fmla="*/ 75 w 509"/>
                <a:gd name="T5" fmla="*/ 681 h 690"/>
                <a:gd name="T6" fmla="*/ 88 w 509"/>
                <a:gd name="T7" fmla="*/ 685 h 690"/>
                <a:gd name="T8" fmla="*/ 421 w 509"/>
                <a:gd name="T9" fmla="*/ 685 h 690"/>
                <a:gd name="T10" fmla="*/ 434 w 509"/>
                <a:gd name="T11" fmla="*/ 681 h 690"/>
                <a:gd name="T12" fmla="*/ 320 w 509"/>
                <a:gd name="T13" fmla="*/ 362 h 690"/>
                <a:gd name="T14" fmla="*/ 189 w 509"/>
                <a:gd name="T15" fmla="*/ 362 h 690"/>
                <a:gd name="T16" fmla="*/ 316 w 509"/>
                <a:gd name="T17" fmla="*/ 348 h 690"/>
                <a:gd name="T18" fmla="*/ 253 w 509"/>
                <a:gd name="T19" fmla="*/ 127 h 690"/>
                <a:gd name="T20" fmla="*/ 245 w 509"/>
                <a:gd name="T21" fmla="*/ 169 h 690"/>
                <a:gd name="T22" fmla="*/ 231 w 509"/>
                <a:gd name="T23" fmla="*/ 149 h 690"/>
                <a:gd name="T24" fmla="*/ 264 w 509"/>
                <a:gd name="T25" fmla="*/ 183 h 690"/>
                <a:gd name="T26" fmla="*/ 244 w 509"/>
                <a:gd name="T27" fmla="*/ 184 h 690"/>
                <a:gd name="T28" fmla="*/ 153 w 509"/>
                <a:gd name="T29" fmla="*/ 476 h 690"/>
                <a:gd name="T30" fmla="*/ 112 w 509"/>
                <a:gd name="T31" fmla="*/ 608 h 690"/>
                <a:gd name="T32" fmla="*/ 51 w 509"/>
                <a:gd name="T33" fmla="*/ 295 h 690"/>
                <a:gd name="T34" fmla="*/ 43 w 509"/>
                <a:gd name="T35" fmla="*/ 5 h 690"/>
                <a:gd name="T36" fmla="*/ 14 w 509"/>
                <a:gd name="T37" fmla="*/ 147 h 690"/>
                <a:gd name="T38" fmla="*/ 463 w 509"/>
                <a:gd name="T39" fmla="*/ 293 h 690"/>
                <a:gd name="T40" fmla="*/ 452 w 509"/>
                <a:gd name="T41" fmla="*/ 285 h 690"/>
                <a:gd name="T42" fmla="*/ 455 w 509"/>
                <a:gd name="T43" fmla="*/ 2 h 690"/>
                <a:gd name="T44" fmla="*/ 93 w 509"/>
                <a:gd name="T45" fmla="*/ 259 h 690"/>
                <a:gd name="T46" fmla="*/ 101 w 509"/>
                <a:gd name="T47" fmla="*/ 36 h 690"/>
                <a:gd name="T48" fmla="*/ 104 w 509"/>
                <a:gd name="T49" fmla="*/ 251 h 690"/>
                <a:gd name="T50" fmla="*/ 93 w 509"/>
                <a:gd name="T51" fmla="*/ 259 h 690"/>
                <a:gd name="T52" fmla="*/ 405 w 509"/>
                <a:gd name="T53" fmla="*/ 44 h 690"/>
                <a:gd name="T54" fmla="*/ 451 w 509"/>
                <a:gd name="T55" fmla="*/ 147 h 690"/>
                <a:gd name="T56" fmla="*/ 405 w 509"/>
                <a:gd name="T57" fmla="*/ 262 h 690"/>
                <a:gd name="T58" fmla="*/ 321 w 509"/>
                <a:gd name="T59" fmla="*/ 147 h 690"/>
                <a:gd name="T60" fmla="*/ 321 w 509"/>
                <a:gd name="T61" fmla="*/ 102 h 690"/>
                <a:gd name="T62" fmla="*/ 313 w 509"/>
                <a:gd name="T63" fmla="*/ 197 h 690"/>
                <a:gd name="T64" fmla="*/ 356 w 509"/>
                <a:gd name="T65" fmla="*/ 219 h 690"/>
                <a:gd name="T66" fmla="*/ 359 w 509"/>
                <a:gd name="T67" fmla="*/ 68 h 690"/>
                <a:gd name="T68" fmla="*/ 367 w 509"/>
                <a:gd name="T69" fmla="*/ 227 h 690"/>
                <a:gd name="T70" fmla="*/ 356 w 509"/>
                <a:gd name="T71" fmla="*/ 219 h 690"/>
                <a:gd name="T72" fmla="*/ 139 w 509"/>
                <a:gd name="T73" fmla="*/ 71 h 690"/>
                <a:gd name="T74" fmla="*/ 130 w 509"/>
                <a:gd name="T75" fmla="*/ 147 h 690"/>
                <a:gd name="T76" fmla="*/ 147 w 509"/>
                <a:gd name="T77" fmla="*/ 229 h 690"/>
                <a:gd name="T78" fmla="*/ 174 w 509"/>
                <a:gd name="T79" fmla="*/ 147 h 690"/>
                <a:gd name="T80" fmla="*/ 199 w 509"/>
                <a:gd name="T81" fmla="*/ 111 h 690"/>
                <a:gd name="T82" fmla="*/ 199 w 509"/>
                <a:gd name="T83" fmla="*/ 195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09" h="690">
                  <a:moveTo>
                    <a:pt x="277" y="176"/>
                  </a:moveTo>
                  <a:cubicBezTo>
                    <a:pt x="284" y="169"/>
                    <a:pt x="289" y="160"/>
                    <a:pt x="289" y="149"/>
                  </a:cubicBezTo>
                  <a:cubicBezTo>
                    <a:pt x="289" y="129"/>
                    <a:pt x="273" y="113"/>
                    <a:pt x="253" y="113"/>
                  </a:cubicBezTo>
                  <a:cubicBezTo>
                    <a:pt x="233" y="113"/>
                    <a:pt x="217" y="129"/>
                    <a:pt x="217" y="149"/>
                  </a:cubicBezTo>
                  <a:cubicBezTo>
                    <a:pt x="217" y="161"/>
                    <a:pt x="223" y="171"/>
                    <a:pt x="231" y="177"/>
                  </a:cubicBezTo>
                  <a:cubicBezTo>
                    <a:pt x="142" y="464"/>
                    <a:pt x="142" y="464"/>
                    <a:pt x="142" y="464"/>
                  </a:cubicBezTo>
                  <a:cubicBezTo>
                    <a:pt x="141" y="465"/>
                    <a:pt x="140" y="467"/>
                    <a:pt x="140" y="469"/>
                  </a:cubicBezTo>
                  <a:cubicBezTo>
                    <a:pt x="140" y="470"/>
                    <a:pt x="140" y="471"/>
                    <a:pt x="140" y="471"/>
                  </a:cubicBezTo>
                  <a:cubicBezTo>
                    <a:pt x="75" y="681"/>
                    <a:pt x="75" y="681"/>
                    <a:pt x="75" y="681"/>
                  </a:cubicBezTo>
                  <a:cubicBezTo>
                    <a:pt x="73" y="685"/>
                    <a:pt x="75" y="689"/>
                    <a:pt x="79" y="690"/>
                  </a:cubicBezTo>
                  <a:cubicBezTo>
                    <a:pt x="80" y="690"/>
                    <a:pt x="81" y="690"/>
                    <a:pt x="81" y="690"/>
                  </a:cubicBezTo>
                  <a:cubicBezTo>
                    <a:pt x="84" y="690"/>
                    <a:pt x="87" y="688"/>
                    <a:pt x="88" y="685"/>
                  </a:cubicBezTo>
                  <a:cubicBezTo>
                    <a:pt x="108" y="622"/>
                    <a:pt x="108" y="622"/>
                    <a:pt x="108" y="622"/>
                  </a:cubicBezTo>
                  <a:cubicBezTo>
                    <a:pt x="401" y="622"/>
                    <a:pt x="401" y="622"/>
                    <a:pt x="401" y="622"/>
                  </a:cubicBezTo>
                  <a:cubicBezTo>
                    <a:pt x="421" y="685"/>
                    <a:pt x="421" y="685"/>
                    <a:pt x="421" y="685"/>
                  </a:cubicBezTo>
                  <a:cubicBezTo>
                    <a:pt x="422" y="688"/>
                    <a:pt x="425" y="690"/>
                    <a:pt x="428" y="690"/>
                  </a:cubicBezTo>
                  <a:cubicBezTo>
                    <a:pt x="428" y="690"/>
                    <a:pt x="429" y="690"/>
                    <a:pt x="430" y="690"/>
                  </a:cubicBezTo>
                  <a:cubicBezTo>
                    <a:pt x="433" y="689"/>
                    <a:pt x="435" y="685"/>
                    <a:pt x="434" y="681"/>
                  </a:cubicBezTo>
                  <a:lnTo>
                    <a:pt x="277" y="176"/>
                  </a:lnTo>
                  <a:close/>
                  <a:moveTo>
                    <a:pt x="189" y="362"/>
                  </a:moveTo>
                  <a:cubicBezTo>
                    <a:pt x="320" y="362"/>
                    <a:pt x="320" y="362"/>
                    <a:pt x="320" y="362"/>
                  </a:cubicBezTo>
                  <a:cubicBezTo>
                    <a:pt x="351" y="462"/>
                    <a:pt x="351" y="462"/>
                    <a:pt x="351" y="462"/>
                  </a:cubicBezTo>
                  <a:cubicBezTo>
                    <a:pt x="157" y="462"/>
                    <a:pt x="157" y="462"/>
                    <a:pt x="157" y="462"/>
                  </a:cubicBezTo>
                  <a:lnTo>
                    <a:pt x="189" y="362"/>
                  </a:lnTo>
                  <a:close/>
                  <a:moveTo>
                    <a:pt x="219" y="265"/>
                  </a:moveTo>
                  <a:cubicBezTo>
                    <a:pt x="290" y="265"/>
                    <a:pt x="290" y="265"/>
                    <a:pt x="290" y="265"/>
                  </a:cubicBezTo>
                  <a:cubicBezTo>
                    <a:pt x="316" y="348"/>
                    <a:pt x="316" y="348"/>
                    <a:pt x="316" y="348"/>
                  </a:cubicBezTo>
                  <a:cubicBezTo>
                    <a:pt x="193" y="348"/>
                    <a:pt x="193" y="348"/>
                    <a:pt x="193" y="348"/>
                  </a:cubicBezTo>
                  <a:lnTo>
                    <a:pt x="219" y="265"/>
                  </a:lnTo>
                  <a:close/>
                  <a:moveTo>
                    <a:pt x="253" y="127"/>
                  </a:moveTo>
                  <a:cubicBezTo>
                    <a:pt x="265" y="127"/>
                    <a:pt x="275" y="137"/>
                    <a:pt x="275" y="149"/>
                  </a:cubicBezTo>
                  <a:cubicBezTo>
                    <a:pt x="275" y="161"/>
                    <a:pt x="265" y="171"/>
                    <a:pt x="253" y="171"/>
                  </a:cubicBezTo>
                  <a:cubicBezTo>
                    <a:pt x="250" y="171"/>
                    <a:pt x="248" y="170"/>
                    <a:pt x="245" y="169"/>
                  </a:cubicBezTo>
                  <a:cubicBezTo>
                    <a:pt x="244" y="168"/>
                    <a:pt x="243" y="168"/>
                    <a:pt x="242" y="167"/>
                  </a:cubicBezTo>
                  <a:cubicBezTo>
                    <a:pt x="242" y="167"/>
                    <a:pt x="241" y="167"/>
                    <a:pt x="241" y="167"/>
                  </a:cubicBezTo>
                  <a:cubicBezTo>
                    <a:pt x="235" y="163"/>
                    <a:pt x="231" y="156"/>
                    <a:pt x="231" y="149"/>
                  </a:cubicBezTo>
                  <a:cubicBezTo>
                    <a:pt x="231" y="137"/>
                    <a:pt x="241" y="127"/>
                    <a:pt x="253" y="127"/>
                  </a:cubicBezTo>
                  <a:close/>
                  <a:moveTo>
                    <a:pt x="253" y="185"/>
                  </a:moveTo>
                  <a:cubicBezTo>
                    <a:pt x="257" y="185"/>
                    <a:pt x="261" y="184"/>
                    <a:pt x="264" y="183"/>
                  </a:cubicBezTo>
                  <a:cubicBezTo>
                    <a:pt x="286" y="251"/>
                    <a:pt x="286" y="251"/>
                    <a:pt x="286" y="251"/>
                  </a:cubicBezTo>
                  <a:cubicBezTo>
                    <a:pt x="223" y="251"/>
                    <a:pt x="223" y="251"/>
                    <a:pt x="223" y="251"/>
                  </a:cubicBezTo>
                  <a:cubicBezTo>
                    <a:pt x="244" y="184"/>
                    <a:pt x="244" y="184"/>
                    <a:pt x="244" y="184"/>
                  </a:cubicBezTo>
                  <a:cubicBezTo>
                    <a:pt x="247" y="184"/>
                    <a:pt x="250" y="185"/>
                    <a:pt x="253" y="185"/>
                  </a:cubicBezTo>
                  <a:close/>
                  <a:moveTo>
                    <a:pt x="112" y="608"/>
                  </a:moveTo>
                  <a:cubicBezTo>
                    <a:pt x="153" y="476"/>
                    <a:pt x="153" y="476"/>
                    <a:pt x="153" y="476"/>
                  </a:cubicBezTo>
                  <a:cubicBezTo>
                    <a:pt x="356" y="476"/>
                    <a:pt x="356" y="476"/>
                    <a:pt x="356" y="476"/>
                  </a:cubicBezTo>
                  <a:cubicBezTo>
                    <a:pt x="397" y="608"/>
                    <a:pt x="397" y="608"/>
                    <a:pt x="397" y="608"/>
                  </a:cubicBezTo>
                  <a:lnTo>
                    <a:pt x="112" y="608"/>
                  </a:lnTo>
                  <a:close/>
                  <a:moveTo>
                    <a:pt x="56" y="284"/>
                  </a:moveTo>
                  <a:cubicBezTo>
                    <a:pt x="59" y="287"/>
                    <a:pt x="58" y="291"/>
                    <a:pt x="55" y="294"/>
                  </a:cubicBezTo>
                  <a:cubicBezTo>
                    <a:pt x="53" y="294"/>
                    <a:pt x="52" y="295"/>
                    <a:pt x="51" y="295"/>
                  </a:cubicBezTo>
                  <a:cubicBezTo>
                    <a:pt x="49" y="295"/>
                    <a:pt x="46" y="294"/>
                    <a:pt x="45" y="292"/>
                  </a:cubicBezTo>
                  <a:cubicBezTo>
                    <a:pt x="15" y="249"/>
                    <a:pt x="0" y="199"/>
                    <a:pt x="0" y="147"/>
                  </a:cubicBezTo>
                  <a:cubicBezTo>
                    <a:pt x="0" y="96"/>
                    <a:pt x="15" y="47"/>
                    <a:pt x="43" y="5"/>
                  </a:cubicBezTo>
                  <a:cubicBezTo>
                    <a:pt x="45" y="2"/>
                    <a:pt x="50" y="1"/>
                    <a:pt x="53" y="3"/>
                  </a:cubicBezTo>
                  <a:cubicBezTo>
                    <a:pt x="56" y="5"/>
                    <a:pt x="57" y="9"/>
                    <a:pt x="55" y="13"/>
                  </a:cubicBezTo>
                  <a:cubicBezTo>
                    <a:pt x="28" y="52"/>
                    <a:pt x="14" y="99"/>
                    <a:pt x="14" y="147"/>
                  </a:cubicBezTo>
                  <a:cubicBezTo>
                    <a:pt x="14" y="196"/>
                    <a:pt x="29" y="243"/>
                    <a:pt x="56" y="284"/>
                  </a:cubicBezTo>
                  <a:close/>
                  <a:moveTo>
                    <a:pt x="509" y="147"/>
                  </a:moveTo>
                  <a:cubicBezTo>
                    <a:pt x="509" y="200"/>
                    <a:pt x="493" y="250"/>
                    <a:pt x="463" y="293"/>
                  </a:cubicBezTo>
                  <a:cubicBezTo>
                    <a:pt x="462" y="295"/>
                    <a:pt x="459" y="296"/>
                    <a:pt x="457" y="296"/>
                  </a:cubicBezTo>
                  <a:cubicBezTo>
                    <a:pt x="456" y="296"/>
                    <a:pt x="454" y="296"/>
                    <a:pt x="453" y="295"/>
                  </a:cubicBezTo>
                  <a:cubicBezTo>
                    <a:pt x="450" y="293"/>
                    <a:pt x="449" y="288"/>
                    <a:pt x="452" y="285"/>
                  </a:cubicBezTo>
                  <a:cubicBezTo>
                    <a:pt x="480" y="244"/>
                    <a:pt x="495" y="197"/>
                    <a:pt x="495" y="147"/>
                  </a:cubicBezTo>
                  <a:cubicBezTo>
                    <a:pt x="495" y="98"/>
                    <a:pt x="481" y="52"/>
                    <a:pt x="453" y="11"/>
                  </a:cubicBezTo>
                  <a:cubicBezTo>
                    <a:pt x="451" y="8"/>
                    <a:pt x="452" y="4"/>
                    <a:pt x="455" y="2"/>
                  </a:cubicBezTo>
                  <a:cubicBezTo>
                    <a:pt x="458" y="0"/>
                    <a:pt x="463" y="0"/>
                    <a:pt x="465" y="4"/>
                  </a:cubicBezTo>
                  <a:cubicBezTo>
                    <a:pt x="494" y="46"/>
                    <a:pt x="509" y="96"/>
                    <a:pt x="509" y="147"/>
                  </a:cubicBezTo>
                  <a:close/>
                  <a:moveTo>
                    <a:pt x="93" y="259"/>
                  </a:moveTo>
                  <a:cubicBezTo>
                    <a:pt x="70" y="226"/>
                    <a:pt x="58" y="187"/>
                    <a:pt x="58" y="147"/>
                  </a:cubicBezTo>
                  <a:cubicBezTo>
                    <a:pt x="58" y="108"/>
                    <a:pt x="69" y="70"/>
                    <a:pt x="91" y="38"/>
                  </a:cubicBezTo>
                  <a:cubicBezTo>
                    <a:pt x="93" y="35"/>
                    <a:pt x="98" y="34"/>
                    <a:pt x="101" y="36"/>
                  </a:cubicBezTo>
                  <a:cubicBezTo>
                    <a:pt x="104" y="38"/>
                    <a:pt x="105" y="42"/>
                    <a:pt x="103" y="46"/>
                  </a:cubicBezTo>
                  <a:cubicBezTo>
                    <a:pt x="83" y="76"/>
                    <a:pt x="72" y="111"/>
                    <a:pt x="72" y="147"/>
                  </a:cubicBezTo>
                  <a:cubicBezTo>
                    <a:pt x="72" y="184"/>
                    <a:pt x="83" y="220"/>
                    <a:pt x="104" y="251"/>
                  </a:cubicBezTo>
                  <a:cubicBezTo>
                    <a:pt x="107" y="254"/>
                    <a:pt x="106" y="258"/>
                    <a:pt x="103" y="261"/>
                  </a:cubicBezTo>
                  <a:cubicBezTo>
                    <a:pt x="101" y="261"/>
                    <a:pt x="100" y="262"/>
                    <a:pt x="99" y="262"/>
                  </a:cubicBezTo>
                  <a:cubicBezTo>
                    <a:pt x="96" y="262"/>
                    <a:pt x="94" y="261"/>
                    <a:pt x="93" y="259"/>
                  </a:cubicBezTo>
                  <a:close/>
                  <a:moveTo>
                    <a:pt x="404" y="252"/>
                  </a:moveTo>
                  <a:cubicBezTo>
                    <a:pt x="425" y="221"/>
                    <a:pt x="437" y="185"/>
                    <a:pt x="437" y="147"/>
                  </a:cubicBezTo>
                  <a:cubicBezTo>
                    <a:pt x="437" y="110"/>
                    <a:pt x="426" y="75"/>
                    <a:pt x="405" y="44"/>
                  </a:cubicBezTo>
                  <a:cubicBezTo>
                    <a:pt x="403" y="41"/>
                    <a:pt x="404" y="37"/>
                    <a:pt x="407" y="35"/>
                  </a:cubicBezTo>
                  <a:cubicBezTo>
                    <a:pt x="410" y="32"/>
                    <a:pt x="415" y="33"/>
                    <a:pt x="417" y="37"/>
                  </a:cubicBezTo>
                  <a:cubicBezTo>
                    <a:pt x="439" y="69"/>
                    <a:pt x="451" y="107"/>
                    <a:pt x="451" y="147"/>
                  </a:cubicBezTo>
                  <a:cubicBezTo>
                    <a:pt x="451" y="188"/>
                    <a:pt x="439" y="227"/>
                    <a:pt x="415" y="260"/>
                  </a:cubicBezTo>
                  <a:cubicBezTo>
                    <a:pt x="414" y="262"/>
                    <a:pt x="412" y="263"/>
                    <a:pt x="409" y="263"/>
                  </a:cubicBezTo>
                  <a:cubicBezTo>
                    <a:pt x="408" y="263"/>
                    <a:pt x="407" y="263"/>
                    <a:pt x="405" y="262"/>
                  </a:cubicBezTo>
                  <a:cubicBezTo>
                    <a:pt x="402" y="260"/>
                    <a:pt x="401" y="255"/>
                    <a:pt x="404" y="252"/>
                  </a:cubicBezTo>
                  <a:close/>
                  <a:moveTo>
                    <a:pt x="308" y="186"/>
                  </a:moveTo>
                  <a:cubicBezTo>
                    <a:pt x="316" y="175"/>
                    <a:pt x="321" y="161"/>
                    <a:pt x="321" y="147"/>
                  </a:cubicBezTo>
                  <a:cubicBezTo>
                    <a:pt x="321" y="134"/>
                    <a:pt x="317" y="121"/>
                    <a:pt x="309" y="110"/>
                  </a:cubicBezTo>
                  <a:cubicBezTo>
                    <a:pt x="307" y="107"/>
                    <a:pt x="308" y="103"/>
                    <a:pt x="311" y="100"/>
                  </a:cubicBezTo>
                  <a:cubicBezTo>
                    <a:pt x="314" y="98"/>
                    <a:pt x="319" y="99"/>
                    <a:pt x="321" y="102"/>
                  </a:cubicBezTo>
                  <a:cubicBezTo>
                    <a:pt x="330" y="116"/>
                    <a:pt x="335" y="131"/>
                    <a:pt x="335" y="147"/>
                  </a:cubicBezTo>
                  <a:cubicBezTo>
                    <a:pt x="335" y="164"/>
                    <a:pt x="329" y="180"/>
                    <a:pt x="319" y="194"/>
                  </a:cubicBezTo>
                  <a:cubicBezTo>
                    <a:pt x="318" y="196"/>
                    <a:pt x="315" y="197"/>
                    <a:pt x="313" y="197"/>
                  </a:cubicBezTo>
                  <a:cubicBezTo>
                    <a:pt x="312" y="197"/>
                    <a:pt x="310" y="197"/>
                    <a:pt x="309" y="196"/>
                  </a:cubicBezTo>
                  <a:cubicBezTo>
                    <a:pt x="306" y="194"/>
                    <a:pt x="305" y="189"/>
                    <a:pt x="308" y="186"/>
                  </a:cubicBezTo>
                  <a:close/>
                  <a:moveTo>
                    <a:pt x="356" y="219"/>
                  </a:moveTo>
                  <a:cubicBezTo>
                    <a:pt x="371" y="198"/>
                    <a:pt x="379" y="173"/>
                    <a:pt x="379" y="147"/>
                  </a:cubicBezTo>
                  <a:cubicBezTo>
                    <a:pt x="379" y="122"/>
                    <a:pt x="371" y="98"/>
                    <a:pt x="357" y="77"/>
                  </a:cubicBezTo>
                  <a:cubicBezTo>
                    <a:pt x="355" y="74"/>
                    <a:pt x="356" y="70"/>
                    <a:pt x="359" y="68"/>
                  </a:cubicBezTo>
                  <a:cubicBezTo>
                    <a:pt x="362" y="65"/>
                    <a:pt x="367" y="66"/>
                    <a:pt x="369" y="69"/>
                  </a:cubicBezTo>
                  <a:cubicBezTo>
                    <a:pt x="384" y="92"/>
                    <a:pt x="393" y="119"/>
                    <a:pt x="393" y="147"/>
                  </a:cubicBezTo>
                  <a:cubicBezTo>
                    <a:pt x="393" y="176"/>
                    <a:pt x="384" y="204"/>
                    <a:pt x="367" y="227"/>
                  </a:cubicBezTo>
                  <a:cubicBezTo>
                    <a:pt x="366" y="229"/>
                    <a:pt x="364" y="230"/>
                    <a:pt x="361" y="230"/>
                  </a:cubicBezTo>
                  <a:cubicBezTo>
                    <a:pt x="360" y="230"/>
                    <a:pt x="359" y="230"/>
                    <a:pt x="357" y="229"/>
                  </a:cubicBezTo>
                  <a:cubicBezTo>
                    <a:pt x="354" y="227"/>
                    <a:pt x="353" y="222"/>
                    <a:pt x="356" y="219"/>
                  </a:cubicBezTo>
                  <a:close/>
                  <a:moveTo>
                    <a:pt x="141" y="226"/>
                  </a:moveTo>
                  <a:cubicBezTo>
                    <a:pt x="125" y="203"/>
                    <a:pt x="116" y="175"/>
                    <a:pt x="116" y="147"/>
                  </a:cubicBezTo>
                  <a:cubicBezTo>
                    <a:pt x="116" y="120"/>
                    <a:pt x="124" y="93"/>
                    <a:pt x="139" y="71"/>
                  </a:cubicBezTo>
                  <a:cubicBezTo>
                    <a:pt x="141" y="68"/>
                    <a:pt x="146" y="67"/>
                    <a:pt x="149" y="69"/>
                  </a:cubicBezTo>
                  <a:cubicBezTo>
                    <a:pt x="152" y="71"/>
                    <a:pt x="153" y="75"/>
                    <a:pt x="151" y="78"/>
                  </a:cubicBezTo>
                  <a:cubicBezTo>
                    <a:pt x="137" y="99"/>
                    <a:pt x="130" y="123"/>
                    <a:pt x="130" y="147"/>
                  </a:cubicBezTo>
                  <a:cubicBezTo>
                    <a:pt x="130" y="173"/>
                    <a:pt x="138" y="197"/>
                    <a:pt x="152" y="218"/>
                  </a:cubicBezTo>
                  <a:cubicBezTo>
                    <a:pt x="155" y="221"/>
                    <a:pt x="154" y="225"/>
                    <a:pt x="151" y="228"/>
                  </a:cubicBezTo>
                  <a:cubicBezTo>
                    <a:pt x="149" y="229"/>
                    <a:pt x="148" y="229"/>
                    <a:pt x="147" y="229"/>
                  </a:cubicBezTo>
                  <a:cubicBezTo>
                    <a:pt x="144" y="229"/>
                    <a:pt x="142" y="228"/>
                    <a:pt x="141" y="226"/>
                  </a:cubicBezTo>
                  <a:close/>
                  <a:moveTo>
                    <a:pt x="189" y="193"/>
                  </a:moveTo>
                  <a:cubicBezTo>
                    <a:pt x="179" y="179"/>
                    <a:pt x="174" y="164"/>
                    <a:pt x="174" y="147"/>
                  </a:cubicBezTo>
                  <a:cubicBezTo>
                    <a:pt x="174" y="132"/>
                    <a:pt x="179" y="117"/>
                    <a:pt x="187" y="104"/>
                  </a:cubicBezTo>
                  <a:cubicBezTo>
                    <a:pt x="189" y="101"/>
                    <a:pt x="193" y="100"/>
                    <a:pt x="197" y="102"/>
                  </a:cubicBezTo>
                  <a:cubicBezTo>
                    <a:pt x="200" y="104"/>
                    <a:pt x="201" y="108"/>
                    <a:pt x="199" y="111"/>
                  </a:cubicBezTo>
                  <a:cubicBezTo>
                    <a:pt x="192" y="122"/>
                    <a:pt x="188" y="134"/>
                    <a:pt x="188" y="147"/>
                  </a:cubicBezTo>
                  <a:cubicBezTo>
                    <a:pt x="188" y="161"/>
                    <a:pt x="192" y="174"/>
                    <a:pt x="200" y="185"/>
                  </a:cubicBezTo>
                  <a:cubicBezTo>
                    <a:pt x="203" y="188"/>
                    <a:pt x="202" y="193"/>
                    <a:pt x="199" y="195"/>
                  </a:cubicBezTo>
                  <a:cubicBezTo>
                    <a:pt x="197" y="196"/>
                    <a:pt x="196" y="196"/>
                    <a:pt x="195" y="196"/>
                  </a:cubicBezTo>
                  <a:cubicBezTo>
                    <a:pt x="192" y="196"/>
                    <a:pt x="190" y="195"/>
                    <a:pt x="189" y="193"/>
                  </a:cubicBez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endParaRPr lang="en-US" sz="1836"/>
            </a:p>
          </p:txBody>
        </p:sp>
      </p:grpSp>
      <p:grpSp>
        <p:nvGrpSpPr>
          <p:cNvPr id="9262" name="Group 9261"/>
          <p:cNvGrpSpPr/>
          <p:nvPr/>
        </p:nvGrpSpPr>
        <p:grpSpPr>
          <a:xfrm>
            <a:off x="1315706" y="3120088"/>
            <a:ext cx="1119124" cy="1119124"/>
            <a:chOff x="7723188" y="2476500"/>
            <a:chExt cx="949325" cy="949325"/>
          </a:xfrm>
        </p:grpSpPr>
        <p:sp>
          <p:nvSpPr>
            <p:cNvPr id="19" name="Oval 12"/>
            <p:cNvSpPr>
              <a:spLocks noChangeArrowheads="1"/>
            </p:cNvSpPr>
            <p:nvPr/>
          </p:nvSpPr>
          <p:spPr bwMode="auto">
            <a:xfrm>
              <a:off x="7723188" y="2476500"/>
              <a:ext cx="949325" cy="949325"/>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30" name="Freeform 23"/>
            <p:cNvSpPr>
              <a:spLocks noEditPoints="1"/>
            </p:cNvSpPr>
            <p:nvPr/>
          </p:nvSpPr>
          <p:spPr bwMode="auto">
            <a:xfrm>
              <a:off x="7866063" y="2717800"/>
              <a:ext cx="663575" cy="466725"/>
            </a:xfrm>
            <a:custGeom>
              <a:avLst/>
              <a:gdLst>
                <a:gd name="T0" fmla="*/ 555 w 743"/>
                <a:gd name="T1" fmla="*/ 376 h 521"/>
                <a:gd name="T2" fmla="*/ 545 w 743"/>
                <a:gd name="T3" fmla="*/ 376 h 521"/>
                <a:gd name="T4" fmla="*/ 589 w 743"/>
                <a:gd name="T5" fmla="*/ 253 h 521"/>
                <a:gd name="T6" fmla="*/ 546 w 743"/>
                <a:gd name="T7" fmla="*/ 130 h 521"/>
                <a:gd name="T8" fmla="*/ 603 w 743"/>
                <a:gd name="T9" fmla="*/ 253 h 521"/>
                <a:gd name="T10" fmla="*/ 593 w 743"/>
                <a:gd name="T11" fmla="*/ 70 h 521"/>
                <a:gd name="T12" fmla="*/ 659 w 743"/>
                <a:gd name="T13" fmla="*/ 253 h 521"/>
                <a:gd name="T14" fmla="*/ 592 w 743"/>
                <a:gd name="T15" fmla="*/ 437 h 521"/>
                <a:gd name="T16" fmla="*/ 602 w 743"/>
                <a:gd name="T17" fmla="*/ 436 h 521"/>
                <a:gd name="T18" fmla="*/ 602 w 743"/>
                <a:gd name="T19" fmla="*/ 70 h 521"/>
                <a:gd name="T20" fmla="*/ 639 w 743"/>
                <a:gd name="T21" fmla="*/ 10 h 521"/>
                <a:gd name="T22" fmla="*/ 729 w 743"/>
                <a:gd name="T23" fmla="*/ 253 h 521"/>
                <a:gd name="T24" fmla="*/ 638 w 743"/>
                <a:gd name="T25" fmla="*/ 497 h 521"/>
                <a:gd name="T26" fmla="*/ 648 w 743"/>
                <a:gd name="T27" fmla="*/ 497 h 521"/>
                <a:gd name="T28" fmla="*/ 649 w 743"/>
                <a:gd name="T29" fmla="*/ 10 h 521"/>
                <a:gd name="T30" fmla="*/ 485 w 743"/>
                <a:gd name="T31" fmla="*/ 480 h 521"/>
                <a:gd name="T32" fmla="*/ 403 w 743"/>
                <a:gd name="T33" fmla="*/ 485 h 521"/>
                <a:gd name="T34" fmla="*/ 308 w 743"/>
                <a:gd name="T35" fmla="*/ 462 h 521"/>
                <a:gd name="T36" fmla="*/ 247 w 743"/>
                <a:gd name="T37" fmla="*/ 488 h 521"/>
                <a:gd name="T38" fmla="*/ 137 w 743"/>
                <a:gd name="T39" fmla="*/ 392 h 521"/>
                <a:gd name="T40" fmla="*/ 80 w 743"/>
                <a:gd name="T41" fmla="*/ 353 h 521"/>
                <a:gd name="T42" fmla="*/ 0 w 743"/>
                <a:gd name="T43" fmla="*/ 343 h 521"/>
                <a:gd name="T44" fmla="*/ 41 w 743"/>
                <a:gd name="T45" fmla="*/ 124 h 521"/>
                <a:gd name="T46" fmla="*/ 403 w 743"/>
                <a:gd name="T47" fmla="*/ 36 h 521"/>
                <a:gd name="T48" fmla="*/ 485 w 743"/>
                <a:gd name="T49" fmla="*/ 41 h 521"/>
                <a:gd name="T50" fmla="*/ 156 w 743"/>
                <a:gd name="T51" fmla="*/ 383 h 521"/>
                <a:gd name="T52" fmla="*/ 168 w 743"/>
                <a:gd name="T53" fmla="*/ 441 h 521"/>
                <a:gd name="T54" fmla="*/ 295 w 743"/>
                <a:gd name="T55" fmla="*/ 457 h 521"/>
                <a:gd name="T56" fmla="*/ 471 w 743"/>
                <a:gd name="T57" fmla="*/ 41 h 521"/>
                <a:gd name="T58" fmla="*/ 417 w 743"/>
                <a:gd name="T59" fmla="*/ 41 h 521"/>
                <a:gd name="T60" fmla="*/ 77 w 743"/>
                <a:gd name="T61" fmla="*/ 171 h 521"/>
                <a:gd name="T62" fmla="*/ 68 w 743"/>
                <a:gd name="T63" fmla="*/ 165 h 521"/>
                <a:gd name="T64" fmla="*/ 14 w 743"/>
                <a:gd name="T65" fmla="*/ 165 h 521"/>
                <a:gd name="T66" fmla="*/ 41 w 743"/>
                <a:gd name="T67" fmla="*/ 370 h 521"/>
                <a:gd name="T68" fmla="*/ 71 w 743"/>
                <a:gd name="T69" fmla="*/ 337 h 521"/>
                <a:gd name="T70" fmla="*/ 77 w 743"/>
                <a:gd name="T71" fmla="*/ 336 h 521"/>
                <a:gd name="T72" fmla="*/ 313 w 743"/>
                <a:gd name="T73" fmla="*/ 433 h 521"/>
                <a:gd name="T74" fmla="*/ 413 w 743"/>
                <a:gd name="T75" fmla="*/ 473 h 521"/>
                <a:gd name="T76" fmla="*/ 444 w 743"/>
                <a:gd name="T77" fmla="*/ 507 h 521"/>
                <a:gd name="T78" fmla="*/ 471 w 743"/>
                <a:gd name="T79" fmla="*/ 41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43" h="521">
                  <a:moveTo>
                    <a:pt x="603" y="253"/>
                  </a:moveTo>
                  <a:cubicBezTo>
                    <a:pt x="603" y="300"/>
                    <a:pt x="586" y="344"/>
                    <a:pt x="555" y="376"/>
                  </a:cubicBezTo>
                  <a:cubicBezTo>
                    <a:pt x="554" y="378"/>
                    <a:pt x="552" y="378"/>
                    <a:pt x="550" y="378"/>
                  </a:cubicBezTo>
                  <a:cubicBezTo>
                    <a:pt x="549" y="378"/>
                    <a:pt x="547" y="378"/>
                    <a:pt x="545" y="376"/>
                  </a:cubicBezTo>
                  <a:cubicBezTo>
                    <a:pt x="543" y="374"/>
                    <a:pt x="543" y="369"/>
                    <a:pt x="545" y="367"/>
                  </a:cubicBezTo>
                  <a:cubicBezTo>
                    <a:pt x="574" y="337"/>
                    <a:pt x="589" y="296"/>
                    <a:pt x="589" y="253"/>
                  </a:cubicBezTo>
                  <a:cubicBezTo>
                    <a:pt x="589" y="210"/>
                    <a:pt x="574" y="170"/>
                    <a:pt x="546" y="140"/>
                  </a:cubicBezTo>
                  <a:cubicBezTo>
                    <a:pt x="543" y="137"/>
                    <a:pt x="543" y="133"/>
                    <a:pt x="546" y="130"/>
                  </a:cubicBezTo>
                  <a:cubicBezTo>
                    <a:pt x="549" y="128"/>
                    <a:pt x="553" y="128"/>
                    <a:pt x="556" y="131"/>
                  </a:cubicBezTo>
                  <a:cubicBezTo>
                    <a:pt x="587" y="163"/>
                    <a:pt x="603" y="207"/>
                    <a:pt x="603" y="253"/>
                  </a:cubicBezTo>
                  <a:close/>
                  <a:moveTo>
                    <a:pt x="602" y="70"/>
                  </a:moveTo>
                  <a:cubicBezTo>
                    <a:pt x="600" y="68"/>
                    <a:pt x="595" y="67"/>
                    <a:pt x="593" y="70"/>
                  </a:cubicBezTo>
                  <a:cubicBezTo>
                    <a:pt x="590" y="73"/>
                    <a:pt x="590" y="77"/>
                    <a:pt x="592" y="80"/>
                  </a:cubicBezTo>
                  <a:cubicBezTo>
                    <a:pt x="636" y="126"/>
                    <a:pt x="659" y="187"/>
                    <a:pt x="659" y="253"/>
                  </a:cubicBezTo>
                  <a:cubicBezTo>
                    <a:pt x="659" y="319"/>
                    <a:pt x="635" y="381"/>
                    <a:pt x="592" y="427"/>
                  </a:cubicBezTo>
                  <a:cubicBezTo>
                    <a:pt x="589" y="430"/>
                    <a:pt x="589" y="434"/>
                    <a:pt x="592" y="437"/>
                  </a:cubicBezTo>
                  <a:cubicBezTo>
                    <a:pt x="593" y="438"/>
                    <a:pt x="595" y="439"/>
                    <a:pt x="597" y="439"/>
                  </a:cubicBezTo>
                  <a:cubicBezTo>
                    <a:pt x="599" y="439"/>
                    <a:pt x="601" y="438"/>
                    <a:pt x="602" y="436"/>
                  </a:cubicBezTo>
                  <a:cubicBezTo>
                    <a:pt x="648" y="388"/>
                    <a:pt x="673" y="323"/>
                    <a:pt x="673" y="253"/>
                  </a:cubicBezTo>
                  <a:cubicBezTo>
                    <a:pt x="673" y="184"/>
                    <a:pt x="648" y="119"/>
                    <a:pt x="602" y="70"/>
                  </a:cubicBezTo>
                  <a:close/>
                  <a:moveTo>
                    <a:pt x="649" y="10"/>
                  </a:moveTo>
                  <a:cubicBezTo>
                    <a:pt x="646" y="7"/>
                    <a:pt x="642" y="7"/>
                    <a:pt x="639" y="10"/>
                  </a:cubicBezTo>
                  <a:cubicBezTo>
                    <a:pt x="636" y="12"/>
                    <a:pt x="636" y="17"/>
                    <a:pt x="639" y="20"/>
                  </a:cubicBezTo>
                  <a:cubicBezTo>
                    <a:pt x="697" y="81"/>
                    <a:pt x="729" y="164"/>
                    <a:pt x="729" y="253"/>
                  </a:cubicBezTo>
                  <a:cubicBezTo>
                    <a:pt x="729" y="342"/>
                    <a:pt x="697" y="425"/>
                    <a:pt x="638" y="487"/>
                  </a:cubicBezTo>
                  <a:cubicBezTo>
                    <a:pt x="636" y="490"/>
                    <a:pt x="636" y="494"/>
                    <a:pt x="638" y="497"/>
                  </a:cubicBezTo>
                  <a:cubicBezTo>
                    <a:pt x="640" y="498"/>
                    <a:pt x="642" y="499"/>
                    <a:pt x="643" y="499"/>
                  </a:cubicBezTo>
                  <a:cubicBezTo>
                    <a:pt x="645" y="499"/>
                    <a:pt x="647" y="498"/>
                    <a:pt x="648" y="497"/>
                  </a:cubicBezTo>
                  <a:cubicBezTo>
                    <a:pt x="709" y="432"/>
                    <a:pt x="743" y="346"/>
                    <a:pt x="743" y="253"/>
                  </a:cubicBezTo>
                  <a:cubicBezTo>
                    <a:pt x="743" y="161"/>
                    <a:pt x="710" y="74"/>
                    <a:pt x="649" y="10"/>
                  </a:cubicBezTo>
                  <a:close/>
                  <a:moveTo>
                    <a:pt x="485" y="41"/>
                  </a:moveTo>
                  <a:cubicBezTo>
                    <a:pt x="485" y="480"/>
                    <a:pt x="485" y="480"/>
                    <a:pt x="485" y="480"/>
                  </a:cubicBezTo>
                  <a:cubicBezTo>
                    <a:pt x="485" y="502"/>
                    <a:pt x="467" y="521"/>
                    <a:pt x="444" y="521"/>
                  </a:cubicBezTo>
                  <a:cubicBezTo>
                    <a:pt x="423" y="521"/>
                    <a:pt x="406" y="505"/>
                    <a:pt x="403" y="485"/>
                  </a:cubicBezTo>
                  <a:cubicBezTo>
                    <a:pt x="314" y="448"/>
                    <a:pt x="314" y="448"/>
                    <a:pt x="314" y="448"/>
                  </a:cubicBezTo>
                  <a:cubicBezTo>
                    <a:pt x="308" y="462"/>
                    <a:pt x="308" y="462"/>
                    <a:pt x="308" y="462"/>
                  </a:cubicBezTo>
                  <a:cubicBezTo>
                    <a:pt x="301" y="481"/>
                    <a:pt x="283" y="492"/>
                    <a:pt x="265" y="492"/>
                  </a:cubicBezTo>
                  <a:cubicBezTo>
                    <a:pt x="259" y="492"/>
                    <a:pt x="253" y="491"/>
                    <a:pt x="247" y="488"/>
                  </a:cubicBezTo>
                  <a:cubicBezTo>
                    <a:pt x="162" y="454"/>
                    <a:pt x="162" y="454"/>
                    <a:pt x="162" y="454"/>
                  </a:cubicBezTo>
                  <a:cubicBezTo>
                    <a:pt x="138" y="444"/>
                    <a:pt x="127" y="416"/>
                    <a:pt x="137" y="392"/>
                  </a:cubicBezTo>
                  <a:cubicBezTo>
                    <a:pt x="143" y="378"/>
                    <a:pt x="143" y="378"/>
                    <a:pt x="143" y="378"/>
                  </a:cubicBezTo>
                  <a:cubicBezTo>
                    <a:pt x="80" y="353"/>
                    <a:pt x="80" y="353"/>
                    <a:pt x="80" y="353"/>
                  </a:cubicBezTo>
                  <a:cubicBezTo>
                    <a:pt x="76" y="370"/>
                    <a:pt x="60" y="384"/>
                    <a:pt x="41" y="384"/>
                  </a:cubicBezTo>
                  <a:cubicBezTo>
                    <a:pt x="18" y="384"/>
                    <a:pt x="0" y="365"/>
                    <a:pt x="0" y="343"/>
                  </a:cubicBezTo>
                  <a:cubicBezTo>
                    <a:pt x="0" y="165"/>
                    <a:pt x="0" y="165"/>
                    <a:pt x="0" y="165"/>
                  </a:cubicBezTo>
                  <a:cubicBezTo>
                    <a:pt x="0" y="142"/>
                    <a:pt x="18" y="124"/>
                    <a:pt x="41" y="124"/>
                  </a:cubicBezTo>
                  <a:cubicBezTo>
                    <a:pt x="60" y="124"/>
                    <a:pt x="76" y="137"/>
                    <a:pt x="81" y="155"/>
                  </a:cubicBezTo>
                  <a:cubicBezTo>
                    <a:pt x="403" y="36"/>
                    <a:pt x="403" y="36"/>
                    <a:pt x="403" y="36"/>
                  </a:cubicBezTo>
                  <a:cubicBezTo>
                    <a:pt x="406" y="16"/>
                    <a:pt x="423" y="0"/>
                    <a:pt x="444" y="0"/>
                  </a:cubicBezTo>
                  <a:cubicBezTo>
                    <a:pt x="467" y="0"/>
                    <a:pt x="485" y="18"/>
                    <a:pt x="485" y="41"/>
                  </a:cubicBezTo>
                  <a:close/>
                  <a:moveTo>
                    <a:pt x="301" y="443"/>
                  </a:moveTo>
                  <a:cubicBezTo>
                    <a:pt x="156" y="383"/>
                    <a:pt x="156" y="383"/>
                    <a:pt x="156" y="383"/>
                  </a:cubicBezTo>
                  <a:cubicBezTo>
                    <a:pt x="150" y="398"/>
                    <a:pt x="150" y="398"/>
                    <a:pt x="150" y="398"/>
                  </a:cubicBezTo>
                  <a:cubicBezTo>
                    <a:pt x="143" y="414"/>
                    <a:pt x="151" y="434"/>
                    <a:pt x="168" y="441"/>
                  </a:cubicBezTo>
                  <a:cubicBezTo>
                    <a:pt x="252" y="475"/>
                    <a:pt x="252" y="475"/>
                    <a:pt x="252" y="475"/>
                  </a:cubicBezTo>
                  <a:cubicBezTo>
                    <a:pt x="269" y="482"/>
                    <a:pt x="288" y="474"/>
                    <a:pt x="295" y="457"/>
                  </a:cubicBezTo>
                  <a:lnTo>
                    <a:pt x="301" y="443"/>
                  </a:lnTo>
                  <a:close/>
                  <a:moveTo>
                    <a:pt x="471" y="41"/>
                  </a:moveTo>
                  <a:cubicBezTo>
                    <a:pt x="471" y="26"/>
                    <a:pt x="459" y="14"/>
                    <a:pt x="444" y="14"/>
                  </a:cubicBezTo>
                  <a:cubicBezTo>
                    <a:pt x="429" y="14"/>
                    <a:pt x="417" y="26"/>
                    <a:pt x="417" y="41"/>
                  </a:cubicBezTo>
                  <a:cubicBezTo>
                    <a:pt x="417" y="44"/>
                    <a:pt x="415" y="47"/>
                    <a:pt x="412" y="48"/>
                  </a:cubicBezTo>
                  <a:cubicBezTo>
                    <a:pt x="77" y="171"/>
                    <a:pt x="77" y="171"/>
                    <a:pt x="77" y="171"/>
                  </a:cubicBezTo>
                  <a:cubicBezTo>
                    <a:pt x="75" y="172"/>
                    <a:pt x="73" y="172"/>
                    <a:pt x="71" y="170"/>
                  </a:cubicBezTo>
                  <a:cubicBezTo>
                    <a:pt x="69" y="169"/>
                    <a:pt x="68" y="167"/>
                    <a:pt x="68" y="165"/>
                  </a:cubicBezTo>
                  <a:cubicBezTo>
                    <a:pt x="68" y="150"/>
                    <a:pt x="56" y="138"/>
                    <a:pt x="41" y="138"/>
                  </a:cubicBezTo>
                  <a:cubicBezTo>
                    <a:pt x="26" y="138"/>
                    <a:pt x="14" y="150"/>
                    <a:pt x="14" y="165"/>
                  </a:cubicBezTo>
                  <a:cubicBezTo>
                    <a:pt x="14" y="343"/>
                    <a:pt x="14" y="343"/>
                    <a:pt x="14" y="343"/>
                  </a:cubicBezTo>
                  <a:cubicBezTo>
                    <a:pt x="14" y="358"/>
                    <a:pt x="26" y="370"/>
                    <a:pt x="41" y="370"/>
                  </a:cubicBezTo>
                  <a:cubicBezTo>
                    <a:pt x="56" y="370"/>
                    <a:pt x="68" y="358"/>
                    <a:pt x="68" y="343"/>
                  </a:cubicBezTo>
                  <a:cubicBezTo>
                    <a:pt x="68" y="340"/>
                    <a:pt x="69" y="338"/>
                    <a:pt x="71" y="337"/>
                  </a:cubicBezTo>
                  <a:cubicBezTo>
                    <a:pt x="72" y="336"/>
                    <a:pt x="73" y="336"/>
                    <a:pt x="75" y="336"/>
                  </a:cubicBezTo>
                  <a:cubicBezTo>
                    <a:pt x="76" y="336"/>
                    <a:pt x="76" y="336"/>
                    <a:pt x="77" y="336"/>
                  </a:cubicBezTo>
                  <a:cubicBezTo>
                    <a:pt x="313" y="433"/>
                    <a:pt x="313" y="433"/>
                    <a:pt x="313" y="433"/>
                  </a:cubicBezTo>
                  <a:cubicBezTo>
                    <a:pt x="313" y="433"/>
                    <a:pt x="313" y="433"/>
                    <a:pt x="313" y="433"/>
                  </a:cubicBezTo>
                  <a:cubicBezTo>
                    <a:pt x="313" y="433"/>
                    <a:pt x="313" y="433"/>
                    <a:pt x="313" y="433"/>
                  </a:cubicBezTo>
                  <a:cubicBezTo>
                    <a:pt x="413" y="473"/>
                    <a:pt x="413" y="473"/>
                    <a:pt x="413" y="473"/>
                  </a:cubicBezTo>
                  <a:cubicBezTo>
                    <a:pt x="415" y="474"/>
                    <a:pt x="417" y="477"/>
                    <a:pt x="417" y="480"/>
                  </a:cubicBezTo>
                  <a:cubicBezTo>
                    <a:pt x="417" y="495"/>
                    <a:pt x="429" y="507"/>
                    <a:pt x="444" y="507"/>
                  </a:cubicBezTo>
                  <a:cubicBezTo>
                    <a:pt x="459" y="507"/>
                    <a:pt x="471" y="495"/>
                    <a:pt x="471" y="480"/>
                  </a:cubicBezTo>
                  <a:lnTo>
                    <a:pt x="471" y="41"/>
                  </a:ln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endParaRPr lang="en-US" sz="1836"/>
            </a:p>
          </p:txBody>
        </p:sp>
      </p:grpSp>
      <p:grpSp>
        <p:nvGrpSpPr>
          <p:cNvPr id="9265" name="Group 9264"/>
          <p:cNvGrpSpPr/>
          <p:nvPr/>
        </p:nvGrpSpPr>
        <p:grpSpPr>
          <a:xfrm>
            <a:off x="8347593" y="3120088"/>
            <a:ext cx="1119124" cy="1119124"/>
            <a:chOff x="2524125" y="3649663"/>
            <a:chExt cx="949325" cy="950913"/>
          </a:xfrm>
        </p:grpSpPr>
        <p:sp>
          <p:nvSpPr>
            <p:cNvPr id="22" name="Oval 15"/>
            <p:cNvSpPr>
              <a:spLocks noChangeArrowheads="1"/>
            </p:cNvSpPr>
            <p:nvPr/>
          </p:nvSpPr>
          <p:spPr bwMode="auto">
            <a:xfrm>
              <a:off x="2524125" y="3649663"/>
              <a:ext cx="949325" cy="950913"/>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31" name="Freeform 24"/>
            <p:cNvSpPr>
              <a:spLocks noEditPoints="1"/>
            </p:cNvSpPr>
            <p:nvPr/>
          </p:nvSpPr>
          <p:spPr bwMode="auto">
            <a:xfrm>
              <a:off x="2713038" y="3860800"/>
              <a:ext cx="511175" cy="549275"/>
            </a:xfrm>
            <a:custGeom>
              <a:avLst/>
              <a:gdLst>
                <a:gd name="T0" fmla="*/ 525 w 572"/>
                <a:gd name="T1" fmla="*/ 0 h 615"/>
                <a:gd name="T2" fmla="*/ 478 w 572"/>
                <a:gd name="T3" fmla="*/ 42 h 615"/>
                <a:gd name="T4" fmla="*/ 93 w 572"/>
                <a:gd name="T5" fmla="*/ 184 h 615"/>
                <a:gd name="T6" fmla="*/ 47 w 572"/>
                <a:gd name="T7" fmla="*/ 147 h 615"/>
                <a:gd name="T8" fmla="*/ 0 w 572"/>
                <a:gd name="T9" fmla="*/ 194 h 615"/>
                <a:gd name="T10" fmla="*/ 0 w 572"/>
                <a:gd name="T11" fmla="*/ 405 h 615"/>
                <a:gd name="T12" fmla="*/ 47 w 572"/>
                <a:gd name="T13" fmla="*/ 453 h 615"/>
                <a:gd name="T14" fmla="*/ 93 w 572"/>
                <a:gd name="T15" fmla="*/ 415 h 615"/>
                <a:gd name="T16" fmla="*/ 169 w 572"/>
                <a:gd name="T17" fmla="*/ 446 h 615"/>
                <a:gd name="T18" fmla="*/ 162 w 572"/>
                <a:gd name="T19" fmla="*/ 464 h 615"/>
                <a:gd name="T20" fmla="*/ 192 w 572"/>
                <a:gd name="T21" fmla="*/ 535 h 615"/>
                <a:gd name="T22" fmla="*/ 292 w 572"/>
                <a:gd name="T23" fmla="*/ 576 h 615"/>
                <a:gd name="T24" fmla="*/ 312 w 572"/>
                <a:gd name="T25" fmla="*/ 580 h 615"/>
                <a:gd name="T26" fmla="*/ 334 w 572"/>
                <a:gd name="T27" fmla="*/ 576 h 615"/>
                <a:gd name="T28" fmla="*/ 363 w 572"/>
                <a:gd name="T29" fmla="*/ 547 h 615"/>
                <a:gd name="T30" fmla="*/ 370 w 572"/>
                <a:gd name="T31" fmla="*/ 528 h 615"/>
                <a:gd name="T32" fmla="*/ 478 w 572"/>
                <a:gd name="T33" fmla="*/ 572 h 615"/>
                <a:gd name="T34" fmla="*/ 525 w 572"/>
                <a:gd name="T35" fmla="*/ 615 h 615"/>
                <a:gd name="T36" fmla="*/ 572 w 572"/>
                <a:gd name="T37" fmla="*/ 568 h 615"/>
                <a:gd name="T38" fmla="*/ 572 w 572"/>
                <a:gd name="T39" fmla="*/ 47 h 615"/>
                <a:gd name="T40" fmla="*/ 525 w 572"/>
                <a:gd name="T41" fmla="*/ 0 h 615"/>
                <a:gd name="T42" fmla="*/ 350 w 572"/>
                <a:gd name="T43" fmla="*/ 541 h 615"/>
                <a:gd name="T44" fmla="*/ 328 w 572"/>
                <a:gd name="T45" fmla="*/ 563 h 615"/>
                <a:gd name="T46" fmla="*/ 297 w 572"/>
                <a:gd name="T47" fmla="*/ 563 h 615"/>
                <a:gd name="T48" fmla="*/ 197 w 572"/>
                <a:gd name="T49" fmla="*/ 522 h 615"/>
                <a:gd name="T50" fmla="*/ 175 w 572"/>
                <a:gd name="T51" fmla="*/ 470 h 615"/>
                <a:gd name="T52" fmla="*/ 182 w 572"/>
                <a:gd name="T53" fmla="*/ 451 h 615"/>
                <a:gd name="T54" fmla="*/ 357 w 572"/>
                <a:gd name="T55" fmla="*/ 523 h 615"/>
                <a:gd name="T56" fmla="*/ 350 w 572"/>
                <a:gd name="T57" fmla="*/ 541 h 615"/>
                <a:gd name="T58" fmla="*/ 558 w 572"/>
                <a:gd name="T59" fmla="*/ 568 h 615"/>
                <a:gd name="T60" fmla="*/ 525 w 572"/>
                <a:gd name="T61" fmla="*/ 601 h 615"/>
                <a:gd name="T62" fmla="*/ 492 w 572"/>
                <a:gd name="T63" fmla="*/ 568 h 615"/>
                <a:gd name="T64" fmla="*/ 488 w 572"/>
                <a:gd name="T65" fmla="*/ 561 h 615"/>
                <a:gd name="T66" fmla="*/ 90 w 572"/>
                <a:gd name="T67" fmla="*/ 399 h 615"/>
                <a:gd name="T68" fmla="*/ 87 w 572"/>
                <a:gd name="T69" fmla="*/ 398 h 615"/>
                <a:gd name="T70" fmla="*/ 83 w 572"/>
                <a:gd name="T71" fmla="*/ 399 h 615"/>
                <a:gd name="T72" fmla="*/ 80 w 572"/>
                <a:gd name="T73" fmla="*/ 405 h 615"/>
                <a:gd name="T74" fmla="*/ 47 w 572"/>
                <a:gd name="T75" fmla="*/ 439 h 615"/>
                <a:gd name="T76" fmla="*/ 14 w 572"/>
                <a:gd name="T77" fmla="*/ 405 h 615"/>
                <a:gd name="T78" fmla="*/ 14 w 572"/>
                <a:gd name="T79" fmla="*/ 194 h 615"/>
                <a:gd name="T80" fmla="*/ 47 w 572"/>
                <a:gd name="T81" fmla="*/ 161 h 615"/>
                <a:gd name="T82" fmla="*/ 80 w 572"/>
                <a:gd name="T83" fmla="*/ 194 h 615"/>
                <a:gd name="T84" fmla="*/ 83 w 572"/>
                <a:gd name="T85" fmla="*/ 200 h 615"/>
                <a:gd name="T86" fmla="*/ 90 w 572"/>
                <a:gd name="T87" fmla="*/ 201 h 615"/>
                <a:gd name="T88" fmla="*/ 487 w 572"/>
                <a:gd name="T89" fmla="*/ 54 h 615"/>
                <a:gd name="T90" fmla="*/ 492 w 572"/>
                <a:gd name="T91" fmla="*/ 47 h 615"/>
                <a:gd name="T92" fmla="*/ 525 w 572"/>
                <a:gd name="T93" fmla="*/ 14 h 615"/>
                <a:gd name="T94" fmla="*/ 558 w 572"/>
                <a:gd name="T95" fmla="*/ 47 h 615"/>
                <a:gd name="T96" fmla="*/ 558 w 572"/>
                <a:gd name="T97" fmla="*/ 568 h 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72" h="615">
                  <a:moveTo>
                    <a:pt x="525" y="0"/>
                  </a:moveTo>
                  <a:cubicBezTo>
                    <a:pt x="501" y="0"/>
                    <a:pt x="481" y="19"/>
                    <a:pt x="478" y="42"/>
                  </a:cubicBezTo>
                  <a:cubicBezTo>
                    <a:pt x="93" y="184"/>
                    <a:pt x="93" y="184"/>
                    <a:pt x="93" y="184"/>
                  </a:cubicBezTo>
                  <a:cubicBezTo>
                    <a:pt x="89" y="163"/>
                    <a:pt x="70" y="147"/>
                    <a:pt x="47" y="147"/>
                  </a:cubicBezTo>
                  <a:cubicBezTo>
                    <a:pt x="21" y="147"/>
                    <a:pt x="0" y="168"/>
                    <a:pt x="0" y="194"/>
                  </a:cubicBezTo>
                  <a:cubicBezTo>
                    <a:pt x="0" y="405"/>
                    <a:pt x="0" y="405"/>
                    <a:pt x="0" y="405"/>
                  </a:cubicBezTo>
                  <a:cubicBezTo>
                    <a:pt x="0" y="431"/>
                    <a:pt x="21" y="453"/>
                    <a:pt x="47" y="453"/>
                  </a:cubicBezTo>
                  <a:cubicBezTo>
                    <a:pt x="70" y="453"/>
                    <a:pt x="89" y="436"/>
                    <a:pt x="93" y="415"/>
                  </a:cubicBezTo>
                  <a:cubicBezTo>
                    <a:pt x="169" y="446"/>
                    <a:pt x="169" y="446"/>
                    <a:pt x="169" y="446"/>
                  </a:cubicBezTo>
                  <a:cubicBezTo>
                    <a:pt x="162" y="464"/>
                    <a:pt x="162" y="464"/>
                    <a:pt x="162" y="464"/>
                  </a:cubicBezTo>
                  <a:cubicBezTo>
                    <a:pt x="151" y="492"/>
                    <a:pt x="164" y="524"/>
                    <a:pt x="192" y="535"/>
                  </a:cubicBezTo>
                  <a:cubicBezTo>
                    <a:pt x="292" y="576"/>
                    <a:pt x="292" y="576"/>
                    <a:pt x="292" y="576"/>
                  </a:cubicBezTo>
                  <a:cubicBezTo>
                    <a:pt x="299" y="579"/>
                    <a:pt x="305" y="580"/>
                    <a:pt x="312" y="580"/>
                  </a:cubicBezTo>
                  <a:cubicBezTo>
                    <a:pt x="320" y="580"/>
                    <a:pt x="327" y="579"/>
                    <a:pt x="334" y="576"/>
                  </a:cubicBezTo>
                  <a:cubicBezTo>
                    <a:pt x="347" y="570"/>
                    <a:pt x="357" y="560"/>
                    <a:pt x="363" y="547"/>
                  </a:cubicBezTo>
                  <a:cubicBezTo>
                    <a:pt x="370" y="528"/>
                    <a:pt x="370" y="528"/>
                    <a:pt x="370" y="528"/>
                  </a:cubicBezTo>
                  <a:cubicBezTo>
                    <a:pt x="478" y="572"/>
                    <a:pt x="478" y="572"/>
                    <a:pt x="478" y="572"/>
                  </a:cubicBezTo>
                  <a:cubicBezTo>
                    <a:pt x="481" y="596"/>
                    <a:pt x="501" y="615"/>
                    <a:pt x="525" y="615"/>
                  </a:cubicBezTo>
                  <a:cubicBezTo>
                    <a:pt x="551" y="615"/>
                    <a:pt x="572" y="594"/>
                    <a:pt x="572" y="568"/>
                  </a:cubicBezTo>
                  <a:cubicBezTo>
                    <a:pt x="572" y="47"/>
                    <a:pt x="572" y="47"/>
                    <a:pt x="572" y="47"/>
                  </a:cubicBezTo>
                  <a:cubicBezTo>
                    <a:pt x="572" y="21"/>
                    <a:pt x="551" y="0"/>
                    <a:pt x="525" y="0"/>
                  </a:cubicBezTo>
                  <a:close/>
                  <a:moveTo>
                    <a:pt x="350" y="541"/>
                  </a:moveTo>
                  <a:cubicBezTo>
                    <a:pt x="346" y="551"/>
                    <a:pt x="338" y="559"/>
                    <a:pt x="328" y="563"/>
                  </a:cubicBezTo>
                  <a:cubicBezTo>
                    <a:pt x="318" y="567"/>
                    <a:pt x="307" y="567"/>
                    <a:pt x="297" y="563"/>
                  </a:cubicBezTo>
                  <a:cubicBezTo>
                    <a:pt x="197" y="522"/>
                    <a:pt x="197" y="522"/>
                    <a:pt x="197" y="522"/>
                  </a:cubicBezTo>
                  <a:cubicBezTo>
                    <a:pt x="176" y="514"/>
                    <a:pt x="167" y="490"/>
                    <a:pt x="175" y="470"/>
                  </a:cubicBezTo>
                  <a:cubicBezTo>
                    <a:pt x="182" y="451"/>
                    <a:pt x="182" y="451"/>
                    <a:pt x="182" y="451"/>
                  </a:cubicBezTo>
                  <a:cubicBezTo>
                    <a:pt x="357" y="523"/>
                    <a:pt x="357" y="523"/>
                    <a:pt x="357" y="523"/>
                  </a:cubicBezTo>
                  <a:lnTo>
                    <a:pt x="350" y="541"/>
                  </a:lnTo>
                  <a:close/>
                  <a:moveTo>
                    <a:pt x="558" y="568"/>
                  </a:moveTo>
                  <a:cubicBezTo>
                    <a:pt x="558" y="586"/>
                    <a:pt x="544" y="601"/>
                    <a:pt x="525" y="601"/>
                  </a:cubicBezTo>
                  <a:cubicBezTo>
                    <a:pt x="507" y="601"/>
                    <a:pt x="492" y="586"/>
                    <a:pt x="492" y="568"/>
                  </a:cubicBezTo>
                  <a:cubicBezTo>
                    <a:pt x="492" y="565"/>
                    <a:pt x="490" y="562"/>
                    <a:pt x="488" y="561"/>
                  </a:cubicBezTo>
                  <a:cubicBezTo>
                    <a:pt x="90" y="399"/>
                    <a:pt x="90" y="399"/>
                    <a:pt x="90" y="399"/>
                  </a:cubicBezTo>
                  <a:cubicBezTo>
                    <a:pt x="89" y="398"/>
                    <a:pt x="88" y="398"/>
                    <a:pt x="87" y="398"/>
                  </a:cubicBezTo>
                  <a:cubicBezTo>
                    <a:pt x="86" y="398"/>
                    <a:pt x="85" y="398"/>
                    <a:pt x="83" y="399"/>
                  </a:cubicBezTo>
                  <a:cubicBezTo>
                    <a:pt x="81" y="400"/>
                    <a:pt x="80" y="403"/>
                    <a:pt x="80" y="405"/>
                  </a:cubicBezTo>
                  <a:cubicBezTo>
                    <a:pt x="80" y="423"/>
                    <a:pt x="65" y="439"/>
                    <a:pt x="47" y="439"/>
                  </a:cubicBezTo>
                  <a:cubicBezTo>
                    <a:pt x="29" y="439"/>
                    <a:pt x="14" y="424"/>
                    <a:pt x="14" y="405"/>
                  </a:cubicBezTo>
                  <a:cubicBezTo>
                    <a:pt x="14" y="194"/>
                    <a:pt x="14" y="194"/>
                    <a:pt x="14" y="194"/>
                  </a:cubicBezTo>
                  <a:cubicBezTo>
                    <a:pt x="14" y="176"/>
                    <a:pt x="29" y="161"/>
                    <a:pt x="47" y="161"/>
                  </a:cubicBezTo>
                  <a:cubicBezTo>
                    <a:pt x="65" y="161"/>
                    <a:pt x="80" y="176"/>
                    <a:pt x="80" y="194"/>
                  </a:cubicBezTo>
                  <a:cubicBezTo>
                    <a:pt x="80" y="196"/>
                    <a:pt x="81" y="199"/>
                    <a:pt x="83" y="200"/>
                  </a:cubicBezTo>
                  <a:cubicBezTo>
                    <a:pt x="85" y="201"/>
                    <a:pt x="88" y="201"/>
                    <a:pt x="90" y="201"/>
                  </a:cubicBezTo>
                  <a:cubicBezTo>
                    <a:pt x="487" y="54"/>
                    <a:pt x="487" y="54"/>
                    <a:pt x="487" y="54"/>
                  </a:cubicBezTo>
                  <a:cubicBezTo>
                    <a:pt x="490" y="53"/>
                    <a:pt x="492" y="50"/>
                    <a:pt x="492" y="47"/>
                  </a:cubicBezTo>
                  <a:cubicBezTo>
                    <a:pt x="492" y="29"/>
                    <a:pt x="507" y="14"/>
                    <a:pt x="525" y="14"/>
                  </a:cubicBezTo>
                  <a:cubicBezTo>
                    <a:pt x="544" y="14"/>
                    <a:pt x="558" y="29"/>
                    <a:pt x="558" y="47"/>
                  </a:cubicBezTo>
                  <a:lnTo>
                    <a:pt x="558" y="568"/>
                  </a:ln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endParaRPr lang="en-US" sz="1836"/>
            </a:p>
          </p:txBody>
        </p:sp>
      </p:grpSp>
      <p:grpSp>
        <p:nvGrpSpPr>
          <p:cNvPr id="9263" name="Group 9262"/>
          <p:cNvGrpSpPr/>
          <p:nvPr/>
        </p:nvGrpSpPr>
        <p:grpSpPr>
          <a:xfrm>
            <a:off x="3073678" y="3120088"/>
            <a:ext cx="1119124" cy="1119124"/>
            <a:chOff x="8782050" y="2476500"/>
            <a:chExt cx="949325" cy="949325"/>
          </a:xfrm>
        </p:grpSpPr>
        <p:sp>
          <p:nvSpPr>
            <p:cNvPr id="18" name="Oval 11"/>
            <p:cNvSpPr>
              <a:spLocks noChangeArrowheads="1"/>
            </p:cNvSpPr>
            <p:nvPr/>
          </p:nvSpPr>
          <p:spPr bwMode="auto">
            <a:xfrm>
              <a:off x="8782050" y="2476500"/>
              <a:ext cx="949325" cy="949325"/>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9248" name="Freeform 25"/>
            <p:cNvSpPr>
              <a:spLocks noEditPoints="1"/>
            </p:cNvSpPr>
            <p:nvPr/>
          </p:nvSpPr>
          <p:spPr bwMode="auto">
            <a:xfrm>
              <a:off x="9017000" y="2665413"/>
              <a:ext cx="479425" cy="571500"/>
            </a:xfrm>
            <a:custGeom>
              <a:avLst/>
              <a:gdLst>
                <a:gd name="T0" fmla="*/ 295 w 537"/>
                <a:gd name="T1" fmla="*/ 256 h 639"/>
                <a:gd name="T2" fmla="*/ 347 w 537"/>
                <a:gd name="T3" fmla="*/ 228 h 639"/>
                <a:gd name="T4" fmla="*/ 280 w 537"/>
                <a:gd name="T5" fmla="*/ 228 h 639"/>
                <a:gd name="T6" fmla="*/ 262 w 537"/>
                <a:gd name="T7" fmla="*/ 270 h 639"/>
                <a:gd name="T8" fmla="*/ 89 w 537"/>
                <a:gd name="T9" fmla="*/ 105 h 639"/>
                <a:gd name="T10" fmla="*/ 0 w 537"/>
                <a:gd name="T11" fmla="*/ 288 h 639"/>
                <a:gd name="T12" fmla="*/ 24 w 537"/>
                <a:gd name="T13" fmla="*/ 608 h 639"/>
                <a:gd name="T14" fmla="*/ 43 w 537"/>
                <a:gd name="T15" fmla="*/ 639 h 639"/>
                <a:gd name="T16" fmla="*/ 361 w 537"/>
                <a:gd name="T17" fmla="*/ 617 h 639"/>
                <a:gd name="T18" fmla="*/ 323 w 537"/>
                <a:gd name="T19" fmla="*/ 527 h 639"/>
                <a:gd name="T20" fmla="*/ 433 w 537"/>
                <a:gd name="T21" fmla="*/ 449 h 639"/>
                <a:gd name="T22" fmla="*/ 272 w 537"/>
                <a:gd name="T23" fmla="*/ 280 h 639"/>
                <a:gd name="T24" fmla="*/ 313 w 537"/>
                <a:gd name="T25" fmla="*/ 209 h 639"/>
                <a:gd name="T26" fmla="*/ 313 w 537"/>
                <a:gd name="T27" fmla="*/ 248 h 639"/>
                <a:gd name="T28" fmla="*/ 318 w 537"/>
                <a:gd name="T29" fmla="*/ 233 h 639"/>
                <a:gd name="T30" fmla="*/ 308 w 537"/>
                <a:gd name="T31" fmla="*/ 223 h 639"/>
                <a:gd name="T32" fmla="*/ 294 w 537"/>
                <a:gd name="T33" fmla="*/ 228 h 639"/>
                <a:gd name="T34" fmla="*/ 311 w 537"/>
                <a:gd name="T35" fmla="*/ 515 h 639"/>
                <a:gd name="T36" fmla="*/ 307 w 537"/>
                <a:gd name="T37" fmla="*/ 525 h 639"/>
                <a:gd name="T38" fmla="*/ 346 w 537"/>
                <a:gd name="T39" fmla="*/ 613 h 639"/>
                <a:gd name="T40" fmla="*/ 340 w 537"/>
                <a:gd name="T41" fmla="*/ 625 h 639"/>
                <a:gd name="T42" fmla="*/ 37 w 537"/>
                <a:gd name="T43" fmla="*/ 621 h 639"/>
                <a:gd name="T44" fmla="*/ 99 w 537"/>
                <a:gd name="T45" fmla="*/ 475 h 639"/>
                <a:gd name="T46" fmla="*/ 14 w 537"/>
                <a:gd name="T47" fmla="*/ 288 h 639"/>
                <a:gd name="T48" fmla="*/ 89 w 537"/>
                <a:gd name="T49" fmla="*/ 119 h 639"/>
                <a:gd name="T50" fmla="*/ 417 w 537"/>
                <a:gd name="T51" fmla="*/ 444 h 639"/>
                <a:gd name="T52" fmla="*/ 417 w 537"/>
                <a:gd name="T53" fmla="*/ 454 h 639"/>
                <a:gd name="T54" fmla="*/ 290 w 537"/>
                <a:gd name="T55" fmla="*/ 128 h 639"/>
                <a:gd name="T56" fmla="*/ 417 w 537"/>
                <a:gd name="T57" fmla="*/ 241 h 639"/>
                <a:gd name="T58" fmla="*/ 403 w 537"/>
                <a:gd name="T59" fmla="*/ 241 h 639"/>
                <a:gd name="T60" fmla="*/ 537 w 537"/>
                <a:gd name="T61" fmla="*/ 241 h 639"/>
                <a:gd name="T62" fmla="*/ 523 w 537"/>
                <a:gd name="T63" fmla="*/ 241 h 639"/>
                <a:gd name="T64" fmla="*/ 290 w 537"/>
                <a:gd name="T65" fmla="*/ 7 h 639"/>
                <a:gd name="T66" fmla="*/ 537 w 537"/>
                <a:gd name="T67" fmla="*/ 241 h 639"/>
                <a:gd name="T68" fmla="*/ 470 w 537"/>
                <a:gd name="T69" fmla="*/ 248 h 639"/>
                <a:gd name="T70" fmla="*/ 297 w 537"/>
                <a:gd name="T71" fmla="*/ 74 h 639"/>
                <a:gd name="T72" fmla="*/ 297 w 537"/>
                <a:gd name="T73" fmla="*/ 60 h 6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37" h="639">
                  <a:moveTo>
                    <a:pt x="272" y="280"/>
                  </a:moveTo>
                  <a:cubicBezTo>
                    <a:pt x="295" y="256"/>
                    <a:pt x="295" y="256"/>
                    <a:pt x="295" y="256"/>
                  </a:cubicBezTo>
                  <a:cubicBezTo>
                    <a:pt x="301" y="260"/>
                    <a:pt x="307" y="262"/>
                    <a:pt x="313" y="262"/>
                  </a:cubicBezTo>
                  <a:cubicBezTo>
                    <a:pt x="332" y="262"/>
                    <a:pt x="347" y="247"/>
                    <a:pt x="347" y="228"/>
                  </a:cubicBezTo>
                  <a:cubicBezTo>
                    <a:pt x="347" y="210"/>
                    <a:pt x="332" y="195"/>
                    <a:pt x="313" y="195"/>
                  </a:cubicBezTo>
                  <a:cubicBezTo>
                    <a:pt x="295" y="195"/>
                    <a:pt x="280" y="210"/>
                    <a:pt x="280" y="228"/>
                  </a:cubicBezTo>
                  <a:cubicBezTo>
                    <a:pt x="280" y="235"/>
                    <a:pt x="282" y="241"/>
                    <a:pt x="285" y="247"/>
                  </a:cubicBezTo>
                  <a:cubicBezTo>
                    <a:pt x="262" y="270"/>
                    <a:pt x="262" y="270"/>
                    <a:pt x="262" y="270"/>
                  </a:cubicBezTo>
                  <a:cubicBezTo>
                    <a:pt x="104" y="111"/>
                    <a:pt x="104" y="111"/>
                    <a:pt x="104" y="111"/>
                  </a:cubicBezTo>
                  <a:cubicBezTo>
                    <a:pt x="100" y="107"/>
                    <a:pt x="94" y="105"/>
                    <a:pt x="89" y="105"/>
                  </a:cubicBezTo>
                  <a:cubicBezTo>
                    <a:pt x="83" y="105"/>
                    <a:pt x="77" y="107"/>
                    <a:pt x="73" y="111"/>
                  </a:cubicBezTo>
                  <a:cubicBezTo>
                    <a:pt x="26" y="158"/>
                    <a:pt x="0" y="221"/>
                    <a:pt x="0" y="288"/>
                  </a:cubicBezTo>
                  <a:cubicBezTo>
                    <a:pt x="0" y="359"/>
                    <a:pt x="31" y="427"/>
                    <a:pt x="84" y="474"/>
                  </a:cubicBezTo>
                  <a:cubicBezTo>
                    <a:pt x="24" y="608"/>
                    <a:pt x="24" y="608"/>
                    <a:pt x="24" y="608"/>
                  </a:cubicBezTo>
                  <a:cubicBezTo>
                    <a:pt x="21" y="615"/>
                    <a:pt x="21" y="623"/>
                    <a:pt x="25" y="629"/>
                  </a:cubicBezTo>
                  <a:cubicBezTo>
                    <a:pt x="29" y="635"/>
                    <a:pt x="36" y="639"/>
                    <a:pt x="43" y="639"/>
                  </a:cubicBezTo>
                  <a:cubicBezTo>
                    <a:pt x="340" y="639"/>
                    <a:pt x="340" y="639"/>
                    <a:pt x="340" y="639"/>
                  </a:cubicBezTo>
                  <a:cubicBezTo>
                    <a:pt x="352" y="639"/>
                    <a:pt x="361" y="629"/>
                    <a:pt x="361" y="617"/>
                  </a:cubicBezTo>
                  <a:cubicBezTo>
                    <a:pt x="361" y="613"/>
                    <a:pt x="360" y="609"/>
                    <a:pt x="358" y="606"/>
                  </a:cubicBezTo>
                  <a:cubicBezTo>
                    <a:pt x="323" y="527"/>
                    <a:pt x="323" y="527"/>
                    <a:pt x="323" y="527"/>
                  </a:cubicBezTo>
                  <a:cubicBezTo>
                    <a:pt x="362" y="515"/>
                    <a:pt x="397" y="493"/>
                    <a:pt x="426" y="464"/>
                  </a:cubicBezTo>
                  <a:cubicBezTo>
                    <a:pt x="430" y="460"/>
                    <a:pt x="433" y="455"/>
                    <a:pt x="433" y="449"/>
                  </a:cubicBezTo>
                  <a:cubicBezTo>
                    <a:pt x="433" y="443"/>
                    <a:pt x="430" y="438"/>
                    <a:pt x="426" y="434"/>
                  </a:cubicBezTo>
                  <a:lnTo>
                    <a:pt x="272" y="280"/>
                  </a:lnTo>
                  <a:close/>
                  <a:moveTo>
                    <a:pt x="294" y="228"/>
                  </a:moveTo>
                  <a:cubicBezTo>
                    <a:pt x="294" y="218"/>
                    <a:pt x="303" y="209"/>
                    <a:pt x="313" y="209"/>
                  </a:cubicBezTo>
                  <a:cubicBezTo>
                    <a:pt x="324" y="209"/>
                    <a:pt x="333" y="218"/>
                    <a:pt x="333" y="228"/>
                  </a:cubicBezTo>
                  <a:cubicBezTo>
                    <a:pt x="333" y="239"/>
                    <a:pt x="324" y="248"/>
                    <a:pt x="313" y="248"/>
                  </a:cubicBezTo>
                  <a:cubicBezTo>
                    <a:pt x="311" y="248"/>
                    <a:pt x="308" y="247"/>
                    <a:pt x="306" y="246"/>
                  </a:cubicBezTo>
                  <a:cubicBezTo>
                    <a:pt x="318" y="233"/>
                    <a:pt x="318" y="233"/>
                    <a:pt x="318" y="233"/>
                  </a:cubicBezTo>
                  <a:cubicBezTo>
                    <a:pt x="321" y="231"/>
                    <a:pt x="321" y="226"/>
                    <a:pt x="318" y="223"/>
                  </a:cubicBezTo>
                  <a:cubicBezTo>
                    <a:pt x="316" y="221"/>
                    <a:pt x="311" y="221"/>
                    <a:pt x="308" y="223"/>
                  </a:cubicBezTo>
                  <a:cubicBezTo>
                    <a:pt x="296" y="236"/>
                    <a:pt x="296" y="236"/>
                    <a:pt x="296" y="236"/>
                  </a:cubicBezTo>
                  <a:cubicBezTo>
                    <a:pt x="295" y="234"/>
                    <a:pt x="294" y="231"/>
                    <a:pt x="294" y="228"/>
                  </a:cubicBezTo>
                  <a:close/>
                  <a:moveTo>
                    <a:pt x="417" y="454"/>
                  </a:moveTo>
                  <a:cubicBezTo>
                    <a:pt x="387" y="484"/>
                    <a:pt x="351" y="505"/>
                    <a:pt x="311" y="515"/>
                  </a:cubicBezTo>
                  <a:cubicBezTo>
                    <a:pt x="309" y="516"/>
                    <a:pt x="308" y="517"/>
                    <a:pt x="307" y="519"/>
                  </a:cubicBezTo>
                  <a:cubicBezTo>
                    <a:pt x="306" y="521"/>
                    <a:pt x="306" y="523"/>
                    <a:pt x="307" y="525"/>
                  </a:cubicBezTo>
                  <a:cubicBezTo>
                    <a:pt x="346" y="612"/>
                    <a:pt x="346" y="612"/>
                    <a:pt x="346" y="612"/>
                  </a:cubicBezTo>
                  <a:cubicBezTo>
                    <a:pt x="346" y="612"/>
                    <a:pt x="346" y="613"/>
                    <a:pt x="346" y="613"/>
                  </a:cubicBezTo>
                  <a:cubicBezTo>
                    <a:pt x="347" y="614"/>
                    <a:pt x="347" y="616"/>
                    <a:pt x="347" y="617"/>
                  </a:cubicBezTo>
                  <a:cubicBezTo>
                    <a:pt x="347" y="621"/>
                    <a:pt x="344" y="625"/>
                    <a:pt x="340" y="625"/>
                  </a:cubicBezTo>
                  <a:cubicBezTo>
                    <a:pt x="43" y="625"/>
                    <a:pt x="43" y="625"/>
                    <a:pt x="43" y="625"/>
                  </a:cubicBezTo>
                  <a:cubicBezTo>
                    <a:pt x="41" y="625"/>
                    <a:pt x="38" y="623"/>
                    <a:pt x="37" y="621"/>
                  </a:cubicBezTo>
                  <a:cubicBezTo>
                    <a:pt x="36" y="619"/>
                    <a:pt x="35" y="616"/>
                    <a:pt x="37" y="614"/>
                  </a:cubicBezTo>
                  <a:cubicBezTo>
                    <a:pt x="99" y="475"/>
                    <a:pt x="99" y="475"/>
                    <a:pt x="99" y="475"/>
                  </a:cubicBezTo>
                  <a:cubicBezTo>
                    <a:pt x="100" y="472"/>
                    <a:pt x="99" y="469"/>
                    <a:pt x="97" y="467"/>
                  </a:cubicBezTo>
                  <a:cubicBezTo>
                    <a:pt x="45" y="422"/>
                    <a:pt x="14" y="357"/>
                    <a:pt x="14" y="288"/>
                  </a:cubicBezTo>
                  <a:cubicBezTo>
                    <a:pt x="14" y="225"/>
                    <a:pt x="39" y="166"/>
                    <a:pt x="83" y="121"/>
                  </a:cubicBezTo>
                  <a:cubicBezTo>
                    <a:pt x="85" y="120"/>
                    <a:pt x="87" y="119"/>
                    <a:pt x="89" y="119"/>
                  </a:cubicBezTo>
                  <a:cubicBezTo>
                    <a:pt x="91" y="119"/>
                    <a:pt x="93" y="120"/>
                    <a:pt x="94" y="121"/>
                  </a:cubicBezTo>
                  <a:cubicBezTo>
                    <a:pt x="417" y="444"/>
                    <a:pt x="417" y="444"/>
                    <a:pt x="417" y="444"/>
                  </a:cubicBezTo>
                  <a:cubicBezTo>
                    <a:pt x="418" y="445"/>
                    <a:pt x="419" y="447"/>
                    <a:pt x="419" y="449"/>
                  </a:cubicBezTo>
                  <a:cubicBezTo>
                    <a:pt x="419" y="451"/>
                    <a:pt x="418" y="453"/>
                    <a:pt x="417" y="454"/>
                  </a:cubicBezTo>
                  <a:close/>
                  <a:moveTo>
                    <a:pt x="297" y="135"/>
                  </a:moveTo>
                  <a:cubicBezTo>
                    <a:pt x="293" y="135"/>
                    <a:pt x="290" y="132"/>
                    <a:pt x="290" y="128"/>
                  </a:cubicBezTo>
                  <a:cubicBezTo>
                    <a:pt x="290" y="124"/>
                    <a:pt x="293" y="121"/>
                    <a:pt x="297" y="121"/>
                  </a:cubicBezTo>
                  <a:cubicBezTo>
                    <a:pt x="363" y="121"/>
                    <a:pt x="417" y="174"/>
                    <a:pt x="417" y="241"/>
                  </a:cubicBezTo>
                  <a:cubicBezTo>
                    <a:pt x="417" y="244"/>
                    <a:pt x="414" y="248"/>
                    <a:pt x="410" y="248"/>
                  </a:cubicBezTo>
                  <a:cubicBezTo>
                    <a:pt x="406" y="248"/>
                    <a:pt x="403" y="244"/>
                    <a:pt x="403" y="241"/>
                  </a:cubicBezTo>
                  <a:cubicBezTo>
                    <a:pt x="403" y="182"/>
                    <a:pt x="356" y="135"/>
                    <a:pt x="297" y="135"/>
                  </a:cubicBezTo>
                  <a:close/>
                  <a:moveTo>
                    <a:pt x="537" y="241"/>
                  </a:moveTo>
                  <a:cubicBezTo>
                    <a:pt x="537" y="244"/>
                    <a:pt x="534" y="248"/>
                    <a:pt x="530" y="248"/>
                  </a:cubicBezTo>
                  <a:cubicBezTo>
                    <a:pt x="527" y="248"/>
                    <a:pt x="523" y="244"/>
                    <a:pt x="523" y="241"/>
                  </a:cubicBezTo>
                  <a:cubicBezTo>
                    <a:pt x="523" y="116"/>
                    <a:pt x="422" y="14"/>
                    <a:pt x="297" y="14"/>
                  </a:cubicBezTo>
                  <a:cubicBezTo>
                    <a:pt x="293" y="14"/>
                    <a:pt x="290" y="11"/>
                    <a:pt x="290" y="7"/>
                  </a:cubicBezTo>
                  <a:cubicBezTo>
                    <a:pt x="290" y="3"/>
                    <a:pt x="293" y="0"/>
                    <a:pt x="297" y="0"/>
                  </a:cubicBezTo>
                  <a:cubicBezTo>
                    <a:pt x="430" y="0"/>
                    <a:pt x="537" y="108"/>
                    <a:pt x="537" y="241"/>
                  </a:cubicBezTo>
                  <a:close/>
                  <a:moveTo>
                    <a:pt x="477" y="241"/>
                  </a:moveTo>
                  <a:cubicBezTo>
                    <a:pt x="477" y="244"/>
                    <a:pt x="474" y="248"/>
                    <a:pt x="470" y="248"/>
                  </a:cubicBezTo>
                  <a:cubicBezTo>
                    <a:pt x="466" y="248"/>
                    <a:pt x="463" y="244"/>
                    <a:pt x="463" y="241"/>
                  </a:cubicBezTo>
                  <a:cubicBezTo>
                    <a:pt x="463" y="149"/>
                    <a:pt x="389" y="74"/>
                    <a:pt x="297" y="74"/>
                  </a:cubicBezTo>
                  <a:cubicBezTo>
                    <a:pt x="293" y="74"/>
                    <a:pt x="290" y="71"/>
                    <a:pt x="290" y="67"/>
                  </a:cubicBezTo>
                  <a:cubicBezTo>
                    <a:pt x="290" y="64"/>
                    <a:pt x="293" y="60"/>
                    <a:pt x="297" y="60"/>
                  </a:cubicBezTo>
                  <a:cubicBezTo>
                    <a:pt x="396" y="60"/>
                    <a:pt x="477" y="141"/>
                    <a:pt x="477" y="241"/>
                  </a:cubicBez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endParaRPr lang="en-US" sz="1836"/>
            </a:p>
          </p:txBody>
        </p:sp>
      </p:grpSp>
      <p:grpSp>
        <p:nvGrpSpPr>
          <p:cNvPr id="9264" name="Group 9263"/>
          <p:cNvGrpSpPr/>
          <p:nvPr/>
        </p:nvGrpSpPr>
        <p:grpSpPr>
          <a:xfrm>
            <a:off x="4831649" y="3120088"/>
            <a:ext cx="1119124" cy="1119124"/>
            <a:chOff x="9764713" y="2476500"/>
            <a:chExt cx="949325" cy="949325"/>
          </a:xfrm>
        </p:grpSpPr>
        <p:sp>
          <p:nvSpPr>
            <p:cNvPr id="17" name="Oval 10"/>
            <p:cNvSpPr>
              <a:spLocks noChangeArrowheads="1"/>
            </p:cNvSpPr>
            <p:nvPr/>
          </p:nvSpPr>
          <p:spPr bwMode="auto">
            <a:xfrm>
              <a:off x="9764713" y="2476500"/>
              <a:ext cx="949325" cy="949325"/>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9249" name="Freeform 26"/>
            <p:cNvSpPr>
              <a:spLocks noEditPoints="1"/>
            </p:cNvSpPr>
            <p:nvPr/>
          </p:nvSpPr>
          <p:spPr bwMode="auto">
            <a:xfrm>
              <a:off x="10052050" y="2660650"/>
              <a:ext cx="374650" cy="581025"/>
            </a:xfrm>
            <a:custGeom>
              <a:avLst/>
              <a:gdLst>
                <a:gd name="T0" fmla="*/ 110 w 419"/>
                <a:gd name="T1" fmla="*/ 651 h 651"/>
                <a:gd name="T2" fmla="*/ 0 w 419"/>
                <a:gd name="T3" fmla="*/ 538 h 651"/>
                <a:gd name="T4" fmla="*/ 7 w 419"/>
                <a:gd name="T5" fmla="*/ 531 h 651"/>
                <a:gd name="T6" fmla="*/ 14 w 419"/>
                <a:gd name="T7" fmla="*/ 538 h 651"/>
                <a:gd name="T8" fmla="*/ 110 w 419"/>
                <a:gd name="T9" fmla="*/ 637 h 651"/>
                <a:gd name="T10" fmla="*/ 243 w 419"/>
                <a:gd name="T11" fmla="*/ 519 h 651"/>
                <a:gd name="T12" fmla="*/ 307 w 419"/>
                <a:gd name="T13" fmla="*/ 429 h 651"/>
                <a:gd name="T14" fmla="*/ 405 w 419"/>
                <a:gd name="T15" fmla="*/ 226 h 651"/>
                <a:gd name="T16" fmla="*/ 216 w 419"/>
                <a:gd name="T17" fmla="*/ 14 h 651"/>
                <a:gd name="T18" fmla="*/ 48 w 419"/>
                <a:gd name="T19" fmla="*/ 173 h 651"/>
                <a:gd name="T20" fmla="*/ 41 w 419"/>
                <a:gd name="T21" fmla="*/ 180 h 651"/>
                <a:gd name="T22" fmla="*/ 34 w 419"/>
                <a:gd name="T23" fmla="*/ 173 h 651"/>
                <a:gd name="T24" fmla="*/ 216 w 419"/>
                <a:gd name="T25" fmla="*/ 0 h 651"/>
                <a:gd name="T26" fmla="*/ 350 w 419"/>
                <a:gd name="T27" fmla="*/ 52 h 651"/>
                <a:gd name="T28" fmla="*/ 419 w 419"/>
                <a:gd name="T29" fmla="*/ 226 h 651"/>
                <a:gd name="T30" fmla="*/ 318 w 419"/>
                <a:gd name="T31" fmla="*/ 438 h 651"/>
                <a:gd name="T32" fmla="*/ 256 w 419"/>
                <a:gd name="T33" fmla="*/ 523 h 651"/>
                <a:gd name="T34" fmla="*/ 110 w 419"/>
                <a:gd name="T35" fmla="*/ 651 h 651"/>
                <a:gd name="T36" fmla="*/ 99 w 419"/>
                <a:gd name="T37" fmla="*/ 414 h 651"/>
                <a:gd name="T38" fmla="*/ 131 w 419"/>
                <a:gd name="T39" fmla="*/ 402 h 651"/>
                <a:gd name="T40" fmla="*/ 165 w 419"/>
                <a:gd name="T41" fmla="*/ 350 h 651"/>
                <a:gd name="T42" fmla="*/ 148 w 419"/>
                <a:gd name="T43" fmla="*/ 306 h 651"/>
                <a:gd name="T44" fmla="*/ 135 w 419"/>
                <a:gd name="T45" fmla="*/ 274 h 651"/>
                <a:gd name="T46" fmla="*/ 233 w 419"/>
                <a:gd name="T47" fmla="*/ 111 h 651"/>
                <a:gd name="T48" fmla="*/ 314 w 419"/>
                <a:gd name="T49" fmla="*/ 192 h 651"/>
                <a:gd name="T50" fmla="*/ 322 w 419"/>
                <a:gd name="T51" fmla="*/ 198 h 651"/>
                <a:gd name="T52" fmla="*/ 328 w 419"/>
                <a:gd name="T53" fmla="*/ 191 h 651"/>
                <a:gd name="T54" fmla="*/ 233 w 419"/>
                <a:gd name="T55" fmla="*/ 97 h 651"/>
                <a:gd name="T56" fmla="*/ 121 w 419"/>
                <a:gd name="T57" fmla="*/ 274 h 651"/>
                <a:gd name="T58" fmla="*/ 138 w 419"/>
                <a:gd name="T59" fmla="*/ 317 h 651"/>
                <a:gd name="T60" fmla="*/ 151 w 419"/>
                <a:gd name="T61" fmla="*/ 350 h 651"/>
                <a:gd name="T62" fmla="*/ 97 w 419"/>
                <a:gd name="T63" fmla="*/ 400 h 651"/>
                <a:gd name="T64" fmla="*/ 91 w 419"/>
                <a:gd name="T65" fmla="*/ 408 h 651"/>
                <a:gd name="T66" fmla="*/ 98 w 419"/>
                <a:gd name="T67" fmla="*/ 414 h 651"/>
                <a:gd name="T68" fmla="*/ 99 w 419"/>
                <a:gd name="T69" fmla="*/ 414 h 6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19" h="651">
                  <a:moveTo>
                    <a:pt x="110" y="651"/>
                  </a:moveTo>
                  <a:cubicBezTo>
                    <a:pt x="52" y="651"/>
                    <a:pt x="0" y="574"/>
                    <a:pt x="0" y="538"/>
                  </a:cubicBezTo>
                  <a:cubicBezTo>
                    <a:pt x="0" y="534"/>
                    <a:pt x="4" y="531"/>
                    <a:pt x="7" y="531"/>
                  </a:cubicBezTo>
                  <a:cubicBezTo>
                    <a:pt x="11" y="531"/>
                    <a:pt x="14" y="534"/>
                    <a:pt x="14" y="538"/>
                  </a:cubicBezTo>
                  <a:cubicBezTo>
                    <a:pt x="14" y="569"/>
                    <a:pt x="63" y="637"/>
                    <a:pt x="110" y="637"/>
                  </a:cubicBezTo>
                  <a:cubicBezTo>
                    <a:pt x="168" y="637"/>
                    <a:pt x="217" y="593"/>
                    <a:pt x="243" y="519"/>
                  </a:cubicBezTo>
                  <a:cubicBezTo>
                    <a:pt x="254" y="486"/>
                    <a:pt x="280" y="458"/>
                    <a:pt x="307" y="429"/>
                  </a:cubicBezTo>
                  <a:cubicBezTo>
                    <a:pt x="353" y="379"/>
                    <a:pt x="405" y="324"/>
                    <a:pt x="405" y="226"/>
                  </a:cubicBezTo>
                  <a:cubicBezTo>
                    <a:pt x="405" y="58"/>
                    <a:pt x="282" y="14"/>
                    <a:pt x="216" y="14"/>
                  </a:cubicBezTo>
                  <a:cubicBezTo>
                    <a:pt x="134" y="14"/>
                    <a:pt x="48" y="96"/>
                    <a:pt x="48" y="173"/>
                  </a:cubicBezTo>
                  <a:cubicBezTo>
                    <a:pt x="48" y="177"/>
                    <a:pt x="45" y="180"/>
                    <a:pt x="41" y="180"/>
                  </a:cubicBezTo>
                  <a:cubicBezTo>
                    <a:pt x="37" y="180"/>
                    <a:pt x="34" y="177"/>
                    <a:pt x="34" y="173"/>
                  </a:cubicBezTo>
                  <a:cubicBezTo>
                    <a:pt x="34" y="89"/>
                    <a:pt x="128" y="0"/>
                    <a:pt x="216" y="0"/>
                  </a:cubicBezTo>
                  <a:cubicBezTo>
                    <a:pt x="265" y="0"/>
                    <a:pt x="314" y="19"/>
                    <a:pt x="350" y="52"/>
                  </a:cubicBezTo>
                  <a:cubicBezTo>
                    <a:pt x="381" y="80"/>
                    <a:pt x="419" y="133"/>
                    <a:pt x="419" y="226"/>
                  </a:cubicBezTo>
                  <a:cubicBezTo>
                    <a:pt x="419" y="329"/>
                    <a:pt x="365" y="387"/>
                    <a:pt x="318" y="438"/>
                  </a:cubicBezTo>
                  <a:cubicBezTo>
                    <a:pt x="291" y="466"/>
                    <a:pt x="267" y="493"/>
                    <a:pt x="256" y="523"/>
                  </a:cubicBezTo>
                  <a:cubicBezTo>
                    <a:pt x="229" y="603"/>
                    <a:pt x="174" y="651"/>
                    <a:pt x="110" y="651"/>
                  </a:cubicBezTo>
                  <a:close/>
                  <a:moveTo>
                    <a:pt x="99" y="414"/>
                  </a:moveTo>
                  <a:cubicBezTo>
                    <a:pt x="100" y="414"/>
                    <a:pt x="116" y="411"/>
                    <a:pt x="131" y="402"/>
                  </a:cubicBezTo>
                  <a:cubicBezTo>
                    <a:pt x="153" y="390"/>
                    <a:pt x="165" y="372"/>
                    <a:pt x="165" y="350"/>
                  </a:cubicBezTo>
                  <a:cubicBezTo>
                    <a:pt x="165" y="323"/>
                    <a:pt x="156" y="314"/>
                    <a:pt x="148" y="306"/>
                  </a:cubicBezTo>
                  <a:cubicBezTo>
                    <a:pt x="141" y="300"/>
                    <a:pt x="135" y="294"/>
                    <a:pt x="135" y="274"/>
                  </a:cubicBezTo>
                  <a:cubicBezTo>
                    <a:pt x="135" y="145"/>
                    <a:pt x="199" y="111"/>
                    <a:pt x="233" y="111"/>
                  </a:cubicBezTo>
                  <a:cubicBezTo>
                    <a:pt x="266" y="111"/>
                    <a:pt x="307" y="125"/>
                    <a:pt x="314" y="192"/>
                  </a:cubicBezTo>
                  <a:cubicBezTo>
                    <a:pt x="315" y="196"/>
                    <a:pt x="318" y="199"/>
                    <a:pt x="322" y="198"/>
                  </a:cubicBezTo>
                  <a:cubicBezTo>
                    <a:pt x="326" y="198"/>
                    <a:pt x="329" y="195"/>
                    <a:pt x="328" y="191"/>
                  </a:cubicBezTo>
                  <a:cubicBezTo>
                    <a:pt x="320" y="109"/>
                    <a:pt x="265" y="97"/>
                    <a:pt x="233" y="97"/>
                  </a:cubicBezTo>
                  <a:cubicBezTo>
                    <a:pt x="195" y="97"/>
                    <a:pt x="121" y="134"/>
                    <a:pt x="121" y="274"/>
                  </a:cubicBezTo>
                  <a:cubicBezTo>
                    <a:pt x="121" y="300"/>
                    <a:pt x="130" y="309"/>
                    <a:pt x="138" y="317"/>
                  </a:cubicBezTo>
                  <a:cubicBezTo>
                    <a:pt x="145" y="323"/>
                    <a:pt x="151" y="329"/>
                    <a:pt x="151" y="350"/>
                  </a:cubicBezTo>
                  <a:cubicBezTo>
                    <a:pt x="151" y="391"/>
                    <a:pt x="99" y="399"/>
                    <a:pt x="97" y="400"/>
                  </a:cubicBezTo>
                  <a:cubicBezTo>
                    <a:pt x="93" y="400"/>
                    <a:pt x="91" y="404"/>
                    <a:pt x="91" y="408"/>
                  </a:cubicBezTo>
                  <a:cubicBezTo>
                    <a:pt x="92" y="411"/>
                    <a:pt x="95" y="414"/>
                    <a:pt x="98" y="414"/>
                  </a:cubicBezTo>
                  <a:cubicBezTo>
                    <a:pt x="99" y="414"/>
                    <a:pt x="99" y="414"/>
                    <a:pt x="99" y="414"/>
                  </a:cubicBez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endParaRPr lang="en-US" sz="1836"/>
            </a:p>
          </p:txBody>
        </p:sp>
      </p:grpSp>
      <p:grpSp>
        <p:nvGrpSpPr>
          <p:cNvPr id="9266" name="Group 9265"/>
          <p:cNvGrpSpPr/>
          <p:nvPr/>
        </p:nvGrpSpPr>
        <p:grpSpPr>
          <a:xfrm>
            <a:off x="6589621" y="3120088"/>
            <a:ext cx="1119124" cy="1119124"/>
            <a:chOff x="1477963" y="3649663"/>
            <a:chExt cx="949325" cy="950913"/>
          </a:xfrm>
        </p:grpSpPr>
        <p:sp>
          <p:nvSpPr>
            <p:cNvPr id="23" name="Oval 16"/>
            <p:cNvSpPr>
              <a:spLocks noChangeArrowheads="1"/>
            </p:cNvSpPr>
            <p:nvPr/>
          </p:nvSpPr>
          <p:spPr bwMode="auto">
            <a:xfrm>
              <a:off x="1477963" y="3649663"/>
              <a:ext cx="949325" cy="950913"/>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9250" name="Freeform 27"/>
            <p:cNvSpPr>
              <a:spLocks noEditPoints="1"/>
            </p:cNvSpPr>
            <p:nvPr/>
          </p:nvSpPr>
          <p:spPr bwMode="auto">
            <a:xfrm>
              <a:off x="1665288" y="3836988"/>
              <a:ext cx="573088" cy="576263"/>
            </a:xfrm>
            <a:custGeom>
              <a:avLst/>
              <a:gdLst>
                <a:gd name="T0" fmla="*/ 212 w 642"/>
                <a:gd name="T1" fmla="*/ 376 h 645"/>
                <a:gd name="T2" fmla="*/ 305 w 642"/>
                <a:gd name="T3" fmla="*/ 229 h 645"/>
                <a:gd name="T4" fmla="*/ 219 w 642"/>
                <a:gd name="T5" fmla="*/ 236 h 645"/>
                <a:gd name="T6" fmla="*/ 319 w 642"/>
                <a:gd name="T7" fmla="*/ 229 h 645"/>
                <a:gd name="T8" fmla="*/ 226 w 642"/>
                <a:gd name="T9" fmla="*/ 369 h 645"/>
                <a:gd name="T10" fmla="*/ 312 w 642"/>
                <a:gd name="T11" fmla="*/ 383 h 645"/>
                <a:gd name="T12" fmla="*/ 438 w 642"/>
                <a:gd name="T13" fmla="*/ 324 h 645"/>
                <a:gd name="T14" fmla="*/ 418 w 642"/>
                <a:gd name="T15" fmla="*/ 310 h 645"/>
                <a:gd name="T16" fmla="*/ 405 w 642"/>
                <a:gd name="T17" fmla="*/ 181 h 645"/>
                <a:gd name="T18" fmla="*/ 329 w 642"/>
                <a:gd name="T19" fmla="*/ 324 h 645"/>
                <a:gd name="T20" fmla="*/ 411 w 642"/>
                <a:gd name="T21" fmla="*/ 383 h 645"/>
                <a:gd name="T22" fmla="*/ 404 w 642"/>
                <a:gd name="T23" fmla="*/ 310 h 645"/>
                <a:gd name="T24" fmla="*/ 326 w 642"/>
                <a:gd name="T25" fmla="*/ 55 h 645"/>
                <a:gd name="T26" fmla="*/ 312 w 642"/>
                <a:gd name="T27" fmla="*/ 7 h 645"/>
                <a:gd name="T28" fmla="*/ 326 w 642"/>
                <a:gd name="T29" fmla="*/ 55 h 645"/>
                <a:gd name="T30" fmla="*/ 587 w 642"/>
                <a:gd name="T31" fmla="*/ 316 h 645"/>
                <a:gd name="T32" fmla="*/ 635 w 642"/>
                <a:gd name="T33" fmla="*/ 330 h 645"/>
                <a:gd name="T34" fmla="*/ 596 w 642"/>
                <a:gd name="T35" fmla="*/ 171 h 645"/>
                <a:gd name="T36" fmla="*/ 547 w 642"/>
                <a:gd name="T37" fmla="*/ 183 h 645"/>
                <a:gd name="T38" fmla="*/ 554 w 642"/>
                <a:gd name="T39" fmla="*/ 195 h 645"/>
                <a:gd name="T40" fmla="*/ 481 w 642"/>
                <a:gd name="T41" fmla="*/ 43 h 645"/>
                <a:gd name="T42" fmla="*/ 449 w 642"/>
                <a:gd name="T43" fmla="*/ 97 h 645"/>
                <a:gd name="T44" fmla="*/ 599 w 642"/>
                <a:gd name="T45" fmla="*/ 484 h 645"/>
                <a:gd name="T46" fmla="*/ 545 w 642"/>
                <a:gd name="T47" fmla="*/ 453 h 645"/>
                <a:gd name="T48" fmla="*/ 593 w 642"/>
                <a:gd name="T49" fmla="*/ 488 h 645"/>
                <a:gd name="T50" fmla="*/ 91 w 642"/>
                <a:gd name="T51" fmla="*/ 183 h 645"/>
                <a:gd name="T52" fmla="*/ 42 w 642"/>
                <a:gd name="T53" fmla="*/ 171 h 645"/>
                <a:gd name="T54" fmla="*/ 94 w 642"/>
                <a:gd name="T55" fmla="*/ 192 h 645"/>
                <a:gd name="T56" fmla="*/ 459 w 642"/>
                <a:gd name="T57" fmla="*/ 551 h 645"/>
                <a:gd name="T58" fmla="*/ 471 w 642"/>
                <a:gd name="T59" fmla="*/ 600 h 645"/>
                <a:gd name="T60" fmla="*/ 189 w 642"/>
                <a:gd name="T61" fmla="*/ 97 h 645"/>
                <a:gd name="T62" fmla="*/ 158 w 642"/>
                <a:gd name="T63" fmla="*/ 43 h 645"/>
                <a:gd name="T64" fmla="*/ 185 w 642"/>
                <a:gd name="T65" fmla="*/ 98 h 645"/>
                <a:gd name="T66" fmla="*/ 366 w 642"/>
                <a:gd name="T67" fmla="*/ 575 h 645"/>
                <a:gd name="T68" fmla="*/ 238 w 642"/>
                <a:gd name="T69" fmla="*/ 528 h 645"/>
                <a:gd name="T70" fmla="*/ 105 w 642"/>
                <a:gd name="T71" fmla="*/ 449 h 645"/>
                <a:gd name="T72" fmla="*/ 117 w 642"/>
                <a:gd name="T73" fmla="*/ 334 h 645"/>
                <a:gd name="T74" fmla="*/ 4 w 642"/>
                <a:gd name="T75" fmla="*/ 358 h 645"/>
                <a:gd name="T76" fmla="*/ 300 w 642"/>
                <a:gd name="T77" fmla="*/ 645 h 645"/>
                <a:gd name="T78" fmla="*/ 69 w 642"/>
                <a:gd name="T79" fmla="*/ 301 h 645"/>
                <a:gd name="T80" fmla="*/ 91 w 642"/>
                <a:gd name="T81" fmla="*/ 444 h 645"/>
                <a:gd name="T82" fmla="*/ 210 w 642"/>
                <a:gd name="T83" fmla="*/ 563 h 645"/>
                <a:gd name="T84" fmla="*/ 353 w 642"/>
                <a:gd name="T85" fmla="*/ 582 h 645"/>
                <a:gd name="T86" fmla="*/ 15 w 642"/>
                <a:gd name="T87" fmla="*/ 377 h 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42" h="645">
                  <a:moveTo>
                    <a:pt x="312" y="383"/>
                  </a:moveTo>
                  <a:cubicBezTo>
                    <a:pt x="219" y="383"/>
                    <a:pt x="219" y="383"/>
                    <a:pt x="219" y="383"/>
                  </a:cubicBezTo>
                  <a:cubicBezTo>
                    <a:pt x="215" y="383"/>
                    <a:pt x="212" y="380"/>
                    <a:pt x="212" y="376"/>
                  </a:cubicBezTo>
                  <a:cubicBezTo>
                    <a:pt x="212" y="328"/>
                    <a:pt x="230" y="309"/>
                    <a:pt x="257" y="287"/>
                  </a:cubicBezTo>
                  <a:cubicBezTo>
                    <a:pt x="260" y="284"/>
                    <a:pt x="263" y="282"/>
                    <a:pt x="267" y="279"/>
                  </a:cubicBezTo>
                  <a:cubicBezTo>
                    <a:pt x="283" y="268"/>
                    <a:pt x="305" y="251"/>
                    <a:pt x="305" y="229"/>
                  </a:cubicBezTo>
                  <a:cubicBezTo>
                    <a:pt x="305" y="206"/>
                    <a:pt x="290" y="192"/>
                    <a:pt x="266" y="192"/>
                  </a:cubicBezTo>
                  <a:cubicBezTo>
                    <a:pt x="243" y="192"/>
                    <a:pt x="226" y="208"/>
                    <a:pt x="226" y="229"/>
                  </a:cubicBezTo>
                  <a:cubicBezTo>
                    <a:pt x="226" y="233"/>
                    <a:pt x="223" y="236"/>
                    <a:pt x="219" y="236"/>
                  </a:cubicBezTo>
                  <a:cubicBezTo>
                    <a:pt x="215" y="236"/>
                    <a:pt x="212" y="233"/>
                    <a:pt x="212" y="229"/>
                  </a:cubicBezTo>
                  <a:cubicBezTo>
                    <a:pt x="212" y="200"/>
                    <a:pt x="236" y="178"/>
                    <a:pt x="266" y="178"/>
                  </a:cubicBezTo>
                  <a:cubicBezTo>
                    <a:pt x="298" y="178"/>
                    <a:pt x="319" y="198"/>
                    <a:pt x="319" y="229"/>
                  </a:cubicBezTo>
                  <a:cubicBezTo>
                    <a:pt x="319" y="259"/>
                    <a:pt x="293" y="278"/>
                    <a:pt x="275" y="291"/>
                  </a:cubicBezTo>
                  <a:cubicBezTo>
                    <a:pt x="272" y="293"/>
                    <a:pt x="268" y="296"/>
                    <a:pt x="266" y="298"/>
                  </a:cubicBezTo>
                  <a:cubicBezTo>
                    <a:pt x="242" y="317"/>
                    <a:pt x="227" y="332"/>
                    <a:pt x="226" y="369"/>
                  </a:cubicBezTo>
                  <a:cubicBezTo>
                    <a:pt x="312" y="369"/>
                    <a:pt x="312" y="369"/>
                    <a:pt x="312" y="369"/>
                  </a:cubicBezTo>
                  <a:cubicBezTo>
                    <a:pt x="316" y="369"/>
                    <a:pt x="319" y="372"/>
                    <a:pt x="319" y="376"/>
                  </a:cubicBezTo>
                  <a:cubicBezTo>
                    <a:pt x="319" y="380"/>
                    <a:pt x="316" y="383"/>
                    <a:pt x="312" y="383"/>
                  </a:cubicBezTo>
                  <a:close/>
                  <a:moveTo>
                    <a:pt x="418" y="376"/>
                  </a:moveTo>
                  <a:cubicBezTo>
                    <a:pt x="418" y="324"/>
                    <a:pt x="418" y="324"/>
                    <a:pt x="418" y="324"/>
                  </a:cubicBezTo>
                  <a:cubicBezTo>
                    <a:pt x="438" y="324"/>
                    <a:pt x="438" y="324"/>
                    <a:pt x="438" y="324"/>
                  </a:cubicBezTo>
                  <a:cubicBezTo>
                    <a:pt x="442" y="324"/>
                    <a:pt x="445" y="321"/>
                    <a:pt x="445" y="317"/>
                  </a:cubicBezTo>
                  <a:cubicBezTo>
                    <a:pt x="445" y="313"/>
                    <a:pt x="442" y="310"/>
                    <a:pt x="438" y="310"/>
                  </a:cubicBezTo>
                  <a:cubicBezTo>
                    <a:pt x="418" y="310"/>
                    <a:pt x="418" y="310"/>
                    <a:pt x="418" y="310"/>
                  </a:cubicBezTo>
                  <a:cubicBezTo>
                    <a:pt x="418" y="185"/>
                    <a:pt x="418" y="185"/>
                    <a:pt x="418" y="185"/>
                  </a:cubicBezTo>
                  <a:cubicBezTo>
                    <a:pt x="418" y="182"/>
                    <a:pt x="416" y="179"/>
                    <a:pt x="413" y="178"/>
                  </a:cubicBezTo>
                  <a:cubicBezTo>
                    <a:pt x="410" y="177"/>
                    <a:pt x="407" y="178"/>
                    <a:pt x="405" y="181"/>
                  </a:cubicBezTo>
                  <a:cubicBezTo>
                    <a:pt x="323" y="313"/>
                    <a:pt x="323" y="313"/>
                    <a:pt x="323" y="313"/>
                  </a:cubicBezTo>
                  <a:cubicBezTo>
                    <a:pt x="322" y="315"/>
                    <a:pt x="322" y="318"/>
                    <a:pt x="323" y="320"/>
                  </a:cubicBezTo>
                  <a:cubicBezTo>
                    <a:pt x="324" y="323"/>
                    <a:pt x="327" y="324"/>
                    <a:pt x="329" y="324"/>
                  </a:cubicBezTo>
                  <a:cubicBezTo>
                    <a:pt x="404" y="324"/>
                    <a:pt x="404" y="324"/>
                    <a:pt x="404" y="324"/>
                  </a:cubicBezTo>
                  <a:cubicBezTo>
                    <a:pt x="404" y="376"/>
                    <a:pt x="404" y="376"/>
                    <a:pt x="404" y="376"/>
                  </a:cubicBezTo>
                  <a:cubicBezTo>
                    <a:pt x="404" y="380"/>
                    <a:pt x="408" y="383"/>
                    <a:pt x="411" y="383"/>
                  </a:cubicBezTo>
                  <a:cubicBezTo>
                    <a:pt x="415" y="383"/>
                    <a:pt x="418" y="380"/>
                    <a:pt x="418" y="376"/>
                  </a:cubicBezTo>
                  <a:close/>
                  <a:moveTo>
                    <a:pt x="404" y="209"/>
                  </a:moveTo>
                  <a:cubicBezTo>
                    <a:pt x="404" y="310"/>
                    <a:pt x="404" y="310"/>
                    <a:pt x="404" y="310"/>
                  </a:cubicBezTo>
                  <a:cubicBezTo>
                    <a:pt x="342" y="310"/>
                    <a:pt x="342" y="310"/>
                    <a:pt x="342" y="310"/>
                  </a:cubicBezTo>
                  <a:lnTo>
                    <a:pt x="404" y="209"/>
                  </a:lnTo>
                  <a:close/>
                  <a:moveTo>
                    <a:pt x="326" y="55"/>
                  </a:moveTo>
                  <a:cubicBezTo>
                    <a:pt x="326" y="7"/>
                    <a:pt x="326" y="7"/>
                    <a:pt x="326" y="7"/>
                  </a:cubicBezTo>
                  <a:cubicBezTo>
                    <a:pt x="326" y="3"/>
                    <a:pt x="323" y="0"/>
                    <a:pt x="319" y="0"/>
                  </a:cubicBezTo>
                  <a:cubicBezTo>
                    <a:pt x="315" y="0"/>
                    <a:pt x="312" y="3"/>
                    <a:pt x="312" y="7"/>
                  </a:cubicBezTo>
                  <a:cubicBezTo>
                    <a:pt x="312" y="55"/>
                    <a:pt x="312" y="55"/>
                    <a:pt x="312" y="55"/>
                  </a:cubicBezTo>
                  <a:cubicBezTo>
                    <a:pt x="312" y="59"/>
                    <a:pt x="315" y="62"/>
                    <a:pt x="319" y="62"/>
                  </a:cubicBezTo>
                  <a:cubicBezTo>
                    <a:pt x="323" y="62"/>
                    <a:pt x="326" y="59"/>
                    <a:pt x="326" y="55"/>
                  </a:cubicBezTo>
                  <a:close/>
                  <a:moveTo>
                    <a:pt x="642" y="323"/>
                  </a:moveTo>
                  <a:cubicBezTo>
                    <a:pt x="642" y="319"/>
                    <a:pt x="639" y="316"/>
                    <a:pt x="635" y="316"/>
                  </a:cubicBezTo>
                  <a:cubicBezTo>
                    <a:pt x="587" y="316"/>
                    <a:pt x="587" y="316"/>
                    <a:pt x="587" y="316"/>
                  </a:cubicBezTo>
                  <a:cubicBezTo>
                    <a:pt x="583" y="316"/>
                    <a:pt x="580" y="319"/>
                    <a:pt x="580" y="323"/>
                  </a:cubicBezTo>
                  <a:cubicBezTo>
                    <a:pt x="580" y="327"/>
                    <a:pt x="583" y="330"/>
                    <a:pt x="587" y="330"/>
                  </a:cubicBezTo>
                  <a:cubicBezTo>
                    <a:pt x="635" y="330"/>
                    <a:pt x="635" y="330"/>
                    <a:pt x="635" y="330"/>
                  </a:cubicBezTo>
                  <a:cubicBezTo>
                    <a:pt x="639" y="330"/>
                    <a:pt x="642" y="327"/>
                    <a:pt x="642" y="323"/>
                  </a:cubicBezTo>
                  <a:close/>
                  <a:moveTo>
                    <a:pt x="554" y="195"/>
                  </a:moveTo>
                  <a:cubicBezTo>
                    <a:pt x="596" y="171"/>
                    <a:pt x="596" y="171"/>
                    <a:pt x="596" y="171"/>
                  </a:cubicBezTo>
                  <a:cubicBezTo>
                    <a:pt x="600" y="169"/>
                    <a:pt x="601" y="164"/>
                    <a:pt x="599" y="161"/>
                  </a:cubicBezTo>
                  <a:cubicBezTo>
                    <a:pt x="597" y="158"/>
                    <a:pt x="593" y="157"/>
                    <a:pt x="589" y="159"/>
                  </a:cubicBezTo>
                  <a:cubicBezTo>
                    <a:pt x="547" y="183"/>
                    <a:pt x="547" y="183"/>
                    <a:pt x="547" y="183"/>
                  </a:cubicBezTo>
                  <a:cubicBezTo>
                    <a:pt x="544" y="185"/>
                    <a:pt x="543" y="189"/>
                    <a:pt x="545" y="192"/>
                  </a:cubicBezTo>
                  <a:cubicBezTo>
                    <a:pt x="546" y="195"/>
                    <a:pt x="548" y="196"/>
                    <a:pt x="551" y="196"/>
                  </a:cubicBezTo>
                  <a:cubicBezTo>
                    <a:pt x="552" y="196"/>
                    <a:pt x="553" y="196"/>
                    <a:pt x="554" y="195"/>
                  </a:cubicBezTo>
                  <a:close/>
                  <a:moveTo>
                    <a:pt x="459" y="94"/>
                  </a:moveTo>
                  <a:cubicBezTo>
                    <a:pt x="483" y="52"/>
                    <a:pt x="483" y="52"/>
                    <a:pt x="483" y="52"/>
                  </a:cubicBezTo>
                  <a:cubicBezTo>
                    <a:pt x="485" y="49"/>
                    <a:pt x="484" y="45"/>
                    <a:pt x="481" y="43"/>
                  </a:cubicBezTo>
                  <a:cubicBezTo>
                    <a:pt x="477" y="41"/>
                    <a:pt x="473" y="42"/>
                    <a:pt x="471" y="45"/>
                  </a:cubicBezTo>
                  <a:cubicBezTo>
                    <a:pt x="447" y="87"/>
                    <a:pt x="447" y="87"/>
                    <a:pt x="447" y="87"/>
                  </a:cubicBezTo>
                  <a:cubicBezTo>
                    <a:pt x="445" y="91"/>
                    <a:pt x="446" y="95"/>
                    <a:pt x="449" y="97"/>
                  </a:cubicBezTo>
                  <a:cubicBezTo>
                    <a:pt x="451" y="98"/>
                    <a:pt x="452" y="98"/>
                    <a:pt x="453" y="98"/>
                  </a:cubicBezTo>
                  <a:cubicBezTo>
                    <a:pt x="455" y="98"/>
                    <a:pt x="458" y="97"/>
                    <a:pt x="459" y="94"/>
                  </a:cubicBezTo>
                  <a:close/>
                  <a:moveTo>
                    <a:pt x="599" y="484"/>
                  </a:moveTo>
                  <a:cubicBezTo>
                    <a:pt x="601" y="481"/>
                    <a:pt x="600" y="477"/>
                    <a:pt x="596" y="475"/>
                  </a:cubicBezTo>
                  <a:cubicBezTo>
                    <a:pt x="554" y="450"/>
                    <a:pt x="554" y="450"/>
                    <a:pt x="554" y="450"/>
                  </a:cubicBezTo>
                  <a:cubicBezTo>
                    <a:pt x="551" y="448"/>
                    <a:pt x="547" y="450"/>
                    <a:pt x="545" y="453"/>
                  </a:cubicBezTo>
                  <a:cubicBezTo>
                    <a:pt x="543" y="456"/>
                    <a:pt x="544" y="461"/>
                    <a:pt x="547" y="462"/>
                  </a:cubicBezTo>
                  <a:cubicBezTo>
                    <a:pt x="589" y="487"/>
                    <a:pt x="589" y="487"/>
                    <a:pt x="589" y="487"/>
                  </a:cubicBezTo>
                  <a:cubicBezTo>
                    <a:pt x="591" y="487"/>
                    <a:pt x="592" y="488"/>
                    <a:pt x="593" y="488"/>
                  </a:cubicBezTo>
                  <a:cubicBezTo>
                    <a:pt x="595" y="488"/>
                    <a:pt x="598" y="486"/>
                    <a:pt x="599" y="484"/>
                  </a:cubicBezTo>
                  <a:close/>
                  <a:moveTo>
                    <a:pt x="94" y="192"/>
                  </a:moveTo>
                  <a:cubicBezTo>
                    <a:pt x="96" y="189"/>
                    <a:pt x="94" y="185"/>
                    <a:pt x="91" y="183"/>
                  </a:cubicBezTo>
                  <a:cubicBezTo>
                    <a:pt x="49" y="159"/>
                    <a:pt x="49" y="159"/>
                    <a:pt x="49" y="159"/>
                  </a:cubicBezTo>
                  <a:cubicBezTo>
                    <a:pt x="46" y="157"/>
                    <a:pt x="41" y="158"/>
                    <a:pt x="39" y="161"/>
                  </a:cubicBezTo>
                  <a:cubicBezTo>
                    <a:pt x="38" y="164"/>
                    <a:pt x="39" y="169"/>
                    <a:pt x="42" y="171"/>
                  </a:cubicBezTo>
                  <a:cubicBezTo>
                    <a:pt x="84" y="195"/>
                    <a:pt x="84" y="195"/>
                    <a:pt x="84" y="195"/>
                  </a:cubicBezTo>
                  <a:cubicBezTo>
                    <a:pt x="85" y="196"/>
                    <a:pt x="86" y="196"/>
                    <a:pt x="88" y="196"/>
                  </a:cubicBezTo>
                  <a:cubicBezTo>
                    <a:pt x="90" y="196"/>
                    <a:pt x="92" y="195"/>
                    <a:pt x="94" y="192"/>
                  </a:cubicBezTo>
                  <a:close/>
                  <a:moveTo>
                    <a:pt x="481" y="602"/>
                  </a:moveTo>
                  <a:cubicBezTo>
                    <a:pt x="484" y="600"/>
                    <a:pt x="485" y="596"/>
                    <a:pt x="483" y="593"/>
                  </a:cubicBezTo>
                  <a:cubicBezTo>
                    <a:pt x="459" y="551"/>
                    <a:pt x="459" y="551"/>
                    <a:pt x="459" y="551"/>
                  </a:cubicBezTo>
                  <a:cubicBezTo>
                    <a:pt x="457" y="547"/>
                    <a:pt x="453" y="546"/>
                    <a:pt x="449" y="548"/>
                  </a:cubicBezTo>
                  <a:cubicBezTo>
                    <a:pt x="446" y="550"/>
                    <a:pt x="445" y="554"/>
                    <a:pt x="447" y="558"/>
                  </a:cubicBezTo>
                  <a:cubicBezTo>
                    <a:pt x="471" y="600"/>
                    <a:pt x="471" y="600"/>
                    <a:pt x="471" y="600"/>
                  </a:cubicBezTo>
                  <a:cubicBezTo>
                    <a:pt x="472" y="602"/>
                    <a:pt x="475" y="603"/>
                    <a:pt x="477" y="603"/>
                  </a:cubicBezTo>
                  <a:cubicBezTo>
                    <a:pt x="478" y="603"/>
                    <a:pt x="480" y="603"/>
                    <a:pt x="481" y="602"/>
                  </a:cubicBezTo>
                  <a:close/>
                  <a:moveTo>
                    <a:pt x="189" y="97"/>
                  </a:moveTo>
                  <a:cubicBezTo>
                    <a:pt x="192" y="95"/>
                    <a:pt x="193" y="91"/>
                    <a:pt x="192" y="87"/>
                  </a:cubicBezTo>
                  <a:cubicBezTo>
                    <a:pt x="167" y="45"/>
                    <a:pt x="167" y="45"/>
                    <a:pt x="167" y="45"/>
                  </a:cubicBezTo>
                  <a:cubicBezTo>
                    <a:pt x="165" y="42"/>
                    <a:pt x="161" y="41"/>
                    <a:pt x="158" y="43"/>
                  </a:cubicBezTo>
                  <a:cubicBezTo>
                    <a:pt x="154" y="45"/>
                    <a:pt x="153" y="49"/>
                    <a:pt x="155" y="52"/>
                  </a:cubicBezTo>
                  <a:cubicBezTo>
                    <a:pt x="179" y="94"/>
                    <a:pt x="179" y="94"/>
                    <a:pt x="179" y="94"/>
                  </a:cubicBezTo>
                  <a:cubicBezTo>
                    <a:pt x="181" y="97"/>
                    <a:pt x="183" y="98"/>
                    <a:pt x="185" y="98"/>
                  </a:cubicBezTo>
                  <a:cubicBezTo>
                    <a:pt x="187" y="98"/>
                    <a:pt x="188" y="98"/>
                    <a:pt x="189" y="97"/>
                  </a:cubicBezTo>
                  <a:close/>
                  <a:moveTo>
                    <a:pt x="324" y="636"/>
                  </a:moveTo>
                  <a:cubicBezTo>
                    <a:pt x="325" y="636"/>
                    <a:pt x="377" y="591"/>
                    <a:pt x="366" y="575"/>
                  </a:cubicBezTo>
                  <a:cubicBezTo>
                    <a:pt x="359" y="566"/>
                    <a:pt x="285" y="508"/>
                    <a:pt x="271" y="508"/>
                  </a:cubicBezTo>
                  <a:cubicBezTo>
                    <a:pt x="270" y="508"/>
                    <a:pt x="269" y="508"/>
                    <a:pt x="269" y="508"/>
                  </a:cubicBezTo>
                  <a:cubicBezTo>
                    <a:pt x="264" y="509"/>
                    <a:pt x="256" y="515"/>
                    <a:pt x="238" y="528"/>
                  </a:cubicBezTo>
                  <a:cubicBezTo>
                    <a:pt x="226" y="536"/>
                    <a:pt x="209" y="548"/>
                    <a:pt x="205" y="549"/>
                  </a:cubicBezTo>
                  <a:cubicBezTo>
                    <a:pt x="198" y="549"/>
                    <a:pt x="176" y="534"/>
                    <a:pt x="148" y="506"/>
                  </a:cubicBezTo>
                  <a:cubicBezTo>
                    <a:pt x="117" y="475"/>
                    <a:pt x="104" y="454"/>
                    <a:pt x="105" y="449"/>
                  </a:cubicBezTo>
                  <a:cubicBezTo>
                    <a:pt x="106" y="445"/>
                    <a:pt x="118" y="428"/>
                    <a:pt x="126" y="416"/>
                  </a:cubicBezTo>
                  <a:cubicBezTo>
                    <a:pt x="139" y="398"/>
                    <a:pt x="145" y="390"/>
                    <a:pt x="146" y="385"/>
                  </a:cubicBezTo>
                  <a:cubicBezTo>
                    <a:pt x="147" y="382"/>
                    <a:pt x="149" y="376"/>
                    <a:pt x="117" y="334"/>
                  </a:cubicBezTo>
                  <a:cubicBezTo>
                    <a:pt x="107" y="321"/>
                    <a:pt x="84" y="292"/>
                    <a:pt x="75" y="288"/>
                  </a:cubicBezTo>
                  <a:cubicBezTo>
                    <a:pt x="73" y="287"/>
                    <a:pt x="71" y="287"/>
                    <a:pt x="69" y="287"/>
                  </a:cubicBezTo>
                  <a:cubicBezTo>
                    <a:pt x="47" y="287"/>
                    <a:pt x="13" y="337"/>
                    <a:pt x="4" y="358"/>
                  </a:cubicBezTo>
                  <a:cubicBezTo>
                    <a:pt x="1" y="365"/>
                    <a:pt x="0" y="372"/>
                    <a:pt x="1" y="379"/>
                  </a:cubicBezTo>
                  <a:cubicBezTo>
                    <a:pt x="27" y="526"/>
                    <a:pt x="149" y="635"/>
                    <a:pt x="297" y="645"/>
                  </a:cubicBezTo>
                  <a:cubicBezTo>
                    <a:pt x="298" y="645"/>
                    <a:pt x="299" y="645"/>
                    <a:pt x="300" y="645"/>
                  </a:cubicBezTo>
                  <a:cubicBezTo>
                    <a:pt x="300" y="645"/>
                    <a:pt x="300" y="645"/>
                    <a:pt x="300" y="645"/>
                  </a:cubicBezTo>
                  <a:cubicBezTo>
                    <a:pt x="309" y="645"/>
                    <a:pt x="317" y="642"/>
                    <a:pt x="324" y="636"/>
                  </a:cubicBezTo>
                  <a:close/>
                  <a:moveTo>
                    <a:pt x="69" y="301"/>
                  </a:moveTo>
                  <a:cubicBezTo>
                    <a:pt x="79" y="306"/>
                    <a:pt x="127" y="369"/>
                    <a:pt x="132" y="382"/>
                  </a:cubicBezTo>
                  <a:cubicBezTo>
                    <a:pt x="130" y="387"/>
                    <a:pt x="121" y="399"/>
                    <a:pt x="115" y="408"/>
                  </a:cubicBezTo>
                  <a:cubicBezTo>
                    <a:pt x="102" y="427"/>
                    <a:pt x="93" y="438"/>
                    <a:pt x="91" y="444"/>
                  </a:cubicBezTo>
                  <a:cubicBezTo>
                    <a:pt x="89" y="451"/>
                    <a:pt x="92" y="470"/>
                    <a:pt x="138" y="516"/>
                  </a:cubicBezTo>
                  <a:cubicBezTo>
                    <a:pt x="152" y="530"/>
                    <a:pt x="187" y="563"/>
                    <a:pt x="205" y="563"/>
                  </a:cubicBezTo>
                  <a:cubicBezTo>
                    <a:pt x="207" y="563"/>
                    <a:pt x="208" y="563"/>
                    <a:pt x="210" y="563"/>
                  </a:cubicBezTo>
                  <a:cubicBezTo>
                    <a:pt x="216" y="561"/>
                    <a:pt x="227" y="552"/>
                    <a:pt x="246" y="539"/>
                  </a:cubicBezTo>
                  <a:cubicBezTo>
                    <a:pt x="255" y="533"/>
                    <a:pt x="267" y="524"/>
                    <a:pt x="272" y="522"/>
                  </a:cubicBezTo>
                  <a:cubicBezTo>
                    <a:pt x="284" y="526"/>
                    <a:pt x="343" y="571"/>
                    <a:pt x="353" y="582"/>
                  </a:cubicBezTo>
                  <a:cubicBezTo>
                    <a:pt x="351" y="589"/>
                    <a:pt x="334" y="609"/>
                    <a:pt x="315" y="625"/>
                  </a:cubicBezTo>
                  <a:cubicBezTo>
                    <a:pt x="310" y="629"/>
                    <a:pt x="304" y="631"/>
                    <a:pt x="298" y="631"/>
                  </a:cubicBezTo>
                  <a:cubicBezTo>
                    <a:pt x="156" y="621"/>
                    <a:pt x="40" y="517"/>
                    <a:pt x="15" y="377"/>
                  </a:cubicBezTo>
                  <a:cubicBezTo>
                    <a:pt x="14" y="373"/>
                    <a:pt x="15" y="368"/>
                    <a:pt x="17" y="364"/>
                  </a:cubicBezTo>
                  <a:cubicBezTo>
                    <a:pt x="28" y="337"/>
                    <a:pt x="58" y="301"/>
                    <a:pt x="69" y="301"/>
                  </a:cubicBez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2731031614"/>
      </p:ext>
    </p:extLst>
  </p:cSld>
  <p:clrMapOvr>
    <a:masterClrMapping/>
  </p:clrMapOvr>
  <p:transition>
    <p:fade/>
  </p:transition>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ocial / Digital</a:t>
            </a:r>
          </a:p>
        </p:txBody>
      </p:sp>
      <p:grpSp>
        <p:nvGrpSpPr>
          <p:cNvPr id="9278" name="Group 9277"/>
          <p:cNvGrpSpPr/>
          <p:nvPr/>
        </p:nvGrpSpPr>
        <p:grpSpPr>
          <a:xfrm>
            <a:off x="1315706" y="3120088"/>
            <a:ext cx="1119124" cy="1119124"/>
            <a:chOff x="9191625" y="10841038"/>
            <a:chExt cx="3987800" cy="3986212"/>
          </a:xfrm>
        </p:grpSpPr>
        <p:sp>
          <p:nvSpPr>
            <p:cNvPr id="32" name="Oval 14"/>
            <p:cNvSpPr>
              <a:spLocks noChangeArrowheads="1"/>
            </p:cNvSpPr>
            <p:nvPr/>
          </p:nvSpPr>
          <p:spPr bwMode="auto">
            <a:xfrm>
              <a:off x="9191625" y="10841038"/>
              <a:ext cx="3987800" cy="3986212"/>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35" name="Freeform 17"/>
            <p:cNvSpPr>
              <a:spLocks noEditPoints="1"/>
            </p:cNvSpPr>
            <p:nvPr/>
          </p:nvSpPr>
          <p:spPr bwMode="auto">
            <a:xfrm>
              <a:off x="10133013" y="11699875"/>
              <a:ext cx="1890713" cy="2268537"/>
            </a:xfrm>
            <a:custGeom>
              <a:avLst/>
              <a:gdLst>
                <a:gd name="T0" fmla="*/ 307 w 504"/>
                <a:gd name="T1" fmla="*/ 59 h 605"/>
                <a:gd name="T2" fmla="*/ 339 w 504"/>
                <a:gd name="T3" fmla="*/ 193 h 605"/>
                <a:gd name="T4" fmla="*/ 364 w 504"/>
                <a:gd name="T5" fmla="*/ 183 h 605"/>
                <a:gd name="T6" fmla="*/ 393 w 504"/>
                <a:gd name="T7" fmla="*/ 223 h 605"/>
                <a:gd name="T8" fmla="*/ 344 w 504"/>
                <a:gd name="T9" fmla="*/ 220 h 605"/>
                <a:gd name="T10" fmla="*/ 281 w 504"/>
                <a:gd name="T11" fmla="*/ 98 h 605"/>
                <a:gd name="T12" fmla="*/ 236 w 504"/>
                <a:gd name="T13" fmla="*/ 229 h 605"/>
                <a:gd name="T14" fmla="*/ 191 w 504"/>
                <a:gd name="T15" fmla="*/ 96 h 605"/>
                <a:gd name="T16" fmla="*/ 268 w 504"/>
                <a:gd name="T17" fmla="*/ 65 h 605"/>
                <a:gd name="T18" fmla="*/ 246 w 504"/>
                <a:gd name="T19" fmla="*/ 86 h 605"/>
                <a:gd name="T20" fmla="*/ 223 w 504"/>
                <a:gd name="T21" fmla="*/ 96 h 605"/>
                <a:gd name="T22" fmla="*/ 236 w 504"/>
                <a:gd name="T23" fmla="*/ 199 h 605"/>
                <a:gd name="T24" fmla="*/ 248 w 504"/>
                <a:gd name="T25" fmla="*/ 96 h 605"/>
                <a:gd name="T26" fmla="*/ 154 w 504"/>
                <a:gd name="T27" fmla="*/ 132 h 605"/>
                <a:gd name="T28" fmla="*/ 137 w 504"/>
                <a:gd name="T29" fmla="*/ 88 h 605"/>
                <a:gd name="T30" fmla="*/ 78 w 504"/>
                <a:gd name="T31" fmla="*/ 0 h 605"/>
                <a:gd name="T32" fmla="*/ 504 w 504"/>
                <a:gd name="T33" fmla="*/ 437 h 605"/>
                <a:gd name="T34" fmla="*/ 251 w 504"/>
                <a:gd name="T35" fmla="*/ 605 h 605"/>
                <a:gd name="T36" fmla="*/ 0 w 504"/>
                <a:gd name="T37" fmla="*/ 437 h 605"/>
                <a:gd name="T38" fmla="*/ 243 w 504"/>
                <a:gd name="T39" fmla="*/ 267 h 605"/>
                <a:gd name="T40" fmla="*/ 502 w 504"/>
                <a:gd name="T41" fmla="*/ 342 h 605"/>
                <a:gd name="T42" fmla="*/ 146 w 504"/>
                <a:gd name="T43" fmla="*/ 354 h 605"/>
                <a:gd name="T44" fmla="*/ 38 w 504"/>
                <a:gd name="T45" fmla="*/ 354 h 605"/>
                <a:gd name="T46" fmla="*/ 108 w 504"/>
                <a:gd name="T47" fmla="*/ 545 h 605"/>
                <a:gd name="T48" fmla="*/ 201 w 504"/>
                <a:gd name="T49" fmla="*/ 379 h 605"/>
                <a:gd name="T50" fmla="*/ 183 w 504"/>
                <a:gd name="T51" fmla="*/ 517 h 605"/>
                <a:gd name="T52" fmla="*/ 176 w 504"/>
                <a:gd name="T53" fmla="*/ 379 h 605"/>
                <a:gd name="T54" fmla="*/ 151 w 504"/>
                <a:gd name="T55" fmla="*/ 540 h 605"/>
                <a:gd name="T56" fmla="*/ 201 w 504"/>
                <a:gd name="T57" fmla="*/ 527 h 605"/>
                <a:gd name="T58" fmla="*/ 231 w 504"/>
                <a:gd name="T59" fmla="*/ 379 h 605"/>
                <a:gd name="T60" fmla="*/ 319 w 504"/>
                <a:gd name="T61" fmla="*/ 377 h 605"/>
                <a:gd name="T62" fmla="*/ 294 w 504"/>
                <a:gd name="T63" fmla="*/ 322 h 605"/>
                <a:gd name="T64" fmla="*/ 294 w 504"/>
                <a:gd name="T65" fmla="*/ 545 h 605"/>
                <a:gd name="T66" fmla="*/ 321 w 504"/>
                <a:gd name="T67" fmla="*/ 547 h 605"/>
                <a:gd name="T68" fmla="*/ 349 w 504"/>
                <a:gd name="T69" fmla="*/ 420 h 605"/>
                <a:gd name="T70" fmla="*/ 419 w 504"/>
                <a:gd name="T71" fmla="*/ 374 h 605"/>
                <a:gd name="T72" fmla="*/ 374 w 504"/>
                <a:gd name="T73" fmla="*/ 497 h 605"/>
                <a:gd name="T74" fmla="*/ 452 w 504"/>
                <a:gd name="T75" fmla="*/ 535 h 605"/>
                <a:gd name="T76" fmla="*/ 432 w 504"/>
                <a:gd name="T77" fmla="*/ 485 h 605"/>
                <a:gd name="T78" fmla="*/ 417 w 504"/>
                <a:gd name="T79" fmla="*/ 520 h 605"/>
                <a:gd name="T80" fmla="*/ 404 w 504"/>
                <a:gd name="T81" fmla="*/ 465 h 605"/>
                <a:gd name="T82" fmla="*/ 307 w 504"/>
                <a:gd name="T83" fmla="*/ 404 h 605"/>
                <a:gd name="T84" fmla="*/ 295 w 504"/>
                <a:gd name="T85" fmla="*/ 511 h 605"/>
                <a:gd name="T86" fmla="*/ 316 w 504"/>
                <a:gd name="T87" fmla="*/ 516 h 605"/>
                <a:gd name="T88" fmla="*/ 314 w 504"/>
                <a:gd name="T89" fmla="*/ 406 h 605"/>
                <a:gd name="T90" fmla="*/ 406 w 504"/>
                <a:gd name="T91" fmla="*/ 409 h 605"/>
                <a:gd name="T92" fmla="*/ 432 w 504"/>
                <a:gd name="T93" fmla="*/ 438 h 605"/>
                <a:gd name="T94" fmla="*/ 419 w 504"/>
                <a:gd name="T95" fmla="*/ 404 h 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04" h="605">
                  <a:moveTo>
                    <a:pt x="312" y="218"/>
                  </a:moveTo>
                  <a:cubicBezTo>
                    <a:pt x="309" y="213"/>
                    <a:pt x="307" y="205"/>
                    <a:pt x="307" y="195"/>
                  </a:cubicBezTo>
                  <a:cubicBezTo>
                    <a:pt x="307" y="195"/>
                    <a:pt x="307" y="195"/>
                    <a:pt x="307" y="59"/>
                  </a:cubicBezTo>
                  <a:cubicBezTo>
                    <a:pt x="307" y="59"/>
                    <a:pt x="307" y="59"/>
                    <a:pt x="336" y="59"/>
                  </a:cubicBezTo>
                  <a:cubicBezTo>
                    <a:pt x="336" y="59"/>
                    <a:pt x="336" y="59"/>
                    <a:pt x="336" y="186"/>
                  </a:cubicBezTo>
                  <a:cubicBezTo>
                    <a:pt x="336" y="188"/>
                    <a:pt x="336" y="190"/>
                    <a:pt x="339" y="193"/>
                  </a:cubicBezTo>
                  <a:cubicBezTo>
                    <a:pt x="339" y="195"/>
                    <a:pt x="341" y="195"/>
                    <a:pt x="344" y="195"/>
                  </a:cubicBezTo>
                  <a:cubicBezTo>
                    <a:pt x="346" y="195"/>
                    <a:pt x="349" y="195"/>
                    <a:pt x="354" y="193"/>
                  </a:cubicBezTo>
                  <a:cubicBezTo>
                    <a:pt x="356" y="190"/>
                    <a:pt x="359" y="188"/>
                    <a:pt x="364" y="183"/>
                  </a:cubicBezTo>
                  <a:cubicBezTo>
                    <a:pt x="364" y="183"/>
                    <a:pt x="364" y="183"/>
                    <a:pt x="364" y="59"/>
                  </a:cubicBezTo>
                  <a:cubicBezTo>
                    <a:pt x="393" y="59"/>
                    <a:pt x="393" y="59"/>
                    <a:pt x="393" y="59"/>
                  </a:cubicBezTo>
                  <a:cubicBezTo>
                    <a:pt x="393" y="59"/>
                    <a:pt x="393" y="59"/>
                    <a:pt x="393" y="223"/>
                  </a:cubicBezTo>
                  <a:cubicBezTo>
                    <a:pt x="393" y="223"/>
                    <a:pt x="393" y="223"/>
                    <a:pt x="364" y="223"/>
                  </a:cubicBezTo>
                  <a:cubicBezTo>
                    <a:pt x="364" y="223"/>
                    <a:pt x="364" y="223"/>
                    <a:pt x="364" y="205"/>
                  </a:cubicBezTo>
                  <a:cubicBezTo>
                    <a:pt x="356" y="210"/>
                    <a:pt x="351" y="215"/>
                    <a:pt x="344" y="220"/>
                  </a:cubicBezTo>
                  <a:cubicBezTo>
                    <a:pt x="339" y="223"/>
                    <a:pt x="334" y="225"/>
                    <a:pt x="327" y="225"/>
                  </a:cubicBezTo>
                  <a:cubicBezTo>
                    <a:pt x="322" y="225"/>
                    <a:pt x="314" y="223"/>
                    <a:pt x="312" y="218"/>
                  </a:cubicBezTo>
                  <a:close/>
                  <a:moveTo>
                    <a:pt x="281" y="98"/>
                  </a:moveTo>
                  <a:cubicBezTo>
                    <a:pt x="281" y="98"/>
                    <a:pt x="281" y="98"/>
                    <a:pt x="281" y="183"/>
                  </a:cubicBezTo>
                  <a:cubicBezTo>
                    <a:pt x="281" y="196"/>
                    <a:pt x="276" y="209"/>
                    <a:pt x="268" y="216"/>
                  </a:cubicBezTo>
                  <a:cubicBezTo>
                    <a:pt x="261" y="224"/>
                    <a:pt x="248" y="229"/>
                    <a:pt x="236" y="229"/>
                  </a:cubicBezTo>
                  <a:cubicBezTo>
                    <a:pt x="221" y="229"/>
                    <a:pt x="211" y="224"/>
                    <a:pt x="203" y="216"/>
                  </a:cubicBezTo>
                  <a:cubicBezTo>
                    <a:pt x="196" y="206"/>
                    <a:pt x="191" y="196"/>
                    <a:pt x="191" y="181"/>
                  </a:cubicBezTo>
                  <a:cubicBezTo>
                    <a:pt x="191" y="181"/>
                    <a:pt x="191" y="181"/>
                    <a:pt x="191" y="96"/>
                  </a:cubicBezTo>
                  <a:cubicBezTo>
                    <a:pt x="191" y="83"/>
                    <a:pt x="196" y="73"/>
                    <a:pt x="203" y="65"/>
                  </a:cubicBezTo>
                  <a:cubicBezTo>
                    <a:pt x="211" y="58"/>
                    <a:pt x="223" y="55"/>
                    <a:pt x="236" y="55"/>
                  </a:cubicBezTo>
                  <a:cubicBezTo>
                    <a:pt x="248" y="55"/>
                    <a:pt x="258" y="58"/>
                    <a:pt x="268" y="65"/>
                  </a:cubicBezTo>
                  <a:cubicBezTo>
                    <a:pt x="276" y="76"/>
                    <a:pt x="281" y="86"/>
                    <a:pt x="281" y="98"/>
                  </a:cubicBezTo>
                  <a:close/>
                  <a:moveTo>
                    <a:pt x="248" y="96"/>
                  </a:moveTo>
                  <a:cubicBezTo>
                    <a:pt x="248" y="91"/>
                    <a:pt x="248" y="88"/>
                    <a:pt x="246" y="86"/>
                  </a:cubicBezTo>
                  <a:cubicBezTo>
                    <a:pt x="243" y="83"/>
                    <a:pt x="238" y="83"/>
                    <a:pt x="236" y="83"/>
                  </a:cubicBezTo>
                  <a:cubicBezTo>
                    <a:pt x="231" y="83"/>
                    <a:pt x="228" y="83"/>
                    <a:pt x="226" y="86"/>
                  </a:cubicBezTo>
                  <a:cubicBezTo>
                    <a:pt x="223" y="88"/>
                    <a:pt x="223" y="91"/>
                    <a:pt x="223" y="96"/>
                  </a:cubicBezTo>
                  <a:cubicBezTo>
                    <a:pt x="223" y="96"/>
                    <a:pt x="223" y="96"/>
                    <a:pt x="223" y="186"/>
                  </a:cubicBezTo>
                  <a:cubicBezTo>
                    <a:pt x="223" y="189"/>
                    <a:pt x="223" y="194"/>
                    <a:pt x="226" y="196"/>
                  </a:cubicBezTo>
                  <a:cubicBezTo>
                    <a:pt x="228" y="199"/>
                    <a:pt x="231" y="199"/>
                    <a:pt x="236" y="199"/>
                  </a:cubicBezTo>
                  <a:cubicBezTo>
                    <a:pt x="238" y="199"/>
                    <a:pt x="243" y="199"/>
                    <a:pt x="246" y="196"/>
                  </a:cubicBezTo>
                  <a:cubicBezTo>
                    <a:pt x="248" y="194"/>
                    <a:pt x="248" y="189"/>
                    <a:pt x="248" y="186"/>
                  </a:cubicBezTo>
                  <a:cubicBezTo>
                    <a:pt x="248" y="186"/>
                    <a:pt x="248" y="186"/>
                    <a:pt x="248" y="96"/>
                  </a:cubicBezTo>
                  <a:close/>
                  <a:moveTo>
                    <a:pt x="118" y="224"/>
                  </a:moveTo>
                  <a:cubicBezTo>
                    <a:pt x="154" y="224"/>
                    <a:pt x="154" y="224"/>
                    <a:pt x="154" y="224"/>
                  </a:cubicBezTo>
                  <a:cubicBezTo>
                    <a:pt x="154" y="132"/>
                    <a:pt x="154" y="132"/>
                    <a:pt x="154" y="132"/>
                  </a:cubicBezTo>
                  <a:cubicBezTo>
                    <a:pt x="194" y="0"/>
                    <a:pt x="194" y="0"/>
                    <a:pt x="194" y="0"/>
                  </a:cubicBezTo>
                  <a:cubicBezTo>
                    <a:pt x="160" y="0"/>
                    <a:pt x="160" y="0"/>
                    <a:pt x="160" y="0"/>
                  </a:cubicBezTo>
                  <a:cubicBezTo>
                    <a:pt x="137" y="88"/>
                    <a:pt x="137" y="88"/>
                    <a:pt x="137" y="88"/>
                  </a:cubicBezTo>
                  <a:cubicBezTo>
                    <a:pt x="134" y="88"/>
                    <a:pt x="134" y="88"/>
                    <a:pt x="134" y="88"/>
                  </a:cubicBezTo>
                  <a:cubicBezTo>
                    <a:pt x="111" y="0"/>
                    <a:pt x="111" y="0"/>
                    <a:pt x="111" y="0"/>
                  </a:cubicBezTo>
                  <a:cubicBezTo>
                    <a:pt x="78" y="0"/>
                    <a:pt x="78" y="0"/>
                    <a:pt x="78" y="0"/>
                  </a:cubicBezTo>
                  <a:cubicBezTo>
                    <a:pt x="118" y="135"/>
                    <a:pt x="118" y="135"/>
                    <a:pt x="118" y="135"/>
                  </a:cubicBezTo>
                  <a:lnTo>
                    <a:pt x="118" y="224"/>
                  </a:lnTo>
                  <a:close/>
                  <a:moveTo>
                    <a:pt x="504" y="437"/>
                  </a:moveTo>
                  <a:cubicBezTo>
                    <a:pt x="504" y="467"/>
                    <a:pt x="504" y="500"/>
                    <a:pt x="502" y="530"/>
                  </a:cubicBezTo>
                  <a:cubicBezTo>
                    <a:pt x="502" y="570"/>
                    <a:pt x="469" y="602"/>
                    <a:pt x="429" y="602"/>
                  </a:cubicBezTo>
                  <a:cubicBezTo>
                    <a:pt x="371" y="605"/>
                    <a:pt x="311" y="605"/>
                    <a:pt x="251" y="605"/>
                  </a:cubicBezTo>
                  <a:cubicBezTo>
                    <a:pt x="193" y="605"/>
                    <a:pt x="133" y="605"/>
                    <a:pt x="75" y="602"/>
                  </a:cubicBezTo>
                  <a:cubicBezTo>
                    <a:pt x="35" y="602"/>
                    <a:pt x="3" y="570"/>
                    <a:pt x="3" y="530"/>
                  </a:cubicBezTo>
                  <a:cubicBezTo>
                    <a:pt x="0" y="500"/>
                    <a:pt x="0" y="467"/>
                    <a:pt x="0" y="437"/>
                  </a:cubicBezTo>
                  <a:cubicBezTo>
                    <a:pt x="0" y="404"/>
                    <a:pt x="0" y="372"/>
                    <a:pt x="3" y="342"/>
                  </a:cubicBezTo>
                  <a:cubicBezTo>
                    <a:pt x="3" y="302"/>
                    <a:pt x="35" y="269"/>
                    <a:pt x="75" y="269"/>
                  </a:cubicBezTo>
                  <a:cubicBezTo>
                    <a:pt x="131" y="267"/>
                    <a:pt x="186" y="267"/>
                    <a:pt x="243" y="267"/>
                  </a:cubicBezTo>
                  <a:cubicBezTo>
                    <a:pt x="261" y="267"/>
                    <a:pt x="261" y="267"/>
                    <a:pt x="261" y="267"/>
                  </a:cubicBezTo>
                  <a:cubicBezTo>
                    <a:pt x="319" y="267"/>
                    <a:pt x="374" y="267"/>
                    <a:pt x="429" y="269"/>
                  </a:cubicBezTo>
                  <a:cubicBezTo>
                    <a:pt x="469" y="269"/>
                    <a:pt x="502" y="302"/>
                    <a:pt x="502" y="342"/>
                  </a:cubicBezTo>
                  <a:cubicBezTo>
                    <a:pt x="504" y="372"/>
                    <a:pt x="504" y="404"/>
                    <a:pt x="504" y="437"/>
                  </a:cubicBezTo>
                  <a:close/>
                  <a:moveTo>
                    <a:pt x="108" y="354"/>
                  </a:moveTo>
                  <a:cubicBezTo>
                    <a:pt x="108" y="354"/>
                    <a:pt x="108" y="354"/>
                    <a:pt x="146" y="354"/>
                  </a:cubicBezTo>
                  <a:cubicBezTo>
                    <a:pt x="146" y="354"/>
                    <a:pt x="146" y="354"/>
                    <a:pt x="146" y="322"/>
                  </a:cubicBezTo>
                  <a:cubicBezTo>
                    <a:pt x="146" y="322"/>
                    <a:pt x="146" y="322"/>
                    <a:pt x="38" y="322"/>
                  </a:cubicBezTo>
                  <a:cubicBezTo>
                    <a:pt x="38" y="322"/>
                    <a:pt x="38" y="322"/>
                    <a:pt x="38" y="354"/>
                  </a:cubicBezTo>
                  <a:cubicBezTo>
                    <a:pt x="38" y="354"/>
                    <a:pt x="38" y="354"/>
                    <a:pt x="75" y="354"/>
                  </a:cubicBezTo>
                  <a:cubicBezTo>
                    <a:pt x="75" y="354"/>
                    <a:pt x="75" y="354"/>
                    <a:pt x="75" y="545"/>
                  </a:cubicBezTo>
                  <a:cubicBezTo>
                    <a:pt x="75" y="545"/>
                    <a:pt x="75" y="545"/>
                    <a:pt x="108" y="545"/>
                  </a:cubicBezTo>
                  <a:lnTo>
                    <a:pt x="108" y="354"/>
                  </a:lnTo>
                  <a:close/>
                  <a:moveTo>
                    <a:pt x="231" y="379"/>
                  </a:moveTo>
                  <a:cubicBezTo>
                    <a:pt x="231" y="379"/>
                    <a:pt x="231" y="379"/>
                    <a:pt x="201" y="379"/>
                  </a:cubicBezTo>
                  <a:cubicBezTo>
                    <a:pt x="201" y="379"/>
                    <a:pt x="201" y="379"/>
                    <a:pt x="201" y="505"/>
                  </a:cubicBezTo>
                  <a:cubicBezTo>
                    <a:pt x="198" y="507"/>
                    <a:pt x="196" y="512"/>
                    <a:pt x="191" y="515"/>
                  </a:cubicBezTo>
                  <a:cubicBezTo>
                    <a:pt x="188" y="515"/>
                    <a:pt x="186" y="517"/>
                    <a:pt x="183" y="517"/>
                  </a:cubicBezTo>
                  <a:cubicBezTo>
                    <a:pt x="181" y="517"/>
                    <a:pt x="178" y="517"/>
                    <a:pt x="176" y="515"/>
                  </a:cubicBezTo>
                  <a:cubicBezTo>
                    <a:pt x="176" y="505"/>
                    <a:pt x="176" y="505"/>
                    <a:pt x="176" y="505"/>
                  </a:cubicBezTo>
                  <a:cubicBezTo>
                    <a:pt x="176" y="505"/>
                    <a:pt x="176" y="505"/>
                    <a:pt x="176" y="379"/>
                  </a:cubicBezTo>
                  <a:cubicBezTo>
                    <a:pt x="176" y="379"/>
                    <a:pt x="176" y="379"/>
                    <a:pt x="143" y="379"/>
                  </a:cubicBezTo>
                  <a:cubicBezTo>
                    <a:pt x="143" y="379"/>
                    <a:pt x="143" y="379"/>
                    <a:pt x="143" y="517"/>
                  </a:cubicBezTo>
                  <a:cubicBezTo>
                    <a:pt x="143" y="527"/>
                    <a:pt x="146" y="535"/>
                    <a:pt x="151" y="540"/>
                  </a:cubicBezTo>
                  <a:cubicBezTo>
                    <a:pt x="153" y="545"/>
                    <a:pt x="158" y="547"/>
                    <a:pt x="166" y="547"/>
                  </a:cubicBezTo>
                  <a:cubicBezTo>
                    <a:pt x="171" y="547"/>
                    <a:pt x="178" y="545"/>
                    <a:pt x="183" y="542"/>
                  </a:cubicBezTo>
                  <a:cubicBezTo>
                    <a:pt x="188" y="537"/>
                    <a:pt x="196" y="532"/>
                    <a:pt x="201" y="527"/>
                  </a:cubicBezTo>
                  <a:cubicBezTo>
                    <a:pt x="201" y="527"/>
                    <a:pt x="201" y="527"/>
                    <a:pt x="201" y="545"/>
                  </a:cubicBezTo>
                  <a:cubicBezTo>
                    <a:pt x="201" y="545"/>
                    <a:pt x="201" y="545"/>
                    <a:pt x="231" y="545"/>
                  </a:cubicBezTo>
                  <a:lnTo>
                    <a:pt x="231" y="379"/>
                  </a:lnTo>
                  <a:close/>
                  <a:moveTo>
                    <a:pt x="349" y="420"/>
                  </a:moveTo>
                  <a:cubicBezTo>
                    <a:pt x="349" y="404"/>
                    <a:pt x="346" y="394"/>
                    <a:pt x="341" y="387"/>
                  </a:cubicBezTo>
                  <a:cubicBezTo>
                    <a:pt x="336" y="382"/>
                    <a:pt x="329" y="377"/>
                    <a:pt x="319" y="377"/>
                  </a:cubicBezTo>
                  <a:cubicBezTo>
                    <a:pt x="314" y="377"/>
                    <a:pt x="311" y="379"/>
                    <a:pt x="306" y="382"/>
                  </a:cubicBezTo>
                  <a:cubicBezTo>
                    <a:pt x="301" y="384"/>
                    <a:pt x="296" y="387"/>
                    <a:pt x="294" y="392"/>
                  </a:cubicBezTo>
                  <a:cubicBezTo>
                    <a:pt x="294" y="392"/>
                    <a:pt x="294" y="392"/>
                    <a:pt x="294" y="322"/>
                  </a:cubicBezTo>
                  <a:cubicBezTo>
                    <a:pt x="294" y="322"/>
                    <a:pt x="294" y="322"/>
                    <a:pt x="261" y="322"/>
                  </a:cubicBezTo>
                  <a:cubicBezTo>
                    <a:pt x="261" y="322"/>
                    <a:pt x="261" y="322"/>
                    <a:pt x="261" y="545"/>
                  </a:cubicBezTo>
                  <a:cubicBezTo>
                    <a:pt x="261" y="545"/>
                    <a:pt x="261" y="545"/>
                    <a:pt x="294" y="545"/>
                  </a:cubicBezTo>
                  <a:cubicBezTo>
                    <a:pt x="294" y="545"/>
                    <a:pt x="294" y="545"/>
                    <a:pt x="294" y="532"/>
                  </a:cubicBezTo>
                  <a:cubicBezTo>
                    <a:pt x="296" y="537"/>
                    <a:pt x="301" y="540"/>
                    <a:pt x="306" y="542"/>
                  </a:cubicBezTo>
                  <a:cubicBezTo>
                    <a:pt x="311" y="545"/>
                    <a:pt x="316" y="547"/>
                    <a:pt x="321" y="547"/>
                  </a:cubicBezTo>
                  <a:cubicBezTo>
                    <a:pt x="331" y="547"/>
                    <a:pt x="339" y="542"/>
                    <a:pt x="341" y="537"/>
                  </a:cubicBezTo>
                  <a:cubicBezTo>
                    <a:pt x="346" y="530"/>
                    <a:pt x="349" y="522"/>
                    <a:pt x="349" y="510"/>
                  </a:cubicBezTo>
                  <a:lnTo>
                    <a:pt x="349" y="420"/>
                  </a:lnTo>
                  <a:close/>
                  <a:moveTo>
                    <a:pt x="462" y="424"/>
                  </a:moveTo>
                  <a:cubicBezTo>
                    <a:pt x="462" y="409"/>
                    <a:pt x="459" y="397"/>
                    <a:pt x="452" y="387"/>
                  </a:cubicBezTo>
                  <a:cubicBezTo>
                    <a:pt x="444" y="379"/>
                    <a:pt x="434" y="374"/>
                    <a:pt x="419" y="374"/>
                  </a:cubicBezTo>
                  <a:cubicBezTo>
                    <a:pt x="406" y="374"/>
                    <a:pt x="394" y="379"/>
                    <a:pt x="386" y="389"/>
                  </a:cubicBezTo>
                  <a:cubicBezTo>
                    <a:pt x="376" y="397"/>
                    <a:pt x="374" y="409"/>
                    <a:pt x="374" y="424"/>
                  </a:cubicBezTo>
                  <a:cubicBezTo>
                    <a:pt x="374" y="424"/>
                    <a:pt x="374" y="424"/>
                    <a:pt x="374" y="497"/>
                  </a:cubicBezTo>
                  <a:cubicBezTo>
                    <a:pt x="374" y="515"/>
                    <a:pt x="376" y="527"/>
                    <a:pt x="384" y="535"/>
                  </a:cubicBezTo>
                  <a:cubicBezTo>
                    <a:pt x="391" y="545"/>
                    <a:pt x="404" y="550"/>
                    <a:pt x="417" y="550"/>
                  </a:cubicBezTo>
                  <a:cubicBezTo>
                    <a:pt x="432" y="550"/>
                    <a:pt x="444" y="545"/>
                    <a:pt x="452" y="535"/>
                  </a:cubicBezTo>
                  <a:cubicBezTo>
                    <a:pt x="459" y="527"/>
                    <a:pt x="462" y="515"/>
                    <a:pt x="462" y="497"/>
                  </a:cubicBezTo>
                  <a:cubicBezTo>
                    <a:pt x="462" y="497"/>
                    <a:pt x="462" y="497"/>
                    <a:pt x="462" y="485"/>
                  </a:cubicBezTo>
                  <a:cubicBezTo>
                    <a:pt x="462" y="485"/>
                    <a:pt x="462" y="485"/>
                    <a:pt x="432" y="485"/>
                  </a:cubicBezTo>
                  <a:cubicBezTo>
                    <a:pt x="432" y="485"/>
                    <a:pt x="432" y="485"/>
                    <a:pt x="432" y="497"/>
                  </a:cubicBezTo>
                  <a:cubicBezTo>
                    <a:pt x="432" y="507"/>
                    <a:pt x="429" y="512"/>
                    <a:pt x="429" y="515"/>
                  </a:cubicBezTo>
                  <a:cubicBezTo>
                    <a:pt x="427" y="520"/>
                    <a:pt x="422" y="520"/>
                    <a:pt x="417" y="520"/>
                  </a:cubicBezTo>
                  <a:cubicBezTo>
                    <a:pt x="412" y="520"/>
                    <a:pt x="409" y="517"/>
                    <a:pt x="406" y="515"/>
                  </a:cubicBezTo>
                  <a:cubicBezTo>
                    <a:pt x="404" y="512"/>
                    <a:pt x="404" y="505"/>
                    <a:pt x="404" y="497"/>
                  </a:cubicBezTo>
                  <a:cubicBezTo>
                    <a:pt x="404" y="497"/>
                    <a:pt x="404" y="497"/>
                    <a:pt x="404" y="465"/>
                  </a:cubicBezTo>
                  <a:cubicBezTo>
                    <a:pt x="404" y="465"/>
                    <a:pt x="404" y="465"/>
                    <a:pt x="462" y="465"/>
                  </a:cubicBezTo>
                  <a:lnTo>
                    <a:pt x="462" y="424"/>
                  </a:lnTo>
                  <a:close/>
                  <a:moveTo>
                    <a:pt x="307" y="404"/>
                  </a:moveTo>
                  <a:cubicBezTo>
                    <a:pt x="300" y="404"/>
                    <a:pt x="300" y="404"/>
                    <a:pt x="300" y="404"/>
                  </a:cubicBezTo>
                  <a:cubicBezTo>
                    <a:pt x="297" y="406"/>
                    <a:pt x="295" y="406"/>
                    <a:pt x="295" y="409"/>
                  </a:cubicBezTo>
                  <a:cubicBezTo>
                    <a:pt x="295" y="511"/>
                    <a:pt x="295" y="511"/>
                    <a:pt x="295" y="511"/>
                  </a:cubicBezTo>
                  <a:cubicBezTo>
                    <a:pt x="297" y="513"/>
                    <a:pt x="297" y="516"/>
                    <a:pt x="300" y="518"/>
                  </a:cubicBezTo>
                  <a:cubicBezTo>
                    <a:pt x="307" y="518"/>
                    <a:pt x="307" y="518"/>
                    <a:pt x="307" y="518"/>
                  </a:cubicBezTo>
                  <a:cubicBezTo>
                    <a:pt x="312" y="518"/>
                    <a:pt x="314" y="518"/>
                    <a:pt x="316" y="516"/>
                  </a:cubicBezTo>
                  <a:cubicBezTo>
                    <a:pt x="316" y="513"/>
                    <a:pt x="319" y="511"/>
                    <a:pt x="319" y="503"/>
                  </a:cubicBezTo>
                  <a:cubicBezTo>
                    <a:pt x="319" y="421"/>
                    <a:pt x="319" y="421"/>
                    <a:pt x="319" y="421"/>
                  </a:cubicBezTo>
                  <a:cubicBezTo>
                    <a:pt x="319" y="414"/>
                    <a:pt x="316" y="411"/>
                    <a:pt x="314" y="406"/>
                  </a:cubicBezTo>
                  <a:cubicBezTo>
                    <a:pt x="314" y="404"/>
                    <a:pt x="309" y="404"/>
                    <a:pt x="307" y="404"/>
                  </a:cubicBezTo>
                  <a:close/>
                  <a:moveTo>
                    <a:pt x="419" y="404"/>
                  </a:moveTo>
                  <a:cubicBezTo>
                    <a:pt x="414" y="404"/>
                    <a:pt x="409" y="406"/>
                    <a:pt x="406" y="409"/>
                  </a:cubicBezTo>
                  <a:cubicBezTo>
                    <a:pt x="406" y="411"/>
                    <a:pt x="404" y="416"/>
                    <a:pt x="404" y="424"/>
                  </a:cubicBezTo>
                  <a:cubicBezTo>
                    <a:pt x="404" y="438"/>
                    <a:pt x="404" y="438"/>
                    <a:pt x="404" y="438"/>
                  </a:cubicBezTo>
                  <a:cubicBezTo>
                    <a:pt x="432" y="438"/>
                    <a:pt x="432" y="438"/>
                    <a:pt x="432" y="438"/>
                  </a:cubicBezTo>
                  <a:cubicBezTo>
                    <a:pt x="432" y="424"/>
                    <a:pt x="432" y="424"/>
                    <a:pt x="432" y="424"/>
                  </a:cubicBezTo>
                  <a:cubicBezTo>
                    <a:pt x="432" y="416"/>
                    <a:pt x="429" y="411"/>
                    <a:pt x="429" y="409"/>
                  </a:cubicBezTo>
                  <a:cubicBezTo>
                    <a:pt x="427" y="406"/>
                    <a:pt x="421" y="404"/>
                    <a:pt x="419" y="404"/>
                  </a:cubicBez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endParaRPr lang="en-US" sz="1836"/>
            </a:p>
          </p:txBody>
        </p:sp>
      </p:grpSp>
      <p:grpSp>
        <p:nvGrpSpPr>
          <p:cNvPr id="9272" name="Group 9271"/>
          <p:cNvGrpSpPr/>
          <p:nvPr/>
        </p:nvGrpSpPr>
        <p:grpSpPr>
          <a:xfrm>
            <a:off x="1315706" y="1528549"/>
            <a:ext cx="1119124" cy="1119124"/>
            <a:chOff x="-17024350" y="10841038"/>
            <a:chExt cx="3986213" cy="3986212"/>
          </a:xfrm>
        </p:grpSpPr>
        <p:sp>
          <p:nvSpPr>
            <p:cNvPr id="34" name="Oval 16"/>
            <p:cNvSpPr>
              <a:spLocks noChangeArrowheads="1"/>
            </p:cNvSpPr>
            <p:nvPr/>
          </p:nvSpPr>
          <p:spPr bwMode="auto">
            <a:xfrm>
              <a:off x="-17024350" y="10841038"/>
              <a:ext cx="3986213" cy="3986212"/>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9255" name="Freeform 18"/>
            <p:cNvSpPr>
              <a:spLocks noEditPoints="1"/>
            </p:cNvSpPr>
            <p:nvPr/>
          </p:nvSpPr>
          <p:spPr bwMode="auto">
            <a:xfrm>
              <a:off x="-16149637" y="11696700"/>
              <a:ext cx="2233613" cy="2271712"/>
            </a:xfrm>
            <a:custGeom>
              <a:avLst/>
              <a:gdLst>
                <a:gd name="T0" fmla="*/ 579 w 596"/>
                <a:gd name="T1" fmla="*/ 366 h 606"/>
                <a:gd name="T2" fmla="*/ 586 w 596"/>
                <a:gd name="T3" fmla="*/ 306 h 606"/>
                <a:gd name="T4" fmla="*/ 301 w 596"/>
                <a:gd name="T5" fmla="*/ 23 h 606"/>
                <a:gd name="T6" fmla="*/ 253 w 596"/>
                <a:gd name="T7" fmla="*/ 25 h 606"/>
                <a:gd name="T8" fmla="*/ 166 w 596"/>
                <a:gd name="T9" fmla="*/ 0 h 606"/>
                <a:gd name="T10" fmla="*/ 0 w 596"/>
                <a:gd name="T11" fmla="*/ 166 h 606"/>
                <a:gd name="T12" fmla="*/ 23 w 596"/>
                <a:gd name="T13" fmla="*/ 248 h 606"/>
                <a:gd name="T14" fmla="*/ 18 w 596"/>
                <a:gd name="T15" fmla="*/ 306 h 606"/>
                <a:gd name="T16" fmla="*/ 301 w 596"/>
                <a:gd name="T17" fmla="*/ 591 h 606"/>
                <a:gd name="T18" fmla="*/ 353 w 596"/>
                <a:gd name="T19" fmla="*/ 586 h 606"/>
                <a:gd name="T20" fmla="*/ 431 w 596"/>
                <a:gd name="T21" fmla="*/ 606 h 606"/>
                <a:gd name="T22" fmla="*/ 596 w 596"/>
                <a:gd name="T23" fmla="*/ 441 h 606"/>
                <a:gd name="T24" fmla="*/ 579 w 596"/>
                <a:gd name="T25" fmla="*/ 366 h 606"/>
                <a:gd name="T26" fmla="*/ 449 w 596"/>
                <a:gd name="T27" fmla="*/ 441 h 606"/>
                <a:gd name="T28" fmla="*/ 391 w 596"/>
                <a:gd name="T29" fmla="*/ 486 h 606"/>
                <a:gd name="T30" fmla="*/ 301 w 596"/>
                <a:gd name="T31" fmla="*/ 501 h 606"/>
                <a:gd name="T32" fmla="*/ 201 w 596"/>
                <a:gd name="T33" fmla="*/ 481 h 606"/>
                <a:gd name="T34" fmla="*/ 153 w 596"/>
                <a:gd name="T35" fmla="*/ 439 h 606"/>
                <a:gd name="T36" fmla="*/ 136 w 596"/>
                <a:gd name="T37" fmla="*/ 388 h 606"/>
                <a:gd name="T38" fmla="*/ 146 w 596"/>
                <a:gd name="T39" fmla="*/ 361 h 606"/>
                <a:gd name="T40" fmla="*/ 176 w 596"/>
                <a:gd name="T41" fmla="*/ 348 h 606"/>
                <a:gd name="T42" fmla="*/ 201 w 596"/>
                <a:gd name="T43" fmla="*/ 358 h 606"/>
                <a:gd name="T44" fmla="*/ 218 w 596"/>
                <a:gd name="T45" fmla="*/ 383 h 606"/>
                <a:gd name="T46" fmla="*/ 233 w 596"/>
                <a:gd name="T47" fmla="*/ 411 h 606"/>
                <a:gd name="T48" fmla="*/ 258 w 596"/>
                <a:gd name="T49" fmla="*/ 431 h 606"/>
                <a:gd name="T50" fmla="*/ 298 w 596"/>
                <a:gd name="T51" fmla="*/ 436 h 606"/>
                <a:gd name="T52" fmla="*/ 356 w 596"/>
                <a:gd name="T53" fmla="*/ 421 h 606"/>
                <a:gd name="T54" fmla="*/ 379 w 596"/>
                <a:gd name="T55" fmla="*/ 386 h 606"/>
                <a:gd name="T56" fmla="*/ 366 w 596"/>
                <a:gd name="T57" fmla="*/ 361 h 606"/>
                <a:gd name="T58" fmla="*/ 336 w 596"/>
                <a:gd name="T59" fmla="*/ 343 h 606"/>
                <a:gd name="T60" fmla="*/ 283 w 596"/>
                <a:gd name="T61" fmla="*/ 331 h 606"/>
                <a:gd name="T62" fmla="*/ 211 w 596"/>
                <a:gd name="T63" fmla="*/ 308 h 606"/>
                <a:gd name="T64" fmla="*/ 161 w 596"/>
                <a:gd name="T65" fmla="*/ 273 h 606"/>
                <a:gd name="T66" fmla="*/ 143 w 596"/>
                <a:gd name="T67" fmla="*/ 216 h 606"/>
                <a:gd name="T68" fmla="*/ 161 w 596"/>
                <a:gd name="T69" fmla="*/ 158 h 606"/>
                <a:gd name="T70" fmla="*/ 216 w 596"/>
                <a:gd name="T71" fmla="*/ 118 h 606"/>
                <a:gd name="T72" fmla="*/ 301 w 596"/>
                <a:gd name="T73" fmla="*/ 106 h 606"/>
                <a:gd name="T74" fmla="*/ 366 w 596"/>
                <a:gd name="T75" fmla="*/ 116 h 606"/>
                <a:gd name="T76" fmla="*/ 414 w 596"/>
                <a:gd name="T77" fmla="*/ 138 h 606"/>
                <a:gd name="T78" fmla="*/ 441 w 596"/>
                <a:gd name="T79" fmla="*/ 168 h 606"/>
                <a:gd name="T80" fmla="*/ 451 w 596"/>
                <a:gd name="T81" fmla="*/ 201 h 606"/>
                <a:gd name="T82" fmla="*/ 439 w 596"/>
                <a:gd name="T83" fmla="*/ 228 h 606"/>
                <a:gd name="T84" fmla="*/ 409 w 596"/>
                <a:gd name="T85" fmla="*/ 241 h 606"/>
                <a:gd name="T86" fmla="*/ 384 w 596"/>
                <a:gd name="T87" fmla="*/ 233 h 606"/>
                <a:gd name="T88" fmla="*/ 369 w 596"/>
                <a:gd name="T89" fmla="*/ 211 h 606"/>
                <a:gd name="T90" fmla="*/ 343 w 596"/>
                <a:gd name="T91" fmla="*/ 181 h 606"/>
                <a:gd name="T92" fmla="*/ 296 w 596"/>
                <a:gd name="T93" fmla="*/ 168 h 606"/>
                <a:gd name="T94" fmla="*/ 246 w 596"/>
                <a:gd name="T95" fmla="*/ 181 h 606"/>
                <a:gd name="T96" fmla="*/ 228 w 596"/>
                <a:gd name="T97" fmla="*/ 208 h 606"/>
                <a:gd name="T98" fmla="*/ 233 w 596"/>
                <a:gd name="T99" fmla="*/ 226 h 606"/>
                <a:gd name="T100" fmla="*/ 251 w 596"/>
                <a:gd name="T101" fmla="*/ 238 h 606"/>
                <a:gd name="T102" fmla="*/ 273 w 596"/>
                <a:gd name="T103" fmla="*/ 246 h 606"/>
                <a:gd name="T104" fmla="*/ 313 w 596"/>
                <a:gd name="T105" fmla="*/ 256 h 606"/>
                <a:gd name="T106" fmla="*/ 376 w 596"/>
                <a:gd name="T107" fmla="*/ 273 h 606"/>
                <a:gd name="T108" fmla="*/ 424 w 596"/>
                <a:gd name="T109" fmla="*/ 296 h 606"/>
                <a:gd name="T110" fmla="*/ 456 w 596"/>
                <a:gd name="T111" fmla="*/ 328 h 606"/>
                <a:gd name="T112" fmla="*/ 469 w 596"/>
                <a:gd name="T113" fmla="*/ 378 h 606"/>
                <a:gd name="T114" fmla="*/ 449 w 596"/>
                <a:gd name="T115" fmla="*/ 441 h 6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96" h="606">
                  <a:moveTo>
                    <a:pt x="579" y="366"/>
                  </a:moveTo>
                  <a:cubicBezTo>
                    <a:pt x="584" y="348"/>
                    <a:pt x="586" y="328"/>
                    <a:pt x="586" y="306"/>
                  </a:cubicBezTo>
                  <a:cubicBezTo>
                    <a:pt x="586" y="148"/>
                    <a:pt x="459" y="23"/>
                    <a:pt x="301" y="23"/>
                  </a:cubicBezTo>
                  <a:cubicBezTo>
                    <a:pt x="286" y="23"/>
                    <a:pt x="268" y="23"/>
                    <a:pt x="253" y="25"/>
                  </a:cubicBezTo>
                  <a:cubicBezTo>
                    <a:pt x="228" y="10"/>
                    <a:pt x="198" y="0"/>
                    <a:pt x="166" y="0"/>
                  </a:cubicBezTo>
                  <a:cubicBezTo>
                    <a:pt x="76" y="0"/>
                    <a:pt x="0" y="76"/>
                    <a:pt x="0" y="166"/>
                  </a:cubicBezTo>
                  <a:cubicBezTo>
                    <a:pt x="0" y="196"/>
                    <a:pt x="8" y="226"/>
                    <a:pt x="23" y="248"/>
                  </a:cubicBezTo>
                  <a:cubicBezTo>
                    <a:pt x="20" y="268"/>
                    <a:pt x="18" y="286"/>
                    <a:pt x="18" y="306"/>
                  </a:cubicBezTo>
                  <a:cubicBezTo>
                    <a:pt x="18" y="464"/>
                    <a:pt x="146" y="591"/>
                    <a:pt x="301" y="591"/>
                  </a:cubicBezTo>
                  <a:cubicBezTo>
                    <a:pt x="321" y="591"/>
                    <a:pt x="338" y="589"/>
                    <a:pt x="353" y="586"/>
                  </a:cubicBezTo>
                  <a:cubicBezTo>
                    <a:pt x="379" y="599"/>
                    <a:pt x="404" y="606"/>
                    <a:pt x="431" y="606"/>
                  </a:cubicBezTo>
                  <a:cubicBezTo>
                    <a:pt x="524" y="606"/>
                    <a:pt x="596" y="531"/>
                    <a:pt x="596" y="441"/>
                  </a:cubicBezTo>
                  <a:cubicBezTo>
                    <a:pt x="596" y="413"/>
                    <a:pt x="591" y="388"/>
                    <a:pt x="579" y="366"/>
                  </a:cubicBezTo>
                  <a:close/>
                  <a:moveTo>
                    <a:pt x="449" y="441"/>
                  </a:moveTo>
                  <a:cubicBezTo>
                    <a:pt x="434" y="461"/>
                    <a:pt x="416" y="476"/>
                    <a:pt x="391" y="486"/>
                  </a:cubicBezTo>
                  <a:cubicBezTo>
                    <a:pt x="366" y="496"/>
                    <a:pt x="336" y="501"/>
                    <a:pt x="301" y="501"/>
                  </a:cubicBezTo>
                  <a:cubicBezTo>
                    <a:pt x="261" y="501"/>
                    <a:pt x="226" y="494"/>
                    <a:pt x="201" y="481"/>
                  </a:cubicBezTo>
                  <a:cubicBezTo>
                    <a:pt x="181" y="469"/>
                    <a:pt x="166" y="456"/>
                    <a:pt x="153" y="439"/>
                  </a:cubicBezTo>
                  <a:cubicBezTo>
                    <a:pt x="141" y="421"/>
                    <a:pt x="136" y="403"/>
                    <a:pt x="136" y="388"/>
                  </a:cubicBezTo>
                  <a:cubicBezTo>
                    <a:pt x="136" y="376"/>
                    <a:pt x="138" y="368"/>
                    <a:pt x="146" y="361"/>
                  </a:cubicBezTo>
                  <a:cubicBezTo>
                    <a:pt x="153" y="353"/>
                    <a:pt x="163" y="348"/>
                    <a:pt x="176" y="348"/>
                  </a:cubicBezTo>
                  <a:cubicBezTo>
                    <a:pt x="186" y="348"/>
                    <a:pt x="193" y="353"/>
                    <a:pt x="201" y="358"/>
                  </a:cubicBezTo>
                  <a:cubicBezTo>
                    <a:pt x="208" y="363"/>
                    <a:pt x="213" y="371"/>
                    <a:pt x="218" y="383"/>
                  </a:cubicBezTo>
                  <a:cubicBezTo>
                    <a:pt x="223" y="393"/>
                    <a:pt x="228" y="403"/>
                    <a:pt x="233" y="411"/>
                  </a:cubicBezTo>
                  <a:cubicBezTo>
                    <a:pt x="241" y="418"/>
                    <a:pt x="248" y="426"/>
                    <a:pt x="258" y="431"/>
                  </a:cubicBezTo>
                  <a:cubicBezTo>
                    <a:pt x="268" y="433"/>
                    <a:pt x="283" y="436"/>
                    <a:pt x="298" y="436"/>
                  </a:cubicBezTo>
                  <a:cubicBezTo>
                    <a:pt x="323" y="436"/>
                    <a:pt x="341" y="431"/>
                    <a:pt x="356" y="421"/>
                  </a:cubicBezTo>
                  <a:cubicBezTo>
                    <a:pt x="371" y="413"/>
                    <a:pt x="379" y="401"/>
                    <a:pt x="379" y="386"/>
                  </a:cubicBezTo>
                  <a:cubicBezTo>
                    <a:pt x="379" y="376"/>
                    <a:pt x="374" y="366"/>
                    <a:pt x="366" y="361"/>
                  </a:cubicBezTo>
                  <a:cubicBezTo>
                    <a:pt x="358" y="353"/>
                    <a:pt x="348" y="346"/>
                    <a:pt x="336" y="343"/>
                  </a:cubicBezTo>
                  <a:cubicBezTo>
                    <a:pt x="323" y="338"/>
                    <a:pt x="306" y="336"/>
                    <a:pt x="283" y="331"/>
                  </a:cubicBezTo>
                  <a:cubicBezTo>
                    <a:pt x="253" y="323"/>
                    <a:pt x="228" y="316"/>
                    <a:pt x="211" y="308"/>
                  </a:cubicBezTo>
                  <a:cubicBezTo>
                    <a:pt x="188" y="298"/>
                    <a:pt x="173" y="288"/>
                    <a:pt x="161" y="273"/>
                  </a:cubicBezTo>
                  <a:cubicBezTo>
                    <a:pt x="148" y="256"/>
                    <a:pt x="143" y="238"/>
                    <a:pt x="143" y="216"/>
                  </a:cubicBezTo>
                  <a:cubicBezTo>
                    <a:pt x="143" y="193"/>
                    <a:pt x="148" y="173"/>
                    <a:pt x="161" y="158"/>
                  </a:cubicBezTo>
                  <a:cubicBezTo>
                    <a:pt x="173" y="141"/>
                    <a:pt x="193" y="128"/>
                    <a:pt x="216" y="118"/>
                  </a:cubicBezTo>
                  <a:cubicBezTo>
                    <a:pt x="241" y="111"/>
                    <a:pt x="268" y="106"/>
                    <a:pt x="301" y="106"/>
                  </a:cubicBezTo>
                  <a:cubicBezTo>
                    <a:pt x="326" y="106"/>
                    <a:pt x="348" y="108"/>
                    <a:pt x="366" y="116"/>
                  </a:cubicBezTo>
                  <a:cubicBezTo>
                    <a:pt x="386" y="121"/>
                    <a:pt x="401" y="128"/>
                    <a:pt x="414" y="138"/>
                  </a:cubicBezTo>
                  <a:cubicBezTo>
                    <a:pt x="426" y="148"/>
                    <a:pt x="436" y="158"/>
                    <a:pt x="441" y="168"/>
                  </a:cubicBezTo>
                  <a:cubicBezTo>
                    <a:pt x="446" y="181"/>
                    <a:pt x="451" y="191"/>
                    <a:pt x="451" y="201"/>
                  </a:cubicBezTo>
                  <a:cubicBezTo>
                    <a:pt x="451" y="213"/>
                    <a:pt x="446" y="221"/>
                    <a:pt x="439" y="228"/>
                  </a:cubicBezTo>
                  <a:cubicBezTo>
                    <a:pt x="431" y="238"/>
                    <a:pt x="421" y="241"/>
                    <a:pt x="409" y="241"/>
                  </a:cubicBezTo>
                  <a:cubicBezTo>
                    <a:pt x="399" y="241"/>
                    <a:pt x="391" y="238"/>
                    <a:pt x="384" y="233"/>
                  </a:cubicBezTo>
                  <a:cubicBezTo>
                    <a:pt x="379" y="228"/>
                    <a:pt x="374" y="221"/>
                    <a:pt x="369" y="211"/>
                  </a:cubicBezTo>
                  <a:cubicBezTo>
                    <a:pt x="361" y="198"/>
                    <a:pt x="351" y="188"/>
                    <a:pt x="343" y="181"/>
                  </a:cubicBezTo>
                  <a:cubicBezTo>
                    <a:pt x="333" y="173"/>
                    <a:pt x="316" y="168"/>
                    <a:pt x="296" y="168"/>
                  </a:cubicBezTo>
                  <a:cubicBezTo>
                    <a:pt x="273" y="168"/>
                    <a:pt x="258" y="173"/>
                    <a:pt x="246" y="181"/>
                  </a:cubicBezTo>
                  <a:cubicBezTo>
                    <a:pt x="233" y="188"/>
                    <a:pt x="228" y="198"/>
                    <a:pt x="228" y="208"/>
                  </a:cubicBezTo>
                  <a:cubicBezTo>
                    <a:pt x="228" y="216"/>
                    <a:pt x="231" y="221"/>
                    <a:pt x="233" y="226"/>
                  </a:cubicBezTo>
                  <a:cubicBezTo>
                    <a:pt x="238" y="231"/>
                    <a:pt x="243" y="233"/>
                    <a:pt x="251" y="238"/>
                  </a:cubicBezTo>
                  <a:cubicBezTo>
                    <a:pt x="258" y="241"/>
                    <a:pt x="266" y="243"/>
                    <a:pt x="273" y="246"/>
                  </a:cubicBezTo>
                  <a:cubicBezTo>
                    <a:pt x="281" y="248"/>
                    <a:pt x="293" y="251"/>
                    <a:pt x="313" y="256"/>
                  </a:cubicBezTo>
                  <a:cubicBezTo>
                    <a:pt x="336" y="261"/>
                    <a:pt x="356" y="266"/>
                    <a:pt x="376" y="273"/>
                  </a:cubicBezTo>
                  <a:cubicBezTo>
                    <a:pt x="394" y="278"/>
                    <a:pt x="411" y="286"/>
                    <a:pt x="424" y="296"/>
                  </a:cubicBezTo>
                  <a:cubicBezTo>
                    <a:pt x="439" y="303"/>
                    <a:pt x="449" y="316"/>
                    <a:pt x="456" y="328"/>
                  </a:cubicBezTo>
                  <a:cubicBezTo>
                    <a:pt x="464" y="343"/>
                    <a:pt x="469" y="358"/>
                    <a:pt x="469" y="378"/>
                  </a:cubicBezTo>
                  <a:cubicBezTo>
                    <a:pt x="469" y="401"/>
                    <a:pt x="461" y="423"/>
                    <a:pt x="449" y="441"/>
                  </a:cubicBez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endParaRPr lang="en-US" sz="1836"/>
            </a:p>
          </p:txBody>
        </p:sp>
      </p:grpSp>
      <p:grpSp>
        <p:nvGrpSpPr>
          <p:cNvPr id="9279" name="Group 9278"/>
          <p:cNvGrpSpPr/>
          <p:nvPr/>
        </p:nvGrpSpPr>
        <p:grpSpPr>
          <a:xfrm>
            <a:off x="3073678" y="3120088"/>
            <a:ext cx="1119124" cy="1119124"/>
            <a:chOff x="13636625" y="10841038"/>
            <a:chExt cx="3986213" cy="3986212"/>
          </a:xfrm>
        </p:grpSpPr>
        <p:sp>
          <p:nvSpPr>
            <p:cNvPr id="12" name="Oval 13"/>
            <p:cNvSpPr>
              <a:spLocks noChangeArrowheads="1"/>
            </p:cNvSpPr>
            <p:nvPr/>
          </p:nvSpPr>
          <p:spPr bwMode="auto">
            <a:xfrm>
              <a:off x="13636625" y="10841038"/>
              <a:ext cx="3986213" cy="3986212"/>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9256" name="Freeform 19"/>
            <p:cNvSpPr>
              <a:spLocks/>
            </p:cNvSpPr>
            <p:nvPr/>
          </p:nvSpPr>
          <p:spPr bwMode="auto">
            <a:xfrm>
              <a:off x="14498638" y="11837988"/>
              <a:ext cx="2279650" cy="1981200"/>
            </a:xfrm>
            <a:custGeom>
              <a:avLst/>
              <a:gdLst>
                <a:gd name="T0" fmla="*/ 603 w 608"/>
                <a:gd name="T1" fmla="*/ 126 h 528"/>
                <a:gd name="T2" fmla="*/ 481 w 608"/>
                <a:gd name="T3" fmla="*/ 367 h 528"/>
                <a:gd name="T4" fmla="*/ 273 w 608"/>
                <a:gd name="T5" fmla="*/ 528 h 528"/>
                <a:gd name="T6" fmla="*/ 183 w 608"/>
                <a:gd name="T7" fmla="*/ 430 h 528"/>
                <a:gd name="T8" fmla="*/ 133 w 608"/>
                <a:gd name="T9" fmla="*/ 249 h 528"/>
                <a:gd name="T10" fmla="*/ 75 w 608"/>
                <a:gd name="T11" fmla="*/ 151 h 528"/>
                <a:gd name="T12" fmla="*/ 28 w 608"/>
                <a:gd name="T13" fmla="*/ 181 h 528"/>
                <a:gd name="T14" fmla="*/ 0 w 608"/>
                <a:gd name="T15" fmla="*/ 144 h 528"/>
                <a:gd name="T16" fmla="*/ 88 w 608"/>
                <a:gd name="T17" fmla="*/ 66 h 528"/>
                <a:gd name="T18" fmla="*/ 178 w 608"/>
                <a:gd name="T19" fmla="*/ 10 h 528"/>
                <a:gd name="T20" fmla="*/ 263 w 608"/>
                <a:gd name="T21" fmla="*/ 108 h 528"/>
                <a:gd name="T22" fmla="*/ 288 w 608"/>
                <a:gd name="T23" fmla="*/ 247 h 528"/>
                <a:gd name="T24" fmla="*/ 333 w 608"/>
                <a:gd name="T25" fmla="*/ 340 h 528"/>
                <a:gd name="T26" fmla="*/ 390 w 608"/>
                <a:gd name="T27" fmla="*/ 279 h 528"/>
                <a:gd name="T28" fmla="*/ 430 w 608"/>
                <a:gd name="T29" fmla="*/ 186 h 528"/>
                <a:gd name="T30" fmla="*/ 390 w 608"/>
                <a:gd name="T31" fmla="*/ 136 h 528"/>
                <a:gd name="T32" fmla="*/ 345 w 608"/>
                <a:gd name="T33" fmla="*/ 146 h 528"/>
                <a:gd name="T34" fmla="*/ 516 w 608"/>
                <a:gd name="T35" fmla="*/ 3 h 528"/>
                <a:gd name="T36" fmla="*/ 603 w 608"/>
                <a:gd name="T37" fmla="*/ 126 h 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08" h="528">
                  <a:moveTo>
                    <a:pt x="603" y="126"/>
                  </a:moveTo>
                  <a:cubicBezTo>
                    <a:pt x="601" y="184"/>
                    <a:pt x="561" y="264"/>
                    <a:pt x="481" y="367"/>
                  </a:cubicBezTo>
                  <a:cubicBezTo>
                    <a:pt x="398" y="473"/>
                    <a:pt x="328" y="528"/>
                    <a:pt x="273" y="528"/>
                  </a:cubicBezTo>
                  <a:cubicBezTo>
                    <a:pt x="238" y="528"/>
                    <a:pt x="208" y="495"/>
                    <a:pt x="183" y="430"/>
                  </a:cubicBezTo>
                  <a:cubicBezTo>
                    <a:pt x="165" y="370"/>
                    <a:pt x="150" y="309"/>
                    <a:pt x="133" y="249"/>
                  </a:cubicBezTo>
                  <a:cubicBezTo>
                    <a:pt x="115" y="184"/>
                    <a:pt x="98" y="151"/>
                    <a:pt x="75" y="151"/>
                  </a:cubicBezTo>
                  <a:cubicBezTo>
                    <a:pt x="70" y="151"/>
                    <a:pt x="55" y="161"/>
                    <a:pt x="28" y="181"/>
                  </a:cubicBezTo>
                  <a:cubicBezTo>
                    <a:pt x="0" y="144"/>
                    <a:pt x="0" y="144"/>
                    <a:pt x="0" y="144"/>
                  </a:cubicBezTo>
                  <a:cubicBezTo>
                    <a:pt x="30" y="118"/>
                    <a:pt x="60" y="91"/>
                    <a:pt x="88" y="66"/>
                  </a:cubicBezTo>
                  <a:cubicBezTo>
                    <a:pt x="128" y="30"/>
                    <a:pt x="158" y="13"/>
                    <a:pt x="178" y="10"/>
                  </a:cubicBezTo>
                  <a:cubicBezTo>
                    <a:pt x="225" y="5"/>
                    <a:pt x="253" y="38"/>
                    <a:pt x="263" y="108"/>
                  </a:cubicBezTo>
                  <a:cubicBezTo>
                    <a:pt x="275" y="181"/>
                    <a:pt x="283" y="229"/>
                    <a:pt x="288" y="247"/>
                  </a:cubicBezTo>
                  <a:cubicBezTo>
                    <a:pt x="303" y="307"/>
                    <a:pt x="318" y="340"/>
                    <a:pt x="333" y="340"/>
                  </a:cubicBezTo>
                  <a:cubicBezTo>
                    <a:pt x="345" y="340"/>
                    <a:pt x="365" y="319"/>
                    <a:pt x="390" y="279"/>
                  </a:cubicBezTo>
                  <a:cubicBezTo>
                    <a:pt x="415" y="239"/>
                    <a:pt x="428" y="209"/>
                    <a:pt x="430" y="186"/>
                  </a:cubicBezTo>
                  <a:cubicBezTo>
                    <a:pt x="433" y="154"/>
                    <a:pt x="420" y="136"/>
                    <a:pt x="390" y="136"/>
                  </a:cubicBezTo>
                  <a:cubicBezTo>
                    <a:pt x="375" y="136"/>
                    <a:pt x="360" y="138"/>
                    <a:pt x="345" y="146"/>
                  </a:cubicBezTo>
                  <a:cubicBezTo>
                    <a:pt x="375" y="48"/>
                    <a:pt x="433" y="0"/>
                    <a:pt x="516" y="3"/>
                  </a:cubicBezTo>
                  <a:cubicBezTo>
                    <a:pt x="578" y="5"/>
                    <a:pt x="608" y="45"/>
                    <a:pt x="603" y="126"/>
                  </a:cubicBez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endParaRPr lang="en-US" sz="1836"/>
            </a:p>
          </p:txBody>
        </p:sp>
      </p:grpSp>
      <p:grpSp>
        <p:nvGrpSpPr>
          <p:cNvPr id="90" name="Group 89"/>
          <p:cNvGrpSpPr/>
          <p:nvPr/>
        </p:nvGrpSpPr>
        <p:grpSpPr>
          <a:xfrm>
            <a:off x="8347593" y="3120088"/>
            <a:ext cx="1119124" cy="1119124"/>
            <a:chOff x="25955625" y="10841038"/>
            <a:chExt cx="3986213" cy="3986212"/>
          </a:xfrm>
        </p:grpSpPr>
        <p:sp>
          <p:nvSpPr>
            <p:cNvPr id="10" name="Oval 11"/>
            <p:cNvSpPr>
              <a:spLocks noChangeArrowheads="1"/>
            </p:cNvSpPr>
            <p:nvPr/>
          </p:nvSpPr>
          <p:spPr bwMode="auto">
            <a:xfrm>
              <a:off x="25955625" y="10841038"/>
              <a:ext cx="3986213" cy="3986212"/>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9259" name="Freeform 20"/>
            <p:cNvSpPr>
              <a:spLocks noEditPoints="1"/>
            </p:cNvSpPr>
            <p:nvPr/>
          </p:nvSpPr>
          <p:spPr bwMode="auto">
            <a:xfrm>
              <a:off x="26690638" y="11703050"/>
              <a:ext cx="2260600" cy="2262187"/>
            </a:xfrm>
            <a:custGeom>
              <a:avLst/>
              <a:gdLst>
                <a:gd name="T0" fmla="*/ 600 w 603"/>
                <a:gd name="T1" fmla="*/ 250 h 603"/>
                <a:gd name="T2" fmla="*/ 595 w 603"/>
                <a:gd name="T3" fmla="*/ 240 h 603"/>
                <a:gd name="T4" fmla="*/ 588 w 603"/>
                <a:gd name="T5" fmla="*/ 233 h 603"/>
                <a:gd name="T6" fmla="*/ 505 w 603"/>
                <a:gd name="T7" fmla="*/ 220 h 603"/>
                <a:gd name="T8" fmla="*/ 490 w 603"/>
                <a:gd name="T9" fmla="*/ 167 h 603"/>
                <a:gd name="T10" fmla="*/ 472 w 603"/>
                <a:gd name="T11" fmla="*/ 102 h 603"/>
                <a:gd name="T12" fmla="*/ 325 w 603"/>
                <a:gd name="T13" fmla="*/ 0 h 603"/>
                <a:gd name="T14" fmla="*/ 190 w 603"/>
                <a:gd name="T15" fmla="*/ 0 h 603"/>
                <a:gd name="T16" fmla="*/ 0 w 603"/>
                <a:gd name="T17" fmla="*/ 190 h 603"/>
                <a:gd name="T18" fmla="*/ 0 w 603"/>
                <a:gd name="T19" fmla="*/ 413 h 603"/>
                <a:gd name="T20" fmla="*/ 190 w 603"/>
                <a:gd name="T21" fmla="*/ 603 h 603"/>
                <a:gd name="T22" fmla="*/ 410 w 603"/>
                <a:gd name="T23" fmla="*/ 603 h 603"/>
                <a:gd name="T24" fmla="*/ 600 w 603"/>
                <a:gd name="T25" fmla="*/ 413 h 603"/>
                <a:gd name="T26" fmla="*/ 603 w 603"/>
                <a:gd name="T27" fmla="*/ 258 h 603"/>
                <a:gd name="T28" fmla="*/ 600 w 603"/>
                <a:gd name="T29" fmla="*/ 250 h 603"/>
                <a:gd name="T30" fmla="*/ 192 w 603"/>
                <a:gd name="T31" fmla="*/ 155 h 603"/>
                <a:gd name="T32" fmla="*/ 300 w 603"/>
                <a:gd name="T33" fmla="*/ 155 h 603"/>
                <a:gd name="T34" fmla="*/ 335 w 603"/>
                <a:gd name="T35" fmla="*/ 190 h 603"/>
                <a:gd name="T36" fmla="*/ 300 w 603"/>
                <a:gd name="T37" fmla="*/ 228 h 603"/>
                <a:gd name="T38" fmla="*/ 192 w 603"/>
                <a:gd name="T39" fmla="*/ 228 h 603"/>
                <a:gd name="T40" fmla="*/ 157 w 603"/>
                <a:gd name="T41" fmla="*/ 190 h 603"/>
                <a:gd name="T42" fmla="*/ 192 w 603"/>
                <a:gd name="T43" fmla="*/ 155 h 603"/>
                <a:gd name="T44" fmla="*/ 407 w 603"/>
                <a:gd name="T45" fmla="*/ 445 h 603"/>
                <a:gd name="T46" fmla="*/ 192 w 603"/>
                <a:gd name="T47" fmla="*/ 445 h 603"/>
                <a:gd name="T48" fmla="*/ 157 w 603"/>
                <a:gd name="T49" fmla="*/ 410 h 603"/>
                <a:gd name="T50" fmla="*/ 192 w 603"/>
                <a:gd name="T51" fmla="*/ 373 h 603"/>
                <a:gd name="T52" fmla="*/ 407 w 603"/>
                <a:gd name="T53" fmla="*/ 373 h 603"/>
                <a:gd name="T54" fmla="*/ 445 w 603"/>
                <a:gd name="T55" fmla="*/ 410 h 603"/>
                <a:gd name="T56" fmla="*/ 407 w 603"/>
                <a:gd name="T57" fmla="*/ 445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03" h="603">
                  <a:moveTo>
                    <a:pt x="600" y="250"/>
                  </a:moveTo>
                  <a:cubicBezTo>
                    <a:pt x="595" y="240"/>
                    <a:pt x="595" y="240"/>
                    <a:pt x="595" y="240"/>
                  </a:cubicBezTo>
                  <a:cubicBezTo>
                    <a:pt x="588" y="233"/>
                    <a:pt x="588" y="233"/>
                    <a:pt x="588" y="233"/>
                  </a:cubicBezTo>
                  <a:cubicBezTo>
                    <a:pt x="575" y="225"/>
                    <a:pt x="520" y="233"/>
                    <a:pt x="505" y="220"/>
                  </a:cubicBezTo>
                  <a:cubicBezTo>
                    <a:pt x="493" y="210"/>
                    <a:pt x="493" y="193"/>
                    <a:pt x="490" y="167"/>
                  </a:cubicBezTo>
                  <a:cubicBezTo>
                    <a:pt x="482" y="120"/>
                    <a:pt x="480" y="120"/>
                    <a:pt x="472" y="102"/>
                  </a:cubicBezTo>
                  <a:cubicBezTo>
                    <a:pt x="445" y="47"/>
                    <a:pt x="372" y="5"/>
                    <a:pt x="325" y="0"/>
                  </a:cubicBezTo>
                  <a:cubicBezTo>
                    <a:pt x="190" y="0"/>
                    <a:pt x="190" y="0"/>
                    <a:pt x="190" y="0"/>
                  </a:cubicBezTo>
                  <a:cubicBezTo>
                    <a:pt x="87" y="0"/>
                    <a:pt x="0" y="85"/>
                    <a:pt x="0" y="190"/>
                  </a:cubicBezTo>
                  <a:cubicBezTo>
                    <a:pt x="0" y="413"/>
                    <a:pt x="0" y="413"/>
                    <a:pt x="0" y="413"/>
                  </a:cubicBezTo>
                  <a:cubicBezTo>
                    <a:pt x="0" y="518"/>
                    <a:pt x="87" y="603"/>
                    <a:pt x="190" y="603"/>
                  </a:cubicBezTo>
                  <a:cubicBezTo>
                    <a:pt x="410" y="603"/>
                    <a:pt x="410" y="603"/>
                    <a:pt x="410" y="603"/>
                  </a:cubicBezTo>
                  <a:cubicBezTo>
                    <a:pt x="515" y="603"/>
                    <a:pt x="600" y="518"/>
                    <a:pt x="600" y="413"/>
                  </a:cubicBezTo>
                  <a:cubicBezTo>
                    <a:pt x="603" y="258"/>
                    <a:pt x="603" y="258"/>
                    <a:pt x="603" y="258"/>
                  </a:cubicBezTo>
                  <a:lnTo>
                    <a:pt x="600" y="250"/>
                  </a:lnTo>
                  <a:close/>
                  <a:moveTo>
                    <a:pt x="192" y="155"/>
                  </a:moveTo>
                  <a:cubicBezTo>
                    <a:pt x="300" y="155"/>
                    <a:pt x="300" y="155"/>
                    <a:pt x="300" y="155"/>
                  </a:cubicBezTo>
                  <a:cubicBezTo>
                    <a:pt x="320" y="155"/>
                    <a:pt x="335" y="170"/>
                    <a:pt x="335" y="190"/>
                  </a:cubicBezTo>
                  <a:cubicBezTo>
                    <a:pt x="335" y="210"/>
                    <a:pt x="320" y="228"/>
                    <a:pt x="300" y="228"/>
                  </a:cubicBezTo>
                  <a:cubicBezTo>
                    <a:pt x="192" y="228"/>
                    <a:pt x="192" y="228"/>
                    <a:pt x="192" y="228"/>
                  </a:cubicBezTo>
                  <a:cubicBezTo>
                    <a:pt x="172" y="228"/>
                    <a:pt x="157" y="210"/>
                    <a:pt x="157" y="190"/>
                  </a:cubicBezTo>
                  <a:cubicBezTo>
                    <a:pt x="157" y="170"/>
                    <a:pt x="172" y="155"/>
                    <a:pt x="192" y="155"/>
                  </a:cubicBezTo>
                  <a:close/>
                  <a:moveTo>
                    <a:pt x="407" y="445"/>
                  </a:moveTo>
                  <a:cubicBezTo>
                    <a:pt x="192" y="445"/>
                    <a:pt x="192" y="445"/>
                    <a:pt x="192" y="445"/>
                  </a:cubicBezTo>
                  <a:cubicBezTo>
                    <a:pt x="172" y="445"/>
                    <a:pt x="157" y="430"/>
                    <a:pt x="157" y="410"/>
                  </a:cubicBezTo>
                  <a:cubicBezTo>
                    <a:pt x="157" y="390"/>
                    <a:pt x="172" y="373"/>
                    <a:pt x="192" y="373"/>
                  </a:cubicBezTo>
                  <a:cubicBezTo>
                    <a:pt x="407" y="373"/>
                    <a:pt x="407" y="373"/>
                    <a:pt x="407" y="373"/>
                  </a:cubicBezTo>
                  <a:cubicBezTo>
                    <a:pt x="427" y="373"/>
                    <a:pt x="445" y="390"/>
                    <a:pt x="445" y="410"/>
                  </a:cubicBezTo>
                  <a:cubicBezTo>
                    <a:pt x="445" y="430"/>
                    <a:pt x="427" y="445"/>
                    <a:pt x="407" y="445"/>
                  </a:cubicBez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endParaRPr lang="en-US" sz="1836"/>
            </a:p>
          </p:txBody>
        </p:sp>
      </p:grpSp>
      <p:grpSp>
        <p:nvGrpSpPr>
          <p:cNvPr id="9273" name="Group 9272"/>
          <p:cNvGrpSpPr/>
          <p:nvPr/>
        </p:nvGrpSpPr>
        <p:grpSpPr>
          <a:xfrm>
            <a:off x="3073678" y="1528549"/>
            <a:ext cx="1119124" cy="1119124"/>
            <a:chOff x="-12633325" y="10841038"/>
            <a:chExt cx="3986213" cy="3986212"/>
          </a:xfrm>
        </p:grpSpPr>
        <p:sp>
          <p:nvSpPr>
            <p:cNvPr id="33" name="Oval 15"/>
            <p:cNvSpPr>
              <a:spLocks noChangeArrowheads="1"/>
            </p:cNvSpPr>
            <p:nvPr/>
          </p:nvSpPr>
          <p:spPr bwMode="auto">
            <a:xfrm>
              <a:off x="-12633325" y="10841038"/>
              <a:ext cx="3986213" cy="3986212"/>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9260" name="Freeform 21"/>
            <p:cNvSpPr>
              <a:spLocks/>
            </p:cNvSpPr>
            <p:nvPr/>
          </p:nvSpPr>
          <p:spPr bwMode="auto">
            <a:xfrm>
              <a:off x="-11166475" y="11699875"/>
              <a:ext cx="1057275" cy="2265362"/>
            </a:xfrm>
            <a:custGeom>
              <a:avLst/>
              <a:gdLst>
                <a:gd name="T0" fmla="*/ 187 w 282"/>
                <a:gd name="T1" fmla="*/ 146 h 604"/>
                <a:gd name="T2" fmla="*/ 187 w 282"/>
                <a:gd name="T3" fmla="*/ 198 h 604"/>
                <a:gd name="T4" fmla="*/ 282 w 282"/>
                <a:gd name="T5" fmla="*/ 198 h 604"/>
                <a:gd name="T6" fmla="*/ 272 w 282"/>
                <a:gd name="T7" fmla="*/ 301 h 604"/>
                <a:gd name="T8" fmla="*/ 187 w 282"/>
                <a:gd name="T9" fmla="*/ 301 h 604"/>
                <a:gd name="T10" fmla="*/ 187 w 282"/>
                <a:gd name="T11" fmla="*/ 604 h 604"/>
                <a:gd name="T12" fmla="*/ 62 w 282"/>
                <a:gd name="T13" fmla="*/ 604 h 604"/>
                <a:gd name="T14" fmla="*/ 62 w 282"/>
                <a:gd name="T15" fmla="*/ 301 h 604"/>
                <a:gd name="T16" fmla="*/ 0 w 282"/>
                <a:gd name="T17" fmla="*/ 301 h 604"/>
                <a:gd name="T18" fmla="*/ 0 w 282"/>
                <a:gd name="T19" fmla="*/ 198 h 604"/>
                <a:gd name="T20" fmla="*/ 62 w 282"/>
                <a:gd name="T21" fmla="*/ 198 h 604"/>
                <a:gd name="T22" fmla="*/ 62 w 282"/>
                <a:gd name="T23" fmla="*/ 136 h 604"/>
                <a:gd name="T24" fmla="*/ 197 w 282"/>
                <a:gd name="T25" fmla="*/ 0 h 604"/>
                <a:gd name="T26" fmla="*/ 282 w 282"/>
                <a:gd name="T27" fmla="*/ 0 h 604"/>
                <a:gd name="T28" fmla="*/ 282 w 282"/>
                <a:gd name="T29" fmla="*/ 103 h 604"/>
                <a:gd name="T30" fmla="*/ 229 w 282"/>
                <a:gd name="T31" fmla="*/ 103 h 604"/>
                <a:gd name="T32" fmla="*/ 187 w 282"/>
                <a:gd name="T33" fmla="*/ 146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82" h="604">
                  <a:moveTo>
                    <a:pt x="187" y="146"/>
                  </a:moveTo>
                  <a:cubicBezTo>
                    <a:pt x="187" y="198"/>
                    <a:pt x="187" y="198"/>
                    <a:pt x="187" y="198"/>
                  </a:cubicBezTo>
                  <a:cubicBezTo>
                    <a:pt x="282" y="198"/>
                    <a:pt x="282" y="198"/>
                    <a:pt x="282" y="198"/>
                  </a:cubicBezTo>
                  <a:cubicBezTo>
                    <a:pt x="272" y="301"/>
                    <a:pt x="272" y="301"/>
                    <a:pt x="272" y="301"/>
                  </a:cubicBezTo>
                  <a:cubicBezTo>
                    <a:pt x="187" y="301"/>
                    <a:pt x="187" y="301"/>
                    <a:pt x="187" y="301"/>
                  </a:cubicBezTo>
                  <a:cubicBezTo>
                    <a:pt x="187" y="604"/>
                    <a:pt x="187" y="604"/>
                    <a:pt x="187" y="604"/>
                  </a:cubicBezTo>
                  <a:cubicBezTo>
                    <a:pt x="62" y="604"/>
                    <a:pt x="62" y="604"/>
                    <a:pt x="62" y="604"/>
                  </a:cubicBezTo>
                  <a:cubicBezTo>
                    <a:pt x="62" y="301"/>
                    <a:pt x="62" y="301"/>
                    <a:pt x="62" y="301"/>
                  </a:cubicBezTo>
                  <a:cubicBezTo>
                    <a:pt x="0" y="301"/>
                    <a:pt x="0" y="301"/>
                    <a:pt x="0" y="301"/>
                  </a:cubicBezTo>
                  <a:cubicBezTo>
                    <a:pt x="0" y="198"/>
                    <a:pt x="0" y="198"/>
                    <a:pt x="0" y="198"/>
                  </a:cubicBezTo>
                  <a:cubicBezTo>
                    <a:pt x="62" y="198"/>
                    <a:pt x="62" y="198"/>
                    <a:pt x="62" y="198"/>
                  </a:cubicBezTo>
                  <a:cubicBezTo>
                    <a:pt x="62" y="136"/>
                    <a:pt x="62" y="136"/>
                    <a:pt x="62" y="136"/>
                  </a:cubicBezTo>
                  <a:cubicBezTo>
                    <a:pt x="62" y="50"/>
                    <a:pt x="97" y="0"/>
                    <a:pt x="197" y="0"/>
                  </a:cubicBezTo>
                  <a:cubicBezTo>
                    <a:pt x="282" y="0"/>
                    <a:pt x="282" y="0"/>
                    <a:pt x="282" y="0"/>
                  </a:cubicBezTo>
                  <a:cubicBezTo>
                    <a:pt x="282" y="103"/>
                    <a:pt x="282" y="103"/>
                    <a:pt x="282" y="103"/>
                  </a:cubicBezTo>
                  <a:cubicBezTo>
                    <a:pt x="229" y="103"/>
                    <a:pt x="229" y="103"/>
                    <a:pt x="229" y="103"/>
                  </a:cubicBezTo>
                  <a:cubicBezTo>
                    <a:pt x="190" y="103"/>
                    <a:pt x="187" y="118"/>
                    <a:pt x="187" y="146"/>
                  </a:cubicBez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endParaRPr lang="en-US" sz="1836"/>
            </a:p>
          </p:txBody>
        </p:sp>
      </p:grpSp>
      <p:grpSp>
        <p:nvGrpSpPr>
          <p:cNvPr id="9274" name="Group 9273"/>
          <p:cNvGrpSpPr/>
          <p:nvPr/>
        </p:nvGrpSpPr>
        <p:grpSpPr>
          <a:xfrm>
            <a:off x="4831649" y="1528549"/>
            <a:ext cx="1119124" cy="1119124"/>
            <a:chOff x="-8361362" y="10841038"/>
            <a:chExt cx="3986213" cy="3986212"/>
          </a:xfrm>
        </p:grpSpPr>
        <p:sp>
          <p:nvSpPr>
            <p:cNvPr id="8" name="Oval 9"/>
            <p:cNvSpPr>
              <a:spLocks noChangeArrowheads="1"/>
            </p:cNvSpPr>
            <p:nvPr/>
          </p:nvSpPr>
          <p:spPr bwMode="auto">
            <a:xfrm>
              <a:off x="-8361362" y="10841038"/>
              <a:ext cx="3986213" cy="3986212"/>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9261" name="Freeform 22"/>
            <p:cNvSpPr>
              <a:spLocks noEditPoints="1"/>
            </p:cNvSpPr>
            <p:nvPr/>
          </p:nvSpPr>
          <p:spPr bwMode="auto">
            <a:xfrm>
              <a:off x="-7356475" y="11887200"/>
              <a:ext cx="1979613" cy="1890712"/>
            </a:xfrm>
            <a:custGeom>
              <a:avLst/>
              <a:gdLst>
                <a:gd name="T0" fmla="*/ 7 w 528"/>
                <a:gd name="T1" fmla="*/ 504 h 504"/>
                <a:gd name="T2" fmla="*/ 120 w 528"/>
                <a:gd name="T3" fmla="*/ 504 h 504"/>
                <a:gd name="T4" fmla="*/ 120 w 528"/>
                <a:gd name="T5" fmla="*/ 165 h 504"/>
                <a:gd name="T6" fmla="*/ 7 w 528"/>
                <a:gd name="T7" fmla="*/ 165 h 504"/>
                <a:gd name="T8" fmla="*/ 7 w 528"/>
                <a:gd name="T9" fmla="*/ 504 h 504"/>
                <a:gd name="T10" fmla="*/ 398 w 528"/>
                <a:gd name="T11" fmla="*/ 158 h 504"/>
                <a:gd name="T12" fmla="*/ 295 w 528"/>
                <a:gd name="T13" fmla="*/ 215 h 504"/>
                <a:gd name="T14" fmla="*/ 295 w 528"/>
                <a:gd name="T15" fmla="*/ 165 h 504"/>
                <a:gd name="T16" fmla="*/ 182 w 528"/>
                <a:gd name="T17" fmla="*/ 165 h 504"/>
                <a:gd name="T18" fmla="*/ 182 w 528"/>
                <a:gd name="T19" fmla="*/ 504 h 504"/>
                <a:gd name="T20" fmla="*/ 295 w 528"/>
                <a:gd name="T21" fmla="*/ 504 h 504"/>
                <a:gd name="T22" fmla="*/ 295 w 528"/>
                <a:gd name="T23" fmla="*/ 315 h 504"/>
                <a:gd name="T24" fmla="*/ 300 w 528"/>
                <a:gd name="T25" fmla="*/ 288 h 504"/>
                <a:gd name="T26" fmla="*/ 357 w 528"/>
                <a:gd name="T27" fmla="*/ 245 h 504"/>
                <a:gd name="T28" fmla="*/ 415 w 528"/>
                <a:gd name="T29" fmla="*/ 322 h 504"/>
                <a:gd name="T30" fmla="*/ 415 w 528"/>
                <a:gd name="T31" fmla="*/ 504 h 504"/>
                <a:gd name="T32" fmla="*/ 528 w 528"/>
                <a:gd name="T33" fmla="*/ 504 h 504"/>
                <a:gd name="T34" fmla="*/ 528 w 528"/>
                <a:gd name="T35" fmla="*/ 310 h 504"/>
                <a:gd name="T36" fmla="*/ 398 w 528"/>
                <a:gd name="T37" fmla="*/ 158 h 504"/>
                <a:gd name="T38" fmla="*/ 65 w 528"/>
                <a:gd name="T39" fmla="*/ 0 h 504"/>
                <a:gd name="T40" fmla="*/ 0 w 528"/>
                <a:gd name="T41" fmla="*/ 60 h 504"/>
                <a:gd name="T42" fmla="*/ 63 w 528"/>
                <a:gd name="T43" fmla="*/ 118 h 504"/>
                <a:gd name="T44" fmla="*/ 128 w 528"/>
                <a:gd name="T45" fmla="*/ 60 h 504"/>
                <a:gd name="T46" fmla="*/ 65 w 528"/>
                <a:gd name="T47" fmla="*/ 0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28" h="504">
                  <a:moveTo>
                    <a:pt x="7" y="504"/>
                  </a:moveTo>
                  <a:cubicBezTo>
                    <a:pt x="120" y="504"/>
                    <a:pt x="120" y="504"/>
                    <a:pt x="120" y="504"/>
                  </a:cubicBezTo>
                  <a:cubicBezTo>
                    <a:pt x="120" y="165"/>
                    <a:pt x="120" y="165"/>
                    <a:pt x="120" y="165"/>
                  </a:cubicBezTo>
                  <a:cubicBezTo>
                    <a:pt x="7" y="165"/>
                    <a:pt x="7" y="165"/>
                    <a:pt x="7" y="165"/>
                  </a:cubicBezTo>
                  <a:cubicBezTo>
                    <a:pt x="7" y="504"/>
                    <a:pt x="7" y="504"/>
                    <a:pt x="7" y="504"/>
                  </a:cubicBezTo>
                  <a:close/>
                  <a:moveTo>
                    <a:pt x="398" y="158"/>
                  </a:moveTo>
                  <a:cubicBezTo>
                    <a:pt x="335" y="158"/>
                    <a:pt x="310" y="190"/>
                    <a:pt x="295" y="215"/>
                  </a:cubicBezTo>
                  <a:cubicBezTo>
                    <a:pt x="295" y="165"/>
                    <a:pt x="295" y="165"/>
                    <a:pt x="295" y="165"/>
                  </a:cubicBezTo>
                  <a:cubicBezTo>
                    <a:pt x="182" y="165"/>
                    <a:pt x="182" y="165"/>
                    <a:pt x="182" y="165"/>
                  </a:cubicBezTo>
                  <a:cubicBezTo>
                    <a:pt x="184" y="198"/>
                    <a:pt x="182" y="504"/>
                    <a:pt x="182" y="504"/>
                  </a:cubicBezTo>
                  <a:cubicBezTo>
                    <a:pt x="295" y="504"/>
                    <a:pt x="295" y="504"/>
                    <a:pt x="295" y="504"/>
                  </a:cubicBezTo>
                  <a:cubicBezTo>
                    <a:pt x="295" y="315"/>
                    <a:pt x="295" y="315"/>
                    <a:pt x="295" y="315"/>
                  </a:cubicBezTo>
                  <a:cubicBezTo>
                    <a:pt x="295" y="305"/>
                    <a:pt x="295" y="295"/>
                    <a:pt x="300" y="288"/>
                  </a:cubicBezTo>
                  <a:cubicBezTo>
                    <a:pt x="307" y="268"/>
                    <a:pt x="325" y="245"/>
                    <a:pt x="357" y="245"/>
                  </a:cubicBezTo>
                  <a:cubicBezTo>
                    <a:pt x="398" y="245"/>
                    <a:pt x="415" y="278"/>
                    <a:pt x="415" y="322"/>
                  </a:cubicBezTo>
                  <a:cubicBezTo>
                    <a:pt x="415" y="504"/>
                    <a:pt x="415" y="504"/>
                    <a:pt x="415" y="504"/>
                  </a:cubicBezTo>
                  <a:cubicBezTo>
                    <a:pt x="528" y="504"/>
                    <a:pt x="528" y="504"/>
                    <a:pt x="528" y="504"/>
                  </a:cubicBezTo>
                  <a:cubicBezTo>
                    <a:pt x="528" y="310"/>
                    <a:pt x="528" y="310"/>
                    <a:pt x="528" y="310"/>
                  </a:cubicBezTo>
                  <a:cubicBezTo>
                    <a:pt x="528" y="205"/>
                    <a:pt x="473" y="158"/>
                    <a:pt x="398" y="158"/>
                  </a:cubicBezTo>
                  <a:close/>
                  <a:moveTo>
                    <a:pt x="65" y="0"/>
                  </a:moveTo>
                  <a:cubicBezTo>
                    <a:pt x="25" y="0"/>
                    <a:pt x="0" y="28"/>
                    <a:pt x="0" y="60"/>
                  </a:cubicBezTo>
                  <a:cubicBezTo>
                    <a:pt x="0" y="93"/>
                    <a:pt x="25" y="118"/>
                    <a:pt x="63" y="118"/>
                  </a:cubicBezTo>
                  <a:cubicBezTo>
                    <a:pt x="103" y="118"/>
                    <a:pt x="128" y="93"/>
                    <a:pt x="128" y="60"/>
                  </a:cubicBezTo>
                  <a:cubicBezTo>
                    <a:pt x="128" y="28"/>
                    <a:pt x="103" y="0"/>
                    <a:pt x="65" y="0"/>
                  </a:cubicBez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endParaRPr lang="en-US" sz="1836"/>
            </a:p>
          </p:txBody>
        </p:sp>
      </p:grpSp>
      <p:grpSp>
        <p:nvGrpSpPr>
          <p:cNvPr id="9276" name="Group 9275"/>
          <p:cNvGrpSpPr/>
          <p:nvPr/>
        </p:nvGrpSpPr>
        <p:grpSpPr>
          <a:xfrm>
            <a:off x="8347593" y="1528549"/>
            <a:ext cx="1119124" cy="1119124"/>
            <a:chOff x="296863" y="10841038"/>
            <a:chExt cx="3983038" cy="3986212"/>
          </a:xfrm>
        </p:grpSpPr>
        <p:sp>
          <p:nvSpPr>
            <p:cNvPr id="6" name="Oval 7"/>
            <p:cNvSpPr>
              <a:spLocks noChangeArrowheads="1"/>
            </p:cNvSpPr>
            <p:nvPr/>
          </p:nvSpPr>
          <p:spPr bwMode="auto">
            <a:xfrm>
              <a:off x="296863" y="10841038"/>
              <a:ext cx="3983038" cy="3986212"/>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9267" name="Freeform 23"/>
            <p:cNvSpPr>
              <a:spLocks noEditPoints="1"/>
            </p:cNvSpPr>
            <p:nvPr/>
          </p:nvSpPr>
          <p:spPr bwMode="auto">
            <a:xfrm>
              <a:off x="984250" y="12063413"/>
              <a:ext cx="2609850" cy="1541462"/>
            </a:xfrm>
            <a:custGeom>
              <a:avLst/>
              <a:gdLst>
                <a:gd name="T0" fmla="*/ 116 w 696"/>
                <a:gd name="T1" fmla="*/ 90 h 411"/>
                <a:gd name="T2" fmla="*/ 0 w 696"/>
                <a:gd name="T3" fmla="*/ 98 h 411"/>
                <a:gd name="T4" fmla="*/ 178 w 696"/>
                <a:gd name="T5" fmla="*/ 328 h 411"/>
                <a:gd name="T6" fmla="*/ 186 w 696"/>
                <a:gd name="T7" fmla="*/ 0 h 411"/>
                <a:gd name="T8" fmla="*/ 116 w 696"/>
                <a:gd name="T9" fmla="*/ 10 h 411"/>
                <a:gd name="T10" fmla="*/ 108 w 696"/>
                <a:gd name="T11" fmla="*/ 275 h 411"/>
                <a:gd name="T12" fmla="*/ 68 w 696"/>
                <a:gd name="T13" fmla="*/ 148 h 411"/>
                <a:gd name="T14" fmla="*/ 116 w 696"/>
                <a:gd name="T15" fmla="*/ 140 h 411"/>
                <a:gd name="T16" fmla="*/ 206 w 696"/>
                <a:gd name="T17" fmla="*/ 98 h 411"/>
                <a:gd name="T18" fmla="*/ 269 w 696"/>
                <a:gd name="T19" fmla="*/ 328 h 411"/>
                <a:gd name="T20" fmla="*/ 276 w 696"/>
                <a:gd name="T21" fmla="*/ 90 h 411"/>
                <a:gd name="T22" fmla="*/ 206 w 696"/>
                <a:gd name="T23" fmla="*/ 98 h 411"/>
                <a:gd name="T24" fmla="*/ 510 w 696"/>
                <a:gd name="T25" fmla="*/ 98 h 411"/>
                <a:gd name="T26" fmla="*/ 628 w 696"/>
                <a:gd name="T27" fmla="*/ 328 h 411"/>
                <a:gd name="T28" fmla="*/ 518 w 696"/>
                <a:gd name="T29" fmla="*/ 358 h 411"/>
                <a:gd name="T30" fmla="*/ 510 w 696"/>
                <a:gd name="T31" fmla="*/ 411 h 411"/>
                <a:gd name="T32" fmla="*/ 696 w 696"/>
                <a:gd name="T33" fmla="*/ 401 h 411"/>
                <a:gd name="T34" fmla="*/ 518 w 696"/>
                <a:gd name="T35" fmla="*/ 90 h 411"/>
                <a:gd name="T36" fmla="*/ 621 w 696"/>
                <a:gd name="T37" fmla="*/ 275 h 411"/>
                <a:gd name="T38" fmla="*/ 578 w 696"/>
                <a:gd name="T39" fmla="*/ 148 h 411"/>
                <a:gd name="T40" fmla="*/ 628 w 696"/>
                <a:gd name="T41" fmla="*/ 140 h 411"/>
                <a:gd name="T42" fmla="*/ 206 w 696"/>
                <a:gd name="T43" fmla="*/ 10 h 411"/>
                <a:gd name="T44" fmla="*/ 269 w 696"/>
                <a:gd name="T45" fmla="*/ 53 h 411"/>
                <a:gd name="T46" fmla="*/ 276 w 696"/>
                <a:gd name="T47" fmla="*/ 0 h 411"/>
                <a:gd name="T48" fmla="*/ 206 w 696"/>
                <a:gd name="T49" fmla="*/ 10 h 411"/>
                <a:gd name="T50" fmla="*/ 299 w 696"/>
                <a:gd name="T51" fmla="*/ 328 h 411"/>
                <a:gd name="T52" fmla="*/ 417 w 696"/>
                <a:gd name="T53" fmla="*/ 358 h 411"/>
                <a:gd name="T54" fmla="*/ 299 w 696"/>
                <a:gd name="T55" fmla="*/ 368 h 411"/>
                <a:gd name="T56" fmla="*/ 478 w 696"/>
                <a:gd name="T57" fmla="*/ 411 h 411"/>
                <a:gd name="T58" fmla="*/ 485 w 696"/>
                <a:gd name="T59" fmla="*/ 90 h 411"/>
                <a:gd name="T60" fmla="*/ 299 w 696"/>
                <a:gd name="T61" fmla="*/ 98 h 411"/>
                <a:gd name="T62" fmla="*/ 374 w 696"/>
                <a:gd name="T63" fmla="*/ 140 h 411"/>
                <a:gd name="T64" fmla="*/ 417 w 696"/>
                <a:gd name="T65" fmla="*/ 268 h 411"/>
                <a:gd name="T66" fmla="*/ 367 w 696"/>
                <a:gd name="T67" fmla="*/ 275 h 4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96" h="411">
                  <a:moveTo>
                    <a:pt x="116" y="10"/>
                  </a:moveTo>
                  <a:cubicBezTo>
                    <a:pt x="116" y="90"/>
                    <a:pt x="116" y="90"/>
                    <a:pt x="116" y="90"/>
                  </a:cubicBezTo>
                  <a:cubicBezTo>
                    <a:pt x="8" y="90"/>
                    <a:pt x="8" y="90"/>
                    <a:pt x="8" y="90"/>
                  </a:cubicBezTo>
                  <a:cubicBezTo>
                    <a:pt x="8" y="90"/>
                    <a:pt x="0" y="90"/>
                    <a:pt x="0" y="98"/>
                  </a:cubicBezTo>
                  <a:cubicBezTo>
                    <a:pt x="0" y="328"/>
                    <a:pt x="0" y="328"/>
                    <a:pt x="0" y="328"/>
                  </a:cubicBezTo>
                  <a:cubicBezTo>
                    <a:pt x="178" y="328"/>
                    <a:pt x="178" y="328"/>
                    <a:pt x="178" y="328"/>
                  </a:cubicBezTo>
                  <a:cubicBezTo>
                    <a:pt x="178" y="328"/>
                    <a:pt x="186" y="328"/>
                    <a:pt x="186" y="318"/>
                  </a:cubicBezTo>
                  <a:cubicBezTo>
                    <a:pt x="186" y="311"/>
                    <a:pt x="186" y="0"/>
                    <a:pt x="186" y="0"/>
                  </a:cubicBezTo>
                  <a:cubicBezTo>
                    <a:pt x="123" y="0"/>
                    <a:pt x="123" y="0"/>
                    <a:pt x="123" y="0"/>
                  </a:cubicBezTo>
                  <a:cubicBezTo>
                    <a:pt x="123" y="0"/>
                    <a:pt x="116" y="0"/>
                    <a:pt x="116" y="10"/>
                  </a:cubicBezTo>
                  <a:close/>
                  <a:moveTo>
                    <a:pt x="116" y="268"/>
                  </a:moveTo>
                  <a:cubicBezTo>
                    <a:pt x="116" y="278"/>
                    <a:pt x="108" y="275"/>
                    <a:pt x="108" y="275"/>
                  </a:cubicBezTo>
                  <a:cubicBezTo>
                    <a:pt x="68" y="275"/>
                    <a:pt x="68" y="275"/>
                    <a:pt x="68" y="275"/>
                  </a:cubicBezTo>
                  <a:cubicBezTo>
                    <a:pt x="68" y="148"/>
                    <a:pt x="68" y="148"/>
                    <a:pt x="68" y="148"/>
                  </a:cubicBezTo>
                  <a:cubicBezTo>
                    <a:pt x="68" y="140"/>
                    <a:pt x="75" y="140"/>
                    <a:pt x="75" y="140"/>
                  </a:cubicBezTo>
                  <a:cubicBezTo>
                    <a:pt x="116" y="140"/>
                    <a:pt x="116" y="140"/>
                    <a:pt x="116" y="140"/>
                  </a:cubicBezTo>
                  <a:lnTo>
                    <a:pt x="116" y="268"/>
                  </a:lnTo>
                  <a:close/>
                  <a:moveTo>
                    <a:pt x="206" y="98"/>
                  </a:moveTo>
                  <a:cubicBezTo>
                    <a:pt x="206" y="105"/>
                    <a:pt x="206" y="328"/>
                    <a:pt x="206" y="328"/>
                  </a:cubicBezTo>
                  <a:cubicBezTo>
                    <a:pt x="269" y="328"/>
                    <a:pt x="269" y="328"/>
                    <a:pt x="269" y="328"/>
                  </a:cubicBezTo>
                  <a:cubicBezTo>
                    <a:pt x="269" y="328"/>
                    <a:pt x="276" y="328"/>
                    <a:pt x="276" y="318"/>
                  </a:cubicBezTo>
                  <a:cubicBezTo>
                    <a:pt x="276" y="90"/>
                    <a:pt x="276" y="90"/>
                    <a:pt x="276" y="90"/>
                  </a:cubicBezTo>
                  <a:cubicBezTo>
                    <a:pt x="214" y="90"/>
                    <a:pt x="214" y="90"/>
                    <a:pt x="214" y="90"/>
                  </a:cubicBezTo>
                  <a:cubicBezTo>
                    <a:pt x="214" y="90"/>
                    <a:pt x="206" y="90"/>
                    <a:pt x="206" y="98"/>
                  </a:cubicBezTo>
                  <a:close/>
                  <a:moveTo>
                    <a:pt x="518" y="90"/>
                  </a:moveTo>
                  <a:cubicBezTo>
                    <a:pt x="518" y="90"/>
                    <a:pt x="510" y="90"/>
                    <a:pt x="510" y="98"/>
                  </a:cubicBezTo>
                  <a:cubicBezTo>
                    <a:pt x="510" y="328"/>
                    <a:pt x="510" y="328"/>
                    <a:pt x="510" y="328"/>
                  </a:cubicBezTo>
                  <a:cubicBezTo>
                    <a:pt x="628" y="328"/>
                    <a:pt x="628" y="328"/>
                    <a:pt x="628" y="328"/>
                  </a:cubicBezTo>
                  <a:cubicBezTo>
                    <a:pt x="628" y="358"/>
                    <a:pt x="628" y="358"/>
                    <a:pt x="628" y="358"/>
                  </a:cubicBezTo>
                  <a:cubicBezTo>
                    <a:pt x="518" y="358"/>
                    <a:pt x="518" y="358"/>
                    <a:pt x="518" y="358"/>
                  </a:cubicBezTo>
                  <a:cubicBezTo>
                    <a:pt x="518" y="358"/>
                    <a:pt x="510" y="358"/>
                    <a:pt x="510" y="368"/>
                  </a:cubicBezTo>
                  <a:cubicBezTo>
                    <a:pt x="510" y="376"/>
                    <a:pt x="510" y="411"/>
                    <a:pt x="510" y="411"/>
                  </a:cubicBezTo>
                  <a:cubicBezTo>
                    <a:pt x="689" y="411"/>
                    <a:pt x="689" y="411"/>
                    <a:pt x="689" y="411"/>
                  </a:cubicBezTo>
                  <a:cubicBezTo>
                    <a:pt x="689" y="411"/>
                    <a:pt x="696" y="411"/>
                    <a:pt x="696" y="401"/>
                  </a:cubicBezTo>
                  <a:cubicBezTo>
                    <a:pt x="696" y="393"/>
                    <a:pt x="696" y="90"/>
                    <a:pt x="696" y="90"/>
                  </a:cubicBezTo>
                  <a:lnTo>
                    <a:pt x="518" y="90"/>
                  </a:lnTo>
                  <a:close/>
                  <a:moveTo>
                    <a:pt x="628" y="268"/>
                  </a:moveTo>
                  <a:cubicBezTo>
                    <a:pt x="628" y="278"/>
                    <a:pt x="621" y="275"/>
                    <a:pt x="621" y="275"/>
                  </a:cubicBezTo>
                  <a:cubicBezTo>
                    <a:pt x="578" y="275"/>
                    <a:pt x="578" y="275"/>
                    <a:pt x="578" y="275"/>
                  </a:cubicBezTo>
                  <a:cubicBezTo>
                    <a:pt x="578" y="148"/>
                    <a:pt x="578" y="148"/>
                    <a:pt x="578" y="148"/>
                  </a:cubicBezTo>
                  <a:cubicBezTo>
                    <a:pt x="578" y="140"/>
                    <a:pt x="586" y="140"/>
                    <a:pt x="586" y="140"/>
                  </a:cubicBezTo>
                  <a:cubicBezTo>
                    <a:pt x="628" y="140"/>
                    <a:pt x="628" y="140"/>
                    <a:pt x="628" y="140"/>
                  </a:cubicBezTo>
                  <a:lnTo>
                    <a:pt x="628" y="268"/>
                  </a:lnTo>
                  <a:close/>
                  <a:moveTo>
                    <a:pt x="206" y="10"/>
                  </a:moveTo>
                  <a:cubicBezTo>
                    <a:pt x="206" y="18"/>
                    <a:pt x="206" y="53"/>
                    <a:pt x="206" y="53"/>
                  </a:cubicBezTo>
                  <a:cubicBezTo>
                    <a:pt x="269" y="53"/>
                    <a:pt x="269" y="53"/>
                    <a:pt x="269" y="53"/>
                  </a:cubicBezTo>
                  <a:cubicBezTo>
                    <a:pt x="269" y="53"/>
                    <a:pt x="276" y="53"/>
                    <a:pt x="276" y="43"/>
                  </a:cubicBezTo>
                  <a:cubicBezTo>
                    <a:pt x="276" y="35"/>
                    <a:pt x="276" y="0"/>
                    <a:pt x="276" y="0"/>
                  </a:cubicBezTo>
                  <a:cubicBezTo>
                    <a:pt x="214" y="0"/>
                    <a:pt x="214" y="0"/>
                    <a:pt x="214" y="0"/>
                  </a:cubicBezTo>
                  <a:cubicBezTo>
                    <a:pt x="214" y="0"/>
                    <a:pt x="206" y="0"/>
                    <a:pt x="206" y="10"/>
                  </a:cubicBezTo>
                  <a:close/>
                  <a:moveTo>
                    <a:pt x="299" y="98"/>
                  </a:moveTo>
                  <a:cubicBezTo>
                    <a:pt x="299" y="328"/>
                    <a:pt x="299" y="328"/>
                    <a:pt x="299" y="328"/>
                  </a:cubicBezTo>
                  <a:cubicBezTo>
                    <a:pt x="417" y="328"/>
                    <a:pt x="417" y="328"/>
                    <a:pt x="417" y="328"/>
                  </a:cubicBezTo>
                  <a:cubicBezTo>
                    <a:pt x="417" y="358"/>
                    <a:pt x="417" y="358"/>
                    <a:pt x="417" y="358"/>
                  </a:cubicBezTo>
                  <a:cubicBezTo>
                    <a:pt x="307" y="358"/>
                    <a:pt x="307" y="358"/>
                    <a:pt x="307" y="358"/>
                  </a:cubicBezTo>
                  <a:cubicBezTo>
                    <a:pt x="307" y="358"/>
                    <a:pt x="299" y="358"/>
                    <a:pt x="299" y="368"/>
                  </a:cubicBezTo>
                  <a:cubicBezTo>
                    <a:pt x="299" y="376"/>
                    <a:pt x="299" y="411"/>
                    <a:pt x="299" y="411"/>
                  </a:cubicBezTo>
                  <a:cubicBezTo>
                    <a:pt x="478" y="411"/>
                    <a:pt x="478" y="411"/>
                    <a:pt x="478" y="411"/>
                  </a:cubicBezTo>
                  <a:cubicBezTo>
                    <a:pt x="478" y="411"/>
                    <a:pt x="485" y="411"/>
                    <a:pt x="485" y="401"/>
                  </a:cubicBezTo>
                  <a:cubicBezTo>
                    <a:pt x="485" y="393"/>
                    <a:pt x="485" y="90"/>
                    <a:pt x="485" y="90"/>
                  </a:cubicBezTo>
                  <a:cubicBezTo>
                    <a:pt x="307" y="90"/>
                    <a:pt x="307" y="90"/>
                    <a:pt x="307" y="90"/>
                  </a:cubicBezTo>
                  <a:cubicBezTo>
                    <a:pt x="307" y="90"/>
                    <a:pt x="299" y="90"/>
                    <a:pt x="299" y="98"/>
                  </a:cubicBezTo>
                  <a:close/>
                  <a:moveTo>
                    <a:pt x="367" y="148"/>
                  </a:moveTo>
                  <a:cubicBezTo>
                    <a:pt x="367" y="140"/>
                    <a:pt x="374" y="140"/>
                    <a:pt x="374" y="140"/>
                  </a:cubicBezTo>
                  <a:cubicBezTo>
                    <a:pt x="417" y="140"/>
                    <a:pt x="417" y="140"/>
                    <a:pt x="417" y="140"/>
                  </a:cubicBezTo>
                  <a:cubicBezTo>
                    <a:pt x="417" y="268"/>
                    <a:pt x="417" y="268"/>
                    <a:pt x="417" y="268"/>
                  </a:cubicBezTo>
                  <a:cubicBezTo>
                    <a:pt x="417" y="278"/>
                    <a:pt x="410" y="275"/>
                    <a:pt x="410" y="275"/>
                  </a:cubicBezTo>
                  <a:cubicBezTo>
                    <a:pt x="367" y="275"/>
                    <a:pt x="367" y="275"/>
                    <a:pt x="367" y="275"/>
                  </a:cubicBezTo>
                  <a:lnTo>
                    <a:pt x="367" y="148"/>
                  </a:ln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endParaRPr lang="en-US" sz="1836"/>
            </a:p>
          </p:txBody>
        </p:sp>
      </p:grpSp>
      <p:grpSp>
        <p:nvGrpSpPr>
          <p:cNvPr id="9277" name="Group 9276"/>
          <p:cNvGrpSpPr/>
          <p:nvPr/>
        </p:nvGrpSpPr>
        <p:grpSpPr>
          <a:xfrm>
            <a:off x="10105564" y="1528549"/>
            <a:ext cx="1119124" cy="1119124"/>
            <a:chOff x="4718050" y="10841038"/>
            <a:chExt cx="3986213" cy="3986212"/>
          </a:xfrm>
        </p:grpSpPr>
        <p:sp>
          <p:nvSpPr>
            <p:cNvPr id="5" name="Oval 6"/>
            <p:cNvSpPr>
              <a:spLocks noChangeArrowheads="1"/>
            </p:cNvSpPr>
            <p:nvPr/>
          </p:nvSpPr>
          <p:spPr bwMode="auto">
            <a:xfrm>
              <a:off x="4718050" y="10841038"/>
              <a:ext cx="3986213" cy="3986212"/>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9268" name="Freeform 24"/>
            <p:cNvSpPr>
              <a:spLocks noEditPoints="1"/>
            </p:cNvSpPr>
            <p:nvPr/>
          </p:nvSpPr>
          <p:spPr bwMode="auto">
            <a:xfrm>
              <a:off x="5581650" y="12115800"/>
              <a:ext cx="2268538" cy="1436687"/>
            </a:xfrm>
            <a:custGeom>
              <a:avLst/>
              <a:gdLst>
                <a:gd name="T0" fmla="*/ 546 w 605"/>
                <a:gd name="T1" fmla="*/ 19 h 383"/>
                <a:gd name="T2" fmla="*/ 384 w 605"/>
                <a:gd name="T3" fmla="*/ 19 h 383"/>
                <a:gd name="T4" fmla="*/ 384 w 605"/>
                <a:gd name="T5" fmla="*/ 64 h 383"/>
                <a:gd name="T6" fmla="*/ 546 w 605"/>
                <a:gd name="T7" fmla="*/ 64 h 383"/>
                <a:gd name="T8" fmla="*/ 546 w 605"/>
                <a:gd name="T9" fmla="*/ 19 h 383"/>
                <a:gd name="T10" fmla="*/ 600 w 605"/>
                <a:gd name="T11" fmla="*/ 200 h 383"/>
                <a:gd name="T12" fmla="*/ 579 w 605"/>
                <a:gd name="T13" fmla="*/ 143 h 383"/>
                <a:gd name="T14" fmla="*/ 532 w 605"/>
                <a:gd name="T15" fmla="*/ 102 h 383"/>
                <a:gd name="T16" fmla="*/ 467 w 605"/>
                <a:gd name="T17" fmla="*/ 90 h 383"/>
                <a:gd name="T18" fmla="*/ 367 w 605"/>
                <a:gd name="T19" fmla="*/ 128 h 383"/>
                <a:gd name="T20" fmla="*/ 329 w 605"/>
                <a:gd name="T21" fmla="*/ 238 h 383"/>
                <a:gd name="T22" fmla="*/ 372 w 605"/>
                <a:gd name="T23" fmla="*/ 348 h 383"/>
                <a:gd name="T24" fmla="*/ 469 w 605"/>
                <a:gd name="T25" fmla="*/ 383 h 383"/>
                <a:gd name="T26" fmla="*/ 572 w 605"/>
                <a:gd name="T27" fmla="*/ 343 h 383"/>
                <a:gd name="T28" fmla="*/ 600 w 605"/>
                <a:gd name="T29" fmla="*/ 293 h 383"/>
                <a:gd name="T30" fmla="*/ 524 w 605"/>
                <a:gd name="T31" fmla="*/ 293 h 383"/>
                <a:gd name="T32" fmla="*/ 512 w 605"/>
                <a:gd name="T33" fmla="*/ 310 h 383"/>
                <a:gd name="T34" fmla="*/ 469 w 605"/>
                <a:gd name="T35" fmla="*/ 323 h 383"/>
                <a:gd name="T36" fmla="*/ 432 w 605"/>
                <a:gd name="T37" fmla="*/ 313 h 383"/>
                <a:gd name="T38" fmla="*/ 402 w 605"/>
                <a:gd name="T39" fmla="*/ 255 h 383"/>
                <a:gd name="T40" fmla="*/ 602 w 605"/>
                <a:gd name="T41" fmla="*/ 255 h 383"/>
                <a:gd name="T42" fmla="*/ 600 w 605"/>
                <a:gd name="T43" fmla="*/ 200 h 383"/>
                <a:gd name="T44" fmla="*/ 404 w 605"/>
                <a:gd name="T45" fmla="*/ 208 h 383"/>
                <a:gd name="T46" fmla="*/ 422 w 605"/>
                <a:gd name="T47" fmla="*/ 165 h 383"/>
                <a:gd name="T48" fmla="*/ 467 w 605"/>
                <a:gd name="T49" fmla="*/ 148 h 383"/>
                <a:gd name="T50" fmla="*/ 509 w 605"/>
                <a:gd name="T51" fmla="*/ 163 h 383"/>
                <a:gd name="T52" fmla="*/ 527 w 605"/>
                <a:gd name="T53" fmla="*/ 208 h 383"/>
                <a:gd name="T54" fmla="*/ 404 w 605"/>
                <a:gd name="T55" fmla="*/ 208 h 383"/>
                <a:gd name="T56" fmla="*/ 247 w 605"/>
                <a:gd name="T57" fmla="*/ 173 h 383"/>
                <a:gd name="T58" fmla="*/ 277 w 605"/>
                <a:gd name="T59" fmla="*/ 151 h 383"/>
                <a:gd name="T60" fmla="*/ 295 w 605"/>
                <a:gd name="T61" fmla="*/ 95 h 383"/>
                <a:gd name="T62" fmla="*/ 277 w 605"/>
                <a:gd name="T63" fmla="*/ 40 h 383"/>
                <a:gd name="T64" fmla="*/ 180 w 605"/>
                <a:gd name="T65" fmla="*/ 0 h 383"/>
                <a:gd name="T66" fmla="*/ 0 w 605"/>
                <a:gd name="T67" fmla="*/ 0 h 383"/>
                <a:gd name="T68" fmla="*/ 0 w 605"/>
                <a:gd name="T69" fmla="*/ 374 h 383"/>
                <a:gd name="T70" fmla="*/ 167 w 605"/>
                <a:gd name="T71" fmla="*/ 374 h 383"/>
                <a:gd name="T72" fmla="*/ 220 w 605"/>
                <a:gd name="T73" fmla="*/ 369 h 383"/>
                <a:gd name="T74" fmla="*/ 262 w 605"/>
                <a:gd name="T75" fmla="*/ 349 h 383"/>
                <a:gd name="T76" fmla="*/ 290 w 605"/>
                <a:gd name="T77" fmla="*/ 321 h 383"/>
                <a:gd name="T78" fmla="*/ 305 w 605"/>
                <a:gd name="T79" fmla="*/ 261 h 383"/>
                <a:gd name="T80" fmla="*/ 292 w 605"/>
                <a:gd name="T81" fmla="*/ 206 h 383"/>
                <a:gd name="T82" fmla="*/ 247 w 605"/>
                <a:gd name="T83" fmla="*/ 173 h 383"/>
                <a:gd name="T84" fmla="*/ 75 w 605"/>
                <a:gd name="T85" fmla="*/ 65 h 383"/>
                <a:gd name="T86" fmla="*/ 155 w 605"/>
                <a:gd name="T87" fmla="*/ 65 h 383"/>
                <a:gd name="T88" fmla="*/ 200 w 605"/>
                <a:gd name="T89" fmla="*/ 70 h 383"/>
                <a:gd name="T90" fmla="*/ 220 w 605"/>
                <a:gd name="T91" fmla="*/ 105 h 383"/>
                <a:gd name="T92" fmla="*/ 205 w 605"/>
                <a:gd name="T93" fmla="*/ 138 h 383"/>
                <a:gd name="T94" fmla="*/ 165 w 605"/>
                <a:gd name="T95" fmla="*/ 146 h 383"/>
                <a:gd name="T96" fmla="*/ 75 w 605"/>
                <a:gd name="T97" fmla="*/ 146 h 383"/>
                <a:gd name="T98" fmla="*/ 75 w 605"/>
                <a:gd name="T99" fmla="*/ 65 h 383"/>
                <a:gd name="T100" fmla="*/ 202 w 605"/>
                <a:gd name="T101" fmla="*/ 301 h 383"/>
                <a:gd name="T102" fmla="*/ 165 w 605"/>
                <a:gd name="T103" fmla="*/ 309 h 383"/>
                <a:gd name="T104" fmla="*/ 75 w 605"/>
                <a:gd name="T105" fmla="*/ 309 h 383"/>
                <a:gd name="T106" fmla="*/ 75 w 605"/>
                <a:gd name="T107" fmla="*/ 208 h 383"/>
                <a:gd name="T108" fmla="*/ 165 w 605"/>
                <a:gd name="T109" fmla="*/ 208 h 383"/>
                <a:gd name="T110" fmla="*/ 202 w 605"/>
                <a:gd name="T111" fmla="*/ 216 h 383"/>
                <a:gd name="T112" fmla="*/ 227 w 605"/>
                <a:gd name="T113" fmla="*/ 256 h 383"/>
                <a:gd name="T114" fmla="*/ 202 w 605"/>
                <a:gd name="T115" fmla="*/ 301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05" h="383">
                  <a:moveTo>
                    <a:pt x="546" y="19"/>
                  </a:moveTo>
                  <a:cubicBezTo>
                    <a:pt x="384" y="19"/>
                    <a:pt x="384" y="19"/>
                    <a:pt x="384" y="19"/>
                  </a:cubicBezTo>
                  <a:cubicBezTo>
                    <a:pt x="384" y="64"/>
                    <a:pt x="384" y="64"/>
                    <a:pt x="384" y="64"/>
                  </a:cubicBezTo>
                  <a:cubicBezTo>
                    <a:pt x="546" y="64"/>
                    <a:pt x="546" y="64"/>
                    <a:pt x="546" y="64"/>
                  </a:cubicBezTo>
                  <a:lnTo>
                    <a:pt x="546" y="19"/>
                  </a:lnTo>
                  <a:close/>
                  <a:moveTo>
                    <a:pt x="600" y="200"/>
                  </a:moveTo>
                  <a:cubicBezTo>
                    <a:pt x="597" y="178"/>
                    <a:pt x="589" y="160"/>
                    <a:pt x="579" y="143"/>
                  </a:cubicBezTo>
                  <a:cubicBezTo>
                    <a:pt x="567" y="125"/>
                    <a:pt x="549" y="110"/>
                    <a:pt x="532" y="102"/>
                  </a:cubicBezTo>
                  <a:cubicBezTo>
                    <a:pt x="512" y="92"/>
                    <a:pt x="489" y="90"/>
                    <a:pt x="467" y="90"/>
                  </a:cubicBezTo>
                  <a:cubicBezTo>
                    <a:pt x="424" y="90"/>
                    <a:pt x="392" y="102"/>
                    <a:pt x="367" y="128"/>
                  </a:cubicBezTo>
                  <a:cubicBezTo>
                    <a:pt x="342" y="153"/>
                    <a:pt x="329" y="190"/>
                    <a:pt x="329" y="238"/>
                  </a:cubicBezTo>
                  <a:cubicBezTo>
                    <a:pt x="329" y="288"/>
                    <a:pt x="344" y="325"/>
                    <a:pt x="372" y="348"/>
                  </a:cubicBezTo>
                  <a:cubicBezTo>
                    <a:pt x="399" y="370"/>
                    <a:pt x="432" y="383"/>
                    <a:pt x="469" y="383"/>
                  </a:cubicBezTo>
                  <a:cubicBezTo>
                    <a:pt x="512" y="383"/>
                    <a:pt x="547" y="368"/>
                    <a:pt x="572" y="343"/>
                  </a:cubicBezTo>
                  <a:cubicBezTo>
                    <a:pt x="589" y="325"/>
                    <a:pt x="597" y="308"/>
                    <a:pt x="600" y="293"/>
                  </a:cubicBezTo>
                  <a:cubicBezTo>
                    <a:pt x="600" y="293"/>
                    <a:pt x="600" y="293"/>
                    <a:pt x="524" y="293"/>
                  </a:cubicBezTo>
                  <a:cubicBezTo>
                    <a:pt x="522" y="300"/>
                    <a:pt x="517" y="305"/>
                    <a:pt x="512" y="310"/>
                  </a:cubicBezTo>
                  <a:cubicBezTo>
                    <a:pt x="499" y="320"/>
                    <a:pt x="487" y="323"/>
                    <a:pt x="469" y="323"/>
                  </a:cubicBezTo>
                  <a:cubicBezTo>
                    <a:pt x="454" y="323"/>
                    <a:pt x="442" y="320"/>
                    <a:pt x="432" y="313"/>
                  </a:cubicBezTo>
                  <a:cubicBezTo>
                    <a:pt x="412" y="303"/>
                    <a:pt x="402" y="283"/>
                    <a:pt x="402" y="255"/>
                  </a:cubicBezTo>
                  <a:cubicBezTo>
                    <a:pt x="402" y="255"/>
                    <a:pt x="402" y="255"/>
                    <a:pt x="602" y="255"/>
                  </a:cubicBezTo>
                  <a:cubicBezTo>
                    <a:pt x="605" y="230"/>
                    <a:pt x="602" y="213"/>
                    <a:pt x="600" y="200"/>
                  </a:cubicBezTo>
                  <a:close/>
                  <a:moveTo>
                    <a:pt x="404" y="208"/>
                  </a:moveTo>
                  <a:cubicBezTo>
                    <a:pt x="407" y="190"/>
                    <a:pt x="412" y="175"/>
                    <a:pt x="422" y="165"/>
                  </a:cubicBezTo>
                  <a:cubicBezTo>
                    <a:pt x="434" y="153"/>
                    <a:pt x="447" y="148"/>
                    <a:pt x="467" y="148"/>
                  </a:cubicBezTo>
                  <a:cubicBezTo>
                    <a:pt x="482" y="148"/>
                    <a:pt x="497" y="153"/>
                    <a:pt x="509" y="163"/>
                  </a:cubicBezTo>
                  <a:cubicBezTo>
                    <a:pt x="519" y="173"/>
                    <a:pt x="527" y="188"/>
                    <a:pt x="527" y="208"/>
                  </a:cubicBezTo>
                  <a:cubicBezTo>
                    <a:pt x="527" y="208"/>
                    <a:pt x="527" y="208"/>
                    <a:pt x="404" y="208"/>
                  </a:cubicBezTo>
                  <a:close/>
                  <a:moveTo>
                    <a:pt x="247" y="173"/>
                  </a:moveTo>
                  <a:cubicBezTo>
                    <a:pt x="260" y="166"/>
                    <a:pt x="270" y="158"/>
                    <a:pt x="277" y="151"/>
                  </a:cubicBezTo>
                  <a:cubicBezTo>
                    <a:pt x="287" y="138"/>
                    <a:pt x="295" y="118"/>
                    <a:pt x="295" y="95"/>
                  </a:cubicBezTo>
                  <a:cubicBezTo>
                    <a:pt x="295" y="73"/>
                    <a:pt x="287" y="55"/>
                    <a:pt x="277" y="40"/>
                  </a:cubicBezTo>
                  <a:cubicBezTo>
                    <a:pt x="257" y="12"/>
                    <a:pt x="225" y="0"/>
                    <a:pt x="180" y="0"/>
                  </a:cubicBezTo>
                  <a:cubicBezTo>
                    <a:pt x="180" y="0"/>
                    <a:pt x="180" y="0"/>
                    <a:pt x="0" y="0"/>
                  </a:cubicBezTo>
                  <a:cubicBezTo>
                    <a:pt x="0" y="0"/>
                    <a:pt x="0" y="0"/>
                    <a:pt x="0" y="374"/>
                  </a:cubicBezTo>
                  <a:cubicBezTo>
                    <a:pt x="0" y="374"/>
                    <a:pt x="0" y="374"/>
                    <a:pt x="167" y="374"/>
                  </a:cubicBezTo>
                  <a:cubicBezTo>
                    <a:pt x="187" y="374"/>
                    <a:pt x="205" y="372"/>
                    <a:pt x="220" y="369"/>
                  </a:cubicBezTo>
                  <a:cubicBezTo>
                    <a:pt x="237" y="364"/>
                    <a:pt x="250" y="359"/>
                    <a:pt x="262" y="349"/>
                  </a:cubicBezTo>
                  <a:cubicBezTo>
                    <a:pt x="272" y="342"/>
                    <a:pt x="282" y="331"/>
                    <a:pt x="290" y="321"/>
                  </a:cubicBezTo>
                  <a:cubicBezTo>
                    <a:pt x="300" y="304"/>
                    <a:pt x="305" y="284"/>
                    <a:pt x="305" y="261"/>
                  </a:cubicBezTo>
                  <a:cubicBezTo>
                    <a:pt x="305" y="239"/>
                    <a:pt x="300" y="221"/>
                    <a:pt x="292" y="206"/>
                  </a:cubicBezTo>
                  <a:cubicBezTo>
                    <a:pt x="282" y="191"/>
                    <a:pt x="267" y="181"/>
                    <a:pt x="247" y="173"/>
                  </a:cubicBezTo>
                  <a:close/>
                  <a:moveTo>
                    <a:pt x="75" y="65"/>
                  </a:moveTo>
                  <a:cubicBezTo>
                    <a:pt x="155" y="65"/>
                    <a:pt x="155" y="65"/>
                    <a:pt x="155" y="65"/>
                  </a:cubicBezTo>
                  <a:cubicBezTo>
                    <a:pt x="172" y="65"/>
                    <a:pt x="187" y="65"/>
                    <a:pt x="200" y="70"/>
                  </a:cubicBezTo>
                  <a:cubicBezTo>
                    <a:pt x="212" y="75"/>
                    <a:pt x="220" y="88"/>
                    <a:pt x="220" y="105"/>
                  </a:cubicBezTo>
                  <a:cubicBezTo>
                    <a:pt x="220" y="120"/>
                    <a:pt x="215" y="131"/>
                    <a:pt x="205" y="138"/>
                  </a:cubicBezTo>
                  <a:cubicBezTo>
                    <a:pt x="195" y="143"/>
                    <a:pt x="180" y="146"/>
                    <a:pt x="165" y="146"/>
                  </a:cubicBezTo>
                  <a:cubicBezTo>
                    <a:pt x="165" y="146"/>
                    <a:pt x="165" y="146"/>
                    <a:pt x="75" y="146"/>
                  </a:cubicBezTo>
                  <a:cubicBezTo>
                    <a:pt x="75" y="146"/>
                    <a:pt x="75" y="146"/>
                    <a:pt x="75" y="65"/>
                  </a:cubicBezTo>
                  <a:close/>
                  <a:moveTo>
                    <a:pt x="202" y="301"/>
                  </a:moveTo>
                  <a:cubicBezTo>
                    <a:pt x="192" y="306"/>
                    <a:pt x="180" y="309"/>
                    <a:pt x="165" y="309"/>
                  </a:cubicBezTo>
                  <a:cubicBezTo>
                    <a:pt x="165" y="309"/>
                    <a:pt x="165" y="309"/>
                    <a:pt x="75" y="309"/>
                  </a:cubicBezTo>
                  <a:cubicBezTo>
                    <a:pt x="75" y="309"/>
                    <a:pt x="75" y="309"/>
                    <a:pt x="75" y="208"/>
                  </a:cubicBezTo>
                  <a:cubicBezTo>
                    <a:pt x="165" y="208"/>
                    <a:pt x="165" y="208"/>
                    <a:pt x="165" y="208"/>
                  </a:cubicBezTo>
                  <a:cubicBezTo>
                    <a:pt x="182" y="208"/>
                    <a:pt x="195" y="211"/>
                    <a:pt x="202" y="216"/>
                  </a:cubicBezTo>
                  <a:cubicBezTo>
                    <a:pt x="220" y="223"/>
                    <a:pt x="227" y="236"/>
                    <a:pt x="227" y="256"/>
                  </a:cubicBezTo>
                  <a:cubicBezTo>
                    <a:pt x="227" y="279"/>
                    <a:pt x="220" y="294"/>
                    <a:pt x="202" y="301"/>
                  </a:cubicBez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endParaRPr lang="en-US" sz="1836"/>
            </a:p>
          </p:txBody>
        </p:sp>
      </p:grpSp>
      <p:grpSp>
        <p:nvGrpSpPr>
          <p:cNvPr id="88" name="Group 87"/>
          <p:cNvGrpSpPr/>
          <p:nvPr/>
        </p:nvGrpSpPr>
        <p:grpSpPr>
          <a:xfrm>
            <a:off x="4831649" y="3120088"/>
            <a:ext cx="1119124" cy="1119124"/>
            <a:chOff x="17760950" y="10841038"/>
            <a:chExt cx="3986213" cy="3986212"/>
          </a:xfrm>
        </p:grpSpPr>
        <p:sp>
          <p:nvSpPr>
            <p:cNvPr id="11" name="Oval 12"/>
            <p:cNvSpPr>
              <a:spLocks noChangeArrowheads="1"/>
            </p:cNvSpPr>
            <p:nvPr/>
          </p:nvSpPr>
          <p:spPr bwMode="auto">
            <a:xfrm>
              <a:off x="17760950" y="10841038"/>
              <a:ext cx="3986213" cy="3986212"/>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9269" name="Freeform 25"/>
            <p:cNvSpPr>
              <a:spLocks/>
            </p:cNvSpPr>
            <p:nvPr/>
          </p:nvSpPr>
          <p:spPr bwMode="auto">
            <a:xfrm>
              <a:off x="18807113" y="11576050"/>
              <a:ext cx="1951038" cy="2463800"/>
            </a:xfrm>
            <a:custGeom>
              <a:avLst/>
              <a:gdLst>
                <a:gd name="T0" fmla="*/ 295 w 520"/>
                <a:gd name="T1" fmla="*/ 481 h 657"/>
                <a:gd name="T2" fmla="*/ 208 w 520"/>
                <a:gd name="T3" fmla="*/ 439 h 657"/>
                <a:gd name="T4" fmla="*/ 109 w 520"/>
                <a:gd name="T5" fmla="*/ 657 h 657"/>
                <a:gd name="T6" fmla="*/ 159 w 520"/>
                <a:gd name="T7" fmla="*/ 316 h 657"/>
                <a:gd name="T8" fmla="*/ 241 w 520"/>
                <a:gd name="T9" fmla="*/ 159 h 657"/>
                <a:gd name="T10" fmla="*/ 278 w 520"/>
                <a:gd name="T11" fmla="*/ 415 h 657"/>
                <a:gd name="T12" fmla="*/ 377 w 520"/>
                <a:gd name="T13" fmla="*/ 119 h 657"/>
                <a:gd name="T14" fmla="*/ 77 w 520"/>
                <a:gd name="T15" fmla="*/ 279 h 657"/>
                <a:gd name="T16" fmla="*/ 93 w 520"/>
                <a:gd name="T17" fmla="*/ 386 h 657"/>
                <a:gd name="T18" fmla="*/ 2 w 520"/>
                <a:gd name="T19" fmla="*/ 237 h 657"/>
                <a:gd name="T20" fmla="*/ 220 w 520"/>
                <a:gd name="T21" fmla="*/ 16 h 657"/>
                <a:gd name="T22" fmla="*/ 500 w 520"/>
                <a:gd name="T23" fmla="*/ 192 h 657"/>
                <a:gd name="T24" fmla="*/ 295 w 520"/>
                <a:gd name="T25" fmla="*/ 481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20" h="657">
                  <a:moveTo>
                    <a:pt x="295" y="481"/>
                  </a:moveTo>
                  <a:cubicBezTo>
                    <a:pt x="255" y="478"/>
                    <a:pt x="239" y="458"/>
                    <a:pt x="208" y="439"/>
                  </a:cubicBezTo>
                  <a:cubicBezTo>
                    <a:pt x="192" y="528"/>
                    <a:pt x="171" y="613"/>
                    <a:pt x="109" y="657"/>
                  </a:cubicBezTo>
                  <a:cubicBezTo>
                    <a:pt x="91" y="523"/>
                    <a:pt x="138" y="422"/>
                    <a:pt x="159" y="316"/>
                  </a:cubicBezTo>
                  <a:cubicBezTo>
                    <a:pt x="122" y="254"/>
                    <a:pt x="163" y="129"/>
                    <a:pt x="241" y="159"/>
                  </a:cubicBezTo>
                  <a:cubicBezTo>
                    <a:pt x="337" y="197"/>
                    <a:pt x="159" y="391"/>
                    <a:pt x="278" y="415"/>
                  </a:cubicBezTo>
                  <a:cubicBezTo>
                    <a:pt x="404" y="440"/>
                    <a:pt x="455" y="197"/>
                    <a:pt x="377" y="119"/>
                  </a:cubicBezTo>
                  <a:cubicBezTo>
                    <a:pt x="265" y="5"/>
                    <a:pt x="50" y="116"/>
                    <a:pt x="77" y="279"/>
                  </a:cubicBezTo>
                  <a:cubicBezTo>
                    <a:pt x="83" y="318"/>
                    <a:pt x="124" y="331"/>
                    <a:pt x="93" y="386"/>
                  </a:cubicBezTo>
                  <a:cubicBezTo>
                    <a:pt x="21" y="370"/>
                    <a:pt x="0" y="313"/>
                    <a:pt x="2" y="237"/>
                  </a:cubicBezTo>
                  <a:cubicBezTo>
                    <a:pt x="7" y="114"/>
                    <a:pt x="114" y="28"/>
                    <a:pt x="220" y="16"/>
                  </a:cubicBezTo>
                  <a:cubicBezTo>
                    <a:pt x="356" y="0"/>
                    <a:pt x="483" y="65"/>
                    <a:pt x="500" y="192"/>
                  </a:cubicBezTo>
                  <a:cubicBezTo>
                    <a:pt x="520" y="336"/>
                    <a:pt x="439" y="491"/>
                    <a:pt x="295" y="481"/>
                  </a:cubicBez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endParaRPr lang="en-US" sz="1836"/>
            </a:p>
          </p:txBody>
        </p:sp>
      </p:grpSp>
      <p:grpSp>
        <p:nvGrpSpPr>
          <p:cNvPr id="9275" name="Group 9274"/>
          <p:cNvGrpSpPr/>
          <p:nvPr/>
        </p:nvGrpSpPr>
        <p:grpSpPr>
          <a:xfrm>
            <a:off x="6589621" y="1528549"/>
            <a:ext cx="1119124" cy="1119124"/>
            <a:chOff x="-4102100" y="10841038"/>
            <a:chExt cx="3983038" cy="3986212"/>
          </a:xfrm>
        </p:grpSpPr>
        <p:sp>
          <p:nvSpPr>
            <p:cNvPr id="7" name="Oval 8"/>
            <p:cNvSpPr>
              <a:spLocks noChangeArrowheads="1"/>
            </p:cNvSpPr>
            <p:nvPr/>
          </p:nvSpPr>
          <p:spPr bwMode="auto">
            <a:xfrm>
              <a:off x="-4102100" y="10841038"/>
              <a:ext cx="3983038" cy="3986212"/>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9270" name="Freeform 26"/>
            <p:cNvSpPr>
              <a:spLocks/>
            </p:cNvSpPr>
            <p:nvPr/>
          </p:nvSpPr>
          <p:spPr bwMode="auto">
            <a:xfrm>
              <a:off x="-3670300" y="11614150"/>
              <a:ext cx="2951163" cy="2155825"/>
            </a:xfrm>
            <a:custGeom>
              <a:avLst/>
              <a:gdLst>
                <a:gd name="T0" fmla="*/ 787 w 787"/>
                <a:gd name="T1" fmla="*/ 100 h 575"/>
                <a:gd name="T2" fmla="*/ 787 w 787"/>
                <a:gd name="T3" fmla="*/ 422 h 575"/>
                <a:gd name="T4" fmla="*/ 657 w 787"/>
                <a:gd name="T5" fmla="*/ 572 h 575"/>
                <a:gd name="T6" fmla="*/ 627 w 787"/>
                <a:gd name="T7" fmla="*/ 575 h 575"/>
                <a:gd name="T8" fmla="*/ 597 w 787"/>
                <a:gd name="T9" fmla="*/ 572 h 575"/>
                <a:gd name="T10" fmla="*/ 469 w 787"/>
                <a:gd name="T11" fmla="*/ 422 h 575"/>
                <a:gd name="T12" fmla="*/ 469 w 787"/>
                <a:gd name="T13" fmla="*/ 285 h 575"/>
                <a:gd name="T14" fmla="*/ 384 w 787"/>
                <a:gd name="T15" fmla="*/ 237 h 575"/>
                <a:gd name="T16" fmla="*/ 318 w 787"/>
                <a:gd name="T17" fmla="*/ 237 h 575"/>
                <a:gd name="T18" fmla="*/ 246 w 787"/>
                <a:gd name="T19" fmla="*/ 237 h 575"/>
                <a:gd name="T20" fmla="*/ 178 w 787"/>
                <a:gd name="T21" fmla="*/ 277 h 575"/>
                <a:gd name="T22" fmla="*/ 379 w 787"/>
                <a:gd name="T23" fmla="*/ 442 h 575"/>
                <a:gd name="T24" fmla="*/ 218 w 787"/>
                <a:gd name="T25" fmla="*/ 575 h 575"/>
                <a:gd name="T26" fmla="*/ 35 w 787"/>
                <a:gd name="T27" fmla="*/ 575 h 575"/>
                <a:gd name="T28" fmla="*/ 0 w 787"/>
                <a:gd name="T29" fmla="*/ 482 h 575"/>
                <a:gd name="T30" fmla="*/ 183 w 787"/>
                <a:gd name="T31" fmla="*/ 482 h 575"/>
                <a:gd name="T32" fmla="*/ 243 w 787"/>
                <a:gd name="T33" fmla="*/ 477 h 575"/>
                <a:gd name="T34" fmla="*/ 248 w 787"/>
                <a:gd name="T35" fmla="*/ 477 h 575"/>
                <a:gd name="T36" fmla="*/ 251 w 787"/>
                <a:gd name="T37" fmla="*/ 477 h 575"/>
                <a:gd name="T38" fmla="*/ 268 w 787"/>
                <a:gd name="T39" fmla="*/ 467 h 575"/>
                <a:gd name="T40" fmla="*/ 276 w 787"/>
                <a:gd name="T41" fmla="*/ 445 h 575"/>
                <a:gd name="T42" fmla="*/ 181 w 787"/>
                <a:gd name="T43" fmla="*/ 400 h 575"/>
                <a:gd name="T44" fmla="*/ 151 w 787"/>
                <a:gd name="T45" fmla="*/ 392 h 575"/>
                <a:gd name="T46" fmla="*/ 75 w 787"/>
                <a:gd name="T47" fmla="*/ 282 h 575"/>
                <a:gd name="T48" fmla="*/ 226 w 787"/>
                <a:gd name="T49" fmla="*/ 147 h 575"/>
                <a:gd name="T50" fmla="*/ 449 w 787"/>
                <a:gd name="T51" fmla="*/ 147 h 575"/>
                <a:gd name="T52" fmla="*/ 571 w 787"/>
                <a:gd name="T53" fmla="*/ 295 h 575"/>
                <a:gd name="T54" fmla="*/ 571 w 787"/>
                <a:gd name="T55" fmla="*/ 427 h 575"/>
                <a:gd name="T56" fmla="*/ 597 w 787"/>
                <a:gd name="T57" fmla="*/ 472 h 575"/>
                <a:gd name="T58" fmla="*/ 627 w 787"/>
                <a:gd name="T59" fmla="*/ 482 h 575"/>
                <a:gd name="T60" fmla="*/ 657 w 787"/>
                <a:gd name="T61" fmla="*/ 472 h 575"/>
                <a:gd name="T62" fmla="*/ 682 w 787"/>
                <a:gd name="T63" fmla="*/ 427 h 575"/>
                <a:gd name="T64" fmla="*/ 682 w 787"/>
                <a:gd name="T65" fmla="*/ 0 h 575"/>
                <a:gd name="T66" fmla="*/ 787 w 787"/>
                <a:gd name="T67" fmla="*/ 100 h 5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87" h="575">
                  <a:moveTo>
                    <a:pt x="787" y="100"/>
                  </a:moveTo>
                  <a:cubicBezTo>
                    <a:pt x="787" y="100"/>
                    <a:pt x="787" y="100"/>
                    <a:pt x="787" y="422"/>
                  </a:cubicBezTo>
                  <a:cubicBezTo>
                    <a:pt x="787" y="510"/>
                    <a:pt x="727" y="560"/>
                    <a:pt x="657" y="572"/>
                  </a:cubicBezTo>
                  <a:cubicBezTo>
                    <a:pt x="647" y="572"/>
                    <a:pt x="637" y="575"/>
                    <a:pt x="627" y="575"/>
                  </a:cubicBezTo>
                  <a:cubicBezTo>
                    <a:pt x="617" y="575"/>
                    <a:pt x="607" y="572"/>
                    <a:pt x="597" y="572"/>
                  </a:cubicBezTo>
                  <a:cubicBezTo>
                    <a:pt x="529" y="560"/>
                    <a:pt x="469" y="510"/>
                    <a:pt x="469" y="422"/>
                  </a:cubicBezTo>
                  <a:cubicBezTo>
                    <a:pt x="469" y="422"/>
                    <a:pt x="469" y="422"/>
                    <a:pt x="469" y="285"/>
                  </a:cubicBezTo>
                  <a:cubicBezTo>
                    <a:pt x="469" y="245"/>
                    <a:pt x="424" y="237"/>
                    <a:pt x="384" y="237"/>
                  </a:cubicBezTo>
                  <a:cubicBezTo>
                    <a:pt x="384" y="237"/>
                    <a:pt x="384" y="237"/>
                    <a:pt x="318" y="237"/>
                  </a:cubicBezTo>
                  <a:cubicBezTo>
                    <a:pt x="318" y="237"/>
                    <a:pt x="318" y="237"/>
                    <a:pt x="246" y="237"/>
                  </a:cubicBezTo>
                  <a:cubicBezTo>
                    <a:pt x="203" y="237"/>
                    <a:pt x="178" y="247"/>
                    <a:pt x="178" y="277"/>
                  </a:cubicBezTo>
                  <a:cubicBezTo>
                    <a:pt x="178" y="340"/>
                    <a:pt x="379" y="267"/>
                    <a:pt x="379" y="442"/>
                  </a:cubicBezTo>
                  <a:cubicBezTo>
                    <a:pt x="379" y="522"/>
                    <a:pt x="313" y="575"/>
                    <a:pt x="218" y="575"/>
                  </a:cubicBezTo>
                  <a:cubicBezTo>
                    <a:pt x="218" y="575"/>
                    <a:pt x="218" y="575"/>
                    <a:pt x="35" y="575"/>
                  </a:cubicBezTo>
                  <a:cubicBezTo>
                    <a:pt x="20" y="545"/>
                    <a:pt x="8" y="515"/>
                    <a:pt x="0" y="482"/>
                  </a:cubicBezTo>
                  <a:cubicBezTo>
                    <a:pt x="0" y="482"/>
                    <a:pt x="0" y="482"/>
                    <a:pt x="183" y="482"/>
                  </a:cubicBezTo>
                  <a:cubicBezTo>
                    <a:pt x="208" y="482"/>
                    <a:pt x="228" y="482"/>
                    <a:pt x="243" y="477"/>
                  </a:cubicBezTo>
                  <a:cubicBezTo>
                    <a:pt x="246" y="477"/>
                    <a:pt x="248" y="477"/>
                    <a:pt x="248" y="477"/>
                  </a:cubicBezTo>
                  <a:cubicBezTo>
                    <a:pt x="251" y="477"/>
                    <a:pt x="251" y="477"/>
                    <a:pt x="251" y="477"/>
                  </a:cubicBezTo>
                  <a:cubicBezTo>
                    <a:pt x="258" y="475"/>
                    <a:pt x="266" y="472"/>
                    <a:pt x="268" y="467"/>
                  </a:cubicBezTo>
                  <a:cubicBezTo>
                    <a:pt x="273" y="462"/>
                    <a:pt x="276" y="455"/>
                    <a:pt x="276" y="445"/>
                  </a:cubicBezTo>
                  <a:cubicBezTo>
                    <a:pt x="276" y="410"/>
                    <a:pt x="248" y="412"/>
                    <a:pt x="181" y="400"/>
                  </a:cubicBezTo>
                  <a:cubicBezTo>
                    <a:pt x="168" y="397"/>
                    <a:pt x="161" y="395"/>
                    <a:pt x="151" y="392"/>
                  </a:cubicBezTo>
                  <a:cubicBezTo>
                    <a:pt x="90" y="370"/>
                    <a:pt x="75" y="317"/>
                    <a:pt x="75" y="282"/>
                  </a:cubicBezTo>
                  <a:cubicBezTo>
                    <a:pt x="75" y="200"/>
                    <a:pt x="143" y="147"/>
                    <a:pt x="226" y="147"/>
                  </a:cubicBezTo>
                  <a:cubicBezTo>
                    <a:pt x="449" y="147"/>
                    <a:pt x="449" y="147"/>
                    <a:pt x="449" y="147"/>
                  </a:cubicBezTo>
                  <a:cubicBezTo>
                    <a:pt x="519" y="147"/>
                    <a:pt x="571" y="192"/>
                    <a:pt x="571" y="295"/>
                  </a:cubicBezTo>
                  <a:cubicBezTo>
                    <a:pt x="571" y="295"/>
                    <a:pt x="571" y="295"/>
                    <a:pt x="571" y="427"/>
                  </a:cubicBezTo>
                  <a:cubicBezTo>
                    <a:pt x="571" y="445"/>
                    <a:pt x="582" y="462"/>
                    <a:pt x="597" y="472"/>
                  </a:cubicBezTo>
                  <a:cubicBezTo>
                    <a:pt x="604" y="477"/>
                    <a:pt x="617" y="482"/>
                    <a:pt x="627" y="482"/>
                  </a:cubicBezTo>
                  <a:cubicBezTo>
                    <a:pt x="639" y="482"/>
                    <a:pt x="649" y="477"/>
                    <a:pt x="657" y="472"/>
                  </a:cubicBezTo>
                  <a:cubicBezTo>
                    <a:pt x="672" y="462"/>
                    <a:pt x="682" y="445"/>
                    <a:pt x="682" y="427"/>
                  </a:cubicBezTo>
                  <a:cubicBezTo>
                    <a:pt x="682" y="427"/>
                    <a:pt x="682" y="427"/>
                    <a:pt x="682" y="0"/>
                  </a:cubicBezTo>
                  <a:cubicBezTo>
                    <a:pt x="722" y="27"/>
                    <a:pt x="757" y="62"/>
                    <a:pt x="787" y="100"/>
                  </a:cubicBez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endParaRPr lang="en-US" sz="1836"/>
            </a:p>
          </p:txBody>
        </p:sp>
      </p:grpSp>
      <p:grpSp>
        <p:nvGrpSpPr>
          <p:cNvPr id="89" name="Group 88"/>
          <p:cNvGrpSpPr/>
          <p:nvPr/>
        </p:nvGrpSpPr>
        <p:grpSpPr>
          <a:xfrm>
            <a:off x="6589621" y="3120088"/>
            <a:ext cx="1119124" cy="1119124"/>
            <a:chOff x="21953538" y="10841038"/>
            <a:chExt cx="3986213" cy="3986212"/>
          </a:xfrm>
        </p:grpSpPr>
        <p:sp>
          <p:nvSpPr>
            <p:cNvPr id="9" name="Oval 10"/>
            <p:cNvSpPr>
              <a:spLocks noChangeArrowheads="1"/>
            </p:cNvSpPr>
            <p:nvPr/>
          </p:nvSpPr>
          <p:spPr bwMode="auto">
            <a:xfrm>
              <a:off x="21953538" y="10841038"/>
              <a:ext cx="3986213" cy="3986212"/>
            </a:xfrm>
            <a:prstGeom prst="ellipse">
              <a:avLst/>
            </a:prstGeom>
            <a:solidFill>
              <a:schemeClr val="accent1"/>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9271" name="Freeform 27"/>
            <p:cNvSpPr>
              <a:spLocks/>
            </p:cNvSpPr>
            <p:nvPr/>
          </p:nvSpPr>
          <p:spPr bwMode="auto">
            <a:xfrm>
              <a:off x="23175913" y="11699875"/>
              <a:ext cx="1695450" cy="2265362"/>
            </a:xfrm>
            <a:custGeom>
              <a:avLst/>
              <a:gdLst>
                <a:gd name="T0" fmla="*/ 430 w 452"/>
                <a:gd name="T1" fmla="*/ 477 h 604"/>
                <a:gd name="T2" fmla="*/ 452 w 452"/>
                <a:gd name="T3" fmla="*/ 529 h 604"/>
                <a:gd name="T4" fmla="*/ 430 w 452"/>
                <a:gd name="T5" fmla="*/ 582 h 604"/>
                <a:gd name="T6" fmla="*/ 375 w 452"/>
                <a:gd name="T7" fmla="*/ 604 h 604"/>
                <a:gd name="T8" fmla="*/ 227 w 452"/>
                <a:gd name="T9" fmla="*/ 604 h 604"/>
                <a:gd name="T10" fmla="*/ 67 w 452"/>
                <a:gd name="T11" fmla="*/ 539 h 604"/>
                <a:gd name="T12" fmla="*/ 0 w 452"/>
                <a:gd name="T13" fmla="*/ 379 h 604"/>
                <a:gd name="T14" fmla="*/ 0 w 452"/>
                <a:gd name="T15" fmla="*/ 75 h 604"/>
                <a:gd name="T16" fmla="*/ 23 w 452"/>
                <a:gd name="T17" fmla="*/ 23 h 604"/>
                <a:gd name="T18" fmla="*/ 77 w 452"/>
                <a:gd name="T19" fmla="*/ 0 h 604"/>
                <a:gd name="T20" fmla="*/ 130 w 452"/>
                <a:gd name="T21" fmla="*/ 23 h 604"/>
                <a:gd name="T22" fmla="*/ 152 w 452"/>
                <a:gd name="T23" fmla="*/ 75 h 604"/>
                <a:gd name="T24" fmla="*/ 152 w 452"/>
                <a:gd name="T25" fmla="*/ 151 h 604"/>
                <a:gd name="T26" fmla="*/ 375 w 452"/>
                <a:gd name="T27" fmla="*/ 151 h 604"/>
                <a:gd name="T28" fmla="*/ 430 w 452"/>
                <a:gd name="T29" fmla="*/ 173 h 604"/>
                <a:gd name="T30" fmla="*/ 452 w 452"/>
                <a:gd name="T31" fmla="*/ 228 h 604"/>
                <a:gd name="T32" fmla="*/ 430 w 452"/>
                <a:gd name="T33" fmla="*/ 281 h 604"/>
                <a:gd name="T34" fmla="*/ 375 w 452"/>
                <a:gd name="T35" fmla="*/ 304 h 604"/>
                <a:gd name="T36" fmla="*/ 152 w 452"/>
                <a:gd name="T37" fmla="*/ 304 h 604"/>
                <a:gd name="T38" fmla="*/ 152 w 452"/>
                <a:gd name="T39" fmla="*/ 379 h 604"/>
                <a:gd name="T40" fmla="*/ 172 w 452"/>
                <a:gd name="T41" fmla="*/ 431 h 604"/>
                <a:gd name="T42" fmla="*/ 227 w 452"/>
                <a:gd name="T43" fmla="*/ 454 h 604"/>
                <a:gd name="T44" fmla="*/ 375 w 452"/>
                <a:gd name="T45" fmla="*/ 454 h 604"/>
                <a:gd name="T46" fmla="*/ 430 w 452"/>
                <a:gd name="T47" fmla="*/ 477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52" h="604">
                  <a:moveTo>
                    <a:pt x="430" y="477"/>
                  </a:moveTo>
                  <a:cubicBezTo>
                    <a:pt x="445" y="492"/>
                    <a:pt x="452" y="509"/>
                    <a:pt x="452" y="529"/>
                  </a:cubicBezTo>
                  <a:cubicBezTo>
                    <a:pt x="452" y="549"/>
                    <a:pt x="445" y="567"/>
                    <a:pt x="430" y="582"/>
                  </a:cubicBezTo>
                  <a:cubicBezTo>
                    <a:pt x="415" y="597"/>
                    <a:pt x="397" y="604"/>
                    <a:pt x="375" y="604"/>
                  </a:cubicBezTo>
                  <a:cubicBezTo>
                    <a:pt x="375" y="604"/>
                    <a:pt x="375" y="604"/>
                    <a:pt x="227" y="604"/>
                  </a:cubicBezTo>
                  <a:cubicBezTo>
                    <a:pt x="165" y="604"/>
                    <a:pt x="110" y="582"/>
                    <a:pt x="67" y="539"/>
                  </a:cubicBezTo>
                  <a:cubicBezTo>
                    <a:pt x="23" y="494"/>
                    <a:pt x="0" y="441"/>
                    <a:pt x="0" y="379"/>
                  </a:cubicBezTo>
                  <a:cubicBezTo>
                    <a:pt x="0" y="379"/>
                    <a:pt x="0" y="379"/>
                    <a:pt x="0" y="75"/>
                  </a:cubicBezTo>
                  <a:cubicBezTo>
                    <a:pt x="0" y="55"/>
                    <a:pt x="8" y="38"/>
                    <a:pt x="23" y="23"/>
                  </a:cubicBezTo>
                  <a:cubicBezTo>
                    <a:pt x="38" y="8"/>
                    <a:pt x="55" y="0"/>
                    <a:pt x="77" y="0"/>
                  </a:cubicBezTo>
                  <a:cubicBezTo>
                    <a:pt x="97" y="0"/>
                    <a:pt x="115" y="8"/>
                    <a:pt x="130" y="23"/>
                  </a:cubicBezTo>
                  <a:cubicBezTo>
                    <a:pt x="145" y="38"/>
                    <a:pt x="152" y="55"/>
                    <a:pt x="152" y="75"/>
                  </a:cubicBezTo>
                  <a:cubicBezTo>
                    <a:pt x="152" y="75"/>
                    <a:pt x="152" y="75"/>
                    <a:pt x="152" y="151"/>
                  </a:cubicBezTo>
                  <a:cubicBezTo>
                    <a:pt x="152" y="151"/>
                    <a:pt x="152" y="151"/>
                    <a:pt x="375" y="151"/>
                  </a:cubicBezTo>
                  <a:cubicBezTo>
                    <a:pt x="397" y="151"/>
                    <a:pt x="415" y="158"/>
                    <a:pt x="430" y="173"/>
                  </a:cubicBezTo>
                  <a:cubicBezTo>
                    <a:pt x="445" y="188"/>
                    <a:pt x="452" y="206"/>
                    <a:pt x="452" y="228"/>
                  </a:cubicBezTo>
                  <a:cubicBezTo>
                    <a:pt x="452" y="248"/>
                    <a:pt x="445" y="266"/>
                    <a:pt x="430" y="281"/>
                  </a:cubicBezTo>
                  <a:cubicBezTo>
                    <a:pt x="415" y="296"/>
                    <a:pt x="397" y="304"/>
                    <a:pt x="375" y="304"/>
                  </a:cubicBezTo>
                  <a:cubicBezTo>
                    <a:pt x="375" y="304"/>
                    <a:pt x="375" y="304"/>
                    <a:pt x="152" y="304"/>
                  </a:cubicBezTo>
                  <a:cubicBezTo>
                    <a:pt x="152" y="304"/>
                    <a:pt x="152" y="304"/>
                    <a:pt x="152" y="379"/>
                  </a:cubicBezTo>
                  <a:cubicBezTo>
                    <a:pt x="152" y="399"/>
                    <a:pt x="160" y="416"/>
                    <a:pt x="172" y="431"/>
                  </a:cubicBezTo>
                  <a:cubicBezTo>
                    <a:pt x="187" y="446"/>
                    <a:pt x="205" y="454"/>
                    <a:pt x="227" y="454"/>
                  </a:cubicBezTo>
                  <a:cubicBezTo>
                    <a:pt x="227" y="454"/>
                    <a:pt x="227" y="454"/>
                    <a:pt x="375" y="454"/>
                  </a:cubicBezTo>
                  <a:cubicBezTo>
                    <a:pt x="397" y="454"/>
                    <a:pt x="415" y="462"/>
                    <a:pt x="430" y="477"/>
                  </a:cubicBez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3108165738"/>
      </p:ext>
    </p:extLst>
  </p:cSld>
  <p:clrMapOvr>
    <a:masterClrMapping/>
  </p:clrMapOvr>
  <p:transition>
    <p:fade/>
  </p:transition>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8" name="Group 147"/>
          <p:cNvGrpSpPr/>
          <p:nvPr/>
        </p:nvGrpSpPr>
        <p:grpSpPr bwMode="invGray">
          <a:xfrm>
            <a:off x="2570023" y="3944370"/>
            <a:ext cx="1243471" cy="1243471"/>
            <a:chOff x="4959350" y="11064875"/>
            <a:chExt cx="885825" cy="884238"/>
          </a:xfrm>
        </p:grpSpPr>
        <p:sp>
          <p:nvSpPr>
            <p:cNvPr id="149" name="Oval 61"/>
            <p:cNvSpPr>
              <a:spLocks noChangeArrowheads="1"/>
            </p:cNvSpPr>
            <p:nvPr/>
          </p:nvSpPr>
          <p:spPr bwMode="invGray">
            <a:xfrm>
              <a:off x="4959350" y="11064875"/>
              <a:ext cx="885825" cy="884238"/>
            </a:xfrm>
            <a:prstGeom prst="ellipse">
              <a:avLst/>
            </a:prstGeom>
            <a:solidFill>
              <a:schemeClr val="accent1"/>
            </a:solidFill>
            <a:ln w="19050">
              <a:noFill/>
              <a:round/>
              <a:headEnd/>
              <a:tailEnd/>
            </a:ln>
          </p:spPr>
          <p:txBody>
            <a:bodyPr vert="horz" wrap="square" lIns="124347" tIns="62174" rIns="124347" bIns="62174" numCol="1" anchor="t" anchorCtr="0" compatLnSpc="1">
              <a:prstTxWarp prst="textNoShape">
                <a:avLst/>
              </a:prstTxWarp>
            </a:bodyPr>
            <a:lstStyle/>
            <a:p>
              <a:endParaRPr lang="en-US" sz="3264"/>
            </a:p>
          </p:txBody>
        </p:sp>
        <p:sp>
          <p:nvSpPr>
            <p:cNvPr id="150" name="Freeform 62"/>
            <p:cNvSpPr>
              <a:spLocks noEditPoints="1"/>
            </p:cNvSpPr>
            <p:nvPr/>
          </p:nvSpPr>
          <p:spPr bwMode="invGray">
            <a:xfrm>
              <a:off x="5133975" y="11271250"/>
              <a:ext cx="555625" cy="496888"/>
            </a:xfrm>
            <a:custGeom>
              <a:avLst/>
              <a:gdLst>
                <a:gd name="T0" fmla="*/ 207 w 242"/>
                <a:gd name="T1" fmla="*/ 26 h 217"/>
                <a:gd name="T2" fmla="*/ 121 w 242"/>
                <a:gd name="T3" fmla="*/ 0 h 217"/>
                <a:gd name="T4" fmla="*/ 121 w 242"/>
                <a:gd name="T5" fmla="*/ 0 h 217"/>
                <a:gd name="T6" fmla="*/ 35 w 242"/>
                <a:gd name="T7" fmla="*/ 26 h 217"/>
                <a:gd name="T8" fmla="*/ 0 w 242"/>
                <a:gd name="T9" fmla="*/ 87 h 217"/>
                <a:gd name="T10" fmla="*/ 99 w 242"/>
                <a:gd name="T11" fmla="*/ 172 h 217"/>
                <a:gd name="T12" fmla="*/ 102 w 242"/>
                <a:gd name="T13" fmla="*/ 174 h 217"/>
                <a:gd name="T14" fmla="*/ 102 w 242"/>
                <a:gd name="T15" fmla="*/ 177 h 217"/>
                <a:gd name="T16" fmla="*/ 71 w 242"/>
                <a:gd name="T17" fmla="*/ 217 h 217"/>
                <a:gd name="T18" fmla="*/ 141 w 242"/>
                <a:gd name="T19" fmla="*/ 174 h 217"/>
                <a:gd name="T20" fmla="*/ 143 w 242"/>
                <a:gd name="T21" fmla="*/ 172 h 217"/>
                <a:gd name="T22" fmla="*/ 242 w 242"/>
                <a:gd name="T23" fmla="*/ 87 h 217"/>
                <a:gd name="T24" fmla="*/ 207 w 242"/>
                <a:gd name="T25" fmla="*/ 26 h 217"/>
                <a:gd name="T26" fmla="*/ 161 w 242"/>
                <a:gd name="T27" fmla="*/ 150 h 217"/>
                <a:gd name="T28" fmla="*/ 195 w 242"/>
                <a:gd name="T29" fmla="*/ 91 h 217"/>
                <a:gd name="T30" fmla="*/ 129 w 242"/>
                <a:gd name="T31" fmla="*/ 18 h 217"/>
                <a:gd name="T32" fmla="*/ 220 w 242"/>
                <a:gd name="T33" fmla="*/ 88 h 217"/>
                <a:gd name="T34" fmla="*/ 161 w 242"/>
                <a:gd name="T35" fmla="*/ 150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2" h="217">
                  <a:moveTo>
                    <a:pt x="207" y="26"/>
                  </a:moveTo>
                  <a:cubicBezTo>
                    <a:pt x="185" y="10"/>
                    <a:pt x="155" y="0"/>
                    <a:pt x="121" y="0"/>
                  </a:cubicBezTo>
                  <a:cubicBezTo>
                    <a:pt x="121" y="0"/>
                    <a:pt x="121" y="0"/>
                    <a:pt x="121" y="0"/>
                  </a:cubicBezTo>
                  <a:cubicBezTo>
                    <a:pt x="87" y="0"/>
                    <a:pt x="57" y="10"/>
                    <a:pt x="35" y="26"/>
                  </a:cubicBezTo>
                  <a:cubicBezTo>
                    <a:pt x="14" y="42"/>
                    <a:pt x="0" y="64"/>
                    <a:pt x="0" y="87"/>
                  </a:cubicBezTo>
                  <a:cubicBezTo>
                    <a:pt x="0" y="129"/>
                    <a:pt x="42" y="165"/>
                    <a:pt x="99" y="172"/>
                  </a:cubicBezTo>
                  <a:cubicBezTo>
                    <a:pt x="100" y="172"/>
                    <a:pt x="101" y="173"/>
                    <a:pt x="102" y="174"/>
                  </a:cubicBezTo>
                  <a:cubicBezTo>
                    <a:pt x="102" y="175"/>
                    <a:pt x="102" y="176"/>
                    <a:pt x="102" y="177"/>
                  </a:cubicBezTo>
                  <a:cubicBezTo>
                    <a:pt x="94" y="195"/>
                    <a:pt x="81" y="208"/>
                    <a:pt x="71" y="217"/>
                  </a:cubicBezTo>
                  <a:cubicBezTo>
                    <a:pt x="114" y="206"/>
                    <a:pt x="132" y="187"/>
                    <a:pt x="141" y="174"/>
                  </a:cubicBezTo>
                  <a:cubicBezTo>
                    <a:pt x="141" y="173"/>
                    <a:pt x="142" y="172"/>
                    <a:pt x="143" y="172"/>
                  </a:cubicBezTo>
                  <a:cubicBezTo>
                    <a:pt x="200" y="165"/>
                    <a:pt x="242" y="129"/>
                    <a:pt x="242" y="87"/>
                  </a:cubicBezTo>
                  <a:cubicBezTo>
                    <a:pt x="242" y="64"/>
                    <a:pt x="229" y="42"/>
                    <a:pt x="207" y="26"/>
                  </a:cubicBezTo>
                  <a:close/>
                  <a:moveTo>
                    <a:pt x="161" y="150"/>
                  </a:moveTo>
                  <a:cubicBezTo>
                    <a:pt x="182" y="136"/>
                    <a:pt x="195" y="115"/>
                    <a:pt x="195" y="91"/>
                  </a:cubicBezTo>
                  <a:cubicBezTo>
                    <a:pt x="195" y="58"/>
                    <a:pt x="168" y="29"/>
                    <a:pt x="129" y="18"/>
                  </a:cubicBezTo>
                  <a:cubicBezTo>
                    <a:pt x="181" y="24"/>
                    <a:pt x="220" y="53"/>
                    <a:pt x="220" y="88"/>
                  </a:cubicBezTo>
                  <a:cubicBezTo>
                    <a:pt x="220" y="115"/>
                    <a:pt x="196" y="138"/>
                    <a:pt x="161" y="150"/>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endParaRPr lang="en-US" sz="3264"/>
            </a:p>
          </p:txBody>
        </p:sp>
      </p:grpSp>
      <p:grpSp>
        <p:nvGrpSpPr>
          <p:cNvPr id="151" name="Group 150"/>
          <p:cNvGrpSpPr/>
          <p:nvPr/>
        </p:nvGrpSpPr>
        <p:grpSpPr bwMode="invGray">
          <a:xfrm>
            <a:off x="8651866" y="3944370"/>
            <a:ext cx="1243471" cy="1243471"/>
            <a:chOff x="4959350" y="14358937"/>
            <a:chExt cx="885825" cy="885825"/>
          </a:xfrm>
        </p:grpSpPr>
        <p:sp>
          <p:nvSpPr>
            <p:cNvPr id="152" name="Oval 63"/>
            <p:cNvSpPr>
              <a:spLocks noChangeArrowheads="1"/>
            </p:cNvSpPr>
            <p:nvPr/>
          </p:nvSpPr>
          <p:spPr bwMode="invGray">
            <a:xfrm>
              <a:off x="4959350" y="14358937"/>
              <a:ext cx="885825" cy="885825"/>
            </a:xfrm>
            <a:prstGeom prst="ellipse">
              <a:avLst/>
            </a:prstGeom>
            <a:solidFill>
              <a:schemeClr val="accent1"/>
            </a:solidFill>
            <a:ln w="19050">
              <a:noFill/>
              <a:round/>
              <a:headEnd/>
              <a:tailEnd/>
            </a:ln>
          </p:spPr>
          <p:txBody>
            <a:bodyPr vert="horz" wrap="square" lIns="124347" tIns="62174" rIns="124347" bIns="62174" numCol="1" anchor="t" anchorCtr="0" compatLnSpc="1">
              <a:prstTxWarp prst="textNoShape">
                <a:avLst/>
              </a:prstTxWarp>
            </a:bodyPr>
            <a:lstStyle/>
            <a:p>
              <a:endParaRPr lang="en-US" sz="3264"/>
            </a:p>
          </p:txBody>
        </p:sp>
        <p:sp>
          <p:nvSpPr>
            <p:cNvPr id="153" name="Freeform 64"/>
            <p:cNvSpPr>
              <a:spLocks noEditPoints="1"/>
            </p:cNvSpPr>
            <p:nvPr/>
          </p:nvSpPr>
          <p:spPr bwMode="invGray">
            <a:xfrm>
              <a:off x="5135563" y="14519275"/>
              <a:ext cx="590550" cy="631825"/>
            </a:xfrm>
            <a:custGeom>
              <a:avLst/>
              <a:gdLst>
                <a:gd name="T0" fmla="*/ 221 w 257"/>
                <a:gd name="T1" fmla="*/ 98 h 275"/>
                <a:gd name="T2" fmla="*/ 219 w 257"/>
                <a:gd name="T3" fmla="*/ 122 h 275"/>
                <a:gd name="T4" fmla="*/ 117 w 257"/>
                <a:gd name="T5" fmla="*/ 2 h 275"/>
                <a:gd name="T6" fmla="*/ 83 w 257"/>
                <a:gd name="T7" fmla="*/ 62 h 275"/>
                <a:gd name="T8" fmla="*/ 82 w 257"/>
                <a:gd name="T9" fmla="*/ 47 h 275"/>
                <a:gd name="T10" fmla="*/ 44 w 257"/>
                <a:gd name="T11" fmla="*/ 96 h 275"/>
                <a:gd name="T12" fmla="*/ 14 w 257"/>
                <a:gd name="T13" fmla="*/ 182 h 275"/>
                <a:gd name="T14" fmla="*/ 3 w 257"/>
                <a:gd name="T15" fmla="*/ 161 h 275"/>
                <a:gd name="T16" fmla="*/ 118 w 257"/>
                <a:gd name="T17" fmla="*/ 274 h 275"/>
                <a:gd name="T18" fmla="*/ 186 w 257"/>
                <a:gd name="T19" fmla="*/ 248 h 275"/>
                <a:gd name="T20" fmla="*/ 221 w 257"/>
                <a:gd name="T21" fmla="*/ 98 h 275"/>
                <a:gd name="T22" fmla="*/ 119 w 257"/>
                <a:gd name="T23" fmla="*/ 257 h 275"/>
                <a:gd name="T24" fmla="*/ 75 w 257"/>
                <a:gd name="T25" fmla="*/ 240 h 275"/>
                <a:gd name="T26" fmla="*/ 52 w 257"/>
                <a:gd name="T27" fmla="*/ 143 h 275"/>
                <a:gd name="T28" fmla="*/ 53 w 257"/>
                <a:gd name="T29" fmla="*/ 159 h 275"/>
                <a:gd name="T30" fmla="*/ 119 w 257"/>
                <a:gd name="T31" fmla="*/ 81 h 275"/>
                <a:gd name="T32" fmla="*/ 142 w 257"/>
                <a:gd name="T33" fmla="*/ 120 h 275"/>
                <a:gd name="T34" fmla="*/ 142 w 257"/>
                <a:gd name="T35" fmla="*/ 110 h 275"/>
                <a:gd name="T36" fmla="*/ 167 w 257"/>
                <a:gd name="T37" fmla="*/ 141 h 275"/>
                <a:gd name="T38" fmla="*/ 186 w 257"/>
                <a:gd name="T39" fmla="*/ 197 h 275"/>
                <a:gd name="T40" fmla="*/ 193 w 257"/>
                <a:gd name="T41" fmla="*/ 184 h 275"/>
                <a:gd name="T42" fmla="*/ 119 w 257"/>
                <a:gd name="T43" fmla="*/ 257 h 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57" h="275">
                  <a:moveTo>
                    <a:pt x="221" y="98"/>
                  </a:moveTo>
                  <a:cubicBezTo>
                    <a:pt x="222" y="107"/>
                    <a:pt x="220" y="124"/>
                    <a:pt x="219" y="122"/>
                  </a:cubicBezTo>
                  <a:cubicBezTo>
                    <a:pt x="200" y="52"/>
                    <a:pt x="116" y="0"/>
                    <a:pt x="117" y="2"/>
                  </a:cubicBezTo>
                  <a:cubicBezTo>
                    <a:pt x="131" y="22"/>
                    <a:pt x="80" y="67"/>
                    <a:pt x="83" y="62"/>
                  </a:cubicBezTo>
                  <a:cubicBezTo>
                    <a:pt x="85" y="58"/>
                    <a:pt x="82" y="47"/>
                    <a:pt x="82" y="47"/>
                  </a:cubicBezTo>
                  <a:cubicBezTo>
                    <a:pt x="76" y="62"/>
                    <a:pt x="66" y="77"/>
                    <a:pt x="44" y="96"/>
                  </a:cubicBezTo>
                  <a:cubicBezTo>
                    <a:pt x="8" y="127"/>
                    <a:pt x="14" y="182"/>
                    <a:pt x="14" y="182"/>
                  </a:cubicBezTo>
                  <a:cubicBezTo>
                    <a:pt x="9" y="176"/>
                    <a:pt x="3" y="161"/>
                    <a:pt x="3" y="161"/>
                  </a:cubicBezTo>
                  <a:cubicBezTo>
                    <a:pt x="0" y="172"/>
                    <a:pt x="18" y="270"/>
                    <a:pt x="118" y="274"/>
                  </a:cubicBezTo>
                  <a:cubicBezTo>
                    <a:pt x="144" y="275"/>
                    <a:pt x="170" y="263"/>
                    <a:pt x="186" y="248"/>
                  </a:cubicBezTo>
                  <a:cubicBezTo>
                    <a:pt x="257" y="182"/>
                    <a:pt x="221" y="98"/>
                    <a:pt x="221" y="98"/>
                  </a:cubicBezTo>
                  <a:close/>
                  <a:moveTo>
                    <a:pt x="119" y="257"/>
                  </a:moveTo>
                  <a:cubicBezTo>
                    <a:pt x="102" y="257"/>
                    <a:pt x="85" y="250"/>
                    <a:pt x="75" y="240"/>
                  </a:cubicBezTo>
                  <a:cubicBezTo>
                    <a:pt x="29" y="197"/>
                    <a:pt x="52" y="143"/>
                    <a:pt x="52" y="143"/>
                  </a:cubicBezTo>
                  <a:cubicBezTo>
                    <a:pt x="52" y="149"/>
                    <a:pt x="53" y="160"/>
                    <a:pt x="53" y="159"/>
                  </a:cubicBezTo>
                  <a:cubicBezTo>
                    <a:pt x="66" y="113"/>
                    <a:pt x="120" y="79"/>
                    <a:pt x="119" y="81"/>
                  </a:cubicBezTo>
                  <a:cubicBezTo>
                    <a:pt x="110" y="94"/>
                    <a:pt x="144" y="123"/>
                    <a:pt x="142" y="120"/>
                  </a:cubicBezTo>
                  <a:cubicBezTo>
                    <a:pt x="140" y="117"/>
                    <a:pt x="142" y="110"/>
                    <a:pt x="142" y="110"/>
                  </a:cubicBezTo>
                  <a:cubicBezTo>
                    <a:pt x="146" y="120"/>
                    <a:pt x="152" y="129"/>
                    <a:pt x="167" y="141"/>
                  </a:cubicBezTo>
                  <a:cubicBezTo>
                    <a:pt x="190" y="161"/>
                    <a:pt x="186" y="197"/>
                    <a:pt x="186" y="197"/>
                  </a:cubicBezTo>
                  <a:cubicBezTo>
                    <a:pt x="190" y="193"/>
                    <a:pt x="193" y="184"/>
                    <a:pt x="193" y="184"/>
                  </a:cubicBezTo>
                  <a:cubicBezTo>
                    <a:pt x="195" y="191"/>
                    <a:pt x="184" y="254"/>
                    <a:pt x="119" y="257"/>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endParaRPr lang="en-US" sz="3264"/>
            </a:p>
          </p:txBody>
        </p:sp>
        <p:sp>
          <p:nvSpPr>
            <p:cNvPr id="154" name="Oval 65"/>
            <p:cNvSpPr>
              <a:spLocks noChangeArrowheads="1"/>
            </p:cNvSpPr>
            <p:nvPr/>
          </p:nvSpPr>
          <p:spPr bwMode="invGray">
            <a:xfrm>
              <a:off x="5300663" y="14882812"/>
              <a:ext cx="215900" cy="212725"/>
            </a:xfrm>
            <a:prstGeom prst="ellipse">
              <a:avLst/>
            </a:pr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endParaRPr lang="en-US" sz="3264"/>
            </a:p>
          </p:txBody>
        </p:sp>
        <p:sp>
          <p:nvSpPr>
            <p:cNvPr id="155" name="Oval 66"/>
            <p:cNvSpPr>
              <a:spLocks noChangeArrowheads="1"/>
            </p:cNvSpPr>
            <p:nvPr/>
          </p:nvSpPr>
          <p:spPr bwMode="invGray">
            <a:xfrm>
              <a:off x="5300663" y="14882812"/>
              <a:ext cx="215900" cy="212725"/>
            </a:xfrm>
            <a:prstGeom prst="ellipse">
              <a:avLst/>
            </a:pr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endParaRPr lang="en-US" sz="3264"/>
            </a:p>
          </p:txBody>
        </p:sp>
      </p:grpSp>
      <p:grpSp>
        <p:nvGrpSpPr>
          <p:cNvPr id="156" name="Group 155"/>
          <p:cNvGrpSpPr/>
          <p:nvPr/>
        </p:nvGrpSpPr>
        <p:grpSpPr bwMode="invGray">
          <a:xfrm>
            <a:off x="4597303" y="3944370"/>
            <a:ext cx="1243471" cy="1243471"/>
            <a:chOff x="4959350" y="12712700"/>
            <a:chExt cx="885825" cy="885825"/>
          </a:xfrm>
        </p:grpSpPr>
        <p:sp>
          <p:nvSpPr>
            <p:cNvPr id="157" name="Oval 74"/>
            <p:cNvSpPr>
              <a:spLocks noChangeArrowheads="1"/>
            </p:cNvSpPr>
            <p:nvPr/>
          </p:nvSpPr>
          <p:spPr bwMode="invGray">
            <a:xfrm>
              <a:off x="4959350" y="12712700"/>
              <a:ext cx="885825" cy="885825"/>
            </a:xfrm>
            <a:prstGeom prst="ellipse">
              <a:avLst/>
            </a:prstGeom>
            <a:solidFill>
              <a:schemeClr val="accent1"/>
            </a:solidFill>
            <a:ln w="19050">
              <a:noFill/>
              <a:round/>
              <a:headEnd/>
              <a:tailEnd/>
            </a:ln>
          </p:spPr>
          <p:txBody>
            <a:bodyPr vert="horz" wrap="square" lIns="124347" tIns="62174" rIns="124347" bIns="62174" numCol="1" anchor="t" anchorCtr="0" compatLnSpc="1">
              <a:prstTxWarp prst="textNoShape">
                <a:avLst/>
              </a:prstTxWarp>
            </a:bodyPr>
            <a:lstStyle/>
            <a:p>
              <a:endParaRPr lang="en-US" sz="3264"/>
            </a:p>
          </p:txBody>
        </p:sp>
        <p:sp>
          <p:nvSpPr>
            <p:cNvPr id="158" name="Freeform 75"/>
            <p:cNvSpPr>
              <a:spLocks/>
            </p:cNvSpPr>
            <p:nvPr/>
          </p:nvSpPr>
          <p:spPr bwMode="invGray">
            <a:xfrm>
              <a:off x="5462588" y="13017500"/>
              <a:ext cx="228600" cy="257175"/>
            </a:xfrm>
            <a:custGeom>
              <a:avLst/>
              <a:gdLst>
                <a:gd name="T0" fmla="*/ 63 w 100"/>
                <a:gd name="T1" fmla="*/ 65 h 112"/>
                <a:gd name="T2" fmla="*/ 100 w 100"/>
                <a:gd name="T3" fmla="*/ 28 h 112"/>
                <a:gd name="T4" fmla="*/ 68 w 100"/>
                <a:gd name="T5" fmla="*/ 30 h 112"/>
                <a:gd name="T6" fmla="*/ 59 w 100"/>
                <a:gd name="T7" fmla="*/ 37 h 112"/>
                <a:gd name="T8" fmla="*/ 44 w 100"/>
                <a:gd name="T9" fmla="*/ 53 h 112"/>
                <a:gd name="T10" fmla="*/ 36 w 100"/>
                <a:gd name="T11" fmla="*/ 61 h 112"/>
                <a:gd name="T12" fmla="*/ 42 w 100"/>
                <a:gd name="T13" fmla="*/ 17 h 112"/>
                <a:gd name="T14" fmla="*/ 15 w 100"/>
                <a:gd name="T15" fmla="*/ 1 h 112"/>
                <a:gd name="T16" fmla="*/ 15 w 100"/>
                <a:gd name="T17" fmla="*/ 2 h 112"/>
                <a:gd name="T18" fmla="*/ 1 w 100"/>
                <a:gd name="T19" fmla="*/ 92 h 112"/>
                <a:gd name="T20" fmla="*/ 28 w 100"/>
                <a:gd name="T21" fmla="*/ 107 h 112"/>
                <a:gd name="T22" fmla="*/ 34 w 100"/>
                <a:gd name="T23" fmla="*/ 70 h 112"/>
                <a:gd name="T24" fmla="*/ 45 w 100"/>
                <a:gd name="T25" fmla="*/ 88 h 112"/>
                <a:gd name="T26" fmla="*/ 57 w 100"/>
                <a:gd name="T27" fmla="*/ 105 h 112"/>
                <a:gd name="T28" fmla="*/ 89 w 100"/>
                <a:gd name="T29" fmla="*/ 95 h 112"/>
                <a:gd name="T30" fmla="*/ 63 w 100"/>
                <a:gd name="T31" fmla="*/ 65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0" h="112">
                  <a:moveTo>
                    <a:pt x="63" y="65"/>
                  </a:moveTo>
                  <a:cubicBezTo>
                    <a:pt x="68" y="58"/>
                    <a:pt x="94" y="35"/>
                    <a:pt x="100" y="28"/>
                  </a:cubicBezTo>
                  <a:cubicBezTo>
                    <a:pt x="88" y="29"/>
                    <a:pt x="76" y="26"/>
                    <a:pt x="68" y="30"/>
                  </a:cubicBezTo>
                  <a:cubicBezTo>
                    <a:pt x="65" y="31"/>
                    <a:pt x="62" y="34"/>
                    <a:pt x="59" y="37"/>
                  </a:cubicBezTo>
                  <a:cubicBezTo>
                    <a:pt x="53" y="42"/>
                    <a:pt x="49" y="47"/>
                    <a:pt x="44" y="53"/>
                  </a:cubicBezTo>
                  <a:cubicBezTo>
                    <a:pt x="41" y="56"/>
                    <a:pt x="39" y="59"/>
                    <a:pt x="36" y="61"/>
                  </a:cubicBezTo>
                  <a:cubicBezTo>
                    <a:pt x="37" y="49"/>
                    <a:pt x="41" y="30"/>
                    <a:pt x="42" y="17"/>
                  </a:cubicBezTo>
                  <a:cubicBezTo>
                    <a:pt x="44" y="1"/>
                    <a:pt x="32" y="0"/>
                    <a:pt x="15" y="1"/>
                  </a:cubicBezTo>
                  <a:cubicBezTo>
                    <a:pt x="15" y="1"/>
                    <a:pt x="15" y="2"/>
                    <a:pt x="15" y="2"/>
                  </a:cubicBezTo>
                  <a:cubicBezTo>
                    <a:pt x="12" y="22"/>
                    <a:pt x="2" y="85"/>
                    <a:pt x="1" y="92"/>
                  </a:cubicBezTo>
                  <a:cubicBezTo>
                    <a:pt x="0" y="107"/>
                    <a:pt x="13" y="108"/>
                    <a:pt x="28" y="107"/>
                  </a:cubicBezTo>
                  <a:cubicBezTo>
                    <a:pt x="31" y="95"/>
                    <a:pt x="32" y="82"/>
                    <a:pt x="34" y="70"/>
                  </a:cubicBezTo>
                  <a:cubicBezTo>
                    <a:pt x="38" y="75"/>
                    <a:pt x="41" y="82"/>
                    <a:pt x="45" y="88"/>
                  </a:cubicBezTo>
                  <a:cubicBezTo>
                    <a:pt x="48" y="93"/>
                    <a:pt x="52" y="102"/>
                    <a:pt x="57" y="105"/>
                  </a:cubicBezTo>
                  <a:cubicBezTo>
                    <a:pt x="67" y="112"/>
                    <a:pt x="88" y="107"/>
                    <a:pt x="89" y="95"/>
                  </a:cubicBezTo>
                  <a:cubicBezTo>
                    <a:pt x="74" y="91"/>
                    <a:pt x="70" y="76"/>
                    <a:pt x="63" y="65"/>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endParaRPr lang="en-US" sz="3264"/>
            </a:p>
          </p:txBody>
        </p:sp>
        <p:sp>
          <p:nvSpPr>
            <p:cNvPr id="159" name="Freeform 76"/>
            <p:cNvSpPr>
              <a:spLocks/>
            </p:cNvSpPr>
            <p:nvPr/>
          </p:nvSpPr>
          <p:spPr bwMode="invGray">
            <a:xfrm>
              <a:off x="5386388" y="13011150"/>
              <a:ext cx="82550" cy="66675"/>
            </a:xfrm>
            <a:custGeom>
              <a:avLst/>
              <a:gdLst>
                <a:gd name="T0" fmla="*/ 23 w 36"/>
                <a:gd name="T1" fmla="*/ 0 h 29"/>
                <a:gd name="T2" fmla="*/ 18 w 36"/>
                <a:gd name="T3" fmla="*/ 0 h 29"/>
                <a:gd name="T4" fmla="*/ 3 w 36"/>
                <a:gd name="T5" fmla="*/ 18 h 29"/>
                <a:gd name="T6" fmla="*/ 23 w 36"/>
                <a:gd name="T7" fmla="*/ 25 h 29"/>
                <a:gd name="T8" fmla="*/ 33 w 36"/>
                <a:gd name="T9" fmla="*/ 7 h 29"/>
                <a:gd name="T10" fmla="*/ 23 w 36"/>
                <a:gd name="T11" fmla="*/ 0 h 29"/>
              </a:gdLst>
              <a:ahLst/>
              <a:cxnLst>
                <a:cxn ang="0">
                  <a:pos x="T0" y="T1"/>
                </a:cxn>
                <a:cxn ang="0">
                  <a:pos x="T2" y="T3"/>
                </a:cxn>
                <a:cxn ang="0">
                  <a:pos x="T4" y="T5"/>
                </a:cxn>
                <a:cxn ang="0">
                  <a:pos x="T6" y="T7"/>
                </a:cxn>
                <a:cxn ang="0">
                  <a:pos x="T8" y="T9"/>
                </a:cxn>
                <a:cxn ang="0">
                  <a:pos x="T10" y="T11"/>
                </a:cxn>
              </a:cxnLst>
              <a:rect l="0" t="0" r="r" b="b"/>
              <a:pathLst>
                <a:path w="36" h="29">
                  <a:moveTo>
                    <a:pt x="23" y="0"/>
                  </a:moveTo>
                  <a:cubicBezTo>
                    <a:pt x="21" y="0"/>
                    <a:pt x="19" y="0"/>
                    <a:pt x="18" y="0"/>
                  </a:cubicBezTo>
                  <a:cubicBezTo>
                    <a:pt x="8" y="3"/>
                    <a:pt x="0" y="7"/>
                    <a:pt x="3" y="18"/>
                  </a:cubicBezTo>
                  <a:cubicBezTo>
                    <a:pt x="5" y="26"/>
                    <a:pt x="15" y="29"/>
                    <a:pt x="23" y="25"/>
                  </a:cubicBezTo>
                  <a:cubicBezTo>
                    <a:pt x="30" y="23"/>
                    <a:pt x="36" y="16"/>
                    <a:pt x="33" y="7"/>
                  </a:cubicBezTo>
                  <a:cubicBezTo>
                    <a:pt x="32" y="4"/>
                    <a:pt x="29" y="1"/>
                    <a:pt x="23" y="0"/>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endParaRPr lang="en-US" sz="3264"/>
            </a:p>
          </p:txBody>
        </p:sp>
        <p:sp>
          <p:nvSpPr>
            <p:cNvPr id="160" name="Freeform 77"/>
            <p:cNvSpPr>
              <a:spLocks/>
            </p:cNvSpPr>
            <p:nvPr/>
          </p:nvSpPr>
          <p:spPr bwMode="invGray">
            <a:xfrm>
              <a:off x="5365750" y="13087350"/>
              <a:ext cx="87313" cy="177800"/>
            </a:xfrm>
            <a:custGeom>
              <a:avLst/>
              <a:gdLst>
                <a:gd name="T0" fmla="*/ 10 w 38"/>
                <a:gd name="T1" fmla="*/ 1 h 78"/>
                <a:gd name="T2" fmla="*/ 10 w 38"/>
                <a:gd name="T3" fmla="*/ 2 h 78"/>
                <a:gd name="T4" fmla="*/ 2 w 38"/>
                <a:gd name="T5" fmla="*/ 54 h 78"/>
                <a:gd name="T6" fmla="*/ 2 w 38"/>
                <a:gd name="T7" fmla="*/ 72 h 78"/>
                <a:gd name="T8" fmla="*/ 28 w 38"/>
                <a:gd name="T9" fmla="*/ 77 h 78"/>
                <a:gd name="T10" fmla="*/ 36 w 38"/>
                <a:gd name="T11" fmla="*/ 24 h 78"/>
                <a:gd name="T12" fmla="*/ 36 w 38"/>
                <a:gd name="T13" fmla="*/ 7 h 78"/>
                <a:gd name="T14" fmla="*/ 10 w 38"/>
                <a:gd name="T15" fmla="*/ 1 h 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78">
                  <a:moveTo>
                    <a:pt x="10" y="1"/>
                  </a:moveTo>
                  <a:cubicBezTo>
                    <a:pt x="10" y="1"/>
                    <a:pt x="10" y="1"/>
                    <a:pt x="10" y="2"/>
                  </a:cubicBezTo>
                  <a:cubicBezTo>
                    <a:pt x="7" y="17"/>
                    <a:pt x="4" y="37"/>
                    <a:pt x="2" y="54"/>
                  </a:cubicBezTo>
                  <a:cubicBezTo>
                    <a:pt x="1" y="60"/>
                    <a:pt x="0" y="68"/>
                    <a:pt x="2" y="72"/>
                  </a:cubicBezTo>
                  <a:cubicBezTo>
                    <a:pt x="6" y="78"/>
                    <a:pt x="18" y="78"/>
                    <a:pt x="28" y="77"/>
                  </a:cubicBezTo>
                  <a:cubicBezTo>
                    <a:pt x="31" y="62"/>
                    <a:pt x="33" y="42"/>
                    <a:pt x="36" y="24"/>
                  </a:cubicBezTo>
                  <a:cubicBezTo>
                    <a:pt x="37" y="18"/>
                    <a:pt x="38" y="11"/>
                    <a:pt x="36" y="7"/>
                  </a:cubicBezTo>
                  <a:cubicBezTo>
                    <a:pt x="32" y="0"/>
                    <a:pt x="22" y="1"/>
                    <a:pt x="10" y="1"/>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endParaRPr lang="en-US" sz="3264"/>
            </a:p>
          </p:txBody>
        </p:sp>
        <p:sp>
          <p:nvSpPr>
            <p:cNvPr id="161" name="Freeform 78"/>
            <p:cNvSpPr>
              <a:spLocks noEditPoints="1"/>
            </p:cNvSpPr>
            <p:nvPr/>
          </p:nvSpPr>
          <p:spPr bwMode="invGray">
            <a:xfrm>
              <a:off x="5133975" y="13073062"/>
              <a:ext cx="220663" cy="247650"/>
            </a:xfrm>
            <a:custGeom>
              <a:avLst/>
              <a:gdLst>
                <a:gd name="T0" fmla="*/ 63 w 96"/>
                <a:gd name="T1" fmla="*/ 2 h 108"/>
                <a:gd name="T2" fmla="*/ 15 w 96"/>
                <a:gd name="T3" fmla="*/ 19 h 108"/>
                <a:gd name="T4" fmla="*/ 2 w 96"/>
                <a:gd name="T5" fmla="*/ 50 h 108"/>
                <a:gd name="T6" fmla="*/ 42 w 96"/>
                <a:gd name="T7" fmla="*/ 86 h 108"/>
                <a:gd name="T8" fmla="*/ 50 w 96"/>
                <a:gd name="T9" fmla="*/ 83 h 108"/>
                <a:gd name="T10" fmla="*/ 60 w 96"/>
                <a:gd name="T11" fmla="*/ 76 h 108"/>
                <a:gd name="T12" fmla="*/ 71 w 96"/>
                <a:gd name="T13" fmla="*/ 108 h 108"/>
                <a:gd name="T14" fmla="*/ 71 w 96"/>
                <a:gd name="T15" fmla="*/ 108 h 108"/>
                <a:gd name="T16" fmla="*/ 84 w 96"/>
                <a:gd name="T17" fmla="*/ 108 h 108"/>
                <a:gd name="T18" fmla="*/ 89 w 96"/>
                <a:gd name="T19" fmla="*/ 73 h 108"/>
                <a:gd name="T20" fmla="*/ 95 w 96"/>
                <a:gd name="T21" fmla="*/ 39 h 108"/>
                <a:gd name="T22" fmla="*/ 63 w 96"/>
                <a:gd name="T23" fmla="*/ 2 h 108"/>
                <a:gd name="T24" fmla="*/ 57 w 96"/>
                <a:gd name="T25" fmla="*/ 61 h 108"/>
                <a:gd name="T26" fmla="*/ 37 w 96"/>
                <a:gd name="T27" fmla="*/ 62 h 108"/>
                <a:gd name="T28" fmla="*/ 41 w 96"/>
                <a:gd name="T29" fmla="*/ 26 h 108"/>
                <a:gd name="T30" fmla="*/ 50 w 96"/>
                <a:gd name="T31" fmla="*/ 23 h 108"/>
                <a:gd name="T32" fmla="*/ 61 w 96"/>
                <a:gd name="T33" fmla="*/ 25 h 108"/>
                <a:gd name="T34" fmla="*/ 57 w 96"/>
                <a:gd name="T35" fmla="*/ 61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6" h="108">
                  <a:moveTo>
                    <a:pt x="63" y="2"/>
                  </a:moveTo>
                  <a:cubicBezTo>
                    <a:pt x="40" y="0"/>
                    <a:pt x="25" y="8"/>
                    <a:pt x="15" y="19"/>
                  </a:cubicBezTo>
                  <a:cubicBezTo>
                    <a:pt x="7" y="27"/>
                    <a:pt x="2" y="37"/>
                    <a:pt x="2" y="50"/>
                  </a:cubicBezTo>
                  <a:cubicBezTo>
                    <a:pt x="0" y="72"/>
                    <a:pt x="16" y="88"/>
                    <a:pt x="42" y="86"/>
                  </a:cubicBezTo>
                  <a:cubicBezTo>
                    <a:pt x="44" y="85"/>
                    <a:pt x="47" y="84"/>
                    <a:pt x="50" y="83"/>
                  </a:cubicBezTo>
                  <a:cubicBezTo>
                    <a:pt x="54" y="81"/>
                    <a:pt x="57" y="78"/>
                    <a:pt x="60" y="76"/>
                  </a:cubicBezTo>
                  <a:cubicBezTo>
                    <a:pt x="58" y="88"/>
                    <a:pt x="53" y="108"/>
                    <a:pt x="71" y="108"/>
                  </a:cubicBezTo>
                  <a:cubicBezTo>
                    <a:pt x="71" y="108"/>
                    <a:pt x="71" y="108"/>
                    <a:pt x="71" y="108"/>
                  </a:cubicBezTo>
                  <a:cubicBezTo>
                    <a:pt x="75" y="108"/>
                    <a:pt x="80" y="108"/>
                    <a:pt x="84" y="108"/>
                  </a:cubicBezTo>
                  <a:cubicBezTo>
                    <a:pt x="86" y="95"/>
                    <a:pt x="88" y="84"/>
                    <a:pt x="89" y="73"/>
                  </a:cubicBezTo>
                  <a:cubicBezTo>
                    <a:pt x="91" y="62"/>
                    <a:pt x="94" y="51"/>
                    <a:pt x="95" y="39"/>
                  </a:cubicBezTo>
                  <a:cubicBezTo>
                    <a:pt x="96" y="16"/>
                    <a:pt x="83" y="4"/>
                    <a:pt x="63" y="2"/>
                  </a:cubicBezTo>
                  <a:close/>
                  <a:moveTo>
                    <a:pt x="57" y="61"/>
                  </a:moveTo>
                  <a:cubicBezTo>
                    <a:pt x="53" y="64"/>
                    <a:pt x="43" y="66"/>
                    <a:pt x="37" y="62"/>
                  </a:cubicBezTo>
                  <a:cubicBezTo>
                    <a:pt x="26" y="55"/>
                    <a:pt x="33" y="33"/>
                    <a:pt x="41" y="26"/>
                  </a:cubicBezTo>
                  <a:cubicBezTo>
                    <a:pt x="43" y="25"/>
                    <a:pt x="46" y="23"/>
                    <a:pt x="50" y="23"/>
                  </a:cubicBezTo>
                  <a:cubicBezTo>
                    <a:pt x="53" y="23"/>
                    <a:pt x="58" y="23"/>
                    <a:pt x="61" y="25"/>
                  </a:cubicBezTo>
                  <a:cubicBezTo>
                    <a:pt x="70" y="32"/>
                    <a:pt x="65" y="54"/>
                    <a:pt x="57" y="61"/>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endParaRPr lang="en-US" sz="3264"/>
            </a:p>
          </p:txBody>
        </p:sp>
      </p:grpSp>
      <p:grpSp>
        <p:nvGrpSpPr>
          <p:cNvPr id="165" name="Group 164"/>
          <p:cNvGrpSpPr/>
          <p:nvPr/>
        </p:nvGrpSpPr>
        <p:grpSpPr bwMode="invGray">
          <a:xfrm>
            <a:off x="2570023" y="2108748"/>
            <a:ext cx="1243471" cy="1243471"/>
            <a:chOff x="8855075" y="1187450"/>
            <a:chExt cx="885825" cy="885825"/>
          </a:xfrm>
        </p:grpSpPr>
        <p:sp>
          <p:nvSpPr>
            <p:cNvPr id="166" name="Oval 131"/>
            <p:cNvSpPr>
              <a:spLocks noChangeArrowheads="1"/>
            </p:cNvSpPr>
            <p:nvPr/>
          </p:nvSpPr>
          <p:spPr bwMode="invGray">
            <a:xfrm>
              <a:off x="8855075" y="1187450"/>
              <a:ext cx="885825" cy="885825"/>
            </a:xfrm>
            <a:prstGeom prst="ellipse">
              <a:avLst/>
            </a:prstGeom>
            <a:solidFill>
              <a:schemeClr val="accent1"/>
            </a:solidFill>
            <a:ln w="19050">
              <a:noFill/>
              <a:round/>
              <a:headEnd/>
              <a:tailEnd/>
            </a:ln>
          </p:spPr>
          <p:txBody>
            <a:bodyPr vert="horz" wrap="square" lIns="124347" tIns="62174" rIns="124347" bIns="62174" numCol="1" anchor="t" anchorCtr="0" compatLnSpc="1">
              <a:prstTxWarp prst="textNoShape">
                <a:avLst/>
              </a:prstTxWarp>
            </a:bodyPr>
            <a:lstStyle/>
            <a:p>
              <a:endParaRPr lang="en-US" sz="3264"/>
            </a:p>
          </p:txBody>
        </p:sp>
        <p:sp>
          <p:nvSpPr>
            <p:cNvPr id="167" name="Freeform 132"/>
            <p:cNvSpPr>
              <a:spLocks/>
            </p:cNvSpPr>
            <p:nvPr/>
          </p:nvSpPr>
          <p:spPr bwMode="invGray">
            <a:xfrm>
              <a:off x="9142413" y="1352550"/>
              <a:ext cx="309563" cy="554038"/>
            </a:xfrm>
            <a:custGeom>
              <a:avLst/>
              <a:gdLst>
                <a:gd name="T0" fmla="*/ 159 w 195"/>
                <a:gd name="T1" fmla="*/ 0 h 349"/>
                <a:gd name="T2" fmla="*/ 0 w 195"/>
                <a:gd name="T3" fmla="*/ 193 h 349"/>
                <a:gd name="T4" fmla="*/ 87 w 195"/>
                <a:gd name="T5" fmla="*/ 193 h 349"/>
                <a:gd name="T6" fmla="*/ 37 w 195"/>
                <a:gd name="T7" fmla="*/ 349 h 349"/>
                <a:gd name="T8" fmla="*/ 195 w 195"/>
                <a:gd name="T9" fmla="*/ 141 h 349"/>
                <a:gd name="T10" fmla="*/ 113 w 195"/>
                <a:gd name="T11" fmla="*/ 141 h 349"/>
                <a:gd name="T12" fmla="*/ 159 w 195"/>
                <a:gd name="T13" fmla="*/ 0 h 349"/>
              </a:gdLst>
              <a:ahLst/>
              <a:cxnLst>
                <a:cxn ang="0">
                  <a:pos x="T0" y="T1"/>
                </a:cxn>
                <a:cxn ang="0">
                  <a:pos x="T2" y="T3"/>
                </a:cxn>
                <a:cxn ang="0">
                  <a:pos x="T4" y="T5"/>
                </a:cxn>
                <a:cxn ang="0">
                  <a:pos x="T6" y="T7"/>
                </a:cxn>
                <a:cxn ang="0">
                  <a:pos x="T8" y="T9"/>
                </a:cxn>
                <a:cxn ang="0">
                  <a:pos x="T10" y="T11"/>
                </a:cxn>
                <a:cxn ang="0">
                  <a:pos x="T12" y="T13"/>
                </a:cxn>
              </a:cxnLst>
              <a:rect l="0" t="0" r="r" b="b"/>
              <a:pathLst>
                <a:path w="195" h="349">
                  <a:moveTo>
                    <a:pt x="159" y="0"/>
                  </a:moveTo>
                  <a:lnTo>
                    <a:pt x="0" y="193"/>
                  </a:lnTo>
                  <a:lnTo>
                    <a:pt x="87" y="193"/>
                  </a:lnTo>
                  <a:lnTo>
                    <a:pt x="37" y="349"/>
                  </a:lnTo>
                  <a:lnTo>
                    <a:pt x="195" y="141"/>
                  </a:lnTo>
                  <a:lnTo>
                    <a:pt x="113" y="141"/>
                  </a:lnTo>
                  <a:lnTo>
                    <a:pt x="159" y="0"/>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endParaRPr lang="en-US" sz="3264"/>
            </a:p>
          </p:txBody>
        </p:sp>
      </p:grpSp>
      <p:grpSp>
        <p:nvGrpSpPr>
          <p:cNvPr id="168" name="Group 167"/>
          <p:cNvGrpSpPr/>
          <p:nvPr/>
        </p:nvGrpSpPr>
        <p:grpSpPr bwMode="invGray">
          <a:xfrm>
            <a:off x="6624584" y="3944370"/>
            <a:ext cx="1243471" cy="1243471"/>
            <a:chOff x="8858250" y="2827337"/>
            <a:chExt cx="885825" cy="885825"/>
          </a:xfrm>
        </p:grpSpPr>
        <p:sp>
          <p:nvSpPr>
            <p:cNvPr id="169" name="Oval 137"/>
            <p:cNvSpPr>
              <a:spLocks noChangeArrowheads="1"/>
            </p:cNvSpPr>
            <p:nvPr/>
          </p:nvSpPr>
          <p:spPr bwMode="invGray">
            <a:xfrm>
              <a:off x="8858250" y="2827337"/>
              <a:ext cx="885825" cy="885825"/>
            </a:xfrm>
            <a:prstGeom prst="ellipse">
              <a:avLst/>
            </a:prstGeom>
            <a:solidFill>
              <a:schemeClr val="accent1"/>
            </a:solidFill>
            <a:ln w="19050">
              <a:noFill/>
              <a:round/>
              <a:headEnd/>
              <a:tailEnd/>
            </a:ln>
          </p:spPr>
          <p:txBody>
            <a:bodyPr vert="horz" wrap="square" lIns="124347" tIns="62174" rIns="124347" bIns="62174" numCol="1" anchor="t" anchorCtr="0" compatLnSpc="1">
              <a:prstTxWarp prst="textNoShape">
                <a:avLst/>
              </a:prstTxWarp>
            </a:bodyPr>
            <a:lstStyle/>
            <a:p>
              <a:endParaRPr lang="en-US" sz="3264"/>
            </a:p>
          </p:txBody>
        </p:sp>
        <p:sp>
          <p:nvSpPr>
            <p:cNvPr id="170" name="Freeform 138"/>
            <p:cNvSpPr>
              <a:spLocks noEditPoints="1"/>
            </p:cNvSpPr>
            <p:nvPr/>
          </p:nvSpPr>
          <p:spPr bwMode="invGray">
            <a:xfrm>
              <a:off x="9069388" y="3013075"/>
              <a:ext cx="466725" cy="557213"/>
            </a:xfrm>
            <a:custGeom>
              <a:avLst/>
              <a:gdLst>
                <a:gd name="T0" fmla="*/ 20 w 204"/>
                <a:gd name="T1" fmla="*/ 48 h 243"/>
                <a:gd name="T2" fmla="*/ 20 w 204"/>
                <a:gd name="T3" fmla="*/ 48 h 243"/>
                <a:gd name="T4" fmla="*/ 43 w 204"/>
                <a:gd name="T5" fmla="*/ 48 h 243"/>
                <a:gd name="T6" fmla="*/ 45 w 204"/>
                <a:gd name="T7" fmla="*/ 46 h 243"/>
                <a:gd name="T8" fmla="*/ 45 w 204"/>
                <a:gd name="T9" fmla="*/ 21 h 243"/>
                <a:gd name="T10" fmla="*/ 45 w 204"/>
                <a:gd name="T11" fmla="*/ 21 h 243"/>
                <a:gd name="T12" fmla="*/ 48 w 204"/>
                <a:gd name="T13" fmla="*/ 10 h 243"/>
                <a:gd name="T14" fmla="*/ 48 w 204"/>
                <a:gd name="T15" fmla="*/ 8 h 243"/>
                <a:gd name="T16" fmla="*/ 48 w 204"/>
                <a:gd name="T17" fmla="*/ 8 h 243"/>
                <a:gd name="T18" fmla="*/ 4 w 204"/>
                <a:gd name="T19" fmla="*/ 52 h 243"/>
                <a:gd name="T20" fmla="*/ 4 w 204"/>
                <a:gd name="T21" fmla="*/ 52 h 243"/>
                <a:gd name="T22" fmla="*/ 6 w 204"/>
                <a:gd name="T23" fmla="*/ 51 h 243"/>
                <a:gd name="T24" fmla="*/ 20 w 204"/>
                <a:gd name="T25" fmla="*/ 48 h 243"/>
                <a:gd name="T26" fmla="*/ 197 w 204"/>
                <a:gd name="T27" fmla="*/ 44 h 243"/>
                <a:gd name="T28" fmla="*/ 184 w 204"/>
                <a:gd name="T29" fmla="*/ 27 h 243"/>
                <a:gd name="T30" fmla="*/ 153 w 204"/>
                <a:gd name="T31" fmla="*/ 22 h 243"/>
                <a:gd name="T32" fmla="*/ 120 w 204"/>
                <a:gd name="T33" fmla="*/ 21 h 243"/>
                <a:gd name="T34" fmla="*/ 109 w 204"/>
                <a:gd name="T35" fmla="*/ 6 h 243"/>
                <a:gd name="T36" fmla="*/ 68 w 204"/>
                <a:gd name="T37" fmla="*/ 3 h 243"/>
                <a:gd name="T38" fmla="*/ 56 w 204"/>
                <a:gd name="T39" fmla="*/ 11 h 243"/>
                <a:gd name="T40" fmla="*/ 53 w 204"/>
                <a:gd name="T41" fmla="*/ 21 h 243"/>
                <a:gd name="T42" fmla="*/ 53 w 204"/>
                <a:gd name="T43" fmla="*/ 36 h 243"/>
                <a:gd name="T44" fmla="*/ 53 w 204"/>
                <a:gd name="T45" fmla="*/ 46 h 243"/>
                <a:gd name="T46" fmla="*/ 44 w 204"/>
                <a:gd name="T47" fmla="*/ 55 h 243"/>
                <a:gd name="T48" fmla="*/ 21 w 204"/>
                <a:gd name="T49" fmla="*/ 55 h 243"/>
                <a:gd name="T50" fmla="*/ 10 w 204"/>
                <a:gd name="T51" fmla="*/ 57 h 243"/>
                <a:gd name="T52" fmla="*/ 4 w 204"/>
                <a:gd name="T53" fmla="*/ 62 h 243"/>
                <a:gd name="T54" fmla="*/ 0 w 204"/>
                <a:gd name="T55" fmla="*/ 76 h 243"/>
                <a:gd name="T56" fmla="*/ 1 w 204"/>
                <a:gd name="T57" fmla="*/ 89 h 243"/>
                <a:gd name="T58" fmla="*/ 15 w 204"/>
                <a:gd name="T59" fmla="*/ 152 h 243"/>
                <a:gd name="T60" fmla="*/ 24 w 204"/>
                <a:gd name="T61" fmla="*/ 162 h 243"/>
                <a:gd name="T62" fmla="*/ 72 w 204"/>
                <a:gd name="T63" fmla="*/ 173 h 243"/>
                <a:gd name="T64" fmla="*/ 96 w 204"/>
                <a:gd name="T65" fmla="*/ 168 h 243"/>
                <a:gd name="T66" fmla="*/ 98 w 204"/>
                <a:gd name="T67" fmla="*/ 163 h 243"/>
                <a:gd name="T68" fmla="*/ 102 w 204"/>
                <a:gd name="T69" fmla="*/ 134 h 243"/>
                <a:gd name="T70" fmla="*/ 103 w 204"/>
                <a:gd name="T71" fmla="*/ 134 h 243"/>
                <a:gd name="T72" fmla="*/ 116 w 204"/>
                <a:gd name="T73" fmla="*/ 162 h 243"/>
                <a:gd name="T74" fmla="*/ 145 w 204"/>
                <a:gd name="T75" fmla="*/ 167 h 243"/>
                <a:gd name="T76" fmla="*/ 163 w 204"/>
                <a:gd name="T77" fmla="*/ 200 h 243"/>
                <a:gd name="T78" fmla="*/ 141 w 204"/>
                <a:gd name="T79" fmla="*/ 218 h 243"/>
                <a:gd name="T80" fmla="*/ 121 w 204"/>
                <a:gd name="T81" fmla="*/ 207 h 243"/>
                <a:gd name="T82" fmla="*/ 137 w 204"/>
                <a:gd name="T83" fmla="*/ 199 h 243"/>
                <a:gd name="T84" fmla="*/ 138 w 204"/>
                <a:gd name="T85" fmla="*/ 191 h 243"/>
                <a:gd name="T86" fmla="*/ 138 w 204"/>
                <a:gd name="T87" fmla="*/ 181 h 243"/>
                <a:gd name="T88" fmla="*/ 101 w 204"/>
                <a:gd name="T89" fmla="*/ 211 h 243"/>
                <a:gd name="T90" fmla="*/ 145 w 204"/>
                <a:gd name="T91" fmla="*/ 243 h 243"/>
                <a:gd name="T92" fmla="*/ 191 w 204"/>
                <a:gd name="T93" fmla="*/ 208 h 243"/>
                <a:gd name="T94" fmla="*/ 202 w 204"/>
                <a:gd name="T95" fmla="*/ 147 h 243"/>
                <a:gd name="T96" fmla="*/ 197 w 204"/>
                <a:gd name="T97" fmla="*/ 44 h 243"/>
                <a:gd name="T98" fmla="*/ 151 w 204"/>
                <a:gd name="T99" fmla="*/ 116 h 243"/>
                <a:gd name="T100" fmla="*/ 141 w 204"/>
                <a:gd name="T101" fmla="*/ 116 h 243"/>
                <a:gd name="T102" fmla="*/ 155 w 204"/>
                <a:gd name="T103" fmla="*/ 102 h 243"/>
                <a:gd name="T104" fmla="*/ 167 w 204"/>
                <a:gd name="T105" fmla="*/ 119 h 243"/>
                <a:gd name="T106" fmla="*/ 151 w 204"/>
                <a:gd name="T107" fmla="*/ 116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04" h="243">
                  <a:moveTo>
                    <a:pt x="20" y="48"/>
                  </a:moveTo>
                  <a:cubicBezTo>
                    <a:pt x="20" y="48"/>
                    <a:pt x="20" y="48"/>
                    <a:pt x="20" y="48"/>
                  </a:cubicBezTo>
                  <a:cubicBezTo>
                    <a:pt x="43" y="48"/>
                    <a:pt x="43" y="48"/>
                    <a:pt x="43" y="48"/>
                  </a:cubicBezTo>
                  <a:cubicBezTo>
                    <a:pt x="44" y="48"/>
                    <a:pt x="45" y="47"/>
                    <a:pt x="45" y="46"/>
                  </a:cubicBezTo>
                  <a:cubicBezTo>
                    <a:pt x="45" y="46"/>
                    <a:pt x="45" y="27"/>
                    <a:pt x="45" y="21"/>
                  </a:cubicBezTo>
                  <a:cubicBezTo>
                    <a:pt x="45" y="21"/>
                    <a:pt x="45" y="21"/>
                    <a:pt x="45" y="21"/>
                  </a:cubicBezTo>
                  <a:cubicBezTo>
                    <a:pt x="45" y="17"/>
                    <a:pt x="46" y="13"/>
                    <a:pt x="48" y="10"/>
                  </a:cubicBezTo>
                  <a:cubicBezTo>
                    <a:pt x="48" y="8"/>
                    <a:pt x="48" y="8"/>
                    <a:pt x="48" y="8"/>
                  </a:cubicBezTo>
                  <a:cubicBezTo>
                    <a:pt x="48" y="8"/>
                    <a:pt x="48" y="8"/>
                    <a:pt x="48" y="8"/>
                  </a:cubicBezTo>
                  <a:cubicBezTo>
                    <a:pt x="4" y="52"/>
                    <a:pt x="4" y="52"/>
                    <a:pt x="4" y="52"/>
                  </a:cubicBezTo>
                  <a:cubicBezTo>
                    <a:pt x="4" y="52"/>
                    <a:pt x="4" y="52"/>
                    <a:pt x="4" y="52"/>
                  </a:cubicBezTo>
                  <a:cubicBezTo>
                    <a:pt x="5" y="52"/>
                    <a:pt x="6" y="51"/>
                    <a:pt x="6" y="51"/>
                  </a:cubicBezTo>
                  <a:cubicBezTo>
                    <a:pt x="10" y="49"/>
                    <a:pt x="15" y="48"/>
                    <a:pt x="20" y="48"/>
                  </a:cubicBezTo>
                  <a:close/>
                  <a:moveTo>
                    <a:pt x="197" y="44"/>
                  </a:moveTo>
                  <a:cubicBezTo>
                    <a:pt x="195" y="34"/>
                    <a:pt x="189" y="29"/>
                    <a:pt x="184" y="27"/>
                  </a:cubicBezTo>
                  <a:cubicBezTo>
                    <a:pt x="178" y="25"/>
                    <a:pt x="167" y="23"/>
                    <a:pt x="153" y="22"/>
                  </a:cubicBezTo>
                  <a:cubicBezTo>
                    <a:pt x="141" y="20"/>
                    <a:pt x="128" y="20"/>
                    <a:pt x="120" y="21"/>
                  </a:cubicBezTo>
                  <a:cubicBezTo>
                    <a:pt x="119" y="14"/>
                    <a:pt x="114" y="8"/>
                    <a:pt x="109" y="6"/>
                  </a:cubicBezTo>
                  <a:cubicBezTo>
                    <a:pt x="95" y="0"/>
                    <a:pt x="73" y="1"/>
                    <a:pt x="68" y="3"/>
                  </a:cubicBezTo>
                  <a:cubicBezTo>
                    <a:pt x="63" y="4"/>
                    <a:pt x="58" y="7"/>
                    <a:pt x="56" y="11"/>
                  </a:cubicBezTo>
                  <a:cubicBezTo>
                    <a:pt x="54" y="13"/>
                    <a:pt x="53" y="17"/>
                    <a:pt x="53" y="21"/>
                  </a:cubicBezTo>
                  <a:cubicBezTo>
                    <a:pt x="53" y="24"/>
                    <a:pt x="53" y="30"/>
                    <a:pt x="53" y="36"/>
                  </a:cubicBezTo>
                  <a:cubicBezTo>
                    <a:pt x="53" y="41"/>
                    <a:pt x="53" y="46"/>
                    <a:pt x="53" y="46"/>
                  </a:cubicBezTo>
                  <a:cubicBezTo>
                    <a:pt x="53" y="51"/>
                    <a:pt x="49" y="55"/>
                    <a:pt x="44" y="55"/>
                  </a:cubicBezTo>
                  <a:cubicBezTo>
                    <a:pt x="21" y="55"/>
                    <a:pt x="21" y="55"/>
                    <a:pt x="21" y="55"/>
                  </a:cubicBezTo>
                  <a:cubicBezTo>
                    <a:pt x="17" y="55"/>
                    <a:pt x="13" y="56"/>
                    <a:pt x="10" y="57"/>
                  </a:cubicBezTo>
                  <a:cubicBezTo>
                    <a:pt x="7" y="58"/>
                    <a:pt x="5" y="60"/>
                    <a:pt x="4" y="62"/>
                  </a:cubicBezTo>
                  <a:cubicBezTo>
                    <a:pt x="1" y="66"/>
                    <a:pt x="0" y="71"/>
                    <a:pt x="0" y="76"/>
                  </a:cubicBezTo>
                  <a:cubicBezTo>
                    <a:pt x="0" y="76"/>
                    <a:pt x="0" y="81"/>
                    <a:pt x="1" y="89"/>
                  </a:cubicBezTo>
                  <a:cubicBezTo>
                    <a:pt x="2" y="95"/>
                    <a:pt x="9" y="139"/>
                    <a:pt x="15" y="152"/>
                  </a:cubicBezTo>
                  <a:cubicBezTo>
                    <a:pt x="18" y="157"/>
                    <a:pt x="20" y="159"/>
                    <a:pt x="24" y="162"/>
                  </a:cubicBezTo>
                  <a:cubicBezTo>
                    <a:pt x="35" y="166"/>
                    <a:pt x="60" y="171"/>
                    <a:pt x="72" y="173"/>
                  </a:cubicBezTo>
                  <a:cubicBezTo>
                    <a:pt x="84" y="174"/>
                    <a:pt x="91" y="178"/>
                    <a:pt x="96" y="168"/>
                  </a:cubicBezTo>
                  <a:cubicBezTo>
                    <a:pt x="96" y="168"/>
                    <a:pt x="96" y="166"/>
                    <a:pt x="98" y="163"/>
                  </a:cubicBezTo>
                  <a:cubicBezTo>
                    <a:pt x="101" y="151"/>
                    <a:pt x="102" y="141"/>
                    <a:pt x="102" y="134"/>
                  </a:cubicBezTo>
                  <a:cubicBezTo>
                    <a:pt x="102" y="133"/>
                    <a:pt x="103" y="133"/>
                    <a:pt x="103" y="134"/>
                  </a:cubicBezTo>
                  <a:cubicBezTo>
                    <a:pt x="103" y="139"/>
                    <a:pt x="102" y="157"/>
                    <a:pt x="116" y="162"/>
                  </a:cubicBezTo>
                  <a:cubicBezTo>
                    <a:pt x="121" y="164"/>
                    <a:pt x="133" y="166"/>
                    <a:pt x="145" y="167"/>
                  </a:cubicBezTo>
                  <a:cubicBezTo>
                    <a:pt x="155" y="169"/>
                    <a:pt x="163" y="173"/>
                    <a:pt x="163" y="200"/>
                  </a:cubicBezTo>
                  <a:cubicBezTo>
                    <a:pt x="163" y="216"/>
                    <a:pt x="159" y="218"/>
                    <a:pt x="141" y="218"/>
                  </a:cubicBezTo>
                  <a:cubicBezTo>
                    <a:pt x="127" y="218"/>
                    <a:pt x="121" y="219"/>
                    <a:pt x="121" y="207"/>
                  </a:cubicBezTo>
                  <a:cubicBezTo>
                    <a:pt x="121" y="198"/>
                    <a:pt x="130" y="199"/>
                    <a:pt x="137" y="199"/>
                  </a:cubicBezTo>
                  <a:cubicBezTo>
                    <a:pt x="140" y="199"/>
                    <a:pt x="138" y="196"/>
                    <a:pt x="138" y="191"/>
                  </a:cubicBezTo>
                  <a:cubicBezTo>
                    <a:pt x="138" y="185"/>
                    <a:pt x="142" y="182"/>
                    <a:pt x="138" y="181"/>
                  </a:cubicBezTo>
                  <a:cubicBezTo>
                    <a:pt x="114" y="181"/>
                    <a:pt x="101" y="181"/>
                    <a:pt x="101" y="211"/>
                  </a:cubicBezTo>
                  <a:cubicBezTo>
                    <a:pt x="101" y="238"/>
                    <a:pt x="111" y="243"/>
                    <a:pt x="145" y="243"/>
                  </a:cubicBezTo>
                  <a:cubicBezTo>
                    <a:pt x="171" y="243"/>
                    <a:pt x="180" y="242"/>
                    <a:pt x="191" y="208"/>
                  </a:cubicBezTo>
                  <a:cubicBezTo>
                    <a:pt x="193" y="202"/>
                    <a:pt x="199" y="181"/>
                    <a:pt x="202" y="147"/>
                  </a:cubicBezTo>
                  <a:cubicBezTo>
                    <a:pt x="204" y="125"/>
                    <a:pt x="200" y="60"/>
                    <a:pt x="197" y="44"/>
                  </a:cubicBezTo>
                  <a:close/>
                  <a:moveTo>
                    <a:pt x="151" y="116"/>
                  </a:moveTo>
                  <a:cubicBezTo>
                    <a:pt x="147" y="116"/>
                    <a:pt x="144" y="116"/>
                    <a:pt x="141" y="116"/>
                  </a:cubicBezTo>
                  <a:cubicBezTo>
                    <a:pt x="142" y="110"/>
                    <a:pt x="145" y="102"/>
                    <a:pt x="155" y="102"/>
                  </a:cubicBezTo>
                  <a:cubicBezTo>
                    <a:pt x="165" y="102"/>
                    <a:pt x="167" y="112"/>
                    <a:pt x="167" y="119"/>
                  </a:cubicBezTo>
                  <a:cubicBezTo>
                    <a:pt x="162" y="117"/>
                    <a:pt x="157" y="116"/>
                    <a:pt x="151" y="116"/>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endParaRPr lang="en-US" sz="3264"/>
            </a:p>
          </p:txBody>
        </p:sp>
      </p:grpSp>
      <p:grpSp>
        <p:nvGrpSpPr>
          <p:cNvPr id="187" name="Group 186"/>
          <p:cNvGrpSpPr/>
          <p:nvPr/>
        </p:nvGrpSpPr>
        <p:grpSpPr bwMode="invGray">
          <a:xfrm>
            <a:off x="4597303" y="2108748"/>
            <a:ext cx="1243471" cy="1243471"/>
            <a:chOff x="4959350" y="9418637"/>
            <a:chExt cx="885825" cy="884238"/>
          </a:xfrm>
        </p:grpSpPr>
        <p:sp>
          <p:nvSpPr>
            <p:cNvPr id="188" name="Oval 183"/>
            <p:cNvSpPr>
              <a:spLocks noChangeArrowheads="1"/>
            </p:cNvSpPr>
            <p:nvPr/>
          </p:nvSpPr>
          <p:spPr bwMode="invGray">
            <a:xfrm>
              <a:off x="4959350" y="9418637"/>
              <a:ext cx="885825" cy="884238"/>
            </a:xfrm>
            <a:prstGeom prst="ellipse">
              <a:avLst/>
            </a:prstGeom>
            <a:solidFill>
              <a:schemeClr val="accent1"/>
            </a:solidFill>
            <a:ln w="19050">
              <a:noFill/>
              <a:round/>
              <a:headEnd/>
              <a:tailEnd/>
            </a:ln>
          </p:spPr>
          <p:txBody>
            <a:bodyPr vert="horz" wrap="square" lIns="124347" tIns="62174" rIns="124347" bIns="62174" numCol="1" anchor="t" anchorCtr="0" compatLnSpc="1">
              <a:prstTxWarp prst="textNoShape">
                <a:avLst/>
              </a:prstTxWarp>
            </a:bodyPr>
            <a:lstStyle/>
            <a:p>
              <a:endParaRPr lang="en-US" sz="3264"/>
            </a:p>
          </p:txBody>
        </p:sp>
        <p:sp>
          <p:nvSpPr>
            <p:cNvPr id="189" name="Freeform 184"/>
            <p:cNvSpPr>
              <a:spLocks/>
            </p:cNvSpPr>
            <p:nvPr/>
          </p:nvSpPr>
          <p:spPr bwMode="invGray">
            <a:xfrm>
              <a:off x="5338763" y="9626600"/>
              <a:ext cx="296863" cy="552450"/>
            </a:xfrm>
            <a:custGeom>
              <a:avLst/>
              <a:gdLst>
                <a:gd name="T0" fmla="*/ 117 w 187"/>
                <a:gd name="T1" fmla="*/ 0 h 348"/>
                <a:gd name="T2" fmla="*/ 187 w 187"/>
                <a:gd name="T3" fmla="*/ 0 h 348"/>
                <a:gd name="T4" fmla="*/ 72 w 187"/>
                <a:gd name="T5" fmla="*/ 211 h 348"/>
                <a:gd name="T6" fmla="*/ 148 w 187"/>
                <a:gd name="T7" fmla="*/ 348 h 348"/>
                <a:gd name="T8" fmla="*/ 76 w 187"/>
                <a:gd name="T9" fmla="*/ 348 h 348"/>
                <a:gd name="T10" fmla="*/ 0 w 187"/>
                <a:gd name="T11" fmla="*/ 209 h 348"/>
                <a:gd name="T12" fmla="*/ 117 w 187"/>
                <a:gd name="T13" fmla="*/ 0 h 348"/>
              </a:gdLst>
              <a:ahLst/>
              <a:cxnLst>
                <a:cxn ang="0">
                  <a:pos x="T0" y="T1"/>
                </a:cxn>
                <a:cxn ang="0">
                  <a:pos x="T2" y="T3"/>
                </a:cxn>
                <a:cxn ang="0">
                  <a:pos x="T4" y="T5"/>
                </a:cxn>
                <a:cxn ang="0">
                  <a:pos x="T6" y="T7"/>
                </a:cxn>
                <a:cxn ang="0">
                  <a:pos x="T8" y="T9"/>
                </a:cxn>
                <a:cxn ang="0">
                  <a:pos x="T10" y="T11"/>
                </a:cxn>
                <a:cxn ang="0">
                  <a:pos x="T12" y="T13"/>
                </a:cxn>
              </a:cxnLst>
              <a:rect l="0" t="0" r="r" b="b"/>
              <a:pathLst>
                <a:path w="187" h="348">
                  <a:moveTo>
                    <a:pt x="117" y="0"/>
                  </a:moveTo>
                  <a:lnTo>
                    <a:pt x="187" y="0"/>
                  </a:lnTo>
                  <a:lnTo>
                    <a:pt x="72" y="211"/>
                  </a:lnTo>
                  <a:lnTo>
                    <a:pt x="148" y="348"/>
                  </a:lnTo>
                  <a:lnTo>
                    <a:pt x="76" y="348"/>
                  </a:lnTo>
                  <a:lnTo>
                    <a:pt x="0" y="209"/>
                  </a:lnTo>
                  <a:lnTo>
                    <a:pt x="117" y="0"/>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endParaRPr lang="en-US" sz="3264"/>
            </a:p>
          </p:txBody>
        </p:sp>
        <p:sp>
          <p:nvSpPr>
            <p:cNvPr id="190" name="Freeform 185"/>
            <p:cNvSpPr>
              <a:spLocks/>
            </p:cNvSpPr>
            <p:nvPr/>
          </p:nvSpPr>
          <p:spPr bwMode="invGray">
            <a:xfrm>
              <a:off x="5170488" y="9725025"/>
              <a:ext cx="185738" cy="274638"/>
            </a:xfrm>
            <a:custGeom>
              <a:avLst/>
              <a:gdLst>
                <a:gd name="T0" fmla="*/ 55 w 117"/>
                <a:gd name="T1" fmla="*/ 173 h 173"/>
                <a:gd name="T2" fmla="*/ 0 w 117"/>
                <a:gd name="T3" fmla="*/ 173 h 173"/>
                <a:gd name="T4" fmla="*/ 61 w 117"/>
                <a:gd name="T5" fmla="*/ 78 h 173"/>
                <a:gd name="T6" fmla="*/ 10 w 117"/>
                <a:gd name="T7" fmla="*/ 0 h 173"/>
                <a:gd name="T8" fmla="*/ 67 w 117"/>
                <a:gd name="T9" fmla="*/ 0 h 173"/>
                <a:gd name="T10" fmla="*/ 117 w 117"/>
                <a:gd name="T11" fmla="*/ 80 h 173"/>
                <a:gd name="T12" fmla="*/ 55 w 117"/>
                <a:gd name="T13" fmla="*/ 173 h 173"/>
              </a:gdLst>
              <a:ahLst/>
              <a:cxnLst>
                <a:cxn ang="0">
                  <a:pos x="T0" y="T1"/>
                </a:cxn>
                <a:cxn ang="0">
                  <a:pos x="T2" y="T3"/>
                </a:cxn>
                <a:cxn ang="0">
                  <a:pos x="T4" y="T5"/>
                </a:cxn>
                <a:cxn ang="0">
                  <a:pos x="T6" y="T7"/>
                </a:cxn>
                <a:cxn ang="0">
                  <a:pos x="T8" y="T9"/>
                </a:cxn>
                <a:cxn ang="0">
                  <a:pos x="T10" y="T11"/>
                </a:cxn>
                <a:cxn ang="0">
                  <a:pos x="T12" y="T13"/>
                </a:cxn>
              </a:cxnLst>
              <a:rect l="0" t="0" r="r" b="b"/>
              <a:pathLst>
                <a:path w="117" h="173">
                  <a:moveTo>
                    <a:pt x="55" y="173"/>
                  </a:moveTo>
                  <a:lnTo>
                    <a:pt x="0" y="173"/>
                  </a:lnTo>
                  <a:lnTo>
                    <a:pt x="61" y="78"/>
                  </a:lnTo>
                  <a:lnTo>
                    <a:pt x="10" y="0"/>
                  </a:lnTo>
                  <a:lnTo>
                    <a:pt x="67" y="0"/>
                  </a:lnTo>
                  <a:lnTo>
                    <a:pt x="117" y="80"/>
                  </a:lnTo>
                  <a:lnTo>
                    <a:pt x="55" y="173"/>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endParaRPr lang="en-US" sz="3264"/>
            </a:p>
          </p:txBody>
        </p:sp>
      </p:grpSp>
      <p:grpSp>
        <p:nvGrpSpPr>
          <p:cNvPr id="191" name="Group 190"/>
          <p:cNvGrpSpPr/>
          <p:nvPr/>
        </p:nvGrpSpPr>
        <p:grpSpPr bwMode="invGray">
          <a:xfrm>
            <a:off x="6624584" y="2108748"/>
            <a:ext cx="1243471" cy="1243471"/>
            <a:chOff x="6243638" y="9424987"/>
            <a:chExt cx="885825" cy="884238"/>
          </a:xfrm>
        </p:grpSpPr>
        <p:sp>
          <p:nvSpPr>
            <p:cNvPr id="192" name="Oval 186"/>
            <p:cNvSpPr>
              <a:spLocks noChangeArrowheads="1"/>
            </p:cNvSpPr>
            <p:nvPr/>
          </p:nvSpPr>
          <p:spPr bwMode="invGray">
            <a:xfrm>
              <a:off x="6243638" y="9424987"/>
              <a:ext cx="885825" cy="884238"/>
            </a:xfrm>
            <a:prstGeom prst="ellipse">
              <a:avLst/>
            </a:prstGeom>
            <a:solidFill>
              <a:schemeClr val="accent1"/>
            </a:solidFill>
            <a:ln w="19050">
              <a:noFill/>
              <a:round/>
              <a:headEnd/>
              <a:tailEnd/>
            </a:ln>
          </p:spPr>
          <p:txBody>
            <a:bodyPr vert="horz" wrap="square" lIns="124347" tIns="62174" rIns="124347" bIns="62174" numCol="1" anchor="t" anchorCtr="0" compatLnSpc="1">
              <a:prstTxWarp prst="textNoShape">
                <a:avLst/>
              </a:prstTxWarp>
            </a:bodyPr>
            <a:lstStyle/>
            <a:p>
              <a:endParaRPr lang="en-US" sz="3264"/>
            </a:p>
          </p:txBody>
        </p:sp>
        <p:sp>
          <p:nvSpPr>
            <p:cNvPr id="193" name="Freeform 187"/>
            <p:cNvSpPr>
              <a:spLocks noEditPoints="1"/>
            </p:cNvSpPr>
            <p:nvPr/>
          </p:nvSpPr>
          <p:spPr bwMode="invGray">
            <a:xfrm>
              <a:off x="6423025" y="9626600"/>
              <a:ext cx="511175" cy="481013"/>
            </a:xfrm>
            <a:custGeom>
              <a:avLst/>
              <a:gdLst>
                <a:gd name="T0" fmla="*/ 163 w 223"/>
                <a:gd name="T1" fmla="*/ 199 h 210"/>
                <a:gd name="T2" fmla="*/ 103 w 223"/>
                <a:gd name="T3" fmla="*/ 210 h 210"/>
                <a:gd name="T4" fmla="*/ 0 w 223"/>
                <a:gd name="T5" fmla="*/ 115 h 210"/>
                <a:gd name="T6" fmla="*/ 123 w 223"/>
                <a:gd name="T7" fmla="*/ 0 h 210"/>
                <a:gd name="T8" fmla="*/ 223 w 223"/>
                <a:gd name="T9" fmla="*/ 87 h 210"/>
                <a:gd name="T10" fmla="*/ 161 w 223"/>
                <a:gd name="T11" fmla="*/ 159 h 210"/>
                <a:gd name="T12" fmla="*/ 132 w 223"/>
                <a:gd name="T13" fmla="*/ 136 h 210"/>
                <a:gd name="T14" fmla="*/ 132 w 223"/>
                <a:gd name="T15" fmla="*/ 136 h 210"/>
                <a:gd name="T16" fmla="*/ 89 w 223"/>
                <a:gd name="T17" fmla="*/ 159 h 210"/>
                <a:gd name="T18" fmla="*/ 52 w 223"/>
                <a:gd name="T19" fmla="*/ 120 h 210"/>
                <a:gd name="T20" fmla="*/ 129 w 223"/>
                <a:gd name="T21" fmla="*/ 49 h 210"/>
                <a:gd name="T22" fmla="*/ 168 w 223"/>
                <a:gd name="T23" fmla="*/ 57 h 210"/>
                <a:gd name="T24" fmla="*/ 159 w 223"/>
                <a:gd name="T25" fmla="*/ 113 h 210"/>
                <a:gd name="T26" fmla="*/ 167 w 223"/>
                <a:gd name="T27" fmla="*/ 139 h 210"/>
                <a:gd name="T28" fmla="*/ 199 w 223"/>
                <a:gd name="T29" fmla="*/ 88 h 210"/>
                <a:gd name="T30" fmla="*/ 120 w 223"/>
                <a:gd name="T31" fmla="*/ 18 h 210"/>
                <a:gd name="T32" fmla="*/ 26 w 223"/>
                <a:gd name="T33" fmla="*/ 112 h 210"/>
                <a:gd name="T34" fmla="*/ 110 w 223"/>
                <a:gd name="T35" fmla="*/ 191 h 210"/>
                <a:gd name="T36" fmla="*/ 158 w 223"/>
                <a:gd name="T37" fmla="*/ 182 h 210"/>
                <a:gd name="T38" fmla="*/ 163 w 223"/>
                <a:gd name="T39" fmla="*/ 199 h 210"/>
                <a:gd name="T40" fmla="*/ 134 w 223"/>
                <a:gd name="T41" fmla="*/ 74 h 210"/>
                <a:gd name="T42" fmla="*/ 124 w 223"/>
                <a:gd name="T43" fmla="*/ 73 h 210"/>
                <a:gd name="T44" fmla="*/ 85 w 223"/>
                <a:gd name="T45" fmla="*/ 116 h 210"/>
                <a:gd name="T46" fmla="*/ 102 w 223"/>
                <a:gd name="T47" fmla="*/ 135 h 210"/>
                <a:gd name="T48" fmla="*/ 130 w 223"/>
                <a:gd name="T49" fmla="*/ 103 h 210"/>
                <a:gd name="T50" fmla="*/ 134 w 223"/>
                <a:gd name="T51" fmla="*/ 74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23" h="210">
                  <a:moveTo>
                    <a:pt x="163" y="199"/>
                  </a:moveTo>
                  <a:cubicBezTo>
                    <a:pt x="144" y="207"/>
                    <a:pt x="127" y="210"/>
                    <a:pt x="103" y="210"/>
                  </a:cubicBezTo>
                  <a:cubicBezTo>
                    <a:pt x="48" y="210"/>
                    <a:pt x="0" y="174"/>
                    <a:pt x="0" y="115"/>
                  </a:cubicBezTo>
                  <a:cubicBezTo>
                    <a:pt x="0" y="53"/>
                    <a:pt x="49" y="0"/>
                    <a:pt x="123" y="0"/>
                  </a:cubicBezTo>
                  <a:cubicBezTo>
                    <a:pt x="182" y="0"/>
                    <a:pt x="223" y="36"/>
                    <a:pt x="223" y="87"/>
                  </a:cubicBezTo>
                  <a:cubicBezTo>
                    <a:pt x="223" y="131"/>
                    <a:pt x="196" y="159"/>
                    <a:pt x="161" y="159"/>
                  </a:cubicBezTo>
                  <a:cubicBezTo>
                    <a:pt x="145" y="159"/>
                    <a:pt x="134" y="152"/>
                    <a:pt x="132" y="136"/>
                  </a:cubicBezTo>
                  <a:cubicBezTo>
                    <a:pt x="132" y="136"/>
                    <a:pt x="132" y="136"/>
                    <a:pt x="132" y="136"/>
                  </a:cubicBezTo>
                  <a:cubicBezTo>
                    <a:pt x="121" y="151"/>
                    <a:pt x="107" y="159"/>
                    <a:pt x="89" y="159"/>
                  </a:cubicBezTo>
                  <a:cubicBezTo>
                    <a:pt x="68" y="159"/>
                    <a:pt x="52" y="144"/>
                    <a:pt x="52" y="120"/>
                  </a:cubicBezTo>
                  <a:cubicBezTo>
                    <a:pt x="52" y="83"/>
                    <a:pt x="82" y="49"/>
                    <a:pt x="129" y="49"/>
                  </a:cubicBezTo>
                  <a:cubicBezTo>
                    <a:pt x="144" y="49"/>
                    <a:pt x="160" y="53"/>
                    <a:pt x="168" y="57"/>
                  </a:cubicBezTo>
                  <a:cubicBezTo>
                    <a:pt x="159" y="113"/>
                    <a:pt x="159" y="113"/>
                    <a:pt x="159" y="113"/>
                  </a:cubicBezTo>
                  <a:cubicBezTo>
                    <a:pt x="155" y="131"/>
                    <a:pt x="158" y="139"/>
                    <a:pt x="167" y="139"/>
                  </a:cubicBezTo>
                  <a:cubicBezTo>
                    <a:pt x="181" y="140"/>
                    <a:pt x="199" y="123"/>
                    <a:pt x="199" y="88"/>
                  </a:cubicBezTo>
                  <a:cubicBezTo>
                    <a:pt x="199" y="48"/>
                    <a:pt x="171" y="18"/>
                    <a:pt x="120" y="18"/>
                  </a:cubicBezTo>
                  <a:cubicBezTo>
                    <a:pt x="69" y="18"/>
                    <a:pt x="26" y="54"/>
                    <a:pt x="26" y="112"/>
                  </a:cubicBezTo>
                  <a:cubicBezTo>
                    <a:pt x="26" y="163"/>
                    <a:pt x="60" y="191"/>
                    <a:pt x="110" y="191"/>
                  </a:cubicBezTo>
                  <a:cubicBezTo>
                    <a:pt x="126" y="191"/>
                    <a:pt x="144" y="188"/>
                    <a:pt x="158" y="182"/>
                  </a:cubicBezTo>
                  <a:lnTo>
                    <a:pt x="163" y="199"/>
                  </a:lnTo>
                  <a:close/>
                  <a:moveTo>
                    <a:pt x="134" y="74"/>
                  </a:moveTo>
                  <a:cubicBezTo>
                    <a:pt x="132" y="74"/>
                    <a:pt x="128" y="73"/>
                    <a:pt x="124" y="73"/>
                  </a:cubicBezTo>
                  <a:cubicBezTo>
                    <a:pt x="102" y="73"/>
                    <a:pt x="85" y="93"/>
                    <a:pt x="85" y="116"/>
                  </a:cubicBezTo>
                  <a:cubicBezTo>
                    <a:pt x="85" y="128"/>
                    <a:pt x="91" y="135"/>
                    <a:pt x="102" y="135"/>
                  </a:cubicBezTo>
                  <a:cubicBezTo>
                    <a:pt x="114" y="135"/>
                    <a:pt x="127" y="121"/>
                    <a:pt x="130" y="103"/>
                  </a:cubicBezTo>
                  <a:lnTo>
                    <a:pt x="134" y="74"/>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endParaRPr lang="en-US" sz="3264"/>
            </a:p>
          </p:txBody>
        </p:sp>
      </p:grpSp>
      <p:grpSp>
        <p:nvGrpSpPr>
          <p:cNvPr id="194" name="Group 193"/>
          <p:cNvGrpSpPr/>
          <p:nvPr/>
        </p:nvGrpSpPr>
        <p:grpSpPr bwMode="invGray">
          <a:xfrm>
            <a:off x="8651866" y="2108748"/>
            <a:ext cx="1243471" cy="1243471"/>
            <a:chOff x="7559675" y="9418637"/>
            <a:chExt cx="884238" cy="884238"/>
          </a:xfrm>
        </p:grpSpPr>
        <p:sp>
          <p:nvSpPr>
            <p:cNvPr id="195" name="Oval 188"/>
            <p:cNvSpPr>
              <a:spLocks noChangeArrowheads="1"/>
            </p:cNvSpPr>
            <p:nvPr/>
          </p:nvSpPr>
          <p:spPr bwMode="invGray">
            <a:xfrm>
              <a:off x="7559675" y="9418637"/>
              <a:ext cx="884238" cy="884238"/>
            </a:xfrm>
            <a:prstGeom prst="ellipse">
              <a:avLst/>
            </a:prstGeom>
            <a:solidFill>
              <a:schemeClr val="accent1"/>
            </a:solidFill>
            <a:ln w="19050">
              <a:noFill/>
              <a:round/>
              <a:headEnd/>
              <a:tailEnd/>
            </a:ln>
          </p:spPr>
          <p:txBody>
            <a:bodyPr vert="horz" wrap="square" lIns="124347" tIns="62174" rIns="124347" bIns="62174" numCol="1" anchor="t" anchorCtr="0" compatLnSpc="1">
              <a:prstTxWarp prst="textNoShape">
                <a:avLst/>
              </a:prstTxWarp>
            </a:bodyPr>
            <a:lstStyle/>
            <a:p>
              <a:endParaRPr lang="en-US" sz="3264"/>
            </a:p>
          </p:txBody>
        </p:sp>
        <p:sp>
          <p:nvSpPr>
            <p:cNvPr id="196" name="Freeform 189"/>
            <p:cNvSpPr>
              <a:spLocks/>
            </p:cNvSpPr>
            <p:nvPr/>
          </p:nvSpPr>
          <p:spPr bwMode="invGray">
            <a:xfrm>
              <a:off x="7716838" y="9710737"/>
              <a:ext cx="555625" cy="354013"/>
            </a:xfrm>
            <a:custGeom>
              <a:avLst/>
              <a:gdLst>
                <a:gd name="T0" fmla="*/ 234 w 242"/>
                <a:gd name="T1" fmla="*/ 32 h 154"/>
                <a:gd name="T2" fmla="*/ 207 w 242"/>
                <a:gd name="T3" fmla="*/ 38 h 154"/>
                <a:gd name="T4" fmla="*/ 139 w 242"/>
                <a:gd name="T5" fmla="*/ 95 h 154"/>
                <a:gd name="T6" fmla="*/ 138 w 242"/>
                <a:gd name="T7" fmla="*/ 110 h 154"/>
                <a:gd name="T8" fmla="*/ 138 w 242"/>
                <a:gd name="T9" fmla="*/ 119 h 154"/>
                <a:gd name="T10" fmla="*/ 140 w 242"/>
                <a:gd name="T11" fmla="*/ 141 h 154"/>
                <a:gd name="T12" fmla="*/ 176 w 242"/>
                <a:gd name="T13" fmla="*/ 142 h 154"/>
                <a:gd name="T14" fmla="*/ 176 w 242"/>
                <a:gd name="T15" fmla="*/ 153 h 154"/>
                <a:gd name="T16" fmla="*/ 116 w 242"/>
                <a:gd name="T17" fmla="*/ 153 h 154"/>
                <a:gd name="T18" fmla="*/ 64 w 242"/>
                <a:gd name="T19" fmla="*/ 154 h 154"/>
                <a:gd name="T20" fmla="*/ 66 w 242"/>
                <a:gd name="T21" fmla="*/ 143 h 154"/>
                <a:gd name="T22" fmla="*/ 99 w 242"/>
                <a:gd name="T23" fmla="*/ 139 h 154"/>
                <a:gd name="T24" fmla="*/ 100 w 242"/>
                <a:gd name="T25" fmla="*/ 118 h 154"/>
                <a:gd name="T26" fmla="*/ 100 w 242"/>
                <a:gd name="T27" fmla="*/ 111 h 154"/>
                <a:gd name="T28" fmla="*/ 100 w 242"/>
                <a:gd name="T29" fmla="*/ 95 h 154"/>
                <a:gd name="T30" fmla="*/ 34 w 242"/>
                <a:gd name="T31" fmla="*/ 16 h 154"/>
                <a:gd name="T32" fmla="*/ 0 w 242"/>
                <a:gd name="T33" fmla="*/ 11 h 154"/>
                <a:gd name="T34" fmla="*/ 0 w 242"/>
                <a:gd name="T35" fmla="*/ 1 h 154"/>
                <a:gd name="T36" fmla="*/ 55 w 242"/>
                <a:gd name="T37" fmla="*/ 1 h 154"/>
                <a:gd name="T38" fmla="*/ 115 w 242"/>
                <a:gd name="T39" fmla="*/ 1 h 154"/>
                <a:gd name="T40" fmla="*/ 114 w 242"/>
                <a:gd name="T41" fmla="*/ 10 h 154"/>
                <a:gd name="T42" fmla="*/ 78 w 242"/>
                <a:gd name="T43" fmla="*/ 13 h 154"/>
                <a:gd name="T44" fmla="*/ 129 w 242"/>
                <a:gd name="T45" fmla="*/ 81 h 154"/>
                <a:gd name="T46" fmla="*/ 175 w 242"/>
                <a:gd name="T47" fmla="*/ 37 h 154"/>
                <a:gd name="T48" fmla="*/ 145 w 242"/>
                <a:gd name="T49" fmla="*/ 32 h 154"/>
                <a:gd name="T50" fmla="*/ 143 w 242"/>
                <a:gd name="T51" fmla="*/ 21 h 154"/>
                <a:gd name="T52" fmla="*/ 193 w 242"/>
                <a:gd name="T53" fmla="*/ 21 h 154"/>
                <a:gd name="T54" fmla="*/ 242 w 242"/>
                <a:gd name="T55" fmla="*/ 22 h 154"/>
                <a:gd name="T56" fmla="*/ 234 w 242"/>
                <a:gd name="T57" fmla="*/ 32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42" h="154">
                  <a:moveTo>
                    <a:pt x="234" y="32"/>
                  </a:moveTo>
                  <a:cubicBezTo>
                    <a:pt x="230" y="33"/>
                    <a:pt x="213" y="37"/>
                    <a:pt x="207" y="38"/>
                  </a:cubicBezTo>
                  <a:cubicBezTo>
                    <a:pt x="201" y="40"/>
                    <a:pt x="143" y="84"/>
                    <a:pt x="139" y="95"/>
                  </a:cubicBezTo>
                  <a:cubicBezTo>
                    <a:pt x="138" y="99"/>
                    <a:pt x="138" y="105"/>
                    <a:pt x="138" y="110"/>
                  </a:cubicBezTo>
                  <a:cubicBezTo>
                    <a:pt x="138" y="119"/>
                    <a:pt x="138" y="119"/>
                    <a:pt x="138" y="119"/>
                  </a:cubicBezTo>
                  <a:cubicBezTo>
                    <a:pt x="138" y="125"/>
                    <a:pt x="139" y="135"/>
                    <a:pt x="140" y="141"/>
                  </a:cubicBezTo>
                  <a:cubicBezTo>
                    <a:pt x="144" y="142"/>
                    <a:pt x="171" y="141"/>
                    <a:pt x="176" y="142"/>
                  </a:cubicBezTo>
                  <a:cubicBezTo>
                    <a:pt x="176" y="153"/>
                    <a:pt x="176" y="153"/>
                    <a:pt x="176" y="153"/>
                  </a:cubicBezTo>
                  <a:cubicBezTo>
                    <a:pt x="171" y="153"/>
                    <a:pt x="136" y="153"/>
                    <a:pt x="116" y="153"/>
                  </a:cubicBezTo>
                  <a:cubicBezTo>
                    <a:pt x="106" y="153"/>
                    <a:pt x="74" y="154"/>
                    <a:pt x="64" y="154"/>
                  </a:cubicBezTo>
                  <a:cubicBezTo>
                    <a:pt x="66" y="143"/>
                    <a:pt x="66" y="143"/>
                    <a:pt x="66" y="143"/>
                  </a:cubicBezTo>
                  <a:cubicBezTo>
                    <a:pt x="71" y="142"/>
                    <a:pt x="94" y="144"/>
                    <a:pt x="99" y="139"/>
                  </a:cubicBezTo>
                  <a:cubicBezTo>
                    <a:pt x="101" y="136"/>
                    <a:pt x="100" y="133"/>
                    <a:pt x="100" y="118"/>
                  </a:cubicBezTo>
                  <a:cubicBezTo>
                    <a:pt x="100" y="111"/>
                    <a:pt x="100" y="111"/>
                    <a:pt x="100" y="111"/>
                  </a:cubicBezTo>
                  <a:cubicBezTo>
                    <a:pt x="100" y="108"/>
                    <a:pt x="100" y="101"/>
                    <a:pt x="100" y="95"/>
                  </a:cubicBezTo>
                  <a:cubicBezTo>
                    <a:pt x="97" y="89"/>
                    <a:pt x="47" y="26"/>
                    <a:pt x="34" y="16"/>
                  </a:cubicBezTo>
                  <a:cubicBezTo>
                    <a:pt x="30" y="14"/>
                    <a:pt x="6" y="12"/>
                    <a:pt x="0" y="11"/>
                  </a:cubicBezTo>
                  <a:cubicBezTo>
                    <a:pt x="0" y="1"/>
                    <a:pt x="0" y="1"/>
                    <a:pt x="0" y="1"/>
                  </a:cubicBezTo>
                  <a:cubicBezTo>
                    <a:pt x="3" y="0"/>
                    <a:pt x="29" y="2"/>
                    <a:pt x="55" y="1"/>
                  </a:cubicBezTo>
                  <a:cubicBezTo>
                    <a:pt x="72" y="0"/>
                    <a:pt x="110" y="1"/>
                    <a:pt x="115" y="1"/>
                  </a:cubicBezTo>
                  <a:cubicBezTo>
                    <a:pt x="114" y="10"/>
                    <a:pt x="114" y="10"/>
                    <a:pt x="114" y="10"/>
                  </a:cubicBezTo>
                  <a:cubicBezTo>
                    <a:pt x="109" y="11"/>
                    <a:pt x="84" y="11"/>
                    <a:pt x="78" y="13"/>
                  </a:cubicBezTo>
                  <a:cubicBezTo>
                    <a:pt x="94" y="37"/>
                    <a:pt x="120" y="69"/>
                    <a:pt x="129" y="81"/>
                  </a:cubicBezTo>
                  <a:cubicBezTo>
                    <a:pt x="133" y="74"/>
                    <a:pt x="174" y="46"/>
                    <a:pt x="175" y="37"/>
                  </a:cubicBezTo>
                  <a:cubicBezTo>
                    <a:pt x="169" y="35"/>
                    <a:pt x="148" y="32"/>
                    <a:pt x="145" y="32"/>
                  </a:cubicBezTo>
                  <a:cubicBezTo>
                    <a:pt x="143" y="21"/>
                    <a:pt x="143" y="21"/>
                    <a:pt x="143" y="21"/>
                  </a:cubicBezTo>
                  <a:cubicBezTo>
                    <a:pt x="148" y="20"/>
                    <a:pt x="178" y="21"/>
                    <a:pt x="193" y="21"/>
                  </a:cubicBezTo>
                  <a:cubicBezTo>
                    <a:pt x="206" y="21"/>
                    <a:pt x="234" y="21"/>
                    <a:pt x="242" y="22"/>
                  </a:cubicBezTo>
                  <a:lnTo>
                    <a:pt x="234" y="32"/>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endParaRPr lang="en-US" sz="3264"/>
            </a:p>
          </p:txBody>
        </p:sp>
      </p:grpSp>
      <p:grpSp>
        <p:nvGrpSpPr>
          <p:cNvPr id="197" name="Group 196"/>
          <p:cNvGrpSpPr/>
          <p:nvPr/>
        </p:nvGrpSpPr>
        <p:grpSpPr bwMode="invGray">
          <a:xfrm>
            <a:off x="10679144" y="2108748"/>
            <a:ext cx="1243471" cy="1243471"/>
            <a:chOff x="8858250" y="9418637"/>
            <a:chExt cx="885825" cy="884238"/>
          </a:xfrm>
        </p:grpSpPr>
        <p:sp>
          <p:nvSpPr>
            <p:cNvPr id="198" name="Oval 190"/>
            <p:cNvSpPr>
              <a:spLocks noChangeArrowheads="1"/>
            </p:cNvSpPr>
            <p:nvPr/>
          </p:nvSpPr>
          <p:spPr bwMode="invGray">
            <a:xfrm>
              <a:off x="8858250" y="9418637"/>
              <a:ext cx="885825" cy="884238"/>
            </a:xfrm>
            <a:prstGeom prst="ellipse">
              <a:avLst/>
            </a:prstGeom>
            <a:solidFill>
              <a:schemeClr val="accent1"/>
            </a:solidFill>
            <a:ln w="19050">
              <a:noFill/>
              <a:round/>
              <a:headEnd/>
              <a:tailEnd/>
            </a:ln>
          </p:spPr>
          <p:txBody>
            <a:bodyPr vert="horz" wrap="square" lIns="124347" tIns="62174" rIns="124347" bIns="62174" numCol="1" anchor="t" anchorCtr="0" compatLnSpc="1">
              <a:prstTxWarp prst="textNoShape">
                <a:avLst/>
              </a:prstTxWarp>
            </a:bodyPr>
            <a:lstStyle/>
            <a:p>
              <a:endParaRPr lang="en-US" sz="3264"/>
            </a:p>
          </p:txBody>
        </p:sp>
        <p:sp>
          <p:nvSpPr>
            <p:cNvPr id="199" name="Freeform 191"/>
            <p:cNvSpPr>
              <a:spLocks/>
            </p:cNvSpPr>
            <p:nvPr/>
          </p:nvSpPr>
          <p:spPr bwMode="invGray">
            <a:xfrm>
              <a:off x="9144000" y="9601200"/>
              <a:ext cx="369888" cy="552450"/>
            </a:xfrm>
            <a:custGeom>
              <a:avLst/>
              <a:gdLst>
                <a:gd name="T0" fmla="*/ 81 w 161"/>
                <a:gd name="T1" fmla="*/ 241 h 241"/>
                <a:gd name="T2" fmla="*/ 0 w 161"/>
                <a:gd name="T3" fmla="*/ 161 h 241"/>
                <a:gd name="T4" fmla="*/ 0 w 161"/>
                <a:gd name="T5" fmla="*/ 0 h 241"/>
                <a:gd name="T6" fmla="*/ 46 w 161"/>
                <a:gd name="T7" fmla="*/ 0 h 241"/>
                <a:gd name="T8" fmla="*/ 46 w 161"/>
                <a:gd name="T9" fmla="*/ 161 h 241"/>
                <a:gd name="T10" fmla="*/ 81 w 161"/>
                <a:gd name="T11" fmla="*/ 195 h 241"/>
                <a:gd name="T12" fmla="*/ 115 w 161"/>
                <a:gd name="T13" fmla="*/ 161 h 241"/>
                <a:gd name="T14" fmla="*/ 81 w 161"/>
                <a:gd name="T15" fmla="*/ 126 h 241"/>
                <a:gd name="T16" fmla="*/ 58 w 161"/>
                <a:gd name="T17" fmla="*/ 126 h 241"/>
                <a:gd name="T18" fmla="*/ 58 w 161"/>
                <a:gd name="T19" fmla="*/ 80 h 241"/>
                <a:gd name="T20" fmla="*/ 81 w 161"/>
                <a:gd name="T21" fmla="*/ 80 h 241"/>
                <a:gd name="T22" fmla="*/ 161 w 161"/>
                <a:gd name="T23" fmla="*/ 161 h 241"/>
                <a:gd name="T24" fmla="*/ 81 w 161"/>
                <a:gd name="T25" fmla="*/ 24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1" h="241">
                  <a:moveTo>
                    <a:pt x="81" y="241"/>
                  </a:moveTo>
                  <a:cubicBezTo>
                    <a:pt x="36" y="241"/>
                    <a:pt x="0" y="205"/>
                    <a:pt x="0" y="161"/>
                  </a:cubicBezTo>
                  <a:cubicBezTo>
                    <a:pt x="0" y="0"/>
                    <a:pt x="0" y="0"/>
                    <a:pt x="0" y="0"/>
                  </a:cubicBezTo>
                  <a:cubicBezTo>
                    <a:pt x="46" y="0"/>
                    <a:pt x="46" y="0"/>
                    <a:pt x="46" y="0"/>
                  </a:cubicBezTo>
                  <a:cubicBezTo>
                    <a:pt x="46" y="161"/>
                    <a:pt x="46" y="161"/>
                    <a:pt x="46" y="161"/>
                  </a:cubicBezTo>
                  <a:cubicBezTo>
                    <a:pt x="46" y="180"/>
                    <a:pt x="62" y="195"/>
                    <a:pt x="81" y="195"/>
                  </a:cubicBezTo>
                  <a:cubicBezTo>
                    <a:pt x="100" y="195"/>
                    <a:pt x="115" y="180"/>
                    <a:pt x="115" y="161"/>
                  </a:cubicBezTo>
                  <a:cubicBezTo>
                    <a:pt x="115" y="142"/>
                    <a:pt x="100" y="126"/>
                    <a:pt x="81" y="126"/>
                  </a:cubicBezTo>
                  <a:cubicBezTo>
                    <a:pt x="58" y="126"/>
                    <a:pt x="58" y="126"/>
                    <a:pt x="58" y="126"/>
                  </a:cubicBezTo>
                  <a:cubicBezTo>
                    <a:pt x="58" y="80"/>
                    <a:pt x="58" y="80"/>
                    <a:pt x="58" y="80"/>
                  </a:cubicBezTo>
                  <a:cubicBezTo>
                    <a:pt x="81" y="80"/>
                    <a:pt x="81" y="80"/>
                    <a:pt x="81" y="80"/>
                  </a:cubicBezTo>
                  <a:cubicBezTo>
                    <a:pt x="125" y="80"/>
                    <a:pt x="161" y="116"/>
                    <a:pt x="161" y="161"/>
                  </a:cubicBezTo>
                  <a:cubicBezTo>
                    <a:pt x="161" y="205"/>
                    <a:pt x="125" y="241"/>
                    <a:pt x="81" y="241"/>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endParaRPr lang="en-US" sz="3264"/>
            </a:p>
          </p:txBody>
        </p:sp>
      </p:grpSp>
      <p:grpSp>
        <p:nvGrpSpPr>
          <p:cNvPr id="200" name="Group 199"/>
          <p:cNvGrpSpPr/>
          <p:nvPr/>
        </p:nvGrpSpPr>
        <p:grpSpPr bwMode="invGray">
          <a:xfrm>
            <a:off x="10679144" y="3944370"/>
            <a:ext cx="1243471" cy="1243471"/>
            <a:chOff x="10688638" y="17654587"/>
            <a:chExt cx="885825" cy="885825"/>
          </a:xfrm>
        </p:grpSpPr>
        <p:sp>
          <p:nvSpPr>
            <p:cNvPr id="201" name="Oval 90"/>
            <p:cNvSpPr>
              <a:spLocks noChangeArrowheads="1"/>
            </p:cNvSpPr>
            <p:nvPr/>
          </p:nvSpPr>
          <p:spPr bwMode="invGray">
            <a:xfrm>
              <a:off x="10688638" y="17654587"/>
              <a:ext cx="885825" cy="885825"/>
            </a:xfrm>
            <a:prstGeom prst="ellipse">
              <a:avLst/>
            </a:prstGeom>
            <a:solidFill>
              <a:schemeClr val="accent1"/>
            </a:solidFill>
            <a:ln w="19050">
              <a:noFill/>
              <a:round/>
              <a:headEnd/>
              <a:tailEnd/>
            </a:ln>
          </p:spPr>
          <p:txBody>
            <a:bodyPr vert="horz" wrap="square" lIns="124347" tIns="62174" rIns="124347" bIns="62174" numCol="1" anchor="t" anchorCtr="0" compatLnSpc="1">
              <a:prstTxWarp prst="textNoShape">
                <a:avLst/>
              </a:prstTxWarp>
            </a:bodyPr>
            <a:lstStyle/>
            <a:p>
              <a:endParaRPr lang="en-US" sz="3264"/>
            </a:p>
          </p:txBody>
        </p:sp>
        <p:sp>
          <p:nvSpPr>
            <p:cNvPr id="202" name="Freeform 203"/>
            <p:cNvSpPr>
              <a:spLocks/>
            </p:cNvSpPr>
            <p:nvPr/>
          </p:nvSpPr>
          <p:spPr bwMode="invGray">
            <a:xfrm>
              <a:off x="10752138" y="17783175"/>
              <a:ext cx="720725" cy="527050"/>
            </a:xfrm>
            <a:custGeom>
              <a:avLst/>
              <a:gdLst>
                <a:gd name="T0" fmla="*/ 151 w 314"/>
                <a:gd name="T1" fmla="*/ 177 h 230"/>
                <a:gd name="T2" fmla="*/ 71 w 314"/>
                <a:gd name="T3" fmla="*/ 111 h 230"/>
                <a:gd name="T4" fmla="*/ 98 w 314"/>
                <a:gd name="T5" fmla="*/ 95 h 230"/>
                <a:gd name="T6" fmla="*/ 127 w 314"/>
                <a:gd name="T7" fmla="*/ 95 h 230"/>
                <a:gd name="T8" fmla="*/ 153 w 314"/>
                <a:gd name="T9" fmla="*/ 95 h 230"/>
                <a:gd name="T10" fmla="*/ 187 w 314"/>
                <a:gd name="T11" fmla="*/ 114 h 230"/>
                <a:gd name="T12" fmla="*/ 187 w 314"/>
                <a:gd name="T13" fmla="*/ 169 h 230"/>
                <a:gd name="T14" fmla="*/ 238 w 314"/>
                <a:gd name="T15" fmla="*/ 229 h 230"/>
                <a:gd name="T16" fmla="*/ 250 w 314"/>
                <a:gd name="T17" fmla="*/ 230 h 230"/>
                <a:gd name="T18" fmla="*/ 262 w 314"/>
                <a:gd name="T19" fmla="*/ 229 h 230"/>
                <a:gd name="T20" fmla="*/ 314 w 314"/>
                <a:gd name="T21" fmla="*/ 169 h 230"/>
                <a:gd name="T22" fmla="*/ 314 w 314"/>
                <a:gd name="T23" fmla="*/ 40 h 230"/>
                <a:gd name="T24" fmla="*/ 272 w 314"/>
                <a:gd name="T25" fmla="*/ 0 h 230"/>
                <a:gd name="T26" fmla="*/ 272 w 314"/>
                <a:gd name="T27" fmla="*/ 171 h 230"/>
                <a:gd name="T28" fmla="*/ 272 w 314"/>
                <a:gd name="T29" fmla="*/ 171 h 230"/>
                <a:gd name="T30" fmla="*/ 262 w 314"/>
                <a:gd name="T31" fmla="*/ 189 h 230"/>
                <a:gd name="T32" fmla="*/ 250 w 314"/>
                <a:gd name="T33" fmla="*/ 193 h 230"/>
                <a:gd name="T34" fmla="*/ 238 w 314"/>
                <a:gd name="T35" fmla="*/ 189 h 230"/>
                <a:gd name="T36" fmla="*/ 228 w 314"/>
                <a:gd name="T37" fmla="*/ 171 h 230"/>
                <a:gd name="T38" fmla="*/ 228 w 314"/>
                <a:gd name="T39" fmla="*/ 171 h 230"/>
                <a:gd name="T40" fmla="*/ 228 w 314"/>
                <a:gd name="T41" fmla="*/ 118 h 230"/>
                <a:gd name="T42" fmla="*/ 179 w 314"/>
                <a:gd name="T43" fmla="*/ 59 h 230"/>
                <a:gd name="T44" fmla="*/ 90 w 314"/>
                <a:gd name="T45" fmla="*/ 59 h 230"/>
                <a:gd name="T46" fmla="*/ 30 w 314"/>
                <a:gd name="T47" fmla="*/ 113 h 230"/>
                <a:gd name="T48" fmla="*/ 60 w 314"/>
                <a:gd name="T49" fmla="*/ 157 h 230"/>
                <a:gd name="T50" fmla="*/ 72 w 314"/>
                <a:gd name="T51" fmla="*/ 160 h 230"/>
                <a:gd name="T52" fmla="*/ 110 w 314"/>
                <a:gd name="T53" fmla="*/ 178 h 230"/>
                <a:gd name="T54" fmla="*/ 110 w 314"/>
                <a:gd name="T55" fmla="*/ 178 h 230"/>
                <a:gd name="T56" fmla="*/ 107 w 314"/>
                <a:gd name="T57" fmla="*/ 187 h 230"/>
                <a:gd name="T58" fmla="*/ 107 w 314"/>
                <a:gd name="T59" fmla="*/ 187 h 230"/>
                <a:gd name="T60" fmla="*/ 100 w 314"/>
                <a:gd name="T61" fmla="*/ 191 h 230"/>
                <a:gd name="T62" fmla="*/ 99 w 314"/>
                <a:gd name="T63" fmla="*/ 191 h 230"/>
                <a:gd name="T64" fmla="*/ 97 w 314"/>
                <a:gd name="T65" fmla="*/ 191 h 230"/>
                <a:gd name="T66" fmla="*/ 73 w 314"/>
                <a:gd name="T67" fmla="*/ 193 h 230"/>
                <a:gd name="T68" fmla="*/ 0 w 314"/>
                <a:gd name="T69" fmla="*/ 193 h 230"/>
                <a:gd name="T70" fmla="*/ 14 w 314"/>
                <a:gd name="T71" fmla="*/ 230 h 230"/>
                <a:gd name="T72" fmla="*/ 87 w 314"/>
                <a:gd name="T73" fmla="*/ 230 h 230"/>
                <a:gd name="T74" fmla="*/ 151 w 314"/>
                <a:gd name="T75" fmla="*/ 177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14" h="230">
                  <a:moveTo>
                    <a:pt x="151" y="177"/>
                  </a:moveTo>
                  <a:cubicBezTo>
                    <a:pt x="151" y="107"/>
                    <a:pt x="71" y="136"/>
                    <a:pt x="71" y="111"/>
                  </a:cubicBezTo>
                  <a:cubicBezTo>
                    <a:pt x="71" y="99"/>
                    <a:pt x="81" y="95"/>
                    <a:pt x="98" y="95"/>
                  </a:cubicBezTo>
                  <a:cubicBezTo>
                    <a:pt x="127" y="95"/>
                    <a:pt x="127" y="95"/>
                    <a:pt x="127" y="95"/>
                  </a:cubicBezTo>
                  <a:cubicBezTo>
                    <a:pt x="153" y="95"/>
                    <a:pt x="153" y="95"/>
                    <a:pt x="153" y="95"/>
                  </a:cubicBezTo>
                  <a:cubicBezTo>
                    <a:pt x="169" y="95"/>
                    <a:pt x="187" y="98"/>
                    <a:pt x="187" y="114"/>
                  </a:cubicBezTo>
                  <a:cubicBezTo>
                    <a:pt x="187" y="169"/>
                    <a:pt x="187" y="169"/>
                    <a:pt x="187" y="169"/>
                  </a:cubicBezTo>
                  <a:cubicBezTo>
                    <a:pt x="187" y="204"/>
                    <a:pt x="211" y="224"/>
                    <a:pt x="238" y="229"/>
                  </a:cubicBezTo>
                  <a:cubicBezTo>
                    <a:pt x="242" y="229"/>
                    <a:pt x="246" y="230"/>
                    <a:pt x="250" y="230"/>
                  </a:cubicBezTo>
                  <a:cubicBezTo>
                    <a:pt x="254" y="230"/>
                    <a:pt x="258" y="229"/>
                    <a:pt x="262" y="229"/>
                  </a:cubicBezTo>
                  <a:cubicBezTo>
                    <a:pt x="290" y="224"/>
                    <a:pt x="314" y="204"/>
                    <a:pt x="314" y="169"/>
                  </a:cubicBezTo>
                  <a:cubicBezTo>
                    <a:pt x="314" y="40"/>
                    <a:pt x="314" y="40"/>
                    <a:pt x="314" y="40"/>
                  </a:cubicBezTo>
                  <a:cubicBezTo>
                    <a:pt x="302" y="25"/>
                    <a:pt x="288" y="11"/>
                    <a:pt x="272" y="0"/>
                  </a:cubicBezTo>
                  <a:cubicBezTo>
                    <a:pt x="272" y="171"/>
                    <a:pt x="272" y="171"/>
                    <a:pt x="272" y="171"/>
                  </a:cubicBezTo>
                  <a:cubicBezTo>
                    <a:pt x="272" y="171"/>
                    <a:pt x="272" y="171"/>
                    <a:pt x="272" y="171"/>
                  </a:cubicBezTo>
                  <a:cubicBezTo>
                    <a:pt x="272" y="178"/>
                    <a:pt x="268" y="185"/>
                    <a:pt x="262" y="189"/>
                  </a:cubicBezTo>
                  <a:cubicBezTo>
                    <a:pt x="259" y="191"/>
                    <a:pt x="255" y="193"/>
                    <a:pt x="250" y="193"/>
                  </a:cubicBezTo>
                  <a:cubicBezTo>
                    <a:pt x="246" y="193"/>
                    <a:pt x="241" y="191"/>
                    <a:pt x="238" y="189"/>
                  </a:cubicBezTo>
                  <a:cubicBezTo>
                    <a:pt x="232" y="185"/>
                    <a:pt x="228" y="178"/>
                    <a:pt x="228" y="171"/>
                  </a:cubicBezTo>
                  <a:cubicBezTo>
                    <a:pt x="228" y="171"/>
                    <a:pt x="228" y="171"/>
                    <a:pt x="228" y="171"/>
                  </a:cubicBezTo>
                  <a:cubicBezTo>
                    <a:pt x="228" y="118"/>
                    <a:pt x="228" y="118"/>
                    <a:pt x="228" y="118"/>
                  </a:cubicBezTo>
                  <a:cubicBezTo>
                    <a:pt x="228" y="77"/>
                    <a:pt x="207" y="59"/>
                    <a:pt x="179" y="59"/>
                  </a:cubicBezTo>
                  <a:cubicBezTo>
                    <a:pt x="150" y="59"/>
                    <a:pt x="120" y="59"/>
                    <a:pt x="90" y="59"/>
                  </a:cubicBezTo>
                  <a:cubicBezTo>
                    <a:pt x="57" y="59"/>
                    <a:pt x="30" y="80"/>
                    <a:pt x="30" y="113"/>
                  </a:cubicBezTo>
                  <a:cubicBezTo>
                    <a:pt x="30" y="127"/>
                    <a:pt x="36" y="148"/>
                    <a:pt x="60" y="157"/>
                  </a:cubicBezTo>
                  <a:cubicBezTo>
                    <a:pt x="64" y="158"/>
                    <a:pt x="67" y="159"/>
                    <a:pt x="72" y="160"/>
                  </a:cubicBezTo>
                  <a:cubicBezTo>
                    <a:pt x="99" y="165"/>
                    <a:pt x="110" y="164"/>
                    <a:pt x="110" y="178"/>
                  </a:cubicBezTo>
                  <a:cubicBezTo>
                    <a:pt x="110" y="178"/>
                    <a:pt x="110" y="178"/>
                    <a:pt x="110" y="178"/>
                  </a:cubicBezTo>
                  <a:cubicBezTo>
                    <a:pt x="110" y="182"/>
                    <a:pt x="109" y="185"/>
                    <a:pt x="107" y="187"/>
                  </a:cubicBezTo>
                  <a:cubicBezTo>
                    <a:pt x="107" y="187"/>
                    <a:pt x="107" y="187"/>
                    <a:pt x="107" y="187"/>
                  </a:cubicBezTo>
                  <a:cubicBezTo>
                    <a:pt x="106" y="189"/>
                    <a:pt x="103" y="190"/>
                    <a:pt x="100" y="191"/>
                  </a:cubicBezTo>
                  <a:cubicBezTo>
                    <a:pt x="100" y="191"/>
                    <a:pt x="100" y="191"/>
                    <a:pt x="99" y="191"/>
                  </a:cubicBezTo>
                  <a:cubicBezTo>
                    <a:pt x="99" y="191"/>
                    <a:pt x="98" y="191"/>
                    <a:pt x="97" y="191"/>
                  </a:cubicBezTo>
                  <a:cubicBezTo>
                    <a:pt x="91" y="193"/>
                    <a:pt x="83" y="193"/>
                    <a:pt x="73" y="193"/>
                  </a:cubicBezTo>
                  <a:cubicBezTo>
                    <a:pt x="0" y="193"/>
                    <a:pt x="0" y="193"/>
                    <a:pt x="0" y="193"/>
                  </a:cubicBezTo>
                  <a:cubicBezTo>
                    <a:pt x="3" y="206"/>
                    <a:pt x="8" y="218"/>
                    <a:pt x="14" y="230"/>
                  </a:cubicBezTo>
                  <a:cubicBezTo>
                    <a:pt x="87" y="230"/>
                    <a:pt x="87" y="230"/>
                    <a:pt x="87" y="230"/>
                  </a:cubicBezTo>
                  <a:cubicBezTo>
                    <a:pt x="125" y="230"/>
                    <a:pt x="151" y="209"/>
                    <a:pt x="151" y="177"/>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endParaRPr lang="en-US" sz="3264"/>
            </a:p>
          </p:txBody>
        </p:sp>
      </p:grpSp>
      <p:grpSp>
        <p:nvGrpSpPr>
          <p:cNvPr id="209" name="Group 208"/>
          <p:cNvGrpSpPr/>
          <p:nvPr/>
        </p:nvGrpSpPr>
        <p:grpSpPr bwMode="invGray">
          <a:xfrm>
            <a:off x="542742" y="3944370"/>
            <a:ext cx="1243471" cy="1243471"/>
            <a:chOff x="8858250" y="-5408613"/>
            <a:chExt cx="885825" cy="884238"/>
          </a:xfrm>
        </p:grpSpPr>
        <p:sp>
          <p:nvSpPr>
            <p:cNvPr id="210" name="Oval 85"/>
            <p:cNvSpPr>
              <a:spLocks noChangeArrowheads="1"/>
            </p:cNvSpPr>
            <p:nvPr/>
          </p:nvSpPr>
          <p:spPr bwMode="invGray">
            <a:xfrm>
              <a:off x="8858250" y="-5408613"/>
              <a:ext cx="885825" cy="884238"/>
            </a:xfrm>
            <a:prstGeom prst="ellipse">
              <a:avLst/>
            </a:prstGeom>
            <a:solidFill>
              <a:schemeClr val="accent1"/>
            </a:solidFill>
            <a:ln w="19050">
              <a:noFill/>
              <a:round/>
              <a:headEnd/>
              <a:tailEnd/>
            </a:ln>
          </p:spPr>
          <p:txBody>
            <a:bodyPr vert="horz" wrap="square" lIns="124347" tIns="62174" rIns="124347" bIns="62174" numCol="1" anchor="t" anchorCtr="0" compatLnSpc="1">
              <a:prstTxWarp prst="textNoShape">
                <a:avLst/>
              </a:prstTxWarp>
            </a:bodyPr>
            <a:lstStyle/>
            <a:p>
              <a:endParaRPr lang="en-US" sz="3264"/>
            </a:p>
          </p:txBody>
        </p:sp>
        <p:sp>
          <p:nvSpPr>
            <p:cNvPr id="211" name="Oval 86"/>
            <p:cNvSpPr>
              <a:spLocks noChangeArrowheads="1"/>
            </p:cNvSpPr>
            <p:nvPr/>
          </p:nvSpPr>
          <p:spPr bwMode="invGray">
            <a:xfrm>
              <a:off x="9080500" y="-4860925"/>
              <a:ext cx="128588" cy="128588"/>
            </a:xfrm>
            <a:prstGeom prst="ellipse">
              <a:avLst/>
            </a:pr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endParaRPr lang="en-US" sz="3264"/>
            </a:p>
          </p:txBody>
        </p:sp>
        <p:sp>
          <p:nvSpPr>
            <p:cNvPr id="212" name="Freeform 87"/>
            <p:cNvSpPr>
              <a:spLocks/>
            </p:cNvSpPr>
            <p:nvPr/>
          </p:nvSpPr>
          <p:spPr bwMode="invGray">
            <a:xfrm>
              <a:off x="9080500" y="-5051425"/>
              <a:ext cx="319088" cy="319088"/>
            </a:xfrm>
            <a:custGeom>
              <a:avLst/>
              <a:gdLst>
                <a:gd name="T0" fmla="*/ 0 w 139"/>
                <a:gd name="T1" fmla="*/ 0 h 139"/>
                <a:gd name="T2" fmla="*/ 0 w 139"/>
                <a:gd name="T3" fmla="*/ 41 h 139"/>
                <a:gd name="T4" fmla="*/ 70 w 139"/>
                <a:gd name="T5" fmla="*/ 70 h 139"/>
                <a:gd name="T6" fmla="*/ 99 w 139"/>
                <a:gd name="T7" fmla="*/ 139 h 139"/>
                <a:gd name="T8" fmla="*/ 139 w 139"/>
                <a:gd name="T9" fmla="*/ 139 h 139"/>
                <a:gd name="T10" fmla="*/ 0 w 139"/>
                <a:gd name="T11" fmla="*/ 0 h 139"/>
              </a:gdLst>
              <a:ahLst/>
              <a:cxnLst>
                <a:cxn ang="0">
                  <a:pos x="T0" y="T1"/>
                </a:cxn>
                <a:cxn ang="0">
                  <a:pos x="T2" y="T3"/>
                </a:cxn>
                <a:cxn ang="0">
                  <a:pos x="T4" y="T5"/>
                </a:cxn>
                <a:cxn ang="0">
                  <a:pos x="T6" y="T7"/>
                </a:cxn>
                <a:cxn ang="0">
                  <a:pos x="T8" y="T9"/>
                </a:cxn>
                <a:cxn ang="0">
                  <a:pos x="T10" y="T11"/>
                </a:cxn>
              </a:cxnLst>
              <a:rect l="0" t="0" r="r" b="b"/>
              <a:pathLst>
                <a:path w="139" h="139">
                  <a:moveTo>
                    <a:pt x="0" y="0"/>
                  </a:moveTo>
                  <a:cubicBezTo>
                    <a:pt x="0" y="41"/>
                    <a:pt x="0" y="41"/>
                    <a:pt x="0" y="41"/>
                  </a:cubicBezTo>
                  <a:cubicBezTo>
                    <a:pt x="27" y="41"/>
                    <a:pt x="51" y="51"/>
                    <a:pt x="70" y="70"/>
                  </a:cubicBezTo>
                  <a:cubicBezTo>
                    <a:pt x="88" y="88"/>
                    <a:pt x="99" y="113"/>
                    <a:pt x="99" y="139"/>
                  </a:cubicBezTo>
                  <a:cubicBezTo>
                    <a:pt x="139" y="139"/>
                    <a:pt x="139" y="139"/>
                    <a:pt x="139" y="139"/>
                  </a:cubicBezTo>
                  <a:cubicBezTo>
                    <a:pt x="139" y="63"/>
                    <a:pt x="77" y="0"/>
                    <a:pt x="0" y="0"/>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endParaRPr lang="en-US" sz="3264"/>
            </a:p>
          </p:txBody>
        </p:sp>
        <p:sp>
          <p:nvSpPr>
            <p:cNvPr id="213" name="Freeform 88"/>
            <p:cNvSpPr>
              <a:spLocks/>
            </p:cNvSpPr>
            <p:nvPr/>
          </p:nvSpPr>
          <p:spPr bwMode="invGray">
            <a:xfrm>
              <a:off x="9080500" y="-5214938"/>
              <a:ext cx="484188" cy="482600"/>
            </a:xfrm>
            <a:custGeom>
              <a:avLst/>
              <a:gdLst>
                <a:gd name="T0" fmla="*/ 0 w 211"/>
                <a:gd name="T1" fmla="*/ 0 h 210"/>
                <a:gd name="T2" fmla="*/ 0 w 211"/>
                <a:gd name="T3" fmla="*/ 40 h 210"/>
                <a:gd name="T4" fmla="*/ 170 w 211"/>
                <a:gd name="T5" fmla="*/ 210 h 210"/>
                <a:gd name="T6" fmla="*/ 211 w 211"/>
                <a:gd name="T7" fmla="*/ 210 h 210"/>
                <a:gd name="T8" fmla="*/ 0 w 211"/>
                <a:gd name="T9" fmla="*/ 0 h 210"/>
              </a:gdLst>
              <a:ahLst/>
              <a:cxnLst>
                <a:cxn ang="0">
                  <a:pos x="T0" y="T1"/>
                </a:cxn>
                <a:cxn ang="0">
                  <a:pos x="T2" y="T3"/>
                </a:cxn>
                <a:cxn ang="0">
                  <a:pos x="T4" y="T5"/>
                </a:cxn>
                <a:cxn ang="0">
                  <a:pos x="T6" y="T7"/>
                </a:cxn>
                <a:cxn ang="0">
                  <a:pos x="T8" y="T9"/>
                </a:cxn>
              </a:cxnLst>
              <a:rect l="0" t="0" r="r" b="b"/>
              <a:pathLst>
                <a:path w="211" h="210">
                  <a:moveTo>
                    <a:pt x="0" y="0"/>
                  </a:moveTo>
                  <a:cubicBezTo>
                    <a:pt x="0" y="40"/>
                    <a:pt x="0" y="40"/>
                    <a:pt x="0" y="40"/>
                  </a:cubicBezTo>
                  <a:cubicBezTo>
                    <a:pt x="94" y="40"/>
                    <a:pt x="170" y="116"/>
                    <a:pt x="170" y="210"/>
                  </a:cubicBezTo>
                  <a:cubicBezTo>
                    <a:pt x="211" y="210"/>
                    <a:pt x="211" y="210"/>
                    <a:pt x="211" y="210"/>
                  </a:cubicBezTo>
                  <a:cubicBezTo>
                    <a:pt x="211" y="94"/>
                    <a:pt x="116" y="0"/>
                    <a:pt x="0" y="0"/>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endParaRPr lang="en-US" sz="3264"/>
            </a:p>
          </p:txBody>
        </p:sp>
      </p:grpSp>
      <p:grpSp>
        <p:nvGrpSpPr>
          <p:cNvPr id="214" name="Group 213"/>
          <p:cNvGrpSpPr/>
          <p:nvPr/>
        </p:nvGrpSpPr>
        <p:grpSpPr bwMode="invGray">
          <a:xfrm>
            <a:off x="542742" y="2108748"/>
            <a:ext cx="1243471" cy="1243471"/>
            <a:chOff x="4959350" y="-455613"/>
            <a:chExt cx="885825" cy="884238"/>
          </a:xfrm>
        </p:grpSpPr>
        <p:sp>
          <p:nvSpPr>
            <p:cNvPr id="215" name="Oval 125"/>
            <p:cNvSpPr>
              <a:spLocks noChangeArrowheads="1"/>
            </p:cNvSpPr>
            <p:nvPr/>
          </p:nvSpPr>
          <p:spPr bwMode="invGray">
            <a:xfrm>
              <a:off x="4959350" y="-455613"/>
              <a:ext cx="885825" cy="884238"/>
            </a:xfrm>
            <a:prstGeom prst="ellipse">
              <a:avLst/>
            </a:prstGeom>
            <a:solidFill>
              <a:schemeClr val="accent1"/>
            </a:solidFill>
            <a:ln w="19050">
              <a:noFill/>
              <a:round/>
              <a:headEnd/>
              <a:tailEnd/>
            </a:ln>
          </p:spPr>
          <p:txBody>
            <a:bodyPr vert="horz" wrap="square" lIns="124347" tIns="62174" rIns="124347" bIns="62174" numCol="1" anchor="t" anchorCtr="0" compatLnSpc="1">
              <a:prstTxWarp prst="textNoShape">
                <a:avLst/>
              </a:prstTxWarp>
            </a:bodyPr>
            <a:lstStyle/>
            <a:p>
              <a:endParaRPr lang="en-US" sz="3264"/>
            </a:p>
          </p:txBody>
        </p:sp>
        <p:sp>
          <p:nvSpPr>
            <p:cNvPr id="216" name="Freeform 126"/>
            <p:cNvSpPr>
              <a:spLocks noEditPoints="1"/>
            </p:cNvSpPr>
            <p:nvPr/>
          </p:nvSpPr>
          <p:spPr bwMode="invGray">
            <a:xfrm>
              <a:off x="5089525" y="-325438"/>
              <a:ext cx="627063" cy="623888"/>
            </a:xfrm>
            <a:custGeom>
              <a:avLst/>
              <a:gdLst>
                <a:gd name="T0" fmla="*/ 136 w 273"/>
                <a:gd name="T1" fmla="*/ 0 h 272"/>
                <a:gd name="T2" fmla="*/ 0 w 273"/>
                <a:gd name="T3" fmla="*/ 136 h 272"/>
                <a:gd name="T4" fmla="*/ 136 w 273"/>
                <a:gd name="T5" fmla="*/ 272 h 272"/>
                <a:gd name="T6" fmla="*/ 244 w 273"/>
                <a:gd name="T7" fmla="*/ 220 h 272"/>
                <a:gd name="T8" fmla="*/ 273 w 273"/>
                <a:gd name="T9" fmla="*/ 135 h 272"/>
                <a:gd name="T10" fmla="*/ 83 w 273"/>
                <a:gd name="T11" fmla="*/ 247 h 272"/>
                <a:gd name="T12" fmla="*/ 13 w 273"/>
                <a:gd name="T13" fmla="*/ 136 h 272"/>
                <a:gd name="T14" fmla="*/ 25 w 273"/>
                <a:gd name="T15" fmla="*/ 86 h 272"/>
                <a:gd name="T16" fmla="*/ 177 w 273"/>
                <a:gd name="T17" fmla="*/ 252 h 272"/>
                <a:gd name="T18" fmla="*/ 102 w 273"/>
                <a:gd name="T19" fmla="*/ 254 h 272"/>
                <a:gd name="T20" fmla="*/ 153 w 273"/>
                <a:gd name="T21" fmla="*/ 186 h 272"/>
                <a:gd name="T22" fmla="*/ 177 w 273"/>
                <a:gd name="T23" fmla="*/ 252 h 272"/>
                <a:gd name="T24" fmla="*/ 153 w 273"/>
                <a:gd name="T25" fmla="*/ 78 h 272"/>
                <a:gd name="T26" fmla="*/ 172 w 273"/>
                <a:gd name="T27" fmla="*/ 73 h 272"/>
                <a:gd name="T28" fmla="*/ 168 w 273"/>
                <a:gd name="T29" fmla="*/ 68 h 272"/>
                <a:gd name="T30" fmla="*/ 99 w 273"/>
                <a:gd name="T31" fmla="*/ 68 h 272"/>
                <a:gd name="T32" fmla="*/ 96 w 273"/>
                <a:gd name="T33" fmla="*/ 72 h 272"/>
                <a:gd name="T34" fmla="*/ 114 w 273"/>
                <a:gd name="T35" fmla="*/ 79 h 272"/>
                <a:gd name="T36" fmla="*/ 106 w 273"/>
                <a:gd name="T37" fmla="*/ 212 h 272"/>
                <a:gd name="T38" fmla="*/ 61 w 273"/>
                <a:gd name="T39" fmla="*/ 79 h 272"/>
                <a:gd name="T40" fmla="*/ 62 w 273"/>
                <a:gd name="T41" fmla="*/ 78 h 272"/>
                <a:gd name="T42" fmla="*/ 79 w 273"/>
                <a:gd name="T43" fmla="*/ 72 h 272"/>
                <a:gd name="T44" fmla="*/ 36 w 273"/>
                <a:gd name="T45" fmla="*/ 69 h 272"/>
                <a:gd name="T46" fmla="*/ 34 w 273"/>
                <a:gd name="T47" fmla="*/ 68 h 272"/>
                <a:gd name="T48" fmla="*/ 137 w 273"/>
                <a:gd name="T49" fmla="*/ 13 h 272"/>
                <a:gd name="T50" fmla="*/ 220 w 273"/>
                <a:gd name="T51" fmla="*/ 46 h 272"/>
                <a:gd name="T52" fmla="*/ 198 w 273"/>
                <a:gd name="T53" fmla="*/ 63 h 272"/>
                <a:gd name="T54" fmla="*/ 212 w 273"/>
                <a:gd name="T55" fmla="*/ 101 h 272"/>
                <a:gd name="T56" fmla="*/ 207 w 273"/>
                <a:gd name="T57" fmla="*/ 182 h 272"/>
                <a:gd name="T58" fmla="*/ 184 w 273"/>
                <a:gd name="T59" fmla="*/ 171 h 272"/>
                <a:gd name="T60" fmla="*/ 199 w 273"/>
                <a:gd name="T61" fmla="*/ 242 h 272"/>
                <a:gd name="T62" fmla="*/ 198 w 273"/>
                <a:gd name="T63" fmla="*/ 242 h 272"/>
                <a:gd name="T64" fmla="*/ 245 w 273"/>
                <a:gd name="T65" fmla="*/ 90 h 272"/>
                <a:gd name="T66" fmla="*/ 245 w 273"/>
                <a:gd name="T67" fmla="*/ 77 h 272"/>
                <a:gd name="T68" fmla="*/ 218 w 273"/>
                <a:gd name="T69" fmla="*/ 229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73" h="272">
                  <a:moveTo>
                    <a:pt x="233" y="40"/>
                  </a:moveTo>
                  <a:cubicBezTo>
                    <a:pt x="205" y="13"/>
                    <a:pt x="173" y="0"/>
                    <a:pt x="136" y="0"/>
                  </a:cubicBezTo>
                  <a:cubicBezTo>
                    <a:pt x="94" y="0"/>
                    <a:pt x="59" y="17"/>
                    <a:pt x="30" y="52"/>
                  </a:cubicBezTo>
                  <a:cubicBezTo>
                    <a:pt x="10" y="77"/>
                    <a:pt x="0" y="106"/>
                    <a:pt x="0" y="136"/>
                  </a:cubicBezTo>
                  <a:cubicBezTo>
                    <a:pt x="0" y="175"/>
                    <a:pt x="15" y="209"/>
                    <a:pt x="46" y="238"/>
                  </a:cubicBezTo>
                  <a:cubicBezTo>
                    <a:pt x="73" y="261"/>
                    <a:pt x="103" y="272"/>
                    <a:pt x="136" y="272"/>
                  </a:cubicBezTo>
                  <a:cubicBezTo>
                    <a:pt x="137" y="272"/>
                    <a:pt x="137" y="272"/>
                    <a:pt x="137" y="272"/>
                  </a:cubicBezTo>
                  <a:cubicBezTo>
                    <a:pt x="179" y="272"/>
                    <a:pt x="214" y="255"/>
                    <a:pt x="244" y="220"/>
                  </a:cubicBezTo>
                  <a:cubicBezTo>
                    <a:pt x="263" y="195"/>
                    <a:pt x="273" y="167"/>
                    <a:pt x="273" y="137"/>
                  </a:cubicBezTo>
                  <a:cubicBezTo>
                    <a:pt x="273" y="135"/>
                    <a:pt x="273" y="135"/>
                    <a:pt x="273" y="135"/>
                  </a:cubicBezTo>
                  <a:cubicBezTo>
                    <a:pt x="273" y="100"/>
                    <a:pt x="259" y="68"/>
                    <a:pt x="233" y="40"/>
                  </a:cubicBezTo>
                  <a:close/>
                  <a:moveTo>
                    <a:pt x="83" y="247"/>
                  </a:moveTo>
                  <a:cubicBezTo>
                    <a:pt x="58" y="235"/>
                    <a:pt x="39" y="216"/>
                    <a:pt x="25" y="190"/>
                  </a:cubicBezTo>
                  <a:cubicBezTo>
                    <a:pt x="17" y="172"/>
                    <a:pt x="13" y="154"/>
                    <a:pt x="13" y="136"/>
                  </a:cubicBezTo>
                  <a:cubicBezTo>
                    <a:pt x="13" y="120"/>
                    <a:pt x="17" y="103"/>
                    <a:pt x="24" y="86"/>
                  </a:cubicBezTo>
                  <a:cubicBezTo>
                    <a:pt x="25" y="86"/>
                    <a:pt x="25" y="86"/>
                    <a:pt x="25" y="86"/>
                  </a:cubicBezTo>
                  <a:cubicBezTo>
                    <a:pt x="83" y="247"/>
                    <a:pt x="83" y="247"/>
                    <a:pt x="83" y="247"/>
                  </a:cubicBezTo>
                  <a:close/>
                  <a:moveTo>
                    <a:pt x="177" y="252"/>
                  </a:moveTo>
                  <a:cubicBezTo>
                    <a:pt x="163" y="257"/>
                    <a:pt x="150" y="259"/>
                    <a:pt x="136" y="259"/>
                  </a:cubicBezTo>
                  <a:cubicBezTo>
                    <a:pt x="124" y="259"/>
                    <a:pt x="112" y="257"/>
                    <a:pt x="102" y="254"/>
                  </a:cubicBezTo>
                  <a:cubicBezTo>
                    <a:pt x="138" y="146"/>
                    <a:pt x="138" y="146"/>
                    <a:pt x="138" y="146"/>
                  </a:cubicBezTo>
                  <a:cubicBezTo>
                    <a:pt x="139" y="146"/>
                    <a:pt x="144" y="159"/>
                    <a:pt x="153" y="186"/>
                  </a:cubicBezTo>
                  <a:cubicBezTo>
                    <a:pt x="178" y="252"/>
                    <a:pt x="178" y="252"/>
                    <a:pt x="178" y="252"/>
                  </a:cubicBezTo>
                  <a:lnTo>
                    <a:pt x="177" y="252"/>
                  </a:lnTo>
                  <a:close/>
                  <a:moveTo>
                    <a:pt x="184" y="171"/>
                  </a:moveTo>
                  <a:cubicBezTo>
                    <a:pt x="153" y="78"/>
                    <a:pt x="153" y="78"/>
                    <a:pt x="153" y="78"/>
                  </a:cubicBezTo>
                  <a:cubicBezTo>
                    <a:pt x="153" y="78"/>
                    <a:pt x="153" y="78"/>
                    <a:pt x="153" y="78"/>
                  </a:cubicBezTo>
                  <a:cubicBezTo>
                    <a:pt x="166" y="78"/>
                    <a:pt x="172" y="76"/>
                    <a:pt x="172" y="73"/>
                  </a:cubicBezTo>
                  <a:cubicBezTo>
                    <a:pt x="172" y="72"/>
                    <a:pt x="172" y="72"/>
                    <a:pt x="172" y="72"/>
                  </a:cubicBezTo>
                  <a:cubicBezTo>
                    <a:pt x="171" y="69"/>
                    <a:pt x="170" y="68"/>
                    <a:pt x="168" y="68"/>
                  </a:cubicBezTo>
                  <a:cubicBezTo>
                    <a:pt x="134" y="69"/>
                    <a:pt x="134" y="69"/>
                    <a:pt x="134" y="69"/>
                  </a:cubicBezTo>
                  <a:cubicBezTo>
                    <a:pt x="99" y="68"/>
                    <a:pt x="99" y="68"/>
                    <a:pt x="99" y="68"/>
                  </a:cubicBezTo>
                  <a:cubicBezTo>
                    <a:pt x="98" y="69"/>
                    <a:pt x="97" y="70"/>
                    <a:pt x="97" y="72"/>
                  </a:cubicBezTo>
                  <a:cubicBezTo>
                    <a:pt x="96" y="72"/>
                    <a:pt x="96" y="72"/>
                    <a:pt x="96" y="72"/>
                  </a:cubicBezTo>
                  <a:cubicBezTo>
                    <a:pt x="96" y="76"/>
                    <a:pt x="101" y="78"/>
                    <a:pt x="111" y="78"/>
                  </a:cubicBezTo>
                  <a:cubicBezTo>
                    <a:pt x="114" y="79"/>
                    <a:pt x="114" y="79"/>
                    <a:pt x="114" y="79"/>
                  </a:cubicBezTo>
                  <a:cubicBezTo>
                    <a:pt x="133" y="132"/>
                    <a:pt x="133" y="132"/>
                    <a:pt x="133" y="132"/>
                  </a:cubicBezTo>
                  <a:cubicBezTo>
                    <a:pt x="106" y="212"/>
                    <a:pt x="106" y="212"/>
                    <a:pt x="106" y="212"/>
                  </a:cubicBezTo>
                  <a:cubicBezTo>
                    <a:pt x="106" y="212"/>
                    <a:pt x="106" y="212"/>
                    <a:pt x="106" y="212"/>
                  </a:cubicBezTo>
                  <a:cubicBezTo>
                    <a:pt x="61" y="79"/>
                    <a:pt x="61" y="79"/>
                    <a:pt x="61" y="79"/>
                  </a:cubicBezTo>
                  <a:cubicBezTo>
                    <a:pt x="61" y="78"/>
                    <a:pt x="61" y="78"/>
                    <a:pt x="61" y="78"/>
                  </a:cubicBezTo>
                  <a:cubicBezTo>
                    <a:pt x="62" y="78"/>
                    <a:pt x="62" y="78"/>
                    <a:pt x="62" y="78"/>
                  </a:cubicBezTo>
                  <a:cubicBezTo>
                    <a:pt x="74" y="78"/>
                    <a:pt x="79" y="77"/>
                    <a:pt x="79" y="74"/>
                  </a:cubicBezTo>
                  <a:cubicBezTo>
                    <a:pt x="79" y="72"/>
                    <a:pt x="79" y="72"/>
                    <a:pt x="79" y="72"/>
                  </a:cubicBezTo>
                  <a:cubicBezTo>
                    <a:pt x="79" y="70"/>
                    <a:pt x="78" y="69"/>
                    <a:pt x="76" y="68"/>
                  </a:cubicBezTo>
                  <a:cubicBezTo>
                    <a:pt x="36" y="69"/>
                    <a:pt x="36" y="69"/>
                    <a:pt x="36" y="69"/>
                  </a:cubicBezTo>
                  <a:cubicBezTo>
                    <a:pt x="34" y="69"/>
                    <a:pt x="34" y="69"/>
                    <a:pt x="34" y="69"/>
                  </a:cubicBezTo>
                  <a:cubicBezTo>
                    <a:pt x="34" y="68"/>
                    <a:pt x="34" y="68"/>
                    <a:pt x="34" y="68"/>
                  </a:cubicBezTo>
                  <a:cubicBezTo>
                    <a:pt x="37" y="62"/>
                    <a:pt x="46" y="53"/>
                    <a:pt x="58" y="41"/>
                  </a:cubicBezTo>
                  <a:cubicBezTo>
                    <a:pt x="82" y="22"/>
                    <a:pt x="108" y="13"/>
                    <a:pt x="137" y="13"/>
                  </a:cubicBezTo>
                  <a:cubicBezTo>
                    <a:pt x="168" y="13"/>
                    <a:pt x="195" y="24"/>
                    <a:pt x="220" y="45"/>
                  </a:cubicBezTo>
                  <a:cubicBezTo>
                    <a:pt x="220" y="46"/>
                    <a:pt x="220" y="46"/>
                    <a:pt x="220" y="46"/>
                  </a:cubicBezTo>
                  <a:cubicBezTo>
                    <a:pt x="218" y="45"/>
                    <a:pt x="218" y="45"/>
                    <a:pt x="218" y="45"/>
                  </a:cubicBezTo>
                  <a:cubicBezTo>
                    <a:pt x="208" y="45"/>
                    <a:pt x="201" y="51"/>
                    <a:pt x="198" y="63"/>
                  </a:cubicBezTo>
                  <a:cubicBezTo>
                    <a:pt x="198" y="68"/>
                    <a:pt x="198" y="68"/>
                    <a:pt x="198" y="68"/>
                  </a:cubicBezTo>
                  <a:cubicBezTo>
                    <a:pt x="198" y="75"/>
                    <a:pt x="202" y="86"/>
                    <a:pt x="212" y="101"/>
                  </a:cubicBezTo>
                  <a:cubicBezTo>
                    <a:pt x="217" y="110"/>
                    <a:pt x="220" y="120"/>
                    <a:pt x="220" y="131"/>
                  </a:cubicBezTo>
                  <a:cubicBezTo>
                    <a:pt x="220" y="140"/>
                    <a:pt x="215" y="157"/>
                    <a:pt x="207" y="182"/>
                  </a:cubicBezTo>
                  <a:cubicBezTo>
                    <a:pt x="198" y="211"/>
                    <a:pt x="198" y="211"/>
                    <a:pt x="198" y="211"/>
                  </a:cubicBezTo>
                  <a:cubicBezTo>
                    <a:pt x="197" y="211"/>
                    <a:pt x="193" y="198"/>
                    <a:pt x="184" y="171"/>
                  </a:cubicBezTo>
                  <a:close/>
                  <a:moveTo>
                    <a:pt x="218" y="229"/>
                  </a:moveTo>
                  <a:cubicBezTo>
                    <a:pt x="211" y="234"/>
                    <a:pt x="205" y="239"/>
                    <a:pt x="199" y="242"/>
                  </a:cubicBezTo>
                  <a:cubicBezTo>
                    <a:pt x="198" y="242"/>
                    <a:pt x="198" y="242"/>
                    <a:pt x="198" y="242"/>
                  </a:cubicBezTo>
                  <a:cubicBezTo>
                    <a:pt x="198" y="242"/>
                    <a:pt x="198" y="242"/>
                    <a:pt x="198" y="242"/>
                  </a:cubicBezTo>
                  <a:cubicBezTo>
                    <a:pt x="241" y="116"/>
                    <a:pt x="241" y="116"/>
                    <a:pt x="241" y="116"/>
                  </a:cubicBezTo>
                  <a:cubicBezTo>
                    <a:pt x="244" y="106"/>
                    <a:pt x="245" y="97"/>
                    <a:pt x="245" y="90"/>
                  </a:cubicBezTo>
                  <a:cubicBezTo>
                    <a:pt x="244" y="77"/>
                    <a:pt x="244" y="77"/>
                    <a:pt x="244" y="77"/>
                  </a:cubicBezTo>
                  <a:cubicBezTo>
                    <a:pt x="245" y="77"/>
                    <a:pt x="245" y="77"/>
                    <a:pt x="245" y="77"/>
                  </a:cubicBezTo>
                  <a:cubicBezTo>
                    <a:pt x="255" y="97"/>
                    <a:pt x="260" y="116"/>
                    <a:pt x="260" y="136"/>
                  </a:cubicBezTo>
                  <a:cubicBezTo>
                    <a:pt x="260" y="172"/>
                    <a:pt x="246" y="203"/>
                    <a:pt x="218" y="229"/>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endParaRPr lang="en-US" sz="3264"/>
            </a:p>
          </p:txBody>
        </p:sp>
      </p:grpSp>
      <p:sp>
        <p:nvSpPr>
          <p:cNvPr id="1142" name="Title 1141"/>
          <p:cNvSpPr>
            <a:spLocks noGrp="1"/>
          </p:cNvSpPr>
          <p:nvPr>
            <p:ph type="title"/>
          </p:nvPr>
        </p:nvSpPr>
        <p:spPr/>
        <p:txBody>
          <a:bodyPr/>
          <a:lstStyle/>
          <a:p>
            <a:r>
              <a:rPr lang="en-US" dirty="0"/>
              <a:t>vector</a:t>
            </a:r>
          </a:p>
        </p:txBody>
      </p:sp>
      <p:sp>
        <p:nvSpPr>
          <p:cNvPr id="1143" name="Text Placeholder 1142"/>
          <p:cNvSpPr>
            <a:spLocks noGrp="1"/>
          </p:cNvSpPr>
          <p:nvPr>
            <p:ph type="body" sz="quarter" idx="10"/>
          </p:nvPr>
        </p:nvSpPr>
        <p:spPr/>
        <p:txBody>
          <a:bodyPr>
            <a:normAutofit lnSpcReduction="10000"/>
          </a:bodyPr>
          <a:lstStyle/>
          <a:p>
            <a:r>
              <a:rPr lang="en-US" dirty="0"/>
              <a:t>Digital Icon collection</a:t>
            </a:r>
          </a:p>
        </p:txBody>
      </p:sp>
    </p:spTree>
    <p:extLst>
      <p:ext uri="{BB962C8B-B14F-4D97-AF65-F5344CB8AC3E}">
        <p14:creationId xmlns:p14="http://schemas.microsoft.com/office/powerpoint/2010/main" val="2858252923"/>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val 67"/>
          <p:cNvSpPr>
            <a:spLocks noChangeArrowheads="1"/>
          </p:cNvSpPr>
          <p:nvPr/>
        </p:nvSpPr>
        <p:spPr bwMode="invGray">
          <a:xfrm>
            <a:off x="8651866" y="3944370"/>
            <a:ext cx="1243471" cy="1243471"/>
          </a:xfrm>
          <a:prstGeom prst="ellipse">
            <a:avLst/>
          </a:prstGeom>
          <a:solidFill>
            <a:schemeClr val="accent1"/>
          </a:solidFill>
          <a:ln w="19050">
            <a:noFill/>
            <a:round/>
            <a:headEnd/>
            <a:tailEnd/>
          </a:ln>
        </p:spPr>
        <p:txBody>
          <a:bodyPr vert="horz" wrap="square" lIns="124347" tIns="62174" rIns="124347" bIns="62174" numCol="1" anchor="t" anchorCtr="0" compatLnSpc="1">
            <a:prstTxWarp prst="textNoShape">
              <a:avLst/>
            </a:prstTxWarp>
          </a:bodyPr>
          <a:lstStyle/>
          <a:p>
            <a:endParaRPr lang="en-US" sz="3264"/>
          </a:p>
        </p:txBody>
      </p:sp>
      <p:sp>
        <p:nvSpPr>
          <p:cNvPr id="4" name="Freeform 68"/>
          <p:cNvSpPr>
            <a:spLocks/>
          </p:cNvSpPr>
          <p:nvPr/>
        </p:nvSpPr>
        <p:spPr bwMode="invGray">
          <a:xfrm>
            <a:off x="8934878" y="4309836"/>
            <a:ext cx="675220" cy="510314"/>
          </a:xfrm>
          <a:custGeom>
            <a:avLst/>
            <a:gdLst>
              <a:gd name="T0" fmla="*/ 303 w 303"/>
              <a:gd name="T1" fmla="*/ 73 h 229"/>
              <a:gd name="T2" fmla="*/ 303 w 303"/>
              <a:gd name="T3" fmla="*/ 0 h 229"/>
              <a:gd name="T4" fmla="*/ 0 w 303"/>
              <a:gd name="T5" fmla="*/ 0 h 229"/>
              <a:gd name="T6" fmla="*/ 0 w 303"/>
              <a:gd name="T7" fmla="*/ 73 h 229"/>
              <a:gd name="T8" fmla="*/ 0 w 303"/>
              <a:gd name="T9" fmla="*/ 73 h 229"/>
              <a:gd name="T10" fmla="*/ 0 w 303"/>
              <a:gd name="T11" fmla="*/ 229 h 229"/>
              <a:gd name="T12" fmla="*/ 74 w 303"/>
              <a:gd name="T13" fmla="*/ 229 h 229"/>
              <a:gd name="T14" fmla="*/ 74 w 303"/>
              <a:gd name="T15" fmla="*/ 73 h 229"/>
              <a:gd name="T16" fmla="*/ 115 w 303"/>
              <a:gd name="T17" fmla="*/ 73 h 229"/>
              <a:gd name="T18" fmla="*/ 115 w 303"/>
              <a:gd name="T19" fmla="*/ 229 h 229"/>
              <a:gd name="T20" fmla="*/ 189 w 303"/>
              <a:gd name="T21" fmla="*/ 229 h 229"/>
              <a:gd name="T22" fmla="*/ 189 w 303"/>
              <a:gd name="T23" fmla="*/ 73 h 229"/>
              <a:gd name="T24" fmla="*/ 231 w 303"/>
              <a:gd name="T25" fmla="*/ 73 h 229"/>
              <a:gd name="T26" fmla="*/ 231 w 303"/>
              <a:gd name="T27" fmla="*/ 229 h 229"/>
              <a:gd name="T28" fmla="*/ 303 w 303"/>
              <a:gd name="T29" fmla="*/ 229 h 229"/>
              <a:gd name="T30" fmla="*/ 303 w 303"/>
              <a:gd name="T31" fmla="*/ 73 h 229"/>
              <a:gd name="T32" fmla="*/ 303 w 303"/>
              <a:gd name="T33" fmla="*/ 73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03" h="229">
                <a:moveTo>
                  <a:pt x="303" y="73"/>
                </a:moveTo>
                <a:lnTo>
                  <a:pt x="303" y="0"/>
                </a:lnTo>
                <a:lnTo>
                  <a:pt x="0" y="0"/>
                </a:lnTo>
                <a:lnTo>
                  <a:pt x="0" y="73"/>
                </a:lnTo>
                <a:lnTo>
                  <a:pt x="0" y="73"/>
                </a:lnTo>
                <a:lnTo>
                  <a:pt x="0" y="229"/>
                </a:lnTo>
                <a:lnTo>
                  <a:pt x="74" y="229"/>
                </a:lnTo>
                <a:lnTo>
                  <a:pt x="74" y="73"/>
                </a:lnTo>
                <a:lnTo>
                  <a:pt x="115" y="73"/>
                </a:lnTo>
                <a:lnTo>
                  <a:pt x="115" y="229"/>
                </a:lnTo>
                <a:lnTo>
                  <a:pt x="189" y="229"/>
                </a:lnTo>
                <a:lnTo>
                  <a:pt x="189" y="73"/>
                </a:lnTo>
                <a:lnTo>
                  <a:pt x="231" y="73"/>
                </a:lnTo>
                <a:lnTo>
                  <a:pt x="231" y="229"/>
                </a:lnTo>
                <a:lnTo>
                  <a:pt x="303" y="229"/>
                </a:lnTo>
                <a:lnTo>
                  <a:pt x="303" y="73"/>
                </a:lnTo>
                <a:lnTo>
                  <a:pt x="303" y="73"/>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endParaRPr lang="en-US" sz="3264"/>
          </a:p>
        </p:txBody>
      </p:sp>
      <p:sp>
        <p:nvSpPr>
          <p:cNvPr id="6" name="Oval 69"/>
          <p:cNvSpPr>
            <a:spLocks noChangeArrowheads="1"/>
          </p:cNvSpPr>
          <p:nvPr/>
        </p:nvSpPr>
        <p:spPr bwMode="invGray">
          <a:xfrm>
            <a:off x="6624584" y="3944370"/>
            <a:ext cx="1243471" cy="1243471"/>
          </a:xfrm>
          <a:prstGeom prst="ellipse">
            <a:avLst/>
          </a:prstGeom>
          <a:solidFill>
            <a:schemeClr val="accent1"/>
          </a:solidFill>
          <a:ln w="19050">
            <a:noFill/>
            <a:round/>
            <a:headEnd/>
            <a:tailEnd/>
          </a:ln>
        </p:spPr>
        <p:txBody>
          <a:bodyPr vert="horz" wrap="square" lIns="124347" tIns="62174" rIns="124347" bIns="62174" numCol="1" anchor="t" anchorCtr="0" compatLnSpc="1">
            <a:prstTxWarp prst="textNoShape">
              <a:avLst/>
            </a:prstTxWarp>
          </a:bodyPr>
          <a:lstStyle/>
          <a:p>
            <a:endParaRPr lang="en-US" sz="3264"/>
          </a:p>
        </p:txBody>
      </p:sp>
      <p:sp>
        <p:nvSpPr>
          <p:cNvPr id="7" name="Freeform 70"/>
          <p:cNvSpPr>
            <a:spLocks/>
          </p:cNvSpPr>
          <p:nvPr/>
        </p:nvSpPr>
        <p:spPr bwMode="invGray">
          <a:xfrm>
            <a:off x="6856759" y="4289779"/>
            <a:ext cx="779124" cy="492486"/>
          </a:xfrm>
          <a:custGeom>
            <a:avLst/>
            <a:gdLst>
              <a:gd name="T0" fmla="*/ 242 w 242"/>
              <a:gd name="T1" fmla="*/ 108 h 153"/>
              <a:gd name="T2" fmla="*/ 205 w 242"/>
              <a:gd name="T3" fmla="*/ 64 h 153"/>
              <a:gd name="T4" fmla="*/ 145 w 242"/>
              <a:gd name="T5" fmla="*/ 0 h 153"/>
              <a:gd name="T6" fmla="*/ 94 w 242"/>
              <a:gd name="T7" fmla="*/ 30 h 153"/>
              <a:gd name="T8" fmla="*/ 79 w 242"/>
              <a:gd name="T9" fmla="*/ 27 h 153"/>
              <a:gd name="T10" fmla="*/ 42 w 242"/>
              <a:gd name="T11" fmla="*/ 63 h 153"/>
              <a:gd name="T12" fmla="*/ 0 w 242"/>
              <a:gd name="T13" fmla="*/ 108 h 153"/>
              <a:gd name="T14" fmla="*/ 43 w 242"/>
              <a:gd name="T15" fmla="*/ 153 h 153"/>
              <a:gd name="T16" fmla="*/ 45 w 242"/>
              <a:gd name="T17" fmla="*/ 153 h 153"/>
              <a:gd name="T18" fmla="*/ 45 w 242"/>
              <a:gd name="T19" fmla="*/ 153 h 153"/>
              <a:gd name="T20" fmla="*/ 202 w 242"/>
              <a:gd name="T21" fmla="*/ 153 h 153"/>
              <a:gd name="T22" fmla="*/ 202 w 242"/>
              <a:gd name="T23" fmla="*/ 153 h 153"/>
              <a:gd name="T24" fmla="*/ 242 w 242"/>
              <a:gd name="T25" fmla="*/ 108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2" h="153">
                <a:moveTo>
                  <a:pt x="242" y="108"/>
                </a:moveTo>
                <a:cubicBezTo>
                  <a:pt x="242" y="85"/>
                  <a:pt x="226" y="67"/>
                  <a:pt x="205" y="64"/>
                </a:cubicBezTo>
                <a:cubicBezTo>
                  <a:pt x="204" y="29"/>
                  <a:pt x="177" y="0"/>
                  <a:pt x="145" y="0"/>
                </a:cubicBezTo>
                <a:cubicBezTo>
                  <a:pt x="123" y="0"/>
                  <a:pt x="105" y="12"/>
                  <a:pt x="94" y="30"/>
                </a:cubicBezTo>
                <a:cubicBezTo>
                  <a:pt x="89" y="28"/>
                  <a:pt x="84" y="27"/>
                  <a:pt x="79" y="27"/>
                </a:cubicBezTo>
                <a:cubicBezTo>
                  <a:pt x="58" y="27"/>
                  <a:pt x="42" y="43"/>
                  <a:pt x="42" y="63"/>
                </a:cubicBezTo>
                <a:cubicBezTo>
                  <a:pt x="19" y="64"/>
                  <a:pt x="0" y="84"/>
                  <a:pt x="0" y="108"/>
                </a:cubicBezTo>
                <a:cubicBezTo>
                  <a:pt x="0" y="133"/>
                  <a:pt x="19" y="153"/>
                  <a:pt x="43" y="153"/>
                </a:cubicBezTo>
                <a:cubicBezTo>
                  <a:pt x="43" y="153"/>
                  <a:pt x="44" y="153"/>
                  <a:pt x="45" y="153"/>
                </a:cubicBezTo>
                <a:cubicBezTo>
                  <a:pt x="45" y="153"/>
                  <a:pt x="45" y="153"/>
                  <a:pt x="45" y="153"/>
                </a:cubicBezTo>
                <a:cubicBezTo>
                  <a:pt x="202" y="153"/>
                  <a:pt x="202" y="153"/>
                  <a:pt x="202" y="153"/>
                </a:cubicBezTo>
                <a:cubicBezTo>
                  <a:pt x="202" y="153"/>
                  <a:pt x="202" y="153"/>
                  <a:pt x="202" y="153"/>
                </a:cubicBezTo>
                <a:cubicBezTo>
                  <a:pt x="224" y="152"/>
                  <a:pt x="242" y="132"/>
                  <a:pt x="242" y="108"/>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endParaRPr lang="en-US" sz="3264"/>
          </a:p>
        </p:txBody>
      </p:sp>
      <p:sp>
        <p:nvSpPr>
          <p:cNvPr id="9" name="Oval 79"/>
          <p:cNvSpPr>
            <a:spLocks noChangeArrowheads="1"/>
          </p:cNvSpPr>
          <p:nvPr/>
        </p:nvSpPr>
        <p:spPr bwMode="invGray">
          <a:xfrm>
            <a:off x="4597303" y="2108748"/>
            <a:ext cx="1243471" cy="1243471"/>
          </a:xfrm>
          <a:prstGeom prst="ellipse">
            <a:avLst/>
          </a:prstGeom>
          <a:solidFill>
            <a:schemeClr val="accent1"/>
          </a:solidFill>
          <a:ln w="19050">
            <a:noFill/>
            <a:round/>
            <a:headEnd/>
            <a:tailEnd/>
          </a:ln>
        </p:spPr>
        <p:txBody>
          <a:bodyPr vert="horz" wrap="square" lIns="124347" tIns="62174" rIns="124347" bIns="62174" numCol="1" anchor="t" anchorCtr="0" compatLnSpc="1">
            <a:prstTxWarp prst="textNoShape">
              <a:avLst/>
            </a:prstTxWarp>
          </a:bodyPr>
          <a:lstStyle/>
          <a:p>
            <a:endParaRPr lang="en-US" sz="3264"/>
          </a:p>
        </p:txBody>
      </p:sp>
      <p:sp>
        <p:nvSpPr>
          <p:cNvPr id="10" name="Freeform 80"/>
          <p:cNvSpPr>
            <a:spLocks/>
          </p:cNvSpPr>
          <p:nvPr/>
        </p:nvSpPr>
        <p:spPr bwMode="invGray">
          <a:xfrm>
            <a:off x="4920428" y="2356551"/>
            <a:ext cx="581625" cy="776889"/>
          </a:xfrm>
          <a:custGeom>
            <a:avLst/>
            <a:gdLst>
              <a:gd name="T0" fmla="*/ 150 w 181"/>
              <a:gd name="T1" fmla="*/ 181 h 241"/>
              <a:gd name="T2" fmla="*/ 91 w 181"/>
              <a:gd name="T3" fmla="*/ 181 h 241"/>
              <a:gd name="T4" fmla="*/ 69 w 181"/>
              <a:gd name="T5" fmla="*/ 172 h 241"/>
              <a:gd name="T6" fmla="*/ 61 w 181"/>
              <a:gd name="T7" fmla="*/ 151 h 241"/>
              <a:gd name="T8" fmla="*/ 61 w 181"/>
              <a:gd name="T9" fmla="*/ 121 h 241"/>
              <a:gd name="T10" fmla="*/ 150 w 181"/>
              <a:gd name="T11" fmla="*/ 121 h 241"/>
              <a:gd name="T12" fmla="*/ 172 w 181"/>
              <a:gd name="T13" fmla="*/ 112 h 241"/>
              <a:gd name="T14" fmla="*/ 181 w 181"/>
              <a:gd name="T15" fmla="*/ 91 h 241"/>
              <a:gd name="T16" fmla="*/ 172 w 181"/>
              <a:gd name="T17" fmla="*/ 69 h 241"/>
              <a:gd name="T18" fmla="*/ 150 w 181"/>
              <a:gd name="T19" fmla="*/ 60 h 241"/>
              <a:gd name="T20" fmla="*/ 61 w 181"/>
              <a:gd name="T21" fmla="*/ 60 h 241"/>
              <a:gd name="T22" fmla="*/ 61 w 181"/>
              <a:gd name="T23" fmla="*/ 30 h 241"/>
              <a:gd name="T24" fmla="*/ 52 w 181"/>
              <a:gd name="T25" fmla="*/ 9 h 241"/>
              <a:gd name="T26" fmla="*/ 31 w 181"/>
              <a:gd name="T27" fmla="*/ 0 h 241"/>
              <a:gd name="T28" fmla="*/ 9 w 181"/>
              <a:gd name="T29" fmla="*/ 9 h 241"/>
              <a:gd name="T30" fmla="*/ 0 w 181"/>
              <a:gd name="T31" fmla="*/ 30 h 241"/>
              <a:gd name="T32" fmla="*/ 0 w 181"/>
              <a:gd name="T33" fmla="*/ 151 h 241"/>
              <a:gd name="T34" fmla="*/ 27 w 181"/>
              <a:gd name="T35" fmla="*/ 215 h 241"/>
              <a:gd name="T36" fmla="*/ 91 w 181"/>
              <a:gd name="T37" fmla="*/ 241 h 241"/>
              <a:gd name="T38" fmla="*/ 150 w 181"/>
              <a:gd name="T39" fmla="*/ 241 h 241"/>
              <a:gd name="T40" fmla="*/ 172 w 181"/>
              <a:gd name="T41" fmla="*/ 232 h 241"/>
              <a:gd name="T42" fmla="*/ 181 w 181"/>
              <a:gd name="T43" fmla="*/ 211 h 241"/>
              <a:gd name="T44" fmla="*/ 172 w 181"/>
              <a:gd name="T45" fmla="*/ 190 h 241"/>
              <a:gd name="T46" fmla="*/ 150 w 181"/>
              <a:gd name="T47" fmla="*/ 18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1" h="241">
                <a:moveTo>
                  <a:pt x="150" y="181"/>
                </a:moveTo>
                <a:cubicBezTo>
                  <a:pt x="91" y="181"/>
                  <a:pt x="91" y="181"/>
                  <a:pt x="91" y="181"/>
                </a:cubicBezTo>
                <a:cubicBezTo>
                  <a:pt x="82" y="181"/>
                  <a:pt x="75" y="178"/>
                  <a:pt x="69" y="172"/>
                </a:cubicBezTo>
                <a:cubicBezTo>
                  <a:pt x="64" y="166"/>
                  <a:pt x="61" y="159"/>
                  <a:pt x="61" y="151"/>
                </a:cubicBezTo>
                <a:cubicBezTo>
                  <a:pt x="61" y="121"/>
                  <a:pt x="61" y="121"/>
                  <a:pt x="61" y="121"/>
                </a:cubicBezTo>
                <a:cubicBezTo>
                  <a:pt x="150" y="121"/>
                  <a:pt x="150" y="121"/>
                  <a:pt x="150" y="121"/>
                </a:cubicBezTo>
                <a:cubicBezTo>
                  <a:pt x="159" y="121"/>
                  <a:pt x="166" y="118"/>
                  <a:pt x="172" y="112"/>
                </a:cubicBezTo>
                <a:cubicBezTo>
                  <a:pt x="178" y="106"/>
                  <a:pt x="181" y="99"/>
                  <a:pt x="181" y="91"/>
                </a:cubicBezTo>
                <a:cubicBezTo>
                  <a:pt x="181" y="82"/>
                  <a:pt x="178" y="75"/>
                  <a:pt x="172" y="69"/>
                </a:cubicBezTo>
                <a:cubicBezTo>
                  <a:pt x="166" y="63"/>
                  <a:pt x="159" y="60"/>
                  <a:pt x="150" y="60"/>
                </a:cubicBezTo>
                <a:cubicBezTo>
                  <a:pt x="61" y="60"/>
                  <a:pt x="61" y="60"/>
                  <a:pt x="61" y="60"/>
                </a:cubicBezTo>
                <a:cubicBezTo>
                  <a:pt x="61" y="30"/>
                  <a:pt x="61" y="30"/>
                  <a:pt x="61" y="30"/>
                </a:cubicBezTo>
                <a:cubicBezTo>
                  <a:pt x="61" y="22"/>
                  <a:pt x="58" y="15"/>
                  <a:pt x="52" y="9"/>
                </a:cubicBezTo>
                <a:cubicBezTo>
                  <a:pt x="46" y="3"/>
                  <a:pt x="39" y="0"/>
                  <a:pt x="31" y="0"/>
                </a:cubicBezTo>
                <a:cubicBezTo>
                  <a:pt x="22" y="0"/>
                  <a:pt x="15" y="3"/>
                  <a:pt x="9" y="9"/>
                </a:cubicBezTo>
                <a:cubicBezTo>
                  <a:pt x="3" y="15"/>
                  <a:pt x="0" y="22"/>
                  <a:pt x="0" y="30"/>
                </a:cubicBezTo>
                <a:cubicBezTo>
                  <a:pt x="0" y="151"/>
                  <a:pt x="0" y="151"/>
                  <a:pt x="0" y="151"/>
                </a:cubicBezTo>
                <a:cubicBezTo>
                  <a:pt x="0" y="176"/>
                  <a:pt x="9" y="197"/>
                  <a:pt x="27" y="215"/>
                </a:cubicBezTo>
                <a:cubicBezTo>
                  <a:pt x="44" y="232"/>
                  <a:pt x="66" y="241"/>
                  <a:pt x="91" y="241"/>
                </a:cubicBezTo>
                <a:cubicBezTo>
                  <a:pt x="150" y="241"/>
                  <a:pt x="150" y="241"/>
                  <a:pt x="150" y="241"/>
                </a:cubicBezTo>
                <a:cubicBezTo>
                  <a:pt x="159" y="241"/>
                  <a:pt x="166" y="238"/>
                  <a:pt x="172" y="232"/>
                </a:cubicBezTo>
                <a:cubicBezTo>
                  <a:pt x="178" y="226"/>
                  <a:pt x="181" y="219"/>
                  <a:pt x="181" y="211"/>
                </a:cubicBezTo>
                <a:cubicBezTo>
                  <a:pt x="181" y="203"/>
                  <a:pt x="178" y="196"/>
                  <a:pt x="172" y="190"/>
                </a:cubicBezTo>
                <a:cubicBezTo>
                  <a:pt x="166" y="184"/>
                  <a:pt x="159" y="181"/>
                  <a:pt x="150" y="181"/>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endParaRPr lang="en-US" sz="3264"/>
          </a:p>
        </p:txBody>
      </p:sp>
      <p:sp>
        <p:nvSpPr>
          <p:cNvPr id="15" name="Oval 83"/>
          <p:cNvSpPr>
            <a:spLocks noChangeArrowheads="1"/>
          </p:cNvSpPr>
          <p:nvPr/>
        </p:nvSpPr>
        <p:spPr bwMode="invGray">
          <a:xfrm>
            <a:off x="10679144" y="2108748"/>
            <a:ext cx="1243471" cy="1243471"/>
          </a:xfrm>
          <a:prstGeom prst="ellipse">
            <a:avLst/>
          </a:prstGeom>
          <a:solidFill>
            <a:schemeClr val="accent1"/>
          </a:solidFill>
          <a:ln w="19050">
            <a:noFill/>
            <a:round/>
            <a:headEnd/>
            <a:tailEnd/>
          </a:ln>
        </p:spPr>
        <p:txBody>
          <a:bodyPr vert="horz" wrap="square" lIns="124347" tIns="62174" rIns="124347" bIns="62174" numCol="1" anchor="t" anchorCtr="0" compatLnSpc="1">
            <a:prstTxWarp prst="textNoShape">
              <a:avLst/>
            </a:prstTxWarp>
          </a:bodyPr>
          <a:lstStyle/>
          <a:p>
            <a:endParaRPr lang="en-US" sz="3264"/>
          </a:p>
        </p:txBody>
      </p:sp>
      <p:sp>
        <p:nvSpPr>
          <p:cNvPr id="16" name="Freeform 84"/>
          <p:cNvSpPr>
            <a:spLocks/>
          </p:cNvSpPr>
          <p:nvPr/>
        </p:nvSpPr>
        <p:spPr bwMode="invGray">
          <a:xfrm>
            <a:off x="10900156" y="2503891"/>
            <a:ext cx="781355" cy="464348"/>
          </a:xfrm>
          <a:custGeom>
            <a:avLst/>
            <a:gdLst>
              <a:gd name="T0" fmla="*/ 146 w 242"/>
              <a:gd name="T1" fmla="*/ 109 h 144"/>
              <a:gd name="T2" fmla="*/ 143 w 242"/>
              <a:gd name="T3" fmla="*/ 103 h 144"/>
              <a:gd name="T4" fmla="*/ 120 w 242"/>
              <a:gd name="T5" fmla="*/ 51 h 144"/>
              <a:gd name="T6" fmla="*/ 72 w 242"/>
              <a:gd name="T7" fmla="*/ 20 h 144"/>
              <a:gd name="T8" fmla="*/ 20 w 242"/>
              <a:gd name="T9" fmla="*/ 72 h 144"/>
              <a:gd name="T10" fmla="*/ 72 w 242"/>
              <a:gd name="T11" fmla="*/ 125 h 144"/>
              <a:gd name="T12" fmla="*/ 118 w 242"/>
              <a:gd name="T13" fmla="*/ 97 h 144"/>
              <a:gd name="T14" fmla="*/ 128 w 242"/>
              <a:gd name="T15" fmla="*/ 118 h 144"/>
              <a:gd name="T16" fmla="*/ 72 w 242"/>
              <a:gd name="T17" fmla="*/ 144 h 144"/>
              <a:gd name="T18" fmla="*/ 0 w 242"/>
              <a:gd name="T19" fmla="*/ 72 h 144"/>
              <a:gd name="T20" fmla="*/ 72 w 242"/>
              <a:gd name="T21" fmla="*/ 0 h 144"/>
              <a:gd name="T22" fmla="*/ 139 w 242"/>
              <a:gd name="T23" fmla="*/ 45 h 144"/>
              <a:gd name="T24" fmla="*/ 162 w 242"/>
              <a:gd name="T25" fmla="*/ 99 h 144"/>
              <a:gd name="T26" fmla="*/ 192 w 242"/>
              <a:gd name="T27" fmla="*/ 125 h 144"/>
              <a:gd name="T28" fmla="*/ 222 w 242"/>
              <a:gd name="T29" fmla="*/ 101 h 144"/>
              <a:gd name="T30" fmla="*/ 197 w 242"/>
              <a:gd name="T31" fmla="*/ 79 h 144"/>
              <a:gd name="T32" fmla="*/ 155 w 242"/>
              <a:gd name="T33" fmla="*/ 38 h 144"/>
              <a:gd name="T34" fmla="*/ 193 w 242"/>
              <a:gd name="T35" fmla="*/ 2 h 144"/>
              <a:gd name="T36" fmla="*/ 228 w 242"/>
              <a:gd name="T37" fmla="*/ 23 h 144"/>
              <a:gd name="T38" fmla="*/ 213 w 242"/>
              <a:gd name="T39" fmla="*/ 31 h 144"/>
              <a:gd name="T40" fmla="*/ 193 w 242"/>
              <a:gd name="T41" fmla="*/ 19 h 144"/>
              <a:gd name="T42" fmla="*/ 173 w 242"/>
              <a:gd name="T43" fmla="*/ 38 h 144"/>
              <a:gd name="T44" fmla="*/ 205 w 242"/>
              <a:gd name="T45" fmla="*/ 61 h 144"/>
              <a:gd name="T46" fmla="*/ 242 w 242"/>
              <a:gd name="T47" fmla="*/ 101 h 144"/>
              <a:gd name="T48" fmla="*/ 193 w 242"/>
              <a:gd name="T49" fmla="*/ 143 h 144"/>
              <a:gd name="T50" fmla="*/ 146 w 242"/>
              <a:gd name="T51" fmla="*/ 109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42" h="144">
                <a:moveTo>
                  <a:pt x="146" y="109"/>
                </a:moveTo>
                <a:cubicBezTo>
                  <a:pt x="143" y="103"/>
                  <a:pt x="143" y="103"/>
                  <a:pt x="143" y="103"/>
                </a:cubicBezTo>
                <a:cubicBezTo>
                  <a:pt x="120" y="51"/>
                  <a:pt x="120" y="51"/>
                  <a:pt x="120" y="51"/>
                </a:cubicBezTo>
                <a:cubicBezTo>
                  <a:pt x="112" y="33"/>
                  <a:pt x="93" y="20"/>
                  <a:pt x="72" y="20"/>
                </a:cubicBezTo>
                <a:cubicBezTo>
                  <a:pt x="43" y="20"/>
                  <a:pt x="20" y="43"/>
                  <a:pt x="20" y="72"/>
                </a:cubicBezTo>
                <a:cubicBezTo>
                  <a:pt x="20" y="101"/>
                  <a:pt x="43" y="125"/>
                  <a:pt x="72" y="125"/>
                </a:cubicBezTo>
                <a:cubicBezTo>
                  <a:pt x="92" y="125"/>
                  <a:pt x="110" y="113"/>
                  <a:pt x="118" y="97"/>
                </a:cubicBezTo>
                <a:cubicBezTo>
                  <a:pt x="128" y="118"/>
                  <a:pt x="128" y="118"/>
                  <a:pt x="128" y="118"/>
                </a:cubicBezTo>
                <a:cubicBezTo>
                  <a:pt x="115" y="134"/>
                  <a:pt x="95" y="144"/>
                  <a:pt x="72" y="144"/>
                </a:cubicBezTo>
                <a:cubicBezTo>
                  <a:pt x="32" y="144"/>
                  <a:pt x="0" y="112"/>
                  <a:pt x="0" y="72"/>
                </a:cubicBezTo>
                <a:cubicBezTo>
                  <a:pt x="0" y="33"/>
                  <a:pt x="32" y="0"/>
                  <a:pt x="72" y="0"/>
                </a:cubicBezTo>
                <a:cubicBezTo>
                  <a:pt x="102" y="0"/>
                  <a:pt x="126" y="16"/>
                  <a:pt x="139" y="45"/>
                </a:cubicBezTo>
                <a:cubicBezTo>
                  <a:pt x="140" y="47"/>
                  <a:pt x="152" y="75"/>
                  <a:pt x="162" y="99"/>
                </a:cubicBezTo>
                <a:cubicBezTo>
                  <a:pt x="169" y="114"/>
                  <a:pt x="174" y="124"/>
                  <a:pt x="192" y="125"/>
                </a:cubicBezTo>
                <a:cubicBezTo>
                  <a:pt x="210" y="125"/>
                  <a:pt x="222" y="114"/>
                  <a:pt x="222" y="101"/>
                </a:cubicBezTo>
                <a:cubicBezTo>
                  <a:pt x="222" y="87"/>
                  <a:pt x="213" y="84"/>
                  <a:pt x="197" y="79"/>
                </a:cubicBezTo>
                <a:cubicBezTo>
                  <a:pt x="169" y="70"/>
                  <a:pt x="155" y="60"/>
                  <a:pt x="155" y="38"/>
                </a:cubicBezTo>
                <a:cubicBezTo>
                  <a:pt x="155" y="16"/>
                  <a:pt x="169" y="2"/>
                  <a:pt x="193" y="2"/>
                </a:cubicBezTo>
                <a:cubicBezTo>
                  <a:pt x="209" y="2"/>
                  <a:pt x="220" y="9"/>
                  <a:pt x="228" y="23"/>
                </a:cubicBezTo>
                <a:cubicBezTo>
                  <a:pt x="213" y="31"/>
                  <a:pt x="213" y="31"/>
                  <a:pt x="213" y="31"/>
                </a:cubicBezTo>
                <a:cubicBezTo>
                  <a:pt x="207" y="22"/>
                  <a:pt x="201" y="19"/>
                  <a:pt x="193" y="19"/>
                </a:cubicBezTo>
                <a:cubicBezTo>
                  <a:pt x="181" y="19"/>
                  <a:pt x="173" y="27"/>
                  <a:pt x="173" y="38"/>
                </a:cubicBezTo>
                <a:cubicBezTo>
                  <a:pt x="173" y="52"/>
                  <a:pt x="186" y="55"/>
                  <a:pt x="205" y="61"/>
                </a:cubicBezTo>
                <a:cubicBezTo>
                  <a:pt x="230" y="69"/>
                  <a:pt x="242" y="78"/>
                  <a:pt x="242" y="101"/>
                </a:cubicBezTo>
                <a:cubicBezTo>
                  <a:pt x="242" y="126"/>
                  <a:pt x="221" y="143"/>
                  <a:pt x="193" y="143"/>
                </a:cubicBezTo>
                <a:cubicBezTo>
                  <a:pt x="168" y="143"/>
                  <a:pt x="155" y="131"/>
                  <a:pt x="146" y="109"/>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endParaRPr lang="en-US" sz="3264"/>
          </a:p>
        </p:txBody>
      </p:sp>
      <p:sp>
        <p:nvSpPr>
          <p:cNvPr id="29" name="Oval 100"/>
          <p:cNvSpPr>
            <a:spLocks noChangeArrowheads="1"/>
          </p:cNvSpPr>
          <p:nvPr/>
        </p:nvSpPr>
        <p:spPr bwMode="invGray">
          <a:xfrm>
            <a:off x="10679144" y="3944370"/>
            <a:ext cx="1243471" cy="1243471"/>
          </a:xfrm>
          <a:prstGeom prst="ellipse">
            <a:avLst/>
          </a:prstGeom>
          <a:solidFill>
            <a:schemeClr val="accent1"/>
          </a:solidFill>
          <a:ln w="19050">
            <a:noFill/>
            <a:round/>
            <a:headEnd/>
            <a:tailEnd/>
          </a:ln>
        </p:spPr>
        <p:txBody>
          <a:bodyPr vert="horz" wrap="square" lIns="124347" tIns="62174" rIns="124347" bIns="62174" numCol="1" anchor="t" anchorCtr="0" compatLnSpc="1">
            <a:prstTxWarp prst="textNoShape">
              <a:avLst/>
            </a:prstTxWarp>
          </a:bodyPr>
          <a:lstStyle/>
          <a:p>
            <a:endParaRPr lang="en-US" sz="3264"/>
          </a:p>
        </p:txBody>
      </p:sp>
      <p:grpSp>
        <p:nvGrpSpPr>
          <p:cNvPr id="11" name="Group 10"/>
          <p:cNvGrpSpPr/>
          <p:nvPr/>
        </p:nvGrpSpPr>
        <p:grpSpPr>
          <a:xfrm>
            <a:off x="10977755" y="4162759"/>
            <a:ext cx="648478" cy="777727"/>
            <a:chOff x="8071963" y="3061130"/>
            <a:chExt cx="476865" cy="571910"/>
          </a:xfrm>
        </p:grpSpPr>
        <p:sp>
          <p:nvSpPr>
            <p:cNvPr id="30" name="Freeform 101"/>
            <p:cNvSpPr>
              <a:spLocks/>
            </p:cNvSpPr>
            <p:nvPr/>
          </p:nvSpPr>
          <p:spPr bwMode="invGray">
            <a:xfrm>
              <a:off x="8145706" y="3061130"/>
              <a:ext cx="109794" cy="211394"/>
            </a:xfrm>
            <a:custGeom>
              <a:avLst/>
              <a:gdLst>
                <a:gd name="T0" fmla="*/ 47 w 67"/>
                <a:gd name="T1" fmla="*/ 0 h 129"/>
                <a:gd name="T2" fmla="*/ 34 w 67"/>
                <a:gd name="T3" fmla="*/ 51 h 129"/>
                <a:gd name="T4" fmla="*/ 32 w 67"/>
                <a:gd name="T5" fmla="*/ 51 h 129"/>
                <a:gd name="T6" fmla="*/ 19 w 67"/>
                <a:gd name="T7" fmla="*/ 0 h 129"/>
                <a:gd name="T8" fmla="*/ 0 w 67"/>
                <a:gd name="T9" fmla="*/ 0 h 129"/>
                <a:gd name="T10" fmla="*/ 23 w 67"/>
                <a:gd name="T11" fmla="*/ 78 h 129"/>
                <a:gd name="T12" fmla="*/ 23 w 67"/>
                <a:gd name="T13" fmla="*/ 129 h 129"/>
                <a:gd name="T14" fmla="*/ 44 w 67"/>
                <a:gd name="T15" fmla="*/ 129 h 129"/>
                <a:gd name="T16" fmla="*/ 44 w 67"/>
                <a:gd name="T17" fmla="*/ 76 h 129"/>
                <a:gd name="T18" fmla="*/ 67 w 67"/>
                <a:gd name="T19" fmla="*/ 0 h 129"/>
                <a:gd name="T20" fmla="*/ 47 w 67"/>
                <a:gd name="T21" fmla="*/ 0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7" h="129">
                  <a:moveTo>
                    <a:pt x="47" y="0"/>
                  </a:moveTo>
                  <a:lnTo>
                    <a:pt x="34" y="51"/>
                  </a:lnTo>
                  <a:lnTo>
                    <a:pt x="32" y="51"/>
                  </a:lnTo>
                  <a:lnTo>
                    <a:pt x="19" y="0"/>
                  </a:lnTo>
                  <a:lnTo>
                    <a:pt x="0" y="0"/>
                  </a:lnTo>
                  <a:lnTo>
                    <a:pt x="23" y="78"/>
                  </a:lnTo>
                  <a:lnTo>
                    <a:pt x="23" y="129"/>
                  </a:lnTo>
                  <a:lnTo>
                    <a:pt x="44" y="129"/>
                  </a:lnTo>
                  <a:lnTo>
                    <a:pt x="44" y="76"/>
                  </a:lnTo>
                  <a:lnTo>
                    <a:pt x="67" y="0"/>
                  </a:lnTo>
                  <a:lnTo>
                    <a:pt x="47" y="0"/>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endParaRPr lang="en-US" sz="3264"/>
            </a:p>
          </p:txBody>
        </p:sp>
        <p:sp>
          <p:nvSpPr>
            <p:cNvPr id="31" name="Freeform 102"/>
            <p:cNvSpPr>
              <a:spLocks noEditPoints="1"/>
            </p:cNvSpPr>
            <p:nvPr/>
          </p:nvSpPr>
          <p:spPr bwMode="invGray">
            <a:xfrm>
              <a:off x="8252221" y="3113568"/>
              <a:ext cx="85213" cy="163871"/>
            </a:xfrm>
            <a:custGeom>
              <a:avLst/>
              <a:gdLst>
                <a:gd name="T0" fmla="*/ 14 w 36"/>
                <a:gd name="T1" fmla="*/ 56 h 69"/>
                <a:gd name="T2" fmla="*/ 13 w 36"/>
                <a:gd name="T3" fmla="*/ 52 h 69"/>
                <a:gd name="T4" fmla="*/ 13 w 36"/>
                <a:gd name="T5" fmla="*/ 16 h 69"/>
                <a:gd name="T6" fmla="*/ 14 w 36"/>
                <a:gd name="T7" fmla="*/ 12 h 69"/>
                <a:gd name="T8" fmla="*/ 18 w 36"/>
                <a:gd name="T9" fmla="*/ 11 h 69"/>
                <a:gd name="T10" fmla="*/ 22 w 36"/>
                <a:gd name="T11" fmla="*/ 12 h 69"/>
                <a:gd name="T12" fmla="*/ 23 w 36"/>
                <a:gd name="T13" fmla="*/ 16 h 69"/>
                <a:gd name="T14" fmla="*/ 23 w 36"/>
                <a:gd name="T15" fmla="*/ 52 h 69"/>
                <a:gd name="T16" fmla="*/ 22 w 36"/>
                <a:gd name="T17" fmla="*/ 56 h 69"/>
                <a:gd name="T18" fmla="*/ 18 w 36"/>
                <a:gd name="T19" fmla="*/ 57 h 69"/>
                <a:gd name="T20" fmla="*/ 14 w 36"/>
                <a:gd name="T21" fmla="*/ 56 h 69"/>
                <a:gd name="T22" fmla="*/ 5 w 36"/>
                <a:gd name="T23" fmla="*/ 4 h 69"/>
                <a:gd name="T24" fmla="*/ 0 w 36"/>
                <a:gd name="T25" fmla="*/ 16 h 69"/>
                <a:gd name="T26" fmla="*/ 0 w 36"/>
                <a:gd name="T27" fmla="*/ 50 h 69"/>
                <a:gd name="T28" fmla="*/ 5 w 36"/>
                <a:gd name="T29" fmla="*/ 64 h 69"/>
                <a:gd name="T30" fmla="*/ 18 w 36"/>
                <a:gd name="T31" fmla="*/ 69 h 69"/>
                <a:gd name="T32" fmla="*/ 31 w 36"/>
                <a:gd name="T33" fmla="*/ 64 h 69"/>
                <a:gd name="T34" fmla="*/ 36 w 36"/>
                <a:gd name="T35" fmla="*/ 51 h 69"/>
                <a:gd name="T36" fmla="*/ 36 w 36"/>
                <a:gd name="T37" fmla="*/ 17 h 69"/>
                <a:gd name="T38" fmla="*/ 31 w 36"/>
                <a:gd name="T39" fmla="*/ 4 h 69"/>
                <a:gd name="T40" fmla="*/ 18 w 36"/>
                <a:gd name="T41" fmla="*/ 0 h 69"/>
                <a:gd name="T42" fmla="*/ 5 w 36"/>
                <a:gd name="T43" fmla="*/ 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6" h="69">
                  <a:moveTo>
                    <a:pt x="14" y="56"/>
                  </a:moveTo>
                  <a:cubicBezTo>
                    <a:pt x="13" y="55"/>
                    <a:pt x="13" y="53"/>
                    <a:pt x="13" y="52"/>
                  </a:cubicBezTo>
                  <a:cubicBezTo>
                    <a:pt x="13" y="16"/>
                    <a:pt x="13" y="16"/>
                    <a:pt x="13" y="16"/>
                  </a:cubicBezTo>
                  <a:cubicBezTo>
                    <a:pt x="13" y="14"/>
                    <a:pt x="13" y="13"/>
                    <a:pt x="14" y="12"/>
                  </a:cubicBezTo>
                  <a:cubicBezTo>
                    <a:pt x="15" y="11"/>
                    <a:pt x="16" y="11"/>
                    <a:pt x="18" y="11"/>
                  </a:cubicBezTo>
                  <a:cubicBezTo>
                    <a:pt x="19" y="11"/>
                    <a:pt x="21" y="11"/>
                    <a:pt x="22" y="12"/>
                  </a:cubicBezTo>
                  <a:cubicBezTo>
                    <a:pt x="23" y="13"/>
                    <a:pt x="23" y="14"/>
                    <a:pt x="23" y="16"/>
                  </a:cubicBezTo>
                  <a:cubicBezTo>
                    <a:pt x="23" y="52"/>
                    <a:pt x="23" y="52"/>
                    <a:pt x="23" y="52"/>
                  </a:cubicBezTo>
                  <a:cubicBezTo>
                    <a:pt x="23" y="53"/>
                    <a:pt x="23" y="55"/>
                    <a:pt x="22" y="56"/>
                  </a:cubicBezTo>
                  <a:cubicBezTo>
                    <a:pt x="21" y="57"/>
                    <a:pt x="19" y="57"/>
                    <a:pt x="18" y="57"/>
                  </a:cubicBezTo>
                  <a:cubicBezTo>
                    <a:pt x="16" y="57"/>
                    <a:pt x="15" y="57"/>
                    <a:pt x="14" y="56"/>
                  </a:cubicBezTo>
                  <a:moveTo>
                    <a:pt x="5" y="4"/>
                  </a:moveTo>
                  <a:cubicBezTo>
                    <a:pt x="2" y="7"/>
                    <a:pt x="0" y="11"/>
                    <a:pt x="0" y="16"/>
                  </a:cubicBezTo>
                  <a:cubicBezTo>
                    <a:pt x="0" y="50"/>
                    <a:pt x="0" y="50"/>
                    <a:pt x="0" y="50"/>
                  </a:cubicBezTo>
                  <a:cubicBezTo>
                    <a:pt x="0" y="56"/>
                    <a:pt x="2" y="60"/>
                    <a:pt x="5" y="64"/>
                  </a:cubicBezTo>
                  <a:cubicBezTo>
                    <a:pt x="8" y="67"/>
                    <a:pt x="12" y="69"/>
                    <a:pt x="18" y="69"/>
                  </a:cubicBezTo>
                  <a:cubicBezTo>
                    <a:pt x="23" y="69"/>
                    <a:pt x="28" y="67"/>
                    <a:pt x="31" y="64"/>
                  </a:cubicBezTo>
                  <a:cubicBezTo>
                    <a:pt x="34" y="61"/>
                    <a:pt x="36" y="56"/>
                    <a:pt x="36" y="51"/>
                  </a:cubicBezTo>
                  <a:cubicBezTo>
                    <a:pt x="36" y="17"/>
                    <a:pt x="36" y="17"/>
                    <a:pt x="36" y="17"/>
                  </a:cubicBezTo>
                  <a:cubicBezTo>
                    <a:pt x="36" y="12"/>
                    <a:pt x="34" y="8"/>
                    <a:pt x="31" y="4"/>
                  </a:cubicBezTo>
                  <a:cubicBezTo>
                    <a:pt x="27" y="1"/>
                    <a:pt x="23" y="0"/>
                    <a:pt x="18" y="0"/>
                  </a:cubicBezTo>
                  <a:cubicBezTo>
                    <a:pt x="13" y="0"/>
                    <a:pt x="8" y="1"/>
                    <a:pt x="5" y="4"/>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endParaRPr lang="en-US" sz="3264"/>
            </a:p>
          </p:txBody>
        </p:sp>
        <p:sp>
          <p:nvSpPr>
            <p:cNvPr id="32" name="Freeform 103"/>
            <p:cNvSpPr>
              <a:spLocks/>
            </p:cNvSpPr>
            <p:nvPr/>
          </p:nvSpPr>
          <p:spPr bwMode="invGray">
            <a:xfrm>
              <a:off x="8362015" y="3116846"/>
              <a:ext cx="81935" cy="157316"/>
            </a:xfrm>
            <a:custGeom>
              <a:avLst/>
              <a:gdLst>
                <a:gd name="T0" fmla="*/ 23 w 35"/>
                <a:gd name="T1" fmla="*/ 0 h 67"/>
                <a:gd name="T2" fmla="*/ 23 w 35"/>
                <a:gd name="T3" fmla="*/ 50 h 67"/>
                <a:gd name="T4" fmla="*/ 19 w 35"/>
                <a:gd name="T5" fmla="*/ 54 h 67"/>
                <a:gd name="T6" fmla="*/ 15 w 35"/>
                <a:gd name="T7" fmla="*/ 55 h 67"/>
                <a:gd name="T8" fmla="*/ 13 w 35"/>
                <a:gd name="T9" fmla="*/ 54 h 67"/>
                <a:gd name="T10" fmla="*/ 12 w 35"/>
                <a:gd name="T11" fmla="*/ 51 h 67"/>
                <a:gd name="T12" fmla="*/ 12 w 35"/>
                <a:gd name="T13" fmla="*/ 0 h 67"/>
                <a:gd name="T14" fmla="*/ 0 w 35"/>
                <a:gd name="T15" fmla="*/ 0 h 67"/>
                <a:gd name="T16" fmla="*/ 0 w 35"/>
                <a:gd name="T17" fmla="*/ 55 h 67"/>
                <a:gd name="T18" fmla="*/ 2 w 35"/>
                <a:gd name="T19" fmla="*/ 64 h 67"/>
                <a:gd name="T20" fmla="*/ 8 w 35"/>
                <a:gd name="T21" fmla="*/ 67 h 67"/>
                <a:gd name="T22" fmla="*/ 15 w 35"/>
                <a:gd name="T23" fmla="*/ 65 h 67"/>
                <a:gd name="T24" fmla="*/ 23 w 35"/>
                <a:gd name="T25" fmla="*/ 59 h 67"/>
                <a:gd name="T26" fmla="*/ 23 w 35"/>
                <a:gd name="T27" fmla="*/ 66 h 67"/>
                <a:gd name="T28" fmla="*/ 35 w 35"/>
                <a:gd name="T29" fmla="*/ 66 h 67"/>
                <a:gd name="T30" fmla="*/ 35 w 35"/>
                <a:gd name="T31" fmla="*/ 0 h 67"/>
                <a:gd name="T32" fmla="*/ 23 w 35"/>
                <a:gd name="T33" fmla="*/ 0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 h="67">
                  <a:moveTo>
                    <a:pt x="23" y="0"/>
                  </a:moveTo>
                  <a:cubicBezTo>
                    <a:pt x="23" y="50"/>
                    <a:pt x="23" y="50"/>
                    <a:pt x="23" y="50"/>
                  </a:cubicBezTo>
                  <a:cubicBezTo>
                    <a:pt x="21" y="52"/>
                    <a:pt x="20" y="53"/>
                    <a:pt x="19" y="54"/>
                  </a:cubicBezTo>
                  <a:cubicBezTo>
                    <a:pt x="17" y="55"/>
                    <a:pt x="16" y="55"/>
                    <a:pt x="15" y="55"/>
                  </a:cubicBezTo>
                  <a:cubicBezTo>
                    <a:pt x="14" y="55"/>
                    <a:pt x="13" y="55"/>
                    <a:pt x="13" y="54"/>
                  </a:cubicBezTo>
                  <a:cubicBezTo>
                    <a:pt x="12" y="53"/>
                    <a:pt x="12" y="52"/>
                    <a:pt x="12" y="51"/>
                  </a:cubicBezTo>
                  <a:cubicBezTo>
                    <a:pt x="12" y="0"/>
                    <a:pt x="12" y="0"/>
                    <a:pt x="12" y="0"/>
                  </a:cubicBezTo>
                  <a:cubicBezTo>
                    <a:pt x="0" y="0"/>
                    <a:pt x="0" y="0"/>
                    <a:pt x="0" y="0"/>
                  </a:cubicBezTo>
                  <a:cubicBezTo>
                    <a:pt x="0" y="55"/>
                    <a:pt x="0" y="55"/>
                    <a:pt x="0" y="55"/>
                  </a:cubicBezTo>
                  <a:cubicBezTo>
                    <a:pt x="0" y="59"/>
                    <a:pt x="1" y="62"/>
                    <a:pt x="2" y="64"/>
                  </a:cubicBezTo>
                  <a:cubicBezTo>
                    <a:pt x="3" y="66"/>
                    <a:pt x="6" y="67"/>
                    <a:pt x="8" y="67"/>
                  </a:cubicBezTo>
                  <a:cubicBezTo>
                    <a:pt x="11" y="67"/>
                    <a:pt x="13" y="66"/>
                    <a:pt x="15" y="65"/>
                  </a:cubicBezTo>
                  <a:cubicBezTo>
                    <a:pt x="18" y="63"/>
                    <a:pt x="20" y="61"/>
                    <a:pt x="23" y="59"/>
                  </a:cubicBezTo>
                  <a:cubicBezTo>
                    <a:pt x="23" y="66"/>
                    <a:pt x="23" y="66"/>
                    <a:pt x="23" y="66"/>
                  </a:cubicBezTo>
                  <a:cubicBezTo>
                    <a:pt x="35" y="66"/>
                    <a:pt x="35" y="66"/>
                    <a:pt x="35" y="66"/>
                  </a:cubicBezTo>
                  <a:cubicBezTo>
                    <a:pt x="35" y="0"/>
                    <a:pt x="35" y="0"/>
                    <a:pt x="35" y="0"/>
                  </a:cubicBezTo>
                  <a:lnTo>
                    <a:pt x="23" y="0"/>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endParaRPr lang="en-US" sz="3264"/>
            </a:p>
          </p:txBody>
        </p:sp>
        <p:sp>
          <p:nvSpPr>
            <p:cNvPr id="33" name="Freeform 104"/>
            <p:cNvSpPr>
              <a:spLocks/>
            </p:cNvSpPr>
            <p:nvPr/>
          </p:nvSpPr>
          <p:spPr bwMode="invGray">
            <a:xfrm>
              <a:off x="8350544" y="3442949"/>
              <a:ext cx="22942" cy="108155"/>
            </a:xfrm>
            <a:custGeom>
              <a:avLst/>
              <a:gdLst>
                <a:gd name="T0" fmla="*/ 5 w 10"/>
                <a:gd name="T1" fmla="*/ 0 h 46"/>
                <a:gd name="T2" fmla="*/ 2 w 10"/>
                <a:gd name="T3" fmla="*/ 0 h 46"/>
                <a:gd name="T4" fmla="*/ 0 w 10"/>
                <a:gd name="T5" fmla="*/ 2 h 46"/>
                <a:gd name="T6" fmla="*/ 0 w 10"/>
                <a:gd name="T7" fmla="*/ 43 h 46"/>
                <a:gd name="T8" fmla="*/ 2 w 10"/>
                <a:gd name="T9" fmla="*/ 46 h 46"/>
                <a:gd name="T10" fmla="*/ 5 w 10"/>
                <a:gd name="T11" fmla="*/ 46 h 46"/>
                <a:gd name="T12" fmla="*/ 9 w 10"/>
                <a:gd name="T13" fmla="*/ 45 h 46"/>
                <a:gd name="T14" fmla="*/ 10 w 10"/>
                <a:gd name="T15" fmla="*/ 40 h 46"/>
                <a:gd name="T16" fmla="*/ 10 w 10"/>
                <a:gd name="T17" fmla="*/ 7 h 46"/>
                <a:gd name="T18" fmla="*/ 8 w 10"/>
                <a:gd name="T19" fmla="*/ 1 h 46"/>
                <a:gd name="T20" fmla="*/ 5 w 10"/>
                <a:gd name="T21"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 h="46">
                  <a:moveTo>
                    <a:pt x="5" y="0"/>
                  </a:moveTo>
                  <a:cubicBezTo>
                    <a:pt x="4" y="0"/>
                    <a:pt x="3" y="0"/>
                    <a:pt x="2" y="0"/>
                  </a:cubicBezTo>
                  <a:cubicBezTo>
                    <a:pt x="1" y="1"/>
                    <a:pt x="0" y="1"/>
                    <a:pt x="0" y="2"/>
                  </a:cubicBezTo>
                  <a:cubicBezTo>
                    <a:pt x="0" y="43"/>
                    <a:pt x="0" y="43"/>
                    <a:pt x="0" y="43"/>
                  </a:cubicBezTo>
                  <a:cubicBezTo>
                    <a:pt x="1" y="44"/>
                    <a:pt x="1" y="45"/>
                    <a:pt x="2" y="46"/>
                  </a:cubicBezTo>
                  <a:cubicBezTo>
                    <a:pt x="3" y="46"/>
                    <a:pt x="4" y="46"/>
                    <a:pt x="5" y="46"/>
                  </a:cubicBezTo>
                  <a:cubicBezTo>
                    <a:pt x="7" y="46"/>
                    <a:pt x="8" y="46"/>
                    <a:pt x="9" y="45"/>
                  </a:cubicBezTo>
                  <a:cubicBezTo>
                    <a:pt x="9" y="44"/>
                    <a:pt x="10" y="43"/>
                    <a:pt x="10" y="40"/>
                  </a:cubicBezTo>
                  <a:cubicBezTo>
                    <a:pt x="10" y="7"/>
                    <a:pt x="10" y="7"/>
                    <a:pt x="10" y="7"/>
                  </a:cubicBezTo>
                  <a:cubicBezTo>
                    <a:pt x="10" y="4"/>
                    <a:pt x="9" y="3"/>
                    <a:pt x="8" y="1"/>
                  </a:cubicBezTo>
                  <a:cubicBezTo>
                    <a:pt x="8" y="0"/>
                    <a:pt x="6" y="0"/>
                    <a:pt x="5" y="0"/>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endParaRPr lang="en-US" sz="3264"/>
            </a:p>
          </p:txBody>
        </p:sp>
        <p:sp>
          <p:nvSpPr>
            <p:cNvPr id="34" name="Freeform 105"/>
            <p:cNvSpPr>
              <a:spLocks/>
            </p:cNvSpPr>
            <p:nvPr/>
          </p:nvSpPr>
          <p:spPr bwMode="invGray">
            <a:xfrm>
              <a:off x="8453783" y="3442949"/>
              <a:ext cx="26219" cy="32774"/>
            </a:xfrm>
            <a:custGeom>
              <a:avLst/>
              <a:gdLst>
                <a:gd name="T0" fmla="*/ 6 w 11"/>
                <a:gd name="T1" fmla="*/ 0 h 14"/>
                <a:gd name="T2" fmla="*/ 1 w 11"/>
                <a:gd name="T3" fmla="*/ 2 h 14"/>
                <a:gd name="T4" fmla="*/ 0 w 11"/>
                <a:gd name="T5" fmla="*/ 8 h 14"/>
                <a:gd name="T6" fmla="*/ 0 w 11"/>
                <a:gd name="T7" fmla="*/ 14 h 14"/>
                <a:gd name="T8" fmla="*/ 11 w 11"/>
                <a:gd name="T9" fmla="*/ 14 h 14"/>
                <a:gd name="T10" fmla="*/ 11 w 11"/>
                <a:gd name="T11" fmla="*/ 8 h 14"/>
                <a:gd name="T12" fmla="*/ 10 w 11"/>
                <a:gd name="T13" fmla="*/ 2 h 14"/>
                <a:gd name="T14" fmla="*/ 6 w 11"/>
                <a:gd name="T15" fmla="*/ 0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14">
                  <a:moveTo>
                    <a:pt x="6" y="0"/>
                  </a:moveTo>
                  <a:cubicBezTo>
                    <a:pt x="4" y="0"/>
                    <a:pt x="2" y="1"/>
                    <a:pt x="1" y="2"/>
                  </a:cubicBezTo>
                  <a:cubicBezTo>
                    <a:pt x="1" y="3"/>
                    <a:pt x="0" y="5"/>
                    <a:pt x="0" y="8"/>
                  </a:cubicBezTo>
                  <a:cubicBezTo>
                    <a:pt x="0" y="14"/>
                    <a:pt x="0" y="14"/>
                    <a:pt x="0" y="14"/>
                  </a:cubicBezTo>
                  <a:cubicBezTo>
                    <a:pt x="11" y="14"/>
                    <a:pt x="11" y="14"/>
                    <a:pt x="11" y="14"/>
                  </a:cubicBezTo>
                  <a:cubicBezTo>
                    <a:pt x="11" y="8"/>
                    <a:pt x="11" y="8"/>
                    <a:pt x="11" y="8"/>
                  </a:cubicBezTo>
                  <a:cubicBezTo>
                    <a:pt x="11" y="5"/>
                    <a:pt x="10" y="3"/>
                    <a:pt x="10" y="2"/>
                  </a:cubicBezTo>
                  <a:cubicBezTo>
                    <a:pt x="9" y="1"/>
                    <a:pt x="7" y="0"/>
                    <a:pt x="6" y="0"/>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endParaRPr lang="en-US" sz="3264"/>
            </a:p>
          </p:txBody>
        </p:sp>
        <p:sp>
          <p:nvSpPr>
            <p:cNvPr id="35" name="Freeform 106"/>
            <p:cNvSpPr>
              <a:spLocks noEditPoints="1"/>
            </p:cNvSpPr>
            <p:nvPr/>
          </p:nvSpPr>
          <p:spPr bwMode="invGray">
            <a:xfrm>
              <a:off x="8071963" y="3313491"/>
              <a:ext cx="476865" cy="319549"/>
            </a:xfrm>
            <a:custGeom>
              <a:avLst/>
              <a:gdLst>
                <a:gd name="T0" fmla="*/ 171 w 201"/>
                <a:gd name="T1" fmla="*/ 1 h 135"/>
                <a:gd name="T2" fmla="*/ 100 w 201"/>
                <a:gd name="T3" fmla="*/ 0 h 135"/>
                <a:gd name="T4" fmla="*/ 30 w 201"/>
                <a:gd name="T5" fmla="*/ 1 h 135"/>
                <a:gd name="T6" fmla="*/ 0 w 201"/>
                <a:gd name="T7" fmla="*/ 68 h 135"/>
                <a:gd name="T8" fmla="*/ 30 w 201"/>
                <a:gd name="T9" fmla="*/ 134 h 135"/>
                <a:gd name="T10" fmla="*/ 171 w 201"/>
                <a:gd name="T11" fmla="*/ 134 h 135"/>
                <a:gd name="T12" fmla="*/ 201 w 201"/>
                <a:gd name="T13" fmla="*/ 68 h 135"/>
                <a:gd name="T14" fmla="*/ 43 w 201"/>
                <a:gd name="T15" fmla="*/ 111 h 135"/>
                <a:gd name="T16" fmla="*/ 30 w 201"/>
                <a:gd name="T17" fmla="*/ 35 h 135"/>
                <a:gd name="T18" fmla="*/ 15 w 201"/>
                <a:gd name="T19" fmla="*/ 22 h 135"/>
                <a:gd name="T20" fmla="*/ 58 w 201"/>
                <a:gd name="T21" fmla="*/ 35 h 135"/>
                <a:gd name="T22" fmla="*/ 43 w 201"/>
                <a:gd name="T23" fmla="*/ 111 h 135"/>
                <a:gd name="T24" fmla="*/ 80 w 201"/>
                <a:gd name="T25" fmla="*/ 111 h 135"/>
                <a:gd name="T26" fmla="*/ 73 w 201"/>
                <a:gd name="T27" fmla="*/ 110 h 135"/>
                <a:gd name="T28" fmla="*/ 60 w 201"/>
                <a:gd name="T29" fmla="*/ 109 h 135"/>
                <a:gd name="T30" fmla="*/ 57 w 201"/>
                <a:gd name="T31" fmla="*/ 45 h 135"/>
                <a:gd name="T32" fmla="*/ 70 w 201"/>
                <a:gd name="T33" fmla="*/ 95 h 135"/>
                <a:gd name="T34" fmla="*/ 73 w 201"/>
                <a:gd name="T35" fmla="*/ 100 h 135"/>
                <a:gd name="T36" fmla="*/ 80 w 201"/>
                <a:gd name="T37" fmla="*/ 95 h 135"/>
                <a:gd name="T38" fmla="*/ 92 w 201"/>
                <a:gd name="T39" fmla="*/ 45 h 135"/>
                <a:gd name="T40" fmla="*/ 139 w 201"/>
                <a:gd name="T41" fmla="*/ 97 h 135"/>
                <a:gd name="T42" fmla="*/ 128 w 201"/>
                <a:gd name="T43" fmla="*/ 112 h 135"/>
                <a:gd name="T44" fmla="*/ 117 w 201"/>
                <a:gd name="T45" fmla="*/ 106 h 135"/>
                <a:gd name="T46" fmla="*/ 104 w 201"/>
                <a:gd name="T47" fmla="*/ 111 h 135"/>
                <a:gd name="T48" fmla="*/ 117 w 201"/>
                <a:gd name="T49" fmla="*/ 22 h 135"/>
                <a:gd name="T50" fmla="*/ 122 w 201"/>
                <a:gd name="T51" fmla="*/ 46 h 135"/>
                <a:gd name="T52" fmla="*/ 136 w 201"/>
                <a:gd name="T53" fmla="*/ 48 h 135"/>
                <a:gd name="T54" fmla="*/ 139 w 201"/>
                <a:gd name="T55" fmla="*/ 97 h 135"/>
                <a:gd name="T56" fmla="*/ 161 w 201"/>
                <a:gd name="T57" fmla="*/ 79 h 135"/>
                <a:gd name="T58" fmla="*/ 162 w 201"/>
                <a:gd name="T59" fmla="*/ 99 h 135"/>
                <a:gd name="T60" fmla="*/ 171 w 201"/>
                <a:gd name="T61" fmla="*/ 99 h 135"/>
                <a:gd name="T62" fmla="*/ 172 w 201"/>
                <a:gd name="T63" fmla="*/ 87 h 135"/>
                <a:gd name="T64" fmla="*/ 184 w 201"/>
                <a:gd name="T65" fmla="*/ 92 h 135"/>
                <a:gd name="T66" fmla="*/ 166 w 201"/>
                <a:gd name="T67" fmla="*/ 113 h 135"/>
                <a:gd name="T68" fmla="*/ 149 w 201"/>
                <a:gd name="T69" fmla="*/ 92 h 135"/>
                <a:gd name="T70" fmla="*/ 154 w 201"/>
                <a:gd name="T71" fmla="*/ 49 h 135"/>
                <a:gd name="T72" fmla="*/ 180 w 201"/>
                <a:gd name="T73" fmla="*/ 48 h 135"/>
                <a:gd name="T74" fmla="*/ 184 w 201"/>
                <a:gd name="T75" fmla="*/ 79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01" h="135">
                  <a:moveTo>
                    <a:pt x="200" y="30"/>
                  </a:moveTo>
                  <a:cubicBezTo>
                    <a:pt x="200" y="14"/>
                    <a:pt x="187" y="1"/>
                    <a:pt x="171" y="1"/>
                  </a:cubicBezTo>
                  <a:cubicBezTo>
                    <a:pt x="149" y="0"/>
                    <a:pt x="127" y="0"/>
                    <a:pt x="104" y="0"/>
                  </a:cubicBezTo>
                  <a:cubicBezTo>
                    <a:pt x="103" y="0"/>
                    <a:pt x="102" y="0"/>
                    <a:pt x="100" y="0"/>
                  </a:cubicBezTo>
                  <a:cubicBezTo>
                    <a:pt x="99" y="0"/>
                    <a:pt x="98" y="0"/>
                    <a:pt x="97" y="0"/>
                  </a:cubicBezTo>
                  <a:cubicBezTo>
                    <a:pt x="74" y="0"/>
                    <a:pt x="52" y="0"/>
                    <a:pt x="30" y="1"/>
                  </a:cubicBezTo>
                  <a:cubicBezTo>
                    <a:pt x="14" y="1"/>
                    <a:pt x="1" y="14"/>
                    <a:pt x="1" y="30"/>
                  </a:cubicBezTo>
                  <a:cubicBezTo>
                    <a:pt x="0" y="42"/>
                    <a:pt x="0" y="55"/>
                    <a:pt x="0" y="68"/>
                  </a:cubicBezTo>
                  <a:cubicBezTo>
                    <a:pt x="0" y="80"/>
                    <a:pt x="0" y="93"/>
                    <a:pt x="1" y="105"/>
                  </a:cubicBezTo>
                  <a:cubicBezTo>
                    <a:pt x="1" y="121"/>
                    <a:pt x="14" y="134"/>
                    <a:pt x="30" y="134"/>
                  </a:cubicBezTo>
                  <a:cubicBezTo>
                    <a:pt x="53" y="135"/>
                    <a:pt x="77" y="135"/>
                    <a:pt x="100" y="135"/>
                  </a:cubicBezTo>
                  <a:cubicBezTo>
                    <a:pt x="124" y="135"/>
                    <a:pt x="148" y="135"/>
                    <a:pt x="171" y="134"/>
                  </a:cubicBezTo>
                  <a:cubicBezTo>
                    <a:pt x="187" y="134"/>
                    <a:pt x="200" y="121"/>
                    <a:pt x="200" y="105"/>
                  </a:cubicBezTo>
                  <a:cubicBezTo>
                    <a:pt x="201" y="93"/>
                    <a:pt x="201" y="80"/>
                    <a:pt x="201" y="68"/>
                  </a:cubicBezTo>
                  <a:cubicBezTo>
                    <a:pt x="201" y="55"/>
                    <a:pt x="201" y="42"/>
                    <a:pt x="200" y="30"/>
                  </a:cubicBezTo>
                  <a:close/>
                  <a:moveTo>
                    <a:pt x="43" y="111"/>
                  </a:moveTo>
                  <a:cubicBezTo>
                    <a:pt x="30" y="111"/>
                    <a:pt x="30" y="111"/>
                    <a:pt x="30" y="111"/>
                  </a:cubicBezTo>
                  <a:cubicBezTo>
                    <a:pt x="30" y="35"/>
                    <a:pt x="30" y="35"/>
                    <a:pt x="30" y="35"/>
                  </a:cubicBezTo>
                  <a:cubicBezTo>
                    <a:pt x="15" y="35"/>
                    <a:pt x="15" y="35"/>
                    <a:pt x="15" y="35"/>
                  </a:cubicBezTo>
                  <a:cubicBezTo>
                    <a:pt x="15" y="22"/>
                    <a:pt x="15" y="22"/>
                    <a:pt x="15" y="22"/>
                  </a:cubicBezTo>
                  <a:cubicBezTo>
                    <a:pt x="58" y="22"/>
                    <a:pt x="58" y="22"/>
                    <a:pt x="58" y="22"/>
                  </a:cubicBezTo>
                  <a:cubicBezTo>
                    <a:pt x="58" y="35"/>
                    <a:pt x="58" y="35"/>
                    <a:pt x="58" y="35"/>
                  </a:cubicBezTo>
                  <a:cubicBezTo>
                    <a:pt x="43" y="35"/>
                    <a:pt x="43" y="35"/>
                    <a:pt x="43" y="35"/>
                  </a:cubicBezTo>
                  <a:lnTo>
                    <a:pt x="43" y="111"/>
                  </a:lnTo>
                  <a:close/>
                  <a:moveTo>
                    <a:pt x="92" y="111"/>
                  </a:moveTo>
                  <a:cubicBezTo>
                    <a:pt x="80" y="111"/>
                    <a:pt x="80" y="111"/>
                    <a:pt x="80" y="111"/>
                  </a:cubicBezTo>
                  <a:cubicBezTo>
                    <a:pt x="80" y="104"/>
                    <a:pt x="80" y="104"/>
                    <a:pt x="80" y="104"/>
                  </a:cubicBezTo>
                  <a:cubicBezTo>
                    <a:pt x="78" y="106"/>
                    <a:pt x="75" y="108"/>
                    <a:pt x="73" y="110"/>
                  </a:cubicBezTo>
                  <a:cubicBezTo>
                    <a:pt x="71" y="111"/>
                    <a:pt x="68" y="112"/>
                    <a:pt x="66" y="112"/>
                  </a:cubicBezTo>
                  <a:cubicBezTo>
                    <a:pt x="63" y="112"/>
                    <a:pt x="61" y="111"/>
                    <a:pt x="60" y="109"/>
                  </a:cubicBezTo>
                  <a:cubicBezTo>
                    <a:pt x="58" y="107"/>
                    <a:pt x="57" y="104"/>
                    <a:pt x="57" y="100"/>
                  </a:cubicBezTo>
                  <a:cubicBezTo>
                    <a:pt x="57" y="45"/>
                    <a:pt x="57" y="45"/>
                    <a:pt x="57" y="45"/>
                  </a:cubicBezTo>
                  <a:cubicBezTo>
                    <a:pt x="70" y="45"/>
                    <a:pt x="70" y="45"/>
                    <a:pt x="70" y="45"/>
                  </a:cubicBezTo>
                  <a:cubicBezTo>
                    <a:pt x="70" y="95"/>
                    <a:pt x="70" y="95"/>
                    <a:pt x="70" y="95"/>
                  </a:cubicBezTo>
                  <a:cubicBezTo>
                    <a:pt x="70" y="97"/>
                    <a:pt x="70" y="98"/>
                    <a:pt x="70" y="99"/>
                  </a:cubicBezTo>
                  <a:cubicBezTo>
                    <a:pt x="71" y="100"/>
                    <a:pt x="72" y="100"/>
                    <a:pt x="73" y="100"/>
                  </a:cubicBezTo>
                  <a:cubicBezTo>
                    <a:pt x="74" y="100"/>
                    <a:pt x="75" y="99"/>
                    <a:pt x="76" y="99"/>
                  </a:cubicBezTo>
                  <a:cubicBezTo>
                    <a:pt x="78" y="98"/>
                    <a:pt x="79" y="96"/>
                    <a:pt x="80" y="95"/>
                  </a:cubicBezTo>
                  <a:cubicBezTo>
                    <a:pt x="80" y="45"/>
                    <a:pt x="80" y="45"/>
                    <a:pt x="80" y="45"/>
                  </a:cubicBezTo>
                  <a:cubicBezTo>
                    <a:pt x="92" y="45"/>
                    <a:pt x="92" y="45"/>
                    <a:pt x="92" y="45"/>
                  </a:cubicBezTo>
                  <a:lnTo>
                    <a:pt x="92" y="111"/>
                  </a:lnTo>
                  <a:close/>
                  <a:moveTo>
                    <a:pt x="139" y="97"/>
                  </a:moveTo>
                  <a:cubicBezTo>
                    <a:pt x="139" y="102"/>
                    <a:pt x="138" y="105"/>
                    <a:pt x="136" y="108"/>
                  </a:cubicBezTo>
                  <a:cubicBezTo>
                    <a:pt x="135" y="110"/>
                    <a:pt x="132" y="112"/>
                    <a:pt x="128" y="112"/>
                  </a:cubicBezTo>
                  <a:cubicBezTo>
                    <a:pt x="126" y="112"/>
                    <a:pt x="124" y="111"/>
                    <a:pt x="122" y="110"/>
                  </a:cubicBezTo>
                  <a:cubicBezTo>
                    <a:pt x="120" y="109"/>
                    <a:pt x="118" y="108"/>
                    <a:pt x="117" y="106"/>
                  </a:cubicBezTo>
                  <a:cubicBezTo>
                    <a:pt x="117" y="111"/>
                    <a:pt x="117" y="111"/>
                    <a:pt x="117" y="111"/>
                  </a:cubicBezTo>
                  <a:cubicBezTo>
                    <a:pt x="104" y="111"/>
                    <a:pt x="104" y="111"/>
                    <a:pt x="104" y="111"/>
                  </a:cubicBezTo>
                  <a:cubicBezTo>
                    <a:pt x="104" y="22"/>
                    <a:pt x="104" y="22"/>
                    <a:pt x="104" y="22"/>
                  </a:cubicBezTo>
                  <a:cubicBezTo>
                    <a:pt x="117" y="22"/>
                    <a:pt x="117" y="22"/>
                    <a:pt x="117" y="22"/>
                  </a:cubicBezTo>
                  <a:cubicBezTo>
                    <a:pt x="117" y="50"/>
                    <a:pt x="117" y="50"/>
                    <a:pt x="117" y="50"/>
                  </a:cubicBezTo>
                  <a:cubicBezTo>
                    <a:pt x="118" y="48"/>
                    <a:pt x="120" y="47"/>
                    <a:pt x="122" y="46"/>
                  </a:cubicBezTo>
                  <a:cubicBezTo>
                    <a:pt x="124" y="45"/>
                    <a:pt x="125" y="44"/>
                    <a:pt x="127" y="44"/>
                  </a:cubicBezTo>
                  <a:cubicBezTo>
                    <a:pt x="131" y="44"/>
                    <a:pt x="134" y="46"/>
                    <a:pt x="136" y="48"/>
                  </a:cubicBezTo>
                  <a:cubicBezTo>
                    <a:pt x="138" y="51"/>
                    <a:pt x="139" y="55"/>
                    <a:pt x="139" y="61"/>
                  </a:cubicBezTo>
                  <a:lnTo>
                    <a:pt x="139" y="97"/>
                  </a:lnTo>
                  <a:close/>
                  <a:moveTo>
                    <a:pt x="184" y="79"/>
                  </a:moveTo>
                  <a:cubicBezTo>
                    <a:pt x="161" y="79"/>
                    <a:pt x="161" y="79"/>
                    <a:pt x="161" y="79"/>
                  </a:cubicBezTo>
                  <a:cubicBezTo>
                    <a:pt x="161" y="92"/>
                    <a:pt x="161" y="92"/>
                    <a:pt x="161" y="92"/>
                  </a:cubicBezTo>
                  <a:cubicBezTo>
                    <a:pt x="161" y="95"/>
                    <a:pt x="161" y="98"/>
                    <a:pt x="162" y="99"/>
                  </a:cubicBezTo>
                  <a:cubicBezTo>
                    <a:pt x="163" y="100"/>
                    <a:pt x="164" y="101"/>
                    <a:pt x="166" y="101"/>
                  </a:cubicBezTo>
                  <a:cubicBezTo>
                    <a:pt x="168" y="101"/>
                    <a:pt x="170" y="101"/>
                    <a:pt x="171" y="99"/>
                  </a:cubicBezTo>
                  <a:cubicBezTo>
                    <a:pt x="171" y="98"/>
                    <a:pt x="172" y="96"/>
                    <a:pt x="172" y="92"/>
                  </a:cubicBezTo>
                  <a:cubicBezTo>
                    <a:pt x="172" y="87"/>
                    <a:pt x="172" y="87"/>
                    <a:pt x="172" y="87"/>
                  </a:cubicBezTo>
                  <a:cubicBezTo>
                    <a:pt x="184" y="87"/>
                    <a:pt x="184" y="87"/>
                    <a:pt x="184" y="87"/>
                  </a:cubicBezTo>
                  <a:cubicBezTo>
                    <a:pt x="184" y="92"/>
                    <a:pt x="184" y="92"/>
                    <a:pt x="184" y="92"/>
                  </a:cubicBezTo>
                  <a:cubicBezTo>
                    <a:pt x="184" y="99"/>
                    <a:pt x="183" y="104"/>
                    <a:pt x="180" y="107"/>
                  </a:cubicBezTo>
                  <a:cubicBezTo>
                    <a:pt x="177" y="111"/>
                    <a:pt x="172" y="113"/>
                    <a:pt x="166" y="113"/>
                  </a:cubicBezTo>
                  <a:cubicBezTo>
                    <a:pt x="161" y="113"/>
                    <a:pt x="156" y="111"/>
                    <a:pt x="153" y="107"/>
                  </a:cubicBezTo>
                  <a:cubicBezTo>
                    <a:pt x="150" y="104"/>
                    <a:pt x="149" y="99"/>
                    <a:pt x="149" y="92"/>
                  </a:cubicBezTo>
                  <a:cubicBezTo>
                    <a:pt x="149" y="63"/>
                    <a:pt x="149" y="63"/>
                    <a:pt x="149" y="63"/>
                  </a:cubicBezTo>
                  <a:cubicBezTo>
                    <a:pt x="149" y="57"/>
                    <a:pt x="150" y="52"/>
                    <a:pt x="154" y="49"/>
                  </a:cubicBezTo>
                  <a:cubicBezTo>
                    <a:pt x="157" y="45"/>
                    <a:pt x="162" y="43"/>
                    <a:pt x="167" y="43"/>
                  </a:cubicBezTo>
                  <a:cubicBezTo>
                    <a:pt x="173" y="43"/>
                    <a:pt x="177" y="45"/>
                    <a:pt x="180" y="48"/>
                  </a:cubicBezTo>
                  <a:cubicBezTo>
                    <a:pt x="183" y="52"/>
                    <a:pt x="184" y="57"/>
                    <a:pt x="184" y="63"/>
                  </a:cubicBezTo>
                  <a:lnTo>
                    <a:pt x="184" y="79"/>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endParaRPr lang="en-US" sz="3264"/>
            </a:p>
          </p:txBody>
        </p:sp>
      </p:grpSp>
      <p:sp>
        <p:nvSpPr>
          <p:cNvPr id="37" name="Oval 127"/>
          <p:cNvSpPr>
            <a:spLocks noChangeArrowheads="1"/>
          </p:cNvSpPr>
          <p:nvPr/>
        </p:nvSpPr>
        <p:spPr bwMode="invGray">
          <a:xfrm>
            <a:off x="2570023" y="2108748"/>
            <a:ext cx="1243471" cy="1243471"/>
          </a:xfrm>
          <a:prstGeom prst="ellipse">
            <a:avLst/>
          </a:prstGeom>
          <a:solidFill>
            <a:schemeClr val="accent1"/>
          </a:solidFill>
          <a:ln w="19050">
            <a:noFill/>
            <a:round/>
            <a:headEnd/>
            <a:tailEnd/>
          </a:ln>
        </p:spPr>
        <p:txBody>
          <a:bodyPr vert="horz" wrap="square" lIns="124347" tIns="62174" rIns="124347" bIns="62174" numCol="1" anchor="t" anchorCtr="0" compatLnSpc="1">
            <a:prstTxWarp prst="textNoShape">
              <a:avLst/>
            </a:prstTxWarp>
          </a:bodyPr>
          <a:lstStyle/>
          <a:p>
            <a:endParaRPr lang="en-US" sz="3264"/>
          </a:p>
        </p:txBody>
      </p:sp>
      <p:sp>
        <p:nvSpPr>
          <p:cNvPr id="38" name="Freeform 128"/>
          <p:cNvSpPr>
            <a:spLocks noEditPoints="1"/>
          </p:cNvSpPr>
          <p:nvPr/>
        </p:nvSpPr>
        <p:spPr bwMode="invGray">
          <a:xfrm>
            <a:off x="2770583" y="2356550"/>
            <a:ext cx="766584" cy="745635"/>
          </a:xfrm>
          <a:custGeom>
            <a:avLst/>
            <a:gdLst>
              <a:gd name="T0" fmla="*/ 224 w 238"/>
              <a:gd name="T1" fmla="*/ 50 h 231"/>
              <a:gd name="T2" fmla="*/ 180 w 238"/>
              <a:gd name="T3" fmla="*/ 69 h 231"/>
              <a:gd name="T4" fmla="*/ 217 w 238"/>
              <a:gd name="T5" fmla="*/ 88 h 231"/>
              <a:gd name="T6" fmla="*/ 180 w 238"/>
              <a:gd name="T7" fmla="*/ 125 h 231"/>
              <a:gd name="T8" fmla="*/ 143 w 238"/>
              <a:gd name="T9" fmla="*/ 217 h 231"/>
              <a:gd name="T10" fmla="*/ 125 w 238"/>
              <a:gd name="T11" fmla="*/ 125 h 231"/>
              <a:gd name="T12" fmla="*/ 88 w 238"/>
              <a:gd name="T13" fmla="*/ 125 h 231"/>
              <a:gd name="T14" fmla="*/ 51 w 238"/>
              <a:gd name="T15" fmla="*/ 217 h 231"/>
              <a:gd name="T16" fmla="*/ 14 w 238"/>
              <a:gd name="T17" fmla="*/ 125 h 231"/>
              <a:gd name="T18" fmla="*/ 51 w 238"/>
              <a:gd name="T19" fmla="*/ 88 h 231"/>
              <a:gd name="T20" fmla="*/ 101 w 238"/>
              <a:gd name="T21" fmla="*/ 14 h 231"/>
              <a:gd name="T22" fmla="*/ 132 w 238"/>
              <a:gd name="T23" fmla="*/ 50 h 231"/>
              <a:gd name="T24" fmla="*/ 88 w 238"/>
              <a:gd name="T25" fmla="*/ 69 h 231"/>
              <a:gd name="T26" fmla="*/ 106 w 238"/>
              <a:gd name="T27" fmla="*/ 88 h 231"/>
              <a:gd name="T28" fmla="*/ 143 w 238"/>
              <a:gd name="T29" fmla="*/ 88 h 231"/>
              <a:gd name="T30" fmla="*/ 193 w 238"/>
              <a:gd name="T31" fmla="*/ 14 h 231"/>
              <a:gd name="T32" fmla="*/ 224 w 238"/>
              <a:gd name="T33" fmla="*/ 0 h 231"/>
              <a:gd name="T34" fmla="*/ 146 w 238"/>
              <a:gd name="T35" fmla="*/ 22 h 231"/>
              <a:gd name="T36" fmla="*/ 132 w 238"/>
              <a:gd name="T37" fmla="*/ 0 h 231"/>
              <a:gd name="T38" fmla="*/ 37 w 238"/>
              <a:gd name="T39" fmla="*/ 69 h 231"/>
              <a:gd name="T40" fmla="*/ 14 w 238"/>
              <a:gd name="T41" fmla="*/ 74 h 231"/>
              <a:gd name="T42" fmla="*/ 0 w 238"/>
              <a:gd name="T43" fmla="*/ 125 h 231"/>
              <a:gd name="T44" fmla="*/ 37 w 238"/>
              <a:gd name="T45" fmla="*/ 139 h 231"/>
              <a:gd name="T46" fmla="*/ 51 w 238"/>
              <a:gd name="T47" fmla="*/ 231 h 231"/>
              <a:gd name="T48" fmla="*/ 102 w 238"/>
              <a:gd name="T49" fmla="*/ 217 h 231"/>
              <a:gd name="T50" fmla="*/ 106 w 238"/>
              <a:gd name="T51" fmla="*/ 139 h 231"/>
              <a:gd name="T52" fmla="*/ 129 w 238"/>
              <a:gd name="T53" fmla="*/ 139 h 231"/>
              <a:gd name="T54" fmla="*/ 143 w 238"/>
              <a:gd name="T55" fmla="*/ 231 h 231"/>
              <a:gd name="T56" fmla="*/ 194 w 238"/>
              <a:gd name="T57" fmla="*/ 217 h 231"/>
              <a:gd name="T58" fmla="*/ 217 w 238"/>
              <a:gd name="T59" fmla="*/ 139 h 231"/>
              <a:gd name="T60" fmla="*/ 231 w 238"/>
              <a:gd name="T61" fmla="*/ 88 h 231"/>
              <a:gd name="T62" fmla="*/ 194 w 238"/>
              <a:gd name="T63" fmla="*/ 74 h 231"/>
              <a:gd name="T64" fmla="*/ 195 w 238"/>
              <a:gd name="T65" fmla="*/ 65 h 231"/>
              <a:gd name="T66" fmla="*/ 238 w 238"/>
              <a:gd name="T67" fmla="*/ 50 h 231"/>
              <a:gd name="T68" fmla="*/ 224 w 238"/>
              <a:gd name="T69" fmla="*/ 0 h 231"/>
              <a:gd name="T70" fmla="*/ 129 w 238"/>
              <a:gd name="T71" fmla="*/ 65 h 231"/>
              <a:gd name="T72" fmla="*/ 129 w 238"/>
              <a:gd name="T73" fmla="*/ 74 h 231"/>
              <a:gd name="T74" fmla="*/ 106 w 238"/>
              <a:gd name="T75" fmla="*/ 74 h 231"/>
              <a:gd name="T76" fmla="*/ 102 w 238"/>
              <a:gd name="T77" fmla="*/ 69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38" h="231">
                <a:moveTo>
                  <a:pt x="224" y="14"/>
                </a:moveTo>
                <a:cubicBezTo>
                  <a:pt x="224" y="50"/>
                  <a:pt x="224" y="50"/>
                  <a:pt x="224" y="50"/>
                </a:cubicBezTo>
                <a:cubicBezTo>
                  <a:pt x="193" y="50"/>
                  <a:pt x="193" y="50"/>
                  <a:pt x="193" y="50"/>
                </a:cubicBezTo>
                <a:cubicBezTo>
                  <a:pt x="187" y="50"/>
                  <a:pt x="180" y="58"/>
                  <a:pt x="180" y="69"/>
                </a:cubicBezTo>
                <a:cubicBezTo>
                  <a:pt x="180" y="88"/>
                  <a:pt x="180" y="88"/>
                  <a:pt x="180" y="88"/>
                </a:cubicBezTo>
                <a:cubicBezTo>
                  <a:pt x="217" y="88"/>
                  <a:pt x="217" y="88"/>
                  <a:pt x="217" y="88"/>
                </a:cubicBezTo>
                <a:cubicBezTo>
                  <a:pt x="217" y="125"/>
                  <a:pt x="217" y="125"/>
                  <a:pt x="217" y="125"/>
                </a:cubicBezTo>
                <a:cubicBezTo>
                  <a:pt x="180" y="125"/>
                  <a:pt x="180" y="125"/>
                  <a:pt x="180" y="125"/>
                </a:cubicBezTo>
                <a:cubicBezTo>
                  <a:pt x="180" y="217"/>
                  <a:pt x="180" y="217"/>
                  <a:pt x="180" y="217"/>
                </a:cubicBezTo>
                <a:cubicBezTo>
                  <a:pt x="143" y="217"/>
                  <a:pt x="143" y="217"/>
                  <a:pt x="143" y="217"/>
                </a:cubicBezTo>
                <a:cubicBezTo>
                  <a:pt x="143" y="125"/>
                  <a:pt x="143" y="125"/>
                  <a:pt x="143" y="125"/>
                </a:cubicBezTo>
                <a:cubicBezTo>
                  <a:pt x="125" y="125"/>
                  <a:pt x="125" y="125"/>
                  <a:pt x="125" y="125"/>
                </a:cubicBezTo>
                <a:cubicBezTo>
                  <a:pt x="106" y="125"/>
                  <a:pt x="106" y="125"/>
                  <a:pt x="106" y="125"/>
                </a:cubicBezTo>
                <a:cubicBezTo>
                  <a:pt x="88" y="125"/>
                  <a:pt x="88" y="125"/>
                  <a:pt x="88" y="125"/>
                </a:cubicBezTo>
                <a:cubicBezTo>
                  <a:pt x="88" y="217"/>
                  <a:pt x="88" y="217"/>
                  <a:pt x="88" y="217"/>
                </a:cubicBezTo>
                <a:cubicBezTo>
                  <a:pt x="51" y="217"/>
                  <a:pt x="51" y="217"/>
                  <a:pt x="51" y="217"/>
                </a:cubicBezTo>
                <a:cubicBezTo>
                  <a:pt x="51" y="125"/>
                  <a:pt x="51" y="125"/>
                  <a:pt x="51" y="125"/>
                </a:cubicBezTo>
                <a:cubicBezTo>
                  <a:pt x="14" y="125"/>
                  <a:pt x="14" y="125"/>
                  <a:pt x="14" y="125"/>
                </a:cubicBezTo>
                <a:cubicBezTo>
                  <a:pt x="14" y="88"/>
                  <a:pt x="14" y="88"/>
                  <a:pt x="14" y="88"/>
                </a:cubicBezTo>
                <a:cubicBezTo>
                  <a:pt x="51" y="88"/>
                  <a:pt x="51" y="88"/>
                  <a:pt x="51" y="88"/>
                </a:cubicBezTo>
                <a:cubicBezTo>
                  <a:pt x="51" y="69"/>
                  <a:pt x="51" y="69"/>
                  <a:pt x="51" y="69"/>
                </a:cubicBezTo>
                <a:cubicBezTo>
                  <a:pt x="51" y="39"/>
                  <a:pt x="73" y="14"/>
                  <a:pt x="101" y="14"/>
                </a:cubicBezTo>
                <a:cubicBezTo>
                  <a:pt x="132" y="14"/>
                  <a:pt x="132" y="14"/>
                  <a:pt x="132" y="14"/>
                </a:cubicBezTo>
                <a:cubicBezTo>
                  <a:pt x="132" y="50"/>
                  <a:pt x="132" y="50"/>
                  <a:pt x="132" y="50"/>
                </a:cubicBezTo>
                <a:cubicBezTo>
                  <a:pt x="101" y="50"/>
                  <a:pt x="101" y="50"/>
                  <a:pt x="101" y="50"/>
                </a:cubicBezTo>
                <a:cubicBezTo>
                  <a:pt x="95" y="50"/>
                  <a:pt x="88" y="58"/>
                  <a:pt x="88" y="69"/>
                </a:cubicBezTo>
                <a:cubicBezTo>
                  <a:pt x="88" y="88"/>
                  <a:pt x="88" y="88"/>
                  <a:pt x="88" y="88"/>
                </a:cubicBezTo>
                <a:cubicBezTo>
                  <a:pt x="106" y="88"/>
                  <a:pt x="106" y="88"/>
                  <a:pt x="106" y="88"/>
                </a:cubicBezTo>
                <a:cubicBezTo>
                  <a:pt x="125" y="88"/>
                  <a:pt x="125" y="88"/>
                  <a:pt x="125" y="88"/>
                </a:cubicBezTo>
                <a:cubicBezTo>
                  <a:pt x="143" y="88"/>
                  <a:pt x="143" y="88"/>
                  <a:pt x="143" y="88"/>
                </a:cubicBezTo>
                <a:cubicBezTo>
                  <a:pt x="143" y="69"/>
                  <a:pt x="143" y="69"/>
                  <a:pt x="143" y="69"/>
                </a:cubicBezTo>
                <a:cubicBezTo>
                  <a:pt x="143" y="39"/>
                  <a:pt x="166" y="14"/>
                  <a:pt x="193" y="14"/>
                </a:cubicBezTo>
                <a:cubicBezTo>
                  <a:pt x="224" y="14"/>
                  <a:pt x="224" y="14"/>
                  <a:pt x="224" y="14"/>
                </a:cubicBezTo>
                <a:moveTo>
                  <a:pt x="224" y="0"/>
                </a:moveTo>
                <a:cubicBezTo>
                  <a:pt x="193" y="0"/>
                  <a:pt x="193" y="0"/>
                  <a:pt x="193" y="0"/>
                </a:cubicBezTo>
                <a:cubicBezTo>
                  <a:pt x="174" y="0"/>
                  <a:pt x="158" y="8"/>
                  <a:pt x="146" y="22"/>
                </a:cubicBezTo>
                <a:cubicBezTo>
                  <a:pt x="146" y="14"/>
                  <a:pt x="146" y="14"/>
                  <a:pt x="146" y="14"/>
                </a:cubicBezTo>
                <a:cubicBezTo>
                  <a:pt x="146" y="6"/>
                  <a:pt x="140" y="0"/>
                  <a:pt x="132" y="0"/>
                </a:cubicBezTo>
                <a:cubicBezTo>
                  <a:pt x="101" y="0"/>
                  <a:pt x="101" y="0"/>
                  <a:pt x="101" y="0"/>
                </a:cubicBezTo>
                <a:cubicBezTo>
                  <a:pt x="65" y="0"/>
                  <a:pt x="37" y="31"/>
                  <a:pt x="37" y="69"/>
                </a:cubicBezTo>
                <a:cubicBezTo>
                  <a:pt x="37" y="74"/>
                  <a:pt x="37" y="74"/>
                  <a:pt x="37" y="74"/>
                </a:cubicBezTo>
                <a:cubicBezTo>
                  <a:pt x="14" y="74"/>
                  <a:pt x="14" y="74"/>
                  <a:pt x="14" y="74"/>
                </a:cubicBezTo>
                <a:cubicBezTo>
                  <a:pt x="6" y="74"/>
                  <a:pt x="0" y="80"/>
                  <a:pt x="0" y="88"/>
                </a:cubicBezTo>
                <a:cubicBezTo>
                  <a:pt x="0" y="125"/>
                  <a:pt x="0" y="125"/>
                  <a:pt x="0" y="125"/>
                </a:cubicBezTo>
                <a:cubicBezTo>
                  <a:pt x="0" y="133"/>
                  <a:pt x="6" y="139"/>
                  <a:pt x="14" y="139"/>
                </a:cubicBezTo>
                <a:cubicBezTo>
                  <a:pt x="37" y="139"/>
                  <a:pt x="37" y="139"/>
                  <a:pt x="37" y="139"/>
                </a:cubicBezTo>
                <a:cubicBezTo>
                  <a:pt x="37" y="217"/>
                  <a:pt x="37" y="217"/>
                  <a:pt x="37" y="217"/>
                </a:cubicBezTo>
                <a:cubicBezTo>
                  <a:pt x="37" y="225"/>
                  <a:pt x="43" y="231"/>
                  <a:pt x="51" y="231"/>
                </a:cubicBezTo>
                <a:cubicBezTo>
                  <a:pt x="88" y="231"/>
                  <a:pt x="88" y="231"/>
                  <a:pt x="88" y="231"/>
                </a:cubicBezTo>
                <a:cubicBezTo>
                  <a:pt x="96" y="231"/>
                  <a:pt x="102" y="225"/>
                  <a:pt x="102" y="217"/>
                </a:cubicBezTo>
                <a:cubicBezTo>
                  <a:pt x="102" y="139"/>
                  <a:pt x="102" y="139"/>
                  <a:pt x="102" y="139"/>
                </a:cubicBezTo>
                <a:cubicBezTo>
                  <a:pt x="106" y="139"/>
                  <a:pt x="106" y="139"/>
                  <a:pt x="106" y="139"/>
                </a:cubicBezTo>
                <a:cubicBezTo>
                  <a:pt x="125" y="139"/>
                  <a:pt x="125" y="139"/>
                  <a:pt x="125" y="139"/>
                </a:cubicBezTo>
                <a:cubicBezTo>
                  <a:pt x="129" y="139"/>
                  <a:pt x="129" y="139"/>
                  <a:pt x="129" y="139"/>
                </a:cubicBezTo>
                <a:cubicBezTo>
                  <a:pt x="129" y="217"/>
                  <a:pt x="129" y="217"/>
                  <a:pt x="129" y="217"/>
                </a:cubicBezTo>
                <a:cubicBezTo>
                  <a:pt x="129" y="225"/>
                  <a:pt x="135" y="231"/>
                  <a:pt x="143" y="231"/>
                </a:cubicBezTo>
                <a:cubicBezTo>
                  <a:pt x="180" y="231"/>
                  <a:pt x="180" y="231"/>
                  <a:pt x="180" y="231"/>
                </a:cubicBezTo>
                <a:cubicBezTo>
                  <a:pt x="188" y="231"/>
                  <a:pt x="194" y="225"/>
                  <a:pt x="194" y="217"/>
                </a:cubicBezTo>
                <a:cubicBezTo>
                  <a:pt x="194" y="139"/>
                  <a:pt x="194" y="139"/>
                  <a:pt x="194" y="139"/>
                </a:cubicBezTo>
                <a:cubicBezTo>
                  <a:pt x="217" y="139"/>
                  <a:pt x="217" y="139"/>
                  <a:pt x="217" y="139"/>
                </a:cubicBezTo>
                <a:cubicBezTo>
                  <a:pt x="225" y="139"/>
                  <a:pt x="231" y="133"/>
                  <a:pt x="231" y="125"/>
                </a:cubicBezTo>
                <a:cubicBezTo>
                  <a:pt x="231" y="88"/>
                  <a:pt x="231" y="88"/>
                  <a:pt x="231" y="88"/>
                </a:cubicBezTo>
                <a:cubicBezTo>
                  <a:pt x="231" y="80"/>
                  <a:pt x="225" y="74"/>
                  <a:pt x="217" y="74"/>
                </a:cubicBezTo>
                <a:cubicBezTo>
                  <a:pt x="194" y="74"/>
                  <a:pt x="194" y="74"/>
                  <a:pt x="194" y="74"/>
                </a:cubicBezTo>
                <a:cubicBezTo>
                  <a:pt x="194" y="69"/>
                  <a:pt x="194" y="69"/>
                  <a:pt x="194" y="69"/>
                </a:cubicBezTo>
                <a:cubicBezTo>
                  <a:pt x="194" y="67"/>
                  <a:pt x="195" y="65"/>
                  <a:pt x="195" y="65"/>
                </a:cubicBezTo>
                <a:cubicBezTo>
                  <a:pt x="224" y="65"/>
                  <a:pt x="224" y="65"/>
                  <a:pt x="224" y="65"/>
                </a:cubicBezTo>
                <a:cubicBezTo>
                  <a:pt x="232" y="65"/>
                  <a:pt x="238" y="58"/>
                  <a:pt x="238" y="50"/>
                </a:cubicBezTo>
                <a:cubicBezTo>
                  <a:pt x="238" y="14"/>
                  <a:pt x="238" y="14"/>
                  <a:pt x="238" y="14"/>
                </a:cubicBezTo>
                <a:cubicBezTo>
                  <a:pt x="238" y="6"/>
                  <a:pt x="232" y="0"/>
                  <a:pt x="224" y="0"/>
                </a:cubicBezTo>
                <a:close/>
                <a:moveTo>
                  <a:pt x="103" y="65"/>
                </a:moveTo>
                <a:cubicBezTo>
                  <a:pt x="129" y="65"/>
                  <a:pt x="129" y="65"/>
                  <a:pt x="129" y="65"/>
                </a:cubicBezTo>
                <a:cubicBezTo>
                  <a:pt x="129" y="66"/>
                  <a:pt x="129" y="68"/>
                  <a:pt x="129" y="69"/>
                </a:cubicBezTo>
                <a:cubicBezTo>
                  <a:pt x="129" y="74"/>
                  <a:pt x="129" y="74"/>
                  <a:pt x="129" y="74"/>
                </a:cubicBezTo>
                <a:cubicBezTo>
                  <a:pt x="125" y="74"/>
                  <a:pt x="125" y="74"/>
                  <a:pt x="125" y="74"/>
                </a:cubicBezTo>
                <a:cubicBezTo>
                  <a:pt x="106" y="74"/>
                  <a:pt x="106" y="74"/>
                  <a:pt x="106" y="74"/>
                </a:cubicBezTo>
                <a:cubicBezTo>
                  <a:pt x="102" y="74"/>
                  <a:pt x="102" y="74"/>
                  <a:pt x="102" y="74"/>
                </a:cubicBezTo>
                <a:cubicBezTo>
                  <a:pt x="102" y="69"/>
                  <a:pt x="102" y="69"/>
                  <a:pt x="102" y="69"/>
                </a:cubicBezTo>
                <a:cubicBezTo>
                  <a:pt x="102" y="67"/>
                  <a:pt x="103" y="65"/>
                  <a:pt x="103" y="65"/>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endParaRPr lang="en-US" sz="3264"/>
          </a:p>
        </p:txBody>
      </p:sp>
      <p:sp>
        <p:nvSpPr>
          <p:cNvPr id="40" name="Oval 139"/>
          <p:cNvSpPr>
            <a:spLocks noChangeArrowheads="1"/>
          </p:cNvSpPr>
          <p:nvPr/>
        </p:nvSpPr>
        <p:spPr bwMode="invGray">
          <a:xfrm>
            <a:off x="6624584" y="2108748"/>
            <a:ext cx="1243471" cy="1243471"/>
          </a:xfrm>
          <a:prstGeom prst="ellipse">
            <a:avLst/>
          </a:prstGeom>
          <a:solidFill>
            <a:schemeClr val="accent1"/>
          </a:solidFill>
          <a:ln w="19050">
            <a:noFill/>
            <a:round/>
            <a:headEnd/>
            <a:tailEnd/>
          </a:ln>
        </p:spPr>
        <p:txBody>
          <a:bodyPr vert="horz" wrap="square" lIns="124347" tIns="62174" rIns="124347" bIns="62174" numCol="1" anchor="t" anchorCtr="0" compatLnSpc="1">
            <a:prstTxWarp prst="textNoShape">
              <a:avLst/>
            </a:prstTxWarp>
          </a:bodyPr>
          <a:lstStyle/>
          <a:p>
            <a:endParaRPr lang="en-US" sz="3264"/>
          </a:p>
        </p:txBody>
      </p:sp>
      <p:sp>
        <p:nvSpPr>
          <p:cNvPr id="41" name="Freeform 140"/>
          <p:cNvSpPr>
            <a:spLocks noEditPoints="1"/>
          </p:cNvSpPr>
          <p:nvPr/>
        </p:nvSpPr>
        <p:spPr bwMode="invGray">
          <a:xfrm>
            <a:off x="6985593" y="2353877"/>
            <a:ext cx="499171" cy="779955"/>
          </a:xfrm>
          <a:custGeom>
            <a:avLst/>
            <a:gdLst>
              <a:gd name="T0" fmla="*/ 155 w 155"/>
              <a:gd name="T1" fmla="*/ 76 h 242"/>
              <a:gd name="T2" fmla="*/ 155 w 155"/>
              <a:gd name="T3" fmla="*/ 76 h 242"/>
              <a:gd name="T4" fmla="*/ 78 w 155"/>
              <a:gd name="T5" fmla="*/ 0 h 242"/>
              <a:gd name="T6" fmla="*/ 0 w 155"/>
              <a:gd name="T7" fmla="*/ 76 h 242"/>
              <a:gd name="T8" fmla="*/ 0 w 155"/>
              <a:gd name="T9" fmla="*/ 76 h 242"/>
              <a:gd name="T10" fmla="*/ 0 w 155"/>
              <a:gd name="T11" fmla="*/ 79 h 242"/>
              <a:gd name="T12" fmla="*/ 46 w 155"/>
              <a:gd name="T13" fmla="*/ 156 h 242"/>
              <a:gd name="T14" fmla="*/ 78 w 155"/>
              <a:gd name="T15" fmla="*/ 242 h 242"/>
              <a:gd name="T16" fmla="*/ 109 w 155"/>
              <a:gd name="T17" fmla="*/ 156 h 242"/>
              <a:gd name="T18" fmla="*/ 155 w 155"/>
              <a:gd name="T19" fmla="*/ 79 h 242"/>
              <a:gd name="T20" fmla="*/ 155 w 155"/>
              <a:gd name="T21" fmla="*/ 76 h 242"/>
              <a:gd name="T22" fmla="*/ 78 w 155"/>
              <a:gd name="T23" fmla="*/ 100 h 242"/>
              <a:gd name="T24" fmla="*/ 54 w 155"/>
              <a:gd name="T25" fmla="*/ 76 h 242"/>
              <a:gd name="T26" fmla="*/ 78 w 155"/>
              <a:gd name="T27" fmla="*/ 53 h 242"/>
              <a:gd name="T28" fmla="*/ 101 w 155"/>
              <a:gd name="T29" fmla="*/ 76 h 242"/>
              <a:gd name="T30" fmla="*/ 78 w 155"/>
              <a:gd name="T31" fmla="*/ 100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5" h="242">
                <a:moveTo>
                  <a:pt x="155" y="76"/>
                </a:moveTo>
                <a:cubicBezTo>
                  <a:pt x="155" y="76"/>
                  <a:pt x="155" y="76"/>
                  <a:pt x="155" y="76"/>
                </a:cubicBezTo>
                <a:cubicBezTo>
                  <a:pt x="153" y="34"/>
                  <a:pt x="119" y="1"/>
                  <a:pt x="78" y="0"/>
                </a:cubicBezTo>
                <a:cubicBezTo>
                  <a:pt x="36" y="1"/>
                  <a:pt x="2" y="34"/>
                  <a:pt x="0" y="76"/>
                </a:cubicBezTo>
                <a:cubicBezTo>
                  <a:pt x="0" y="76"/>
                  <a:pt x="0" y="76"/>
                  <a:pt x="0" y="76"/>
                </a:cubicBezTo>
                <a:cubicBezTo>
                  <a:pt x="0" y="77"/>
                  <a:pt x="0" y="78"/>
                  <a:pt x="0" y="79"/>
                </a:cubicBezTo>
                <a:cubicBezTo>
                  <a:pt x="0" y="111"/>
                  <a:pt x="26" y="130"/>
                  <a:pt x="46" y="156"/>
                </a:cubicBezTo>
                <a:cubicBezTo>
                  <a:pt x="70" y="186"/>
                  <a:pt x="78" y="242"/>
                  <a:pt x="78" y="242"/>
                </a:cubicBezTo>
                <a:cubicBezTo>
                  <a:pt x="78" y="242"/>
                  <a:pt x="86" y="186"/>
                  <a:pt x="109" y="156"/>
                </a:cubicBezTo>
                <a:cubicBezTo>
                  <a:pt x="129" y="130"/>
                  <a:pt x="155" y="111"/>
                  <a:pt x="155" y="79"/>
                </a:cubicBezTo>
                <a:cubicBezTo>
                  <a:pt x="155" y="78"/>
                  <a:pt x="155" y="77"/>
                  <a:pt x="155" y="76"/>
                </a:cubicBezTo>
                <a:close/>
                <a:moveTo>
                  <a:pt x="78" y="100"/>
                </a:moveTo>
                <a:cubicBezTo>
                  <a:pt x="65" y="100"/>
                  <a:pt x="54" y="89"/>
                  <a:pt x="54" y="76"/>
                </a:cubicBezTo>
                <a:cubicBezTo>
                  <a:pt x="54" y="63"/>
                  <a:pt x="65" y="53"/>
                  <a:pt x="78" y="53"/>
                </a:cubicBezTo>
                <a:cubicBezTo>
                  <a:pt x="91" y="53"/>
                  <a:pt x="101" y="63"/>
                  <a:pt x="101" y="76"/>
                </a:cubicBezTo>
                <a:cubicBezTo>
                  <a:pt x="101" y="89"/>
                  <a:pt x="91" y="100"/>
                  <a:pt x="78" y="100"/>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endParaRPr lang="en-US" sz="3264"/>
          </a:p>
        </p:txBody>
      </p:sp>
      <p:sp>
        <p:nvSpPr>
          <p:cNvPr id="43" name="Oval 141"/>
          <p:cNvSpPr>
            <a:spLocks noChangeArrowheads="1"/>
          </p:cNvSpPr>
          <p:nvPr/>
        </p:nvSpPr>
        <p:spPr bwMode="invGray">
          <a:xfrm>
            <a:off x="8651866" y="2108748"/>
            <a:ext cx="1243471" cy="1243471"/>
          </a:xfrm>
          <a:prstGeom prst="ellipse">
            <a:avLst/>
          </a:prstGeom>
          <a:solidFill>
            <a:schemeClr val="accent1"/>
          </a:solidFill>
          <a:ln w="19050">
            <a:noFill/>
            <a:round/>
            <a:headEnd/>
            <a:tailEnd/>
          </a:ln>
        </p:spPr>
        <p:txBody>
          <a:bodyPr vert="horz" wrap="square" lIns="124347" tIns="62174" rIns="124347" bIns="62174" numCol="1" anchor="t" anchorCtr="0" compatLnSpc="1">
            <a:prstTxWarp prst="textNoShape">
              <a:avLst/>
            </a:prstTxWarp>
          </a:bodyPr>
          <a:lstStyle/>
          <a:p>
            <a:endParaRPr lang="en-US" sz="3264"/>
          </a:p>
        </p:txBody>
      </p:sp>
      <p:sp>
        <p:nvSpPr>
          <p:cNvPr id="44" name="Freeform 142"/>
          <p:cNvSpPr>
            <a:spLocks noEditPoints="1"/>
          </p:cNvSpPr>
          <p:nvPr/>
        </p:nvSpPr>
        <p:spPr bwMode="invGray">
          <a:xfrm>
            <a:off x="8932650" y="2305204"/>
            <a:ext cx="679675" cy="821538"/>
          </a:xfrm>
          <a:custGeom>
            <a:avLst/>
            <a:gdLst>
              <a:gd name="T0" fmla="*/ 195 w 211"/>
              <a:gd name="T1" fmla="*/ 145 h 255"/>
              <a:gd name="T2" fmla="*/ 193 w 211"/>
              <a:gd name="T3" fmla="*/ 142 h 255"/>
              <a:gd name="T4" fmla="*/ 95 w 211"/>
              <a:gd name="T5" fmla="*/ 12 h 255"/>
              <a:gd name="T6" fmla="*/ 72 w 211"/>
              <a:gd name="T7" fmla="*/ 0 h 255"/>
              <a:gd name="T8" fmla="*/ 9 w 211"/>
              <a:gd name="T9" fmla="*/ 41 h 255"/>
              <a:gd name="T10" fmla="*/ 7 w 211"/>
              <a:gd name="T11" fmla="*/ 83 h 255"/>
              <a:gd name="T12" fmla="*/ 105 w 211"/>
              <a:gd name="T13" fmla="*/ 214 h 255"/>
              <a:gd name="T14" fmla="*/ 108 w 211"/>
              <a:gd name="T15" fmla="*/ 216 h 255"/>
              <a:gd name="T16" fmla="*/ 202 w 211"/>
              <a:gd name="T17" fmla="*/ 255 h 255"/>
              <a:gd name="T18" fmla="*/ 204 w 211"/>
              <a:gd name="T19" fmla="*/ 255 h 255"/>
              <a:gd name="T20" fmla="*/ 208 w 211"/>
              <a:gd name="T21" fmla="*/ 254 h 255"/>
              <a:gd name="T22" fmla="*/ 211 w 211"/>
              <a:gd name="T23" fmla="*/ 247 h 255"/>
              <a:gd name="T24" fmla="*/ 195 w 211"/>
              <a:gd name="T25" fmla="*/ 145 h 255"/>
              <a:gd name="T26" fmla="*/ 136 w 211"/>
              <a:gd name="T27" fmla="*/ 173 h 255"/>
              <a:gd name="T28" fmla="*/ 135 w 211"/>
              <a:gd name="T29" fmla="*/ 162 h 255"/>
              <a:gd name="T30" fmla="*/ 184 w 211"/>
              <a:gd name="T31" fmla="*/ 161 h 255"/>
              <a:gd name="T32" fmla="*/ 192 w 211"/>
              <a:gd name="T33" fmla="*/ 215 h 255"/>
              <a:gd name="T34" fmla="*/ 177 w 211"/>
              <a:gd name="T35" fmla="*/ 230 h 255"/>
              <a:gd name="T36" fmla="*/ 124 w 211"/>
              <a:gd name="T37" fmla="*/ 208 h 255"/>
              <a:gd name="T38" fmla="*/ 136 w 211"/>
              <a:gd name="T39" fmla="*/ 173 h 255"/>
              <a:gd name="T40" fmla="*/ 183 w 211"/>
              <a:gd name="T41" fmla="*/ 155 h 255"/>
              <a:gd name="T42" fmla="*/ 133 w 211"/>
              <a:gd name="T43" fmla="*/ 153 h 255"/>
              <a:gd name="T44" fmla="*/ 68 w 211"/>
              <a:gd name="T45" fmla="*/ 66 h 255"/>
              <a:gd name="T46" fmla="*/ 108 w 211"/>
              <a:gd name="T47" fmla="*/ 51 h 255"/>
              <a:gd name="T48" fmla="*/ 182 w 211"/>
              <a:gd name="T49" fmla="*/ 149 h 255"/>
              <a:gd name="T50" fmla="*/ 183 w 211"/>
              <a:gd name="T51" fmla="*/ 155 h 255"/>
              <a:gd name="T52" fmla="*/ 45 w 211"/>
              <a:gd name="T53" fmla="*/ 37 h 255"/>
              <a:gd name="T54" fmla="*/ 18 w 211"/>
              <a:gd name="T55" fmla="*/ 75 h 255"/>
              <a:gd name="T56" fmla="*/ 21 w 211"/>
              <a:gd name="T57" fmla="*/ 48 h 255"/>
              <a:gd name="T58" fmla="*/ 72 w 211"/>
              <a:gd name="T59" fmla="*/ 14 h 255"/>
              <a:gd name="T60" fmla="*/ 84 w 211"/>
              <a:gd name="T61" fmla="*/ 20 h 255"/>
              <a:gd name="T62" fmla="*/ 45 w 211"/>
              <a:gd name="T63" fmla="*/ 37 h 255"/>
              <a:gd name="T64" fmla="*/ 50 w 211"/>
              <a:gd name="T65" fmla="*/ 43 h 255"/>
              <a:gd name="T66" fmla="*/ 89 w 211"/>
              <a:gd name="T67" fmla="*/ 27 h 255"/>
              <a:gd name="T68" fmla="*/ 103 w 211"/>
              <a:gd name="T69" fmla="*/ 45 h 255"/>
              <a:gd name="T70" fmla="*/ 63 w 211"/>
              <a:gd name="T71" fmla="*/ 62 h 255"/>
              <a:gd name="T72" fmla="*/ 36 w 211"/>
              <a:gd name="T73" fmla="*/ 99 h 255"/>
              <a:gd name="T74" fmla="*/ 23 w 211"/>
              <a:gd name="T75" fmla="*/ 82 h 255"/>
              <a:gd name="T76" fmla="*/ 50 w 211"/>
              <a:gd name="T77" fmla="*/ 43 h 255"/>
              <a:gd name="T78" fmla="*/ 41 w 211"/>
              <a:gd name="T79" fmla="*/ 106 h 255"/>
              <a:gd name="T80" fmla="*/ 63 w 211"/>
              <a:gd name="T81" fmla="*/ 71 h 255"/>
              <a:gd name="T82" fmla="*/ 126 w 211"/>
              <a:gd name="T83" fmla="*/ 156 h 255"/>
              <a:gd name="T84" fmla="*/ 126 w 211"/>
              <a:gd name="T85" fmla="*/ 156 h 255"/>
              <a:gd name="T86" fmla="*/ 129 w 211"/>
              <a:gd name="T87" fmla="*/ 173 h 255"/>
              <a:gd name="T88" fmla="*/ 118 w 211"/>
              <a:gd name="T89" fmla="*/ 205 h 255"/>
              <a:gd name="T90" fmla="*/ 115 w 211"/>
              <a:gd name="T91" fmla="*/ 204 h 255"/>
              <a:gd name="T92" fmla="*/ 41 w 211"/>
              <a:gd name="T93" fmla="*/ 106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11" h="255">
                <a:moveTo>
                  <a:pt x="195" y="145"/>
                </a:moveTo>
                <a:cubicBezTo>
                  <a:pt x="195" y="144"/>
                  <a:pt x="194" y="143"/>
                  <a:pt x="193" y="142"/>
                </a:cubicBezTo>
                <a:cubicBezTo>
                  <a:pt x="95" y="12"/>
                  <a:pt x="95" y="12"/>
                  <a:pt x="95" y="12"/>
                </a:cubicBezTo>
                <a:cubicBezTo>
                  <a:pt x="90" y="5"/>
                  <a:pt x="82" y="0"/>
                  <a:pt x="72" y="0"/>
                </a:cubicBezTo>
                <a:cubicBezTo>
                  <a:pt x="50" y="0"/>
                  <a:pt x="22" y="19"/>
                  <a:pt x="9" y="41"/>
                </a:cubicBezTo>
                <a:cubicBezTo>
                  <a:pt x="1" y="56"/>
                  <a:pt x="0" y="70"/>
                  <a:pt x="7" y="83"/>
                </a:cubicBezTo>
                <a:cubicBezTo>
                  <a:pt x="105" y="214"/>
                  <a:pt x="105" y="214"/>
                  <a:pt x="105" y="214"/>
                </a:cubicBezTo>
                <a:cubicBezTo>
                  <a:pt x="106" y="214"/>
                  <a:pt x="107" y="215"/>
                  <a:pt x="108" y="216"/>
                </a:cubicBezTo>
                <a:cubicBezTo>
                  <a:pt x="202" y="255"/>
                  <a:pt x="202" y="255"/>
                  <a:pt x="202" y="255"/>
                </a:cubicBezTo>
                <a:cubicBezTo>
                  <a:pt x="202" y="255"/>
                  <a:pt x="203" y="255"/>
                  <a:pt x="204" y="255"/>
                </a:cubicBezTo>
                <a:cubicBezTo>
                  <a:pt x="206" y="255"/>
                  <a:pt x="207" y="255"/>
                  <a:pt x="208" y="254"/>
                </a:cubicBezTo>
                <a:cubicBezTo>
                  <a:pt x="210" y="252"/>
                  <a:pt x="211" y="250"/>
                  <a:pt x="211" y="247"/>
                </a:cubicBezTo>
                <a:lnTo>
                  <a:pt x="195" y="145"/>
                </a:lnTo>
                <a:close/>
                <a:moveTo>
                  <a:pt x="136" y="173"/>
                </a:moveTo>
                <a:cubicBezTo>
                  <a:pt x="136" y="169"/>
                  <a:pt x="136" y="166"/>
                  <a:pt x="135" y="162"/>
                </a:cubicBezTo>
                <a:cubicBezTo>
                  <a:pt x="150" y="169"/>
                  <a:pt x="169" y="169"/>
                  <a:pt x="184" y="161"/>
                </a:cubicBezTo>
                <a:cubicBezTo>
                  <a:pt x="192" y="215"/>
                  <a:pt x="192" y="215"/>
                  <a:pt x="192" y="215"/>
                </a:cubicBezTo>
                <a:cubicBezTo>
                  <a:pt x="186" y="218"/>
                  <a:pt x="180" y="223"/>
                  <a:pt x="177" y="230"/>
                </a:cubicBezTo>
                <a:cubicBezTo>
                  <a:pt x="124" y="208"/>
                  <a:pt x="124" y="208"/>
                  <a:pt x="124" y="208"/>
                </a:cubicBezTo>
                <a:cubicBezTo>
                  <a:pt x="132" y="198"/>
                  <a:pt x="136" y="186"/>
                  <a:pt x="136" y="173"/>
                </a:cubicBezTo>
                <a:close/>
                <a:moveTo>
                  <a:pt x="183" y="155"/>
                </a:moveTo>
                <a:cubicBezTo>
                  <a:pt x="167" y="163"/>
                  <a:pt x="148" y="162"/>
                  <a:pt x="133" y="153"/>
                </a:cubicBezTo>
                <a:cubicBezTo>
                  <a:pt x="68" y="66"/>
                  <a:pt x="68" y="66"/>
                  <a:pt x="68" y="66"/>
                </a:cubicBezTo>
                <a:cubicBezTo>
                  <a:pt x="82" y="56"/>
                  <a:pt x="97" y="50"/>
                  <a:pt x="108" y="51"/>
                </a:cubicBezTo>
                <a:cubicBezTo>
                  <a:pt x="182" y="149"/>
                  <a:pt x="182" y="149"/>
                  <a:pt x="182" y="149"/>
                </a:cubicBezTo>
                <a:lnTo>
                  <a:pt x="183" y="155"/>
                </a:lnTo>
                <a:close/>
                <a:moveTo>
                  <a:pt x="45" y="37"/>
                </a:moveTo>
                <a:cubicBezTo>
                  <a:pt x="34" y="46"/>
                  <a:pt x="22" y="60"/>
                  <a:pt x="18" y="75"/>
                </a:cubicBezTo>
                <a:cubicBezTo>
                  <a:pt x="13" y="65"/>
                  <a:pt x="17" y="55"/>
                  <a:pt x="21" y="48"/>
                </a:cubicBezTo>
                <a:cubicBezTo>
                  <a:pt x="31" y="30"/>
                  <a:pt x="55" y="14"/>
                  <a:pt x="72" y="14"/>
                </a:cubicBezTo>
                <a:cubicBezTo>
                  <a:pt x="77" y="14"/>
                  <a:pt x="81" y="16"/>
                  <a:pt x="84" y="20"/>
                </a:cubicBezTo>
                <a:cubicBezTo>
                  <a:pt x="72" y="21"/>
                  <a:pt x="59" y="27"/>
                  <a:pt x="45" y="37"/>
                </a:cubicBezTo>
                <a:close/>
                <a:moveTo>
                  <a:pt x="50" y="43"/>
                </a:moveTo>
                <a:cubicBezTo>
                  <a:pt x="63" y="32"/>
                  <a:pt x="78" y="26"/>
                  <a:pt x="89" y="27"/>
                </a:cubicBezTo>
                <a:cubicBezTo>
                  <a:pt x="103" y="45"/>
                  <a:pt x="103" y="45"/>
                  <a:pt x="103" y="45"/>
                </a:cubicBezTo>
                <a:cubicBezTo>
                  <a:pt x="91" y="45"/>
                  <a:pt x="76" y="51"/>
                  <a:pt x="63" y="62"/>
                </a:cubicBezTo>
                <a:cubicBezTo>
                  <a:pt x="52" y="71"/>
                  <a:pt x="40" y="84"/>
                  <a:pt x="36" y="99"/>
                </a:cubicBezTo>
                <a:cubicBezTo>
                  <a:pt x="23" y="82"/>
                  <a:pt x="23" y="82"/>
                  <a:pt x="23" y="82"/>
                </a:cubicBezTo>
                <a:cubicBezTo>
                  <a:pt x="25" y="69"/>
                  <a:pt x="34" y="54"/>
                  <a:pt x="50" y="43"/>
                </a:cubicBezTo>
                <a:close/>
                <a:moveTo>
                  <a:pt x="41" y="106"/>
                </a:moveTo>
                <a:cubicBezTo>
                  <a:pt x="43" y="94"/>
                  <a:pt x="51" y="82"/>
                  <a:pt x="63" y="71"/>
                </a:cubicBezTo>
                <a:cubicBezTo>
                  <a:pt x="126" y="156"/>
                  <a:pt x="126" y="156"/>
                  <a:pt x="126" y="156"/>
                </a:cubicBezTo>
                <a:cubicBezTo>
                  <a:pt x="126" y="156"/>
                  <a:pt x="126" y="156"/>
                  <a:pt x="126" y="156"/>
                </a:cubicBezTo>
                <a:cubicBezTo>
                  <a:pt x="128" y="162"/>
                  <a:pt x="129" y="167"/>
                  <a:pt x="129" y="173"/>
                </a:cubicBezTo>
                <a:cubicBezTo>
                  <a:pt x="129" y="185"/>
                  <a:pt x="125" y="196"/>
                  <a:pt x="118" y="205"/>
                </a:cubicBezTo>
                <a:cubicBezTo>
                  <a:pt x="115" y="204"/>
                  <a:pt x="115" y="204"/>
                  <a:pt x="115" y="204"/>
                </a:cubicBezTo>
                <a:lnTo>
                  <a:pt x="41" y="106"/>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endParaRPr lang="en-US" sz="3264"/>
          </a:p>
        </p:txBody>
      </p:sp>
      <p:sp>
        <p:nvSpPr>
          <p:cNvPr id="51" name="Oval 192"/>
          <p:cNvSpPr>
            <a:spLocks noChangeArrowheads="1"/>
          </p:cNvSpPr>
          <p:nvPr/>
        </p:nvSpPr>
        <p:spPr bwMode="invGray">
          <a:xfrm>
            <a:off x="2570023" y="3944370"/>
            <a:ext cx="1243471" cy="1243471"/>
          </a:xfrm>
          <a:prstGeom prst="ellipse">
            <a:avLst/>
          </a:prstGeom>
          <a:solidFill>
            <a:schemeClr val="accent1"/>
          </a:solidFill>
          <a:ln w="19050">
            <a:noFill/>
            <a:round/>
            <a:headEnd/>
            <a:tailEnd/>
          </a:ln>
        </p:spPr>
        <p:txBody>
          <a:bodyPr vert="horz" wrap="square" lIns="124347" tIns="62174" rIns="124347" bIns="62174" numCol="1" anchor="t" anchorCtr="0" compatLnSpc="1">
            <a:prstTxWarp prst="textNoShape">
              <a:avLst/>
            </a:prstTxWarp>
          </a:bodyPr>
          <a:lstStyle/>
          <a:p>
            <a:endParaRPr lang="en-US" sz="3264"/>
          </a:p>
        </p:txBody>
      </p:sp>
      <p:sp>
        <p:nvSpPr>
          <p:cNvPr id="52" name="Freeform 193"/>
          <p:cNvSpPr>
            <a:spLocks noEditPoints="1"/>
          </p:cNvSpPr>
          <p:nvPr/>
        </p:nvSpPr>
        <p:spPr bwMode="invGray">
          <a:xfrm>
            <a:off x="2889264" y="4202870"/>
            <a:ext cx="589365" cy="782184"/>
          </a:xfrm>
          <a:custGeom>
            <a:avLst/>
            <a:gdLst>
              <a:gd name="T0" fmla="*/ 22 w 183"/>
              <a:gd name="T1" fmla="*/ 27 h 243"/>
              <a:gd name="T2" fmla="*/ 31 w 183"/>
              <a:gd name="T3" fmla="*/ 12 h 243"/>
              <a:gd name="T4" fmla="*/ 73 w 183"/>
              <a:gd name="T5" fmla="*/ 1 h 243"/>
              <a:gd name="T6" fmla="*/ 86 w 183"/>
              <a:gd name="T7" fmla="*/ 10 h 243"/>
              <a:gd name="T8" fmla="*/ 92 w 183"/>
              <a:gd name="T9" fmla="*/ 104 h 243"/>
              <a:gd name="T10" fmla="*/ 74 w 183"/>
              <a:gd name="T11" fmla="*/ 110 h 243"/>
              <a:gd name="T12" fmla="*/ 22 w 183"/>
              <a:gd name="T13" fmla="*/ 27 h 243"/>
              <a:gd name="T14" fmla="*/ 14 w 183"/>
              <a:gd name="T15" fmla="*/ 112 h 243"/>
              <a:gd name="T16" fmla="*/ 3 w 183"/>
              <a:gd name="T17" fmla="*/ 122 h 243"/>
              <a:gd name="T18" fmla="*/ 2 w 183"/>
              <a:gd name="T19" fmla="*/ 163 h 243"/>
              <a:gd name="T20" fmla="*/ 14 w 183"/>
              <a:gd name="T21" fmla="*/ 170 h 243"/>
              <a:gd name="T22" fmla="*/ 64 w 183"/>
              <a:gd name="T23" fmla="*/ 154 h 243"/>
              <a:gd name="T24" fmla="*/ 63 w 183"/>
              <a:gd name="T25" fmla="*/ 132 h 243"/>
              <a:gd name="T26" fmla="*/ 14 w 183"/>
              <a:gd name="T27" fmla="*/ 112 h 243"/>
              <a:gd name="T28" fmla="*/ 92 w 183"/>
              <a:gd name="T29" fmla="*/ 236 h 243"/>
              <a:gd name="T30" fmla="*/ 79 w 183"/>
              <a:gd name="T31" fmla="*/ 241 h 243"/>
              <a:gd name="T32" fmla="*/ 41 w 183"/>
              <a:gd name="T33" fmla="*/ 226 h 243"/>
              <a:gd name="T34" fmla="*/ 39 w 183"/>
              <a:gd name="T35" fmla="*/ 213 h 243"/>
              <a:gd name="T36" fmla="*/ 73 w 183"/>
              <a:gd name="T37" fmla="*/ 173 h 243"/>
              <a:gd name="T38" fmla="*/ 92 w 183"/>
              <a:gd name="T39" fmla="*/ 182 h 243"/>
              <a:gd name="T40" fmla="*/ 92 w 183"/>
              <a:gd name="T41" fmla="*/ 236 h 243"/>
              <a:gd name="T42" fmla="*/ 142 w 183"/>
              <a:gd name="T43" fmla="*/ 221 h 243"/>
              <a:gd name="T44" fmla="*/ 157 w 183"/>
              <a:gd name="T45" fmla="*/ 220 h 243"/>
              <a:gd name="T46" fmla="*/ 180 w 183"/>
              <a:gd name="T47" fmla="*/ 188 h 243"/>
              <a:gd name="T48" fmla="*/ 176 w 183"/>
              <a:gd name="T49" fmla="*/ 175 h 243"/>
              <a:gd name="T50" fmla="*/ 126 w 183"/>
              <a:gd name="T51" fmla="*/ 158 h 243"/>
              <a:gd name="T52" fmla="*/ 114 w 183"/>
              <a:gd name="T53" fmla="*/ 175 h 243"/>
              <a:gd name="T54" fmla="*/ 142 w 183"/>
              <a:gd name="T55" fmla="*/ 221 h 243"/>
              <a:gd name="T56" fmla="*/ 144 w 183"/>
              <a:gd name="T57" fmla="*/ 74 h 243"/>
              <a:gd name="T58" fmla="*/ 158 w 183"/>
              <a:gd name="T59" fmla="*/ 76 h 243"/>
              <a:gd name="T60" fmla="*/ 180 w 183"/>
              <a:gd name="T61" fmla="*/ 111 h 243"/>
              <a:gd name="T62" fmla="*/ 174 w 183"/>
              <a:gd name="T63" fmla="*/ 123 h 243"/>
              <a:gd name="T64" fmla="*/ 123 w 183"/>
              <a:gd name="T65" fmla="*/ 136 h 243"/>
              <a:gd name="T66" fmla="*/ 113 w 183"/>
              <a:gd name="T67" fmla="*/ 117 h 243"/>
              <a:gd name="T68" fmla="*/ 144 w 183"/>
              <a:gd name="T69" fmla="*/ 74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3" h="243">
                <a:moveTo>
                  <a:pt x="22" y="27"/>
                </a:moveTo>
                <a:cubicBezTo>
                  <a:pt x="19" y="21"/>
                  <a:pt x="23" y="15"/>
                  <a:pt x="31" y="12"/>
                </a:cubicBezTo>
                <a:cubicBezTo>
                  <a:pt x="46" y="6"/>
                  <a:pt x="58" y="3"/>
                  <a:pt x="73" y="1"/>
                </a:cubicBezTo>
                <a:cubicBezTo>
                  <a:pt x="83" y="0"/>
                  <a:pt x="86" y="5"/>
                  <a:pt x="86" y="10"/>
                </a:cubicBezTo>
                <a:cubicBezTo>
                  <a:pt x="89" y="41"/>
                  <a:pt x="91" y="73"/>
                  <a:pt x="92" y="104"/>
                </a:cubicBezTo>
                <a:cubicBezTo>
                  <a:pt x="93" y="117"/>
                  <a:pt x="81" y="120"/>
                  <a:pt x="74" y="110"/>
                </a:cubicBezTo>
                <a:cubicBezTo>
                  <a:pt x="56" y="82"/>
                  <a:pt x="38" y="55"/>
                  <a:pt x="22" y="27"/>
                </a:cubicBezTo>
                <a:close/>
                <a:moveTo>
                  <a:pt x="14" y="112"/>
                </a:moveTo>
                <a:cubicBezTo>
                  <a:pt x="9" y="111"/>
                  <a:pt x="4" y="115"/>
                  <a:pt x="3" y="122"/>
                </a:cubicBezTo>
                <a:cubicBezTo>
                  <a:pt x="0" y="133"/>
                  <a:pt x="0" y="153"/>
                  <a:pt x="2" y="163"/>
                </a:cubicBezTo>
                <a:cubicBezTo>
                  <a:pt x="4" y="169"/>
                  <a:pt x="9" y="171"/>
                  <a:pt x="14" y="170"/>
                </a:cubicBezTo>
                <a:cubicBezTo>
                  <a:pt x="64" y="154"/>
                  <a:pt x="64" y="154"/>
                  <a:pt x="64" y="154"/>
                </a:cubicBezTo>
                <a:cubicBezTo>
                  <a:pt x="75" y="151"/>
                  <a:pt x="75" y="136"/>
                  <a:pt x="63" y="132"/>
                </a:cubicBezTo>
                <a:cubicBezTo>
                  <a:pt x="14" y="112"/>
                  <a:pt x="14" y="112"/>
                  <a:pt x="14" y="112"/>
                </a:cubicBezTo>
                <a:close/>
                <a:moveTo>
                  <a:pt x="92" y="236"/>
                </a:moveTo>
                <a:cubicBezTo>
                  <a:pt x="91" y="240"/>
                  <a:pt x="86" y="243"/>
                  <a:pt x="79" y="241"/>
                </a:cubicBezTo>
                <a:cubicBezTo>
                  <a:pt x="67" y="240"/>
                  <a:pt x="48" y="232"/>
                  <a:pt x="41" y="226"/>
                </a:cubicBezTo>
                <a:cubicBezTo>
                  <a:pt x="35" y="222"/>
                  <a:pt x="35" y="217"/>
                  <a:pt x="39" y="213"/>
                </a:cubicBezTo>
                <a:cubicBezTo>
                  <a:pt x="73" y="173"/>
                  <a:pt x="73" y="173"/>
                  <a:pt x="73" y="173"/>
                </a:cubicBezTo>
                <a:cubicBezTo>
                  <a:pt x="81" y="163"/>
                  <a:pt x="93" y="168"/>
                  <a:pt x="92" y="182"/>
                </a:cubicBezTo>
                <a:cubicBezTo>
                  <a:pt x="92" y="236"/>
                  <a:pt x="92" y="236"/>
                  <a:pt x="92" y="236"/>
                </a:cubicBezTo>
                <a:close/>
                <a:moveTo>
                  <a:pt x="142" y="221"/>
                </a:moveTo>
                <a:cubicBezTo>
                  <a:pt x="145" y="225"/>
                  <a:pt x="152" y="225"/>
                  <a:pt x="157" y="220"/>
                </a:cubicBezTo>
                <a:cubicBezTo>
                  <a:pt x="166" y="212"/>
                  <a:pt x="176" y="198"/>
                  <a:pt x="180" y="188"/>
                </a:cubicBezTo>
                <a:cubicBezTo>
                  <a:pt x="183" y="182"/>
                  <a:pt x="180" y="176"/>
                  <a:pt x="176" y="175"/>
                </a:cubicBezTo>
                <a:cubicBezTo>
                  <a:pt x="126" y="158"/>
                  <a:pt x="126" y="158"/>
                  <a:pt x="126" y="158"/>
                </a:cubicBezTo>
                <a:cubicBezTo>
                  <a:pt x="115" y="154"/>
                  <a:pt x="107" y="166"/>
                  <a:pt x="114" y="175"/>
                </a:cubicBezTo>
                <a:cubicBezTo>
                  <a:pt x="142" y="221"/>
                  <a:pt x="142" y="221"/>
                  <a:pt x="142" y="221"/>
                </a:cubicBezTo>
                <a:close/>
                <a:moveTo>
                  <a:pt x="144" y="74"/>
                </a:moveTo>
                <a:cubicBezTo>
                  <a:pt x="147" y="71"/>
                  <a:pt x="154" y="71"/>
                  <a:pt x="158" y="76"/>
                </a:cubicBezTo>
                <a:cubicBezTo>
                  <a:pt x="166" y="85"/>
                  <a:pt x="177" y="102"/>
                  <a:pt x="180" y="111"/>
                </a:cubicBezTo>
                <a:cubicBezTo>
                  <a:pt x="182" y="118"/>
                  <a:pt x="179" y="122"/>
                  <a:pt x="174" y="123"/>
                </a:cubicBezTo>
                <a:cubicBezTo>
                  <a:pt x="123" y="136"/>
                  <a:pt x="123" y="136"/>
                  <a:pt x="123" y="136"/>
                </a:cubicBezTo>
                <a:cubicBezTo>
                  <a:pt x="112" y="139"/>
                  <a:pt x="104" y="126"/>
                  <a:pt x="113" y="117"/>
                </a:cubicBezTo>
                <a:cubicBezTo>
                  <a:pt x="144" y="74"/>
                  <a:pt x="144" y="74"/>
                  <a:pt x="144" y="74"/>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endParaRPr lang="en-US" sz="3264"/>
          </a:p>
        </p:txBody>
      </p:sp>
      <p:sp>
        <p:nvSpPr>
          <p:cNvPr id="54" name="Oval 114"/>
          <p:cNvSpPr>
            <a:spLocks noChangeArrowheads="1"/>
          </p:cNvSpPr>
          <p:nvPr/>
        </p:nvSpPr>
        <p:spPr bwMode="invGray">
          <a:xfrm>
            <a:off x="4597303" y="3944370"/>
            <a:ext cx="1243471" cy="1243471"/>
          </a:xfrm>
          <a:prstGeom prst="ellipse">
            <a:avLst/>
          </a:prstGeom>
          <a:solidFill>
            <a:schemeClr val="accent1"/>
          </a:solidFill>
          <a:ln w="19050">
            <a:noFill/>
            <a:round/>
            <a:headEnd/>
            <a:tailEnd/>
          </a:ln>
        </p:spPr>
        <p:txBody>
          <a:bodyPr vert="horz" wrap="square" lIns="124347" tIns="62174" rIns="124347" bIns="62174" numCol="1" anchor="t" anchorCtr="0" compatLnSpc="1">
            <a:prstTxWarp prst="textNoShape">
              <a:avLst/>
            </a:prstTxWarp>
          </a:bodyPr>
          <a:lstStyle/>
          <a:p>
            <a:endParaRPr lang="en-US" sz="3264"/>
          </a:p>
        </p:txBody>
      </p:sp>
      <p:grpSp>
        <p:nvGrpSpPr>
          <p:cNvPr id="12" name="Group 11"/>
          <p:cNvGrpSpPr/>
          <p:nvPr/>
        </p:nvGrpSpPr>
        <p:grpSpPr>
          <a:xfrm>
            <a:off x="4811234" y="4234069"/>
            <a:ext cx="891378" cy="788869"/>
            <a:chOff x="3537345" y="3113568"/>
            <a:chExt cx="655484" cy="580103"/>
          </a:xfrm>
        </p:grpSpPr>
        <p:sp>
          <p:nvSpPr>
            <p:cNvPr id="55" name="Freeform 206"/>
            <p:cNvSpPr>
              <a:spLocks noEditPoints="1"/>
            </p:cNvSpPr>
            <p:nvPr/>
          </p:nvSpPr>
          <p:spPr bwMode="invGray">
            <a:xfrm>
              <a:off x="3537345" y="3113568"/>
              <a:ext cx="355601" cy="580103"/>
            </a:xfrm>
            <a:custGeom>
              <a:avLst/>
              <a:gdLst>
                <a:gd name="T0" fmla="*/ 104 w 150"/>
                <a:gd name="T1" fmla="*/ 113 h 245"/>
                <a:gd name="T2" fmla="*/ 139 w 150"/>
                <a:gd name="T3" fmla="*/ 55 h 245"/>
                <a:gd name="T4" fmla="*/ 119 w 150"/>
                <a:gd name="T5" fmla="*/ 12 h 245"/>
                <a:gd name="T6" fmla="*/ 150 w 150"/>
                <a:gd name="T7" fmla="*/ 0 h 245"/>
                <a:gd name="T8" fmla="*/ 82 w 150"/>
                <a:gd name="T9" fmla="*/ 0 h 245"/>
                <a:gd name="T10" fmla="*/ 14 w 150"/>
                <a:gd name="T11" fmla="*/ 59 h 245"/>
                <a:gd name="T12" fmla="*/ 74 w 150"/>
                <a:gd name="T13" fmla="*/ 111 h 245"/>
                <a:gd name="T14" fmla="*/ 74 w 150"/>
                <a:gd name="T15" fmla="*/ 125 h 245"/>
                <a:gd name="T16" fmla="*/ 83 w 150"/>
                <a:gd name="T17" fmla="*/ 141 h 245"/>
                <a:gd name="T18" fmla="*/ 0 w 150"/>
                <a:gd name="T19" fmla="*/ 192 h 245"/>
                <a:gd name="T20" fmla="*/ 69 w 150"/>
                <a:gd name="T21" fmla="*/ 241 h 245"/>
                <a:gd name="T22" fmla="*/ 150 w 150"/>
                <a:gd name="T23" fmla="*/ 180 h 245"/>
                <a:gd name="T24" fmla="*/ 104 w 150"/>
                <a:gd name="T25" fmla="*/ 113 h 245"/>
                <a:gd name="T26" fmla="*/ 46 w 150"/>
                <a:gd name="T27" fmla="*/ 63 h 245"/>
                <a:gd name="T28" fmla="*/ 64 w 150"/>
                <a:gd name="T29" fmla="*/ 13 h 245"/>
                <a:gd name="T30" fmla="*/ 106 w 150"/>
                <a:gd name="T31" fmla="*/ 46 h 245"/>
                <a:gd name="T32" fmla="*/ 87 w 150"/>
                <a:gd name="T33" fmla="*/ 97 h 245"/>
                <a:gd name="T34" fmla="*/ 46 w 150"/>
                <a:gd name="T35" fmla="*/ 63 h 245"/>
                <a:gd name="T36" fmla="*/ 80 w 150"/>
                <a:gd name="T37" fmla="*/ 225 h 245"/>
                <a:gd name="T38" fmla="*/ 27 w 150"/>
                <a:gd name="T39" fmla="*/ 191 h 245"/>
                <a:gd name="T40" fmla="*/ 75 w 150"/>
                <a:gd name="T41" fmla="*/ 151 h 245"/>
                <a:gd name="T42" fmla="*/ 128 w 150"/>
                <a:gd name="T43" fmla="*/ 184 h 245"/>
                <a:gd name="T44" fmla="*/ 80 w 150"/>
                <a:gd name="T45" fmla="*/ 22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50" h="245">
                  <a:moveTo>
                    <a:pt x="104" y="113"/>
                  </a:moveTo>
                  <a:cubicBezTo>
                    <a:pt x="104" y="97"/>
                    <a:pt x="139" y="92"/>
                    <a:pt x="139" y="55"/>
                  </a:cubicBezTo>
                  <a:cubicBezTo>
                    <a:pt x="139" y="33"/>
                    <a:pt x="137" y="20"/>
                    <a:pt x="119" y="12"/>
                  </a:cubicBezTo>
                  <a:cubicBezTo>
                    <a:pt x="119" y="7"/>
                    <a:pt x="150" y="10"/>
                    <a:pt x="150" y="0"/>
                  </a:cubicBezTo>
                  <a:cubicBezTo>
                    <a:pt x="145" y="0"/>
                    <a:pt x="82" y="0"/>
                    <a:pt x="82" y="0"/>
                  </a:cubicBezTo>
                  <a:cubicBezTo>
                    <a:pt x="82" y="0"/>
                    <a:pt x="14" y="2"/>
                    <a:pt x="14" y="59"/>
                  </a:cubicBezTo>
                  <a:cubicBezTo>
                    <a:pt x="14" y="117"/>
                    <a:pt x="74" y="111"/>
                    <a:pt x="74" y="111"/>
                  </a:cubicBezTo>
                  <a:cubicBezTo>
                    <a:pt x="74" y="111"/>
                    <a:pt x="74" y="119"/>
                    <a:pt x="74" y="125"/>
                  </a:cubicBezTo>
                  <a:cubicBezTo>
                    <a:pt x="74" y="131"/>
                    <a:pt x="82" y="129"/>
                    <a:pt x="83" y="141"/>
                  </a:cubicBezTo>
                  <a:cubicBezTo>
                    <a:pt x="79" y="141"/>
                    <a:pt x="0" y="139"/>
                    <a:pt x="0" y="192"/>
                  </a:cubicBezTo>
                  <a:cubicBezTo>
                    <a:pt x="0" y="244"/>
                    <a:pt x="69" y="241"/>
                    <a:pt x="69" y="241"/>
                  </a:cubicBezTo>
                  <a:cubicBezTo>
                    <a:pt x="69" y="241"/>
                    <a:pt x="150" y="245"/>
                    <a:pt x="150" y="180"/>
                  </a:cubicBezTo>
                  <a:cubicBezTo>
                    <a:pt x="150" y="141"/>
                    <a:pt x="104" y="128"/>
                    <a:pt x="104" y="113"/>
                  </a:cubicBezTo>
                  <a:close/>
                  <a:moveTo>
                    <a:pt x="46" y="63"/>
                  </a:moveTo>
                  <a:cubicBezTo>
                    <a:pt x="39" y="40"/>
                    <a:pt x="48" y="17"/>
                    <a:pt x="64" y="13"/>
                  </a:cubicBezTo>
                  <a:cubicBezTo>
                    <a:pt x="81" y="8"/>
                    <a:pt x="100" y="23"/>
                    <a:pt x="106" y="46"/>
                  </a:cubicBezTo>
                  <a:cubicBezTo>
                    <a:pt x="112" y="70"/>
                    <a:pt x="104" y="92"/>
                    <a:pt x="87" y="97"/>
                  </a:cubicBezTo>
                  <a:cubicBezTo>
                    <a:pt x="71" y="101"/>
                    <a:pt x="52" y="86"/>
                    <a:pt x="46" y="63"/>
                  </a:cubicBezTo>
                  <a:close/>
                  <a:moveTo>
                    <a:pt x="80" y="225"/>
                  </a:moveTo>
                  <a:cubicBezTo>
                    <a:pt x="52" y="227"/>
                    <a:pt x="29" y="212"/>
                    <a:pt x="27" y="191"/>
                  </a:cubicBezTo>
                  <a:cubicBezTo>
                    <a:pt x="26" y="171"/>
                    <a:pt x="47" y="153"/>
                    <a:pt x="75" y="151"/>
                  </a:cubicBezTo>
                  <a:cubicBezTo>
                    <a:pt x="103" y="149"/>
                    <a:pt x="127" y="164"/>
                    <a:pt x="128" y="184"/>
                  </a:cubicBezTo>
                  <a:cubicBezTo>
                    <a:pt x="130" y="205"/>
                    <a:pt x="108" y="223"/>
                    <a:pt x="80" y="225"/>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endParaRPr lang="en-US" sz="3264"/>
            </a:p>
          </p:txBody>
        </p:sp>
        <p:sp>
          <p:nvSpPr>
            <p:cNvPr id="56" name="Freeform 207"/>
            <p:cNvSpPr>
              <a:spLocks/>
            </p:cNvSpPr>
            <p:nvPr/>
          </p:nvSpPr>
          <p:spPr bwMode="invGray">
            <a:xfrm>
              <a:off x="3937190" y="3113568"/>
              <a:ext cx="255639" cy="255639"/>
            </a:xfrm>
            <a:custGeom>
              <a:avLst/>
              <a:gdLst>
                <a:gd name="T0" fmla="*/ 156 w 156"/>
                <a:gd name="T1" fmla="*/ 68 h 156"/>
                <a:gd name="T2" fmla="*/ 156 w 156"/>
                <a:gd name="T3" fmla="*/ 89 h 156"/>
                <a:gd name="T4" fmla="*/ 88 w 156"/>
                <a:gd name="T5" fmla="*/ 89 h 156"/>
                <a:gd name="T6" fmla="*/ 88 w 156"/>
                <a:gd name="T7" fmla="*/ 156 h 156"/>
                <a:gd name="T8" fmla="*/ 68 w 156"/>
                <a:gd name="T9" fmla="*/ 156 h 156"/>
                <a:gd name="T10" fmla="*/ 68 w 156"/>
                <a:gd name="T11" fmla="*/ 89 h 156"/>
                <a:gd name="T12" fmla="*/ 0 w 156"/>
                <a:gd name="T13" fmla="*/ 89 h 156"/>
                <a:gd name="T14" fmla="*/ 0 w 156"/>
                <a:gd name="T15" fmla="*/ 68 h 156"/>
                <a:gd name="T16" fmla="*/ 68 w 156"/>
                <a:gd name="T17" fmla="*/ 68 h 156"/>
                <a:gd name="T18" fmla="*/ 68 w 156"/>
                <a:gd name="T19" fmla="*/ 0 h 156"/>
                <a:gd name="T20" fmla="*/ 88 w 156"/>
                <a:gd name="T21" fmla="*/ 0 h 156"/>
                <a:gd name="T22" fmla="*/ 88 w 156"/>
                <a:gd name="T23" fmla="*/ 68 h 156"/>
                <a:gd name="T24" fmla="*/ 156 w 156"/>
                <a:gd name="T25" fmla="*/ 68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6" h="156">
                  <a:moveTo>
                    <a:pt x="156" y="68"/>
                  </a:moveTo>
                  <a:lnTo>
                    <a:pt x="156" y="89"/>
                  </a:lnTo>
                  <a:lnTo>
                    <a:pt x="88" y="89"/>
                  </a:lnTo>
                  <a:lnTo>
                    <a:pt x="88" y="156"/>
                  </a:lnTo>
                  <a:lnTo>
                    <a:pt x="68" y="156"/>
                  </a:lnTo>
                  <a:lnTo>
                    <a:pt x="68" y="89"/>
                  </a:lnTo>
                  <a:lnTo>
                    <a:pt x="0" y="89"/>
                  </a:lnTo>
                  <a:lnTo>
                    <a:pt x="0" y="68"/>
                  </a:lnTo>
                  <a:lnTo>
                    <a:pt x="68" y="68"/>
                  </a:lnTo>
                  <a:lnTo>
                    <a:pt x="68" y="0"/>
                  </a:lnTo>
                  <a:lnTo>
                    <a:pt x="88" y="0"/>
                  </a:lnTo>
                  <a:lnTo>
                    <a:pt x="88" y="68"/>
                  </a:lnTo>
                  <a:lnTo>
                    <a:pt x="156" y="68"/>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endParaRPr lang="en-US" sz="3264"/>
            </a:p>
          </p:txBody>
        </p:sp>
      </p:grpSp>
      <p:sp>
        <p:nvSpPr>
          <p:cNvPr id="58" name="Oval 112"/>
          <p:cNvSpPr>
            <a:spLocks noChangeArrowheads="1"/>
          </p:cNvSpPr>
          <p:nvPr/>
        </p:nvSpPr>
        <p:spPr bwMode="invGray">
          <a:xfrm>
            <a:off x="542742" y="3944370"/>
            <a:ext cx="1243471" cy="1243471"/>
          </a:xfrm>
          <a:prstGeom prst="ellipse">
            <a:avLst/>
          </a:prstGeom>
          <a:solidFill>
            <a:schemeClr val="accent1"/>
          </a:solidFill>
          <a:ln w="19050">
            <a:noFill/>
            <a:round/>
            <a:headEnd/>
            <a:tailEnd/>
          </a:ln>
        </p:spPr>
        <p:txBody>
          <a:bodyPr vert="horz" wrap="square" lIns="124347" tIns="62174" rIns="124347" bIns="62174" numCol="1" anchor="t" anchorCtr="0" compatLnSpc="1">
            <a:prstTxWarp prst="textNoShape">
              <a:avLst/>
            </a:prstTxWarp>
          </a:bodyPr>
          <a:lstStyle/>
          <a:p>
            <a:endParaRPr lang="en-US" sz="3264"/>
          </a:p>
        </p:txBody>
      </p:sp>
      <p:sp>
        <p:nvSpPr>
          <p:cNvPr id="59" name="Freeform 115"/>
          <p:cNvSpPr>
            <a:spLocks noEditPoints="1"/>
          </p:cNvSpPr>
          <p:nvPr/>
        </p:nvSpPr>
        <p:spPr bwMode="invGray">
          <a:xfrm>
            <a:off x="781187" y="4176546"/>
            <a:ext cx="766584" cy="779124"/>
          </a:xfrm>
          <a:custGeom>
            <a:avLst/>
            <a:gdLst>
              <a:gd name="T0" fmla="*/ 231 w 238"/>
              <a:gd name="T1" fmla="*/ 146 h 242"/>
              <a:gd name="T2" fmla="*/ 234 w 238"/>
              <a:gd name="T3" fmla="*/ 122 h 242"/>
              <a:gd name="T4" fmla="*/ 120 w 238"/>
              <a:gd name="T5" fmla="*/ 9 h 242"/>
              <a:gd name="T6" fmla="*/ 101 w 238"/>
              <a:gd name="T7" fmla="*/ 10 h 242"/>
              <a:gd name="T8" fmla="*/ 66 w 238"/>
              <a:gd name="T9" fmla="*/ 0 h 242"/>
              <a:gd name="T10" fmla="*/ 0 w 238"/>
              <a:gd name="T11" fmla="*/ 66 h 242"/>
              <a:gd name="T12" fmla="*/ 9 w 238"/>
              <a:gd name="T13" fmla="*/ 99 h 242"/>
              <a:gd name="T14" fmla="*/ 7 w 238"/>
              <a:gd name="T15" fmla="*/ 122 h 242"/>
              <a:gd name="T16" fmla="*/ 120 w 238"/>
              <a:gd name="T17" fmla="*/ 236 h 242"/>
              <a:gd name="T18" fmla="*/ 141 w 238"/>
              <a:gd name="T19" fmla="*/ 234 h 242"/>
              <a:gd name="T20" fmla="*/ 172 w 238"/>
              <a:gd name="T21" fmla="*/ 242 h 242"/>
              <a:gd name="T22" fmla="*/ 238 w 238"/>
              <a:gd name="T23" fmla="*/ 176 h 242"/>
              <a:gd name="T24" fmla="*/ 231 w 238"/>
              <a:gd name="T25" fmla="*/ 146 h 242"/>
              <a:gd name="T26" fmla="*/ 179 w 238"/>
              <a:gd name="T27" fmla="*/ 176 h 242"/>
              <a:gd name="T28" fmla="*/ 156 w 238"/>
              <a:gd name="T29" fmla="*/ 194 h 242"/>
              <a:gd name="T30" fmla="*/ 120 w 238"/>
              <a:gd name="T31" fmla="*/ 200 h 242"/>
              <a:gd name="T32" fmla="*/ 80 w 238"/>
              <a:gd name="T33" fmla="*/ 192 h 242"/>
              <a:gd name="T34" fmla="*/ 61 w 238"/>
              <a:gd name="T35" fmla="*/ 175 h 242"/>
              <a:gd name="T36" fmla="*/ 54 w 238"/>
              <a:gd name="T37" fmla="*/ 155 h 242"/>
              <a:gd name="T38" fmla="*/ 58 w 238"/>
              <a:gd name="T39" fmla="*/ 144 h 242"/>
              <a:gd name="T40" fmla="*/ 70 w 238"/>
              <a:gd name="T41" fmla="*/ 139 h 242"/>
              <a:gd name="T42" fmla="*/ 80 w 238"/>
              <a:gd name="T43" fmla="*/ 143 h 242"/>
              <a:gd name="T44" fmla="*/ 87 w 238"/>
              <a:gd name="T45" fmla="*/ 153 h 242"/>
              <a:gd name="T46" fmla="*/ 93 w 238"/>
              <a:gd name="T47" fmla="*/ 164 h 242"/>
              <a:gd name="T48" fmla="*/ 103 w 238"/>
              <a:gd name="T49" fmla="*/ 172 h 242"/>
              <a:gd name="T50" fmla="*/ 119 w 238"/>
              <a:gd name="T51" fmla="*/ 174 h 242"/>
              <a:gd name="T52" fmla="*/ 142 w 238"/>
              <a:gd name="T53" fmla="*/ 168 h 242"/>
              <a:gd name="T54" fmla="*/ 151 w 238"/>
              <a:gd name="T55" fmla="*/ 154 h 242"/>
              <a:gd name="T56" fmla="*/ 146 w 238"/>
              <a:gd name="T57" fmla="*/ 144 h 242"/>
              <a:gd name="T58" fmla="*/ 134 w 238"/>
              <a:gd name="T59" fmla="*/ 137 h 242"/>
              <a:gd name="T60" fmla="*/ 113 w 238"/>
              <a:gd name="T61" fmla="*/ 132 h 242"/>
              <a:gd name="T62" fmla="*/ 84 w 238"/>
              <a:gd name="T63" fmla="*/ 123 h 242"/>
              <a:gd name="T64" fmla="*/ 64 w 238"/>
              <a:gd name="T65" fmla="*/ 109 h 242"/>
              <a:gd name="T66" fmla="*/ 57 w 238"/>
              <a:gd name="T67" fmla="*/ 86 h 242"/>
              <a:gd name="T68" fmla="*/ 64 w 238"/>
              <a:gd name="T69" fmla="*/ 63 h 242"/>
              <a:gd name="T70" fmla="*/ 86 w 238"/>
              <a:gd name="T71" fmla="*/ 47 h 242"/>
              <a:gd name="T72" fmla="*/ 120 w 238"/>
              <a:gd name="T73" fmla="*/ 42 h 242"/>
              <a:gd name="T74" fmla="*/ 146 w 238"/>
              <a:gd name="T75" fmla="*/ 46 h 242"/>
              <a:gd name="T76" fmla="*/ 165 w 238"/>
              <a:gd name="T77" fmla="*/ 55 h 242"/>
              <a:gd name="T78" fmla="*/ 176 w 238"/>
              <a:gd name="T79" fmla="*/ 67 h 242"/>
              <a:gd name="T80" fmla="*/ 180 w 238"/>
              <a:gd name="T81" fmla="*/ 80 h 242"/>
              <a:gd name="T82" fmla="*/ 175 w 238"/>
              <a:gd name="T83" fmla="*/ 91 h 242"/>
              <a:gd name="T84" fmla="*/ 163 w 238"/>
              <a:gd name="T85" fmla="*/ 96 h 242"/>
              <a:gd name="T86" fmla="*/ 153 w 238"/>
              <a:gd name="T87" fmla="*/ 93 h 242"/>
              <a:gd name="T88" fmla="*/ 147 w 238"/>
              <a:gd name="T89" fmla="*/ 84 h 242"/>
              <a:gd name="T90" fmla="*/ 137 w 238"/>
              <a:gd name="T91" fmla="*/ 72 h 242"/>
              <a:gd name="T92" fmla="*/ 118 w 238"/>
              <a:gd name="T93" fmla="*/ 67 h 242"/>
              <a:gd name="T94" fmla="*/ 98 w 238"/>
              <a:gd name="T95" fmla="*/ 72 h 242"/>
              <a:gd name="T96" fmla="*/ 91 w 238"/>
              <a:gd name="T97" fmla="*/ 83 h 242"/>
              <a:gd name="T98" fmla="*/ 93 w 238"/>
              <a:gd name="T99" fmla="*/ 90 h 242"/>
              <a:gd name="T100" fmla="*/ 100 w 238"/>
              <a:gd name="T101" fmla="*/ 95 h 242"/>
              <a:gd name="T102" fmla="*/ 109 w 238"/>
              <a:gd name="T103" fmla="*/ 98 h 242"/>
              <a:gd name="T104" fmla="*/ 125 w 238"/>
              <a:gd name="T105" fmla="*/ 102 h 242"/>
              <a:gd name="T106" fmla="*/ 150 w 238"/>
              <a:gd name="T107" fmla="*/ 109 h 242"/>
              <a:gd name="T108" fmla="*/ 169 w 238"/>
              <a:gd name="T109" fmla="*/ 118 h 242"/>
              <a:gd name="T110" fmla="*/ 182 w 238"/>
              <a:gd name="T111" fmla="*/ 131 h 242"/>
              <a:gd name="T112" fmla="*/ 187 w 238"/>
              <a:gd name="T113" fmla="*/ 151 h 242"/>
              <a:gd name="T114" fmla="*/ 179 w 238"/>
              <a:gd name="T115" fmla="*/ 176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38" h="242">
                <a:moveTo>
                  <a:pt x="231" y="146"/>
                </a:moveTo>
                <a:cubicBezTo>
                  <a:pt x="233" y="139"/>
                  <a:pt x="234" y="131"/>
                  <a:pt x="234" y="122"/>
                </a:cubicBezTo>
                <a:cubicBezTo>
                  <a:pt x="234" y="59"/>
                  <a:pt x="183" y="9"/>
                  <a:pt x="120" y="9"/>
                </a:cubicBezTo>
                <a:cubicBezTo>
                  <a:pt x="114" y="9"/>
                  <a:pt x="107" y="9"/>
                  <a:pt x="101" y="10"/>
                </a:cubicBezTo>
                <a:cubicBezTo>
                  <a:pt x="91" y="4"/>
                  <a:pt x="79" y="0"/>
                  <a:pt x="66" y="0"/>
                </a:cubicBezTo>
                <a:cubicBezTo>
                  <a:pt x="30" y="0"/>
                  <a:pt x="0" y="30"/>
                  <a:pt x="0" y="66"/>
                </a:cubicBezTo>
                <a:cubicBezTo>
                  <a:pt x="0" y="78"/>
                  <a:pt x="3" y="90"/>
                  <a:pt x="9" y="99"/>
                </a:cubicBezTo>
                <a:cubicBezTo>
                  <a:pt x="8" y="107"/>
                  <a:pt x="7" y="114"/>
                  <a:pt x="7" y="122"/>
                </a:cubicBezTo>
                <a:cubicBezTo>
                  <a:pt x="7" y="185"/>
                  <a:pt x="58" y="236"/>
                  <a:pt x="120" y="236"/>
                </a:cubicBezTo>
                <a:cubicBezTo>
                  <a:pt x="128" y="236"/>
                  <a:pt x="135" y="235"/>
                  <a:pt x="141" y="234"/>
                </a:cubicBezTo>
                <a:cubicBezTo>
                  <a:pt x="151" y="239"/>
                  <a:pt x="161" y="242"/>
                  <a:pt x="172" y="242"/>
                </a:cubicBezTo>
                <a:cubicBezTo>
                  <a:pt x="209" y="242"/>
                  <a:pt x="238" y="212"/>
                  <a:pt x="238" y="176"/>
                </a:cubicBezTo>
                <a:cubicBezTo>
                  <a:pt x="238" y="165"/>
                  <a:pt x="236" y="155"/>
                  <a:pt x="231" y="146"/>
                </a:cubicBezTo>
                <a:close/>
                <a:moveTo>
                  <a:pt x="179" y="176"/>
                </a:moveTo>
                <a:cubicBezTo>
                  <a:pt x="173" y="184"/>
                  <a:pt x="166" y="190"/>
                  <a:pt x="156" y="194"/>
                </a:cubicBezTo>
                <a:cubicBezTo>
                  <a:pt x="146" y="198"/>
                  <a:pt x="134" y="200"/>
                  <a:pt x="120" y="200"/>
                </a:cubicBezTo>
                <a:cubicBezTo>
                  <a:pt x="104" y="200"/>
                  <a:pt x="90" y="197"/>
                  <a:pt x="80" y="192"/>
                </a:cubicBezTo>
                <a:cubicBezTo>
                  <a:pt x="72" y="187"/>
                  <a:pt x="66" y="182"/>
                  <a:pt x="61" y="175"/>
                </a:cubicBezTo>
                <a:cubicBezTo>
                  <a:pt x="56" y="168"/>
                  <a:pt x="54" y="161"/>
                  <a:pt x="54" y="155"/>
                </a:cubicBezTo>
                <a:cubicBezTo>
                  <a:pt x="54" y="150"/>
                  <a:pt x="55" y="147"/>
                  <a:pt x="58" y="144"/>
                </a:cubicBezTo>
                <a:cubicBezTo>
                  <a:pt x="61" y="141"/>
                  <a:pt x="65" y="139"/>
                  <a:pt x="70" y="139"/>
                </a:cubicBezTo>
                <a:cubicBezTo>
                  <a:pt x="74" y="139"/>
                  <a:pt x="77" y="141"/>
                  <a:pt x="80" y="143"/>
                </a:cubicBezTo>
                <a:cubicBezTo>
                  <a:pt x="83" y="145"/>
                  <a:pt x="85" y="148"/>
                  <a:pt x="87" y="153"/>
                </a:cubicBezTo>
                <a:cubicBezTo>
                  <a:pt x="89" y="157"/>
                  <a:pt x="91" y="161"/>
                  <a:pt x="93" y="164"/>
                </a:cubicBezTo>
                <a:cubicBezTo>
                  <a:pt x="96" y="167"/>
                  <a:pt x="99" y="170"/>
                  <a:pt x="103" y="172"/>
                </a:cubicBezTo>
                <a:cubicBezTo>
                  <a:pt x="107" y="173"/>
                  <a:pt x="113" y="174"/>
                  <a:pt x="119" y="174"/>
                </a:cubicBezTo>
                <a:cubicBezTo>
                  <a:pt x="129" y="174"/>
                  <a:pt x="136" y="172"/>
                  <a:pt x="142" y="168"/>
                </a:cubicBezTo>
                <a:cubicBezTo>
                  <a:pt x="148" y="165"/>
                  <a:pt x="151" y="160"/>
                  <a:pt x="151" y="154"/>
                </a:cubicBezTo>
                <a:cubicBezTo>
                  <a:pt x="151" y="150"/>
                  <a:pt x="149" y="146"/>
                  <a:pt x="146" y="144"/>
                </a:cubicBezTo>
                <a:cubicBezTo>
                  <a:pt x="143" y="141"/>
                  <a:pt x="139" y="138"/>
                  <a:pt x="134" y="137"/>
                </a:cubicBezTo>
                <a:cubicBezTo>
                  <a:pt x="129" y="135"/>
                  <a:pt x="122" y="134"/>
                  <a:pt x="113" y="132"/>
                </a:cubicBezTo>
                <a:cubicBezTo>
                  <a:pt x="101" y="129"/>
                  <a:pt x="91" y="126"/>
                  <a:pt x="84" y="123"/>
                </a:cubicBezTo>
                <a:cubicBezTo>
                  <a:pt x="75" y="119"/>
                  <a:pt x="69" y="115"/>
                  <a:pt x="64" y="109"/>
                </a:cubicBezTo>
                <a:cubicBezTo>
                  <a:pt x="59" y="102"/>
                  <a:pt x="57" y="95"/>
                  <a:pt x="57" y="86"/>
                </a:cubicBezTo>
                <a:cubicBezTo>
                  <a:pt x="57" y="77"/>
                  <a:pt x="59" y="69"/>
                  <a:pt x="64" y="63"/>
                </a:cubicBezTo>
                <a:cubicBezTo>
                  <a:pt x="69" y="56"/>
                  <a:pt x="77" y="51"/>
                  <a:pt x="86" y="47"/>
                </a:cubicBezTo>
                <a:cubicBezTo>
                  <a:pt x="96" y="44"/>
                  <a:pt x="107" y="42"/>
                  <a:pt x="120" y="42"/>
                </a:cubicBezTo>
                <a:cubicBezTo>
                  <a:pt x="130" y="42"/>
                  <a:pt x="139" y="43"/>
                  <a:pt x="146" y="46"/>
                </a:cubicBezTo>
                <a:cubicBezTo>
                  <a:pt x="154" y="48"/>
                  <a:pt x="160" y="51"/>
                  <a:pt x="165" y="55"/>
                </a:cubicBezTo>
                <a:cubicBezTo>
                  <a:pt x="170" y="59"/>
                  <a:pt x="174" y="63"/>
                  <a:pt x="176" y="67"/>
                </a:cubicBezTo>
                <a:cubicBezTo>
                  <a:pt x="178" y="72"/>
                  <a:pt x="180" y="76"/>
                  <a:pt x="180" y="80"/>
                </a:cubicBezTo>
                <a:cubicBezTo>
                  <a:pt x="180" y="85"/>
                  <a:pt x="178" y="88"/>
                  <a:pt x="175" y="91"/>
                </a:cubicBezTo>
                <a:cubicBezTo>
                  <a:pt x="172" y="95"/>
                  <a:pt x="168" y="96"/>
                  <a:pt x="163" y="96"/>
                </a:cubicBezTo>
                <a:cubicBezTo>
                  <a:pt x="159" y="96"/>
                  <a:pt x="156" y="95"/>
                  <a:pt x="153" y="93"/>
                </a:cubicBezTo>
                <a:cubicBezTo>
                  <a:pt x="151" y="91"/>
                  <a:pt x="149" y="88"/>
                  <a:pt x="147" y="84"/>
                </a:cubicBezTo>
                <a:cubicBezTo>
                  <a:pt x="144" y="79"/>
                  <a:pt x="140" y="75"/>
                  <a:pt x="137" y="72"/>
                </a:cubicBezTo>
                <a:cubicBezTo>
                  <a:pt x="133" y="69"/>
                  <a:pt x="126" y="67"/>
                  <a:pt x="118" y="67"/>
                </a:cubicBezTo>
                <a:cubicBezTo>
                  <a:pt x="109" y="67"/>
                  <a:pt x="103" y="69"/>
                  <a:pt x="98" y="72"/>
                </a:cubicBezTo>
                <a:cubicBezTo>
                  <a:pt x="93" y="75"/>
                  <a:pt x="91" y="79"/>
                  <a:pt x="91" y="83"/>
                </a:cubicBezTo>
                <a:cubicBezTo>
                  <a:pt x="91" y="86"/>
                  <a:pt x="92" y="88"/>
                  <a:pt x="93" y="90"/>
                </a:cubicBezTo>
                <a:cubicBezTo>
                  <a:pt x="95" y="92"/>
                  <a:pt x="97" y="93"/>
                  <a:pt x="100" y="95"/>
                </a:cubicBezTo>
                <a:cubicBezTo>
                  <a:pt x="103" y="96"/>
                  <a:pt x="106" y="97"/>
                  <a:pt x="109" y="98"/>
                </a:cubicBezTo>
                <a:cubicBezTo>
                  <a:pt x="112" y="99"/>
                  <a:pt x="117" y="100"/>
                  <a:pt x="125" y="102"/>
                </a:cubicBezTo>
                <a:cubicBezTo>
                  <a:pt x="134" y="104"/>
                  <a:pt x="142" y="106"/>
                  <a:pt x="150" y="109"/>
                </a:cubicBezTo>
                <a:cubicBezTo>
                  <a:pt x="157" y="111"/>
                  <a:pt x="164" y="114"/>
                  <a:pt x="169" y="118"/>
                </a:cubicBezTo>
                <a:cubicBezTo>
                  <a:pt x="175" y="121"/>
                  <a:pt x="179" y="126"/>
                  <a:pt x="182" y="131"/>
                </a:cubicBezTo>
                <a:cubicBezTo>
                  <a:pt x="185" y="137"/>
                  <a:pt x="187" y="143"/>
                  <a:pt x="187" y="151"/>
                </a:cubicBezTo>
                <a:cubicBezTo>
                  <a:pt x="187" y="160"/>
                  <a:pt x="184" y="169"/>
                  <a:pt x="179" y="176"/>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endParaRPr lang="en-US" sz="3264"/>
          </a:p>
        </p:txBody>
      </p:sp>
      <p:sp>
        <p:nvSpPr>
          <p:cNvPr id="61" name="Oval 123"/>
          <p:cNvSpPr>
            <a:spLocks noChangeArrowheads="1"/>
          </p:cNvSpPr>
          <p:nvPr/>
        </p:nvSpPr>
        <p:spPr bwMode="invGray">
          <a:xfrm>
            <a:off x="542742" y="2108748"/>
            <a:ext cx="1243471" cy="1243471"/>
          </a:xfrm>
          <a:prstGeom prst="ellipse">
            <a:avLst/>
          </a:prstGeom>
          <a:solidFill>
            <a:schemeClr val="accent1"/>
          </a:solidFill>
          <a:ln w="19050">
            <a:noFill/>
            <a:round/>
            <a:headEnd/>
            <a:tailEnd/>
          </a:ln>
        </p:spPr>
        <p:txBody>
          <a:bodyPr vert="horz" wrap="square" lIns="124347" tIns="62174" rIns="124347" bIns="62174" numCol="1" anchor="t" anchorCtr="0" compatLnSpc="1">
            <a:prstTxWarp prst="textNoShape">
              <a:avLst/>
            </a:prstTxWarp>
          </a:bodyPr>
          <a:lstStyle/>
          <a:p>
            <a:endParaRPr lang="en-US" sz="3264"/>
          </a:p>
        </p:txBody>
      </p:sp>
      <p:sp>
        <p:nvSpPr>
          <p:cNvPr id="62" name="Freeform 124"/>
          <p:cNvSpPr>
            <a:spLocks/>
          </p:cNvSpPr>
          <p:nvPr/>
        </p:nvSpPr>
        <p:spPr bwMode="invGray">
          <a:xfrm>
            <a:off x="801241" y="2379361"/>
            <a:ext cx="779955" cy="778287"/>
          </a:xfrm>
          <a:custGeom>
            <a:avLst/>
            <a:gdLst>
              <a:gd name="T0" fmla="*/ 148 w 242"/>
              <a:gd name="T1" fmla="*/ 53 h 241"/>
              <a:gd name="T2" fmla="*/ 242 w 242"/>
              <a:gd name="T3" fmla="*/ 147 h 241"/>
              <a:gd name="T4" fmla="*/ 148 w 242"/>
              <a:gd name="T5" fmla="*/ 241 h 241"/>
              <a:gd name="T6" fmla="*/ 94 w 242"/>
              <a:gd name="T7" fmla="*/ 241 h 241"/>
              <a:gd name="T8" fmla="*/ 0 w 242"/>
              <a:gd name="T9" fmla="*/ 147 h 241"/>
              <a:gd name="T10" fmla="*/ 0 w 242"/>
              <a:gd name="T11" fmla="*/ 22 h 241"/>
              <a:gd name="T12" fmla="*/ 22 w 242"/>
              <a:gd name="T13" fmla="*/ 0 h 241"/>
              <a:gd name="T14" fmla="*/ 44 w 242"/>
              <a:gd name="T15" fmla="*/ 22 h 241"/>
              <a:gd name="T16" fmla="*/ 44 w 242"/>
              <a:gd name="T17" fmla="*/ 147 h 241"/>
              <a:gd name="T18" fmla="*/ 94 w 242"/>
              <a:gd name="T19" fmla="*/ 198 h 241"/>
              <a:gd name="T20" fmla="*/ 148 w 242"/>
              <a:gd name="T21" fmla="*/ 198 h 241"/>
              <a:gd name="T22" fmla="*/ 198 w 242"/>
              <a:gd name="T23" fmla="*/ 147 h 241"/>
              <a:gd name="T24" fmla="*/ 148 w 242"/>
              <a:gd name="T25" fmla="*/ 97 h 241"/>
              <a:gd name="T26" fmla="*/ 90 w 242"/>
              <a:gd name="T27" fmla="*/ 97 h 241"/>
              <a:gd name="T28" fmla="*/ 68 w 242"/>
              <a:gd name="T29" fmla="*/ 75 h 241"/>
              <a:gd name="T30" fmla="*/ 90 w 242"/>
              <a:gd name="T31" fmla="*/ 53 h 241"/>
              <a:gd name="T32" fmla="*/ 148 w 242"/>
              <a:gd name="T33" fmla="*/ 53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2" h="241">
                <a:moveTo>
                  <a:pt x="148" y="53"/>
                </a:moveTo>
                <a:cubicBezTo>
                  <a:pt x="199" y="53"/>
                  <a:pt x="242" y="96"/>
                  <a:pt x="242" y="147"/>
                </a:cubicBezTo>
                <a:cubicBezTo>
                  <a:pt x="242" y="199"/>
                  <a:pt x="199" y="241"/>
                  <a:pt x="148" y="241"/>
                </a:cubicBezTo>
                <a:cubicBezTo>
                  <a:pt x="94" y="241"/>
                  <a:pt x="94" y="241"/>
                  <a:pt x="94" y="241"/>
                </a:cubicBezTo>
                <a:cubicBezTo>
                  <a:pt x="43" y="241"/>
                  <a:pt x="0" y="199"/>
                  <a:pt x="0" y="147"/>
                </a:cubicBezTo>
                <a:cubicBezTo>
                  <a:pt x="0" y="22"/>
                  <a:pt x="0" y="22"/>
                  <a:pt x="0" y="22"/>
                </a:cubicBezTo>
                <a:cubicBezTo>
                  <a:pt x="0" y="10"/>
                  <a:pt x="10" y="0"/>
                  <a:pt x="22" y="0"/>
                </a:cubicBezTo>
                <a:cubicBezTo>
                  <a:pt x="34" y="0"/>
                  <a:pt x="44" y="10"/>
                  <a:pt x="44" y="22"/>
                </a:cubicBezTo>
                <a:cubicBezTo>
                  <a:pt x="44" y="64"/>
                  <a:pt x="44" y="106"/>
                  <a:pt x="44" y="147"/>
                </a:cubicBezTo>
                <a:cubicBezTo>
                  <a:pt x="44" y="175"/>
                  <a:pt x="67" y="198"/>
                  <a:pt x="94" y="198"/>
                </a:cubicBezTo>
                <a:cubicBezTo>
                  <a:pt x="148" y="198"/>
                  <a:pt x="148" y="198"/>
                  <a:pt x="148" y="198"/>
                </a:cubicBezTo>
                <a:cubicBezTo>
                  <a:pt x="175" y="198"/>
                  <a:pt x="198" y="175"/>
                  <a:pt x="198" y="147"/>
                </a:cubicBezTo>
                <a:cubicBezTo>
                  <a:pt x="198" y="120"/>
                  <a:pt x="175" y="97"/>
                  <a:pt x="148" y="97"/>
                </a:cubicBezTo>
                <a:cubicBezTo>
                  <a:pt x="90" y="97"/>
                  <a:pt x="90" y="97"/>
                  <a:pt x="90" y="97"/>
                </a:cubicBezTo>
                <a:cubicBezTo>
                  <a:pt x="78" y="97"/>
                  <a:pt x="68" y="87"/>
                  <a:pt x="68" y="75"/>
                </a:cubicBezTo>
                <a:cubicBezTo>
                  <a:pt x="68" y="63"/>
                  <a:pt x="78" y="53"/>
                  <a:pt x="90" y="53"/>
                </a:cubicBezTo>
                <a:cubicBezTo>
                  <a:pt x="148" y="53"/>
                  <a:pt x="148" y="53"/>
                  <a:pt x="148" y="53"/>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endParaRPr lang="en-US" sz="3264"/>
          </a:p>
        </p:txBody>
      </p:sp>
      <p:sp>
        <p:nvSpPr>
          <p:cNvPr id="8197" name="Title 8196"/>
          <p:cNvSpPr>
            <a:spLocks noGrp="1"/>
          </p:cNvSpPr>
          <p:nvPr>
            <p:ph type="title"/>
          </p:nvPr>
        </p:nvSpPr>
        <p:spPr/>
        <p:txBody>
          <a:bodyPr/>
          <a:lstStyle/>
          <a:p>
            <a:r>
              <a:rPr lang="en-US" dirty="0"/>
              <a:t>vector</a:t>
            </a:r>
          </a:p>
        </p:txBody>
      </p:sp>
      <p:sp>
        <p:nvSpPr>
          <p:cNvPr id="8198" name="Text Placeholder 8197"/>
          <p:cNvSpPr>
            <a:spLocks noGrp="1"/>
          </p:cNvSpPr>
          <p:nvPr>
            <p:ph type="body" sz="quarter" idx="10"/>
          </p:nvPr>
        </p:nvSpPr>
        <p:spPr/>
        <p:txBody>
          <a:bodyPr>
            <a:normAutofit lnSpcReduction="10000"/>
          </a:bodyPr>
          <a:lstStyle/>
          <a:p>
            <a:r>
              <a:rPr lang="en-US" dirty="0"/>
              <a:t>Digital Icon collection (cont’d)</a:t>
            </a:r>
          </a:p>
        </p:txBody>
      </p:sp>
    </p:spTree>
    <p:extLst>
      <p:ext uri="{BB962C8B-B14F-4D97-AF65-F5344CB8AC3E}">
        <p14:creationId xmlns:p14="http://schemas.microsoft.com/office/powerpoint/2010/main" val="9202079"/>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val 81"/>
          <p:cNvSpPr>
            <a:spLocks noChangeArrowheads="1"/>
          </p:cNvSpPr>
          <p:nvPr/>
        </p:nvSpPr>
        <p:spPr bwMode="invGray">
          <a:xfrm>
            <a:off x="542742" y="2108748"/>
            <a:ext cx="1243471" cy="1243471"/>
          </a:xfrm>
          <a:prstGeom prst="ellipse">
            <a:avLst/>
          </a:prstGeom>
          <a:solidFill>
            <a:schemeClr val="accent1"/>
          </a:solidFill>
          <a:ln w="19050">
            <a:noFill/>
            <a:round/>
            <a:headEnd/>
            <a:tailEnd/>
          </a:ln>
        </p:spPr>
        <p:txBody>
          <a:bodyPr vert="horz" wrap="square" lIns="124347" tIns="62174" rIns="124347" bIns="62174" numCol="1" anchor="t" anchorCtr="0" compatLnSpc="1">
            <a:prstTxWarp prst="textNoShape">
              <a:avLst/>
            </a:prstTxWarp>
          </a:bodyPr>
          <a:lstStyle/>
          <a:p>
            <a:endParaRPr lang="en-US" sz="3264"/>
          </a:p>
        </p:txBody>
      </p:sp>
      <p:sp>
        <p:nvSpPr>
          <p:cNvPr id="4" name="Freeform 82"/>
          <p:cNvSpPr>
            <a:spLocks/>
          </p:cNvSpPr>
          <p:nvPr/>
        </p:nvSpPr>
        <p:spPr bwMode="invGray">
          <a:xfrm>
            <a:off x="972830" y="2356551"/>
            <a:ext cx="363237" cy="776889"/>
          </a:xfrm>
          <a:custGeom>
            <a:avLst/>
            <a:gdLst>
              <a:gd name="T0" fmla="*/ 75 w 113"/>
              <a:gd name="T1" fmla="*/ 241 h 241"/>
              <a:gd name="T2" fmla="*/ 25 w 113"/>
              <a:gd name="T3" fmla="*/ 241 h 241"/>
              <a:gd name="T4" fmla="*/ 25 w 113"/>
              <a:gd name="T5" fmla="*/ 120 h 241"/>
              <a:gd name="T6" fmla="*/ 0 w 113"/>
              <a:gd name="T7" fmla="*/ 120 h 241"/>
              <a:gd name="T8" fmla="*/ 0 w 113"/>
              <a:gd name="T9" fmla="*/ 79 h 241"/>
              <a:gd name="T10" fmla="*/ 25 w 113"/>
              <a:gd name="T11" fmla="*/ 79 h 241"/>
              <a:gd name="T12" fmla="*/ 25 w 113"/>
              <a:gd name="T13" fmla="*/ 54 h 241"/>
              <a:gd name="T14" fmla="*/ 79 w 113"/>
              <a:gd name="T15" fmla="*/ 0 h 241"/>
              <a:gd name="T16" fmla="*/ 113 w 113"/>
              <a:gd name="T17" fmla="*/ 0 h 241"/>
              <a:gd name="T18" fmla="*/ 113 w 113"/>
              <a:gd name="T19" fmla="*/ 41 h 241"/>
              <a:gd name="T20" fmla="*/ 92 w 113"/>
              <a:gd name="T21" fmla="*/ 41 h 241"/>
              <a:gd name="T22" fmla="*/ 75 w 113"/>
              <a:gd name="T23" fmla="*/ 58 h 241"/>
              <a:gd name="T24" fmla="*/ 75 w 113"/>
              <a:gd name="T25" fmla="*/ 79 h 241"/>
              <a:gd name="T26" fmla="*/ 113 w 113"/>
              <a:gd name="T27" fmla="*/ 79 h 241"/>
              <a:gd name="T28" fmla="*/ 109 w 113"/>
              <a:gd name="T29" fmla="*/ 120 h 241"/>
              <a:gd name="T30" fmla="*/ 75 w 113"/>
              <a:gd name="T31" fmla="*/ 120 h 241"/>
              <a:gd name="T32" fmla="*/ 75 w 113"/>
              <a:gd name="T33" fmla="*/ 24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3" h="241">
                <a:moveTo>
                  <a:pt x="75" y="241"/>
                </a:moveTo>
                <a:cubicBezTo>
                  <a:pt x="25" y="241"/>
                  <a:pt x="25" y="241"/>
                  <a:pt x="25" y="241"/>
                </a:cubicBezTo>
                <a:cubicBezTo>
                  <a:pt x="25" y="120"/>
                  <a:pt x="25" y="120"/>
                  <a:pt x="25" y="120"/>
                </a:cubicBezTo>
                <a:cubicBezTo>
                  <a:pt x="0" y="120"/>
                  <a:pt x="0" y="120"/>
                  <a:pt x="0" y="120"/>
                </a:cubicBezTo>
                <a:cubicBezTo>
                  <a:pt x="0" y="79"/>
                  <a:pt x="0" y="79"/>
                  <a:pt x="0" y="79"/>
                </a:cubicBezTo>
                <a:cubicBezTo>
                  <a:pt x="25" y="79"/>
                  <a:pt x="25" y="79"/>
                  <a:pt x="25" y="79"/>
                </a:cubicBezTo>
                <a:cubicBezTo>
                  <a:pt x="25" y="54"/>
                  <a:pt x="25" y="54"/>
                  <a:pt x="25" y="54"/>
                </a:cubicBezTo>
                <a:cubicBezTo>
                  <a:pt x="25" y="20"/>
                  <a:pt x="39" y="0"/>
                  <a:pt x="79" y="0"/>
                </a:cubicBezTo>
                <a:cubicBezTo>
                  <a:pt x="113" y="0"/>
                  <a:pt x="113" y="0"/>
                  <a:pt x="113" y="0"/>
                </a:cubicBezTo>
                <a:cubicBezTo>
                  <a:pt x="113" y="41"/>
                  <a:pt x="113" y="41"/>
                  <a:pt x="113" y="41"/>
                </a:cubicBezTo>
                <a:cubicBezTo>
                  <a:pt x="92" y="41"/>
                  <a:pt x="92" y="41"/>
                  <a:pt x="92" y="41"/>
                </a:cubicBezTo>
                <a:cubicBezTo>
                  <a:pt x="76" y="41"/>
                  <a:pt x="75" y="47"/>
                  <a:pt x="75" y="58"/>
                </a:cubicBezTo>
                <a:cubicBezTo>
                  <a:pt x="75" y="79"/>
                  <a:pt x="75" y="79"/>
                  <a:pt x="75" y="79"/>
                </a:cubicBezTo>
                <a:cubicBezTo>
                  <a:pt x="113" y="79"/>
                  <a:pt x="113" y="79"/>
                  <a:pt x="113" y="79"/>
                </a:cubicBezTo>
                <a:cubicBezTo>
                  <a:pt x="109" y="120"/>
                  <a:pt x="109" y="120"/>
                  <a:pt x="109" y="120"/>
                </a:cubicBezTo>
                <a:cubicBezTo>
                  <a:pt x="75" y="120"/>
                  <a:pt x="75" y="120"/>
                  <a:pt x="75" y="120"/>
                </a:cubicBezTo>
                <a:lnTo>
                  <a:pt x="75" y="241"/>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endParaRPr lang="en-US" sz="3264"/>
          </a:p>
        </p:txBody>
      </p:sp>
      <p:sp>
        <p:nvSpPr>
          <p:cNvPr id="6" name="Oval 92"/>
          <p:cNvSpPr>
            <a:spLocks noChangeArrowheads="1"/>
          </p:cNvSpPr>
          <p:nvPr/>
        </p:nvSpPr>
        <p:spPr bwMode="invGray">
          <a:xfrm>
            <a:off x="2570023" y="2108748"/>
            <a:ext cx="1243471" cy="1243471"/>
          </a:xfrm>
          <a:prstGeom prst="ellipse">
            <a:avLst/>
          </a:prstGeom>
          <a:solidFill>
            <a:schemeClr val="accent1"/>
          </a:solidFill>
          <a:ln w="19050">
            <a:noFill/>
            <a:round/>
            <a:headEnd/>
            <a:tailEnd/>
          </a:ln>
        </p:spPr>
        <p:txBody>
          <a:bodyPr vert="horz" wrap="square" lIns="124347" tIns="62174" rIns="124347" bIns="62174" numCol="1" anchor="t" anchorCtr="0" compatLnSpc="1">
            <a:prstTxWarp prst="textNoShape">
              <a:avLst/>
            </a:prstTxWarp>
          </a:bodyPr>
          <a:lstStyle/>
          <a:p>
            <a:endParaRPr lang="en-US" sz="3264"/>
          </a:p>
        </p:txBody>
      </p:sp>
      <p:grpSp>
        <p:nvGrpSpPr>
          <p:cNvPr id="45" name="Group 44"/>
          <p:cNvGrpSpPr/>
          <p:nvPr/>
        </p:nvGrpSpPr>
        <p:grpSpPr>
          <a:xfrm>
            <a:off x="2882006" y="2380619"/>
            <a:ext cx="679675" cy="648478"/>
            <a:chOff x="2118665" y="1750614"/>
            <a:chExt cx="499807" cy="476865"/>
          </a:xfrm>
        </p:grpSpPr>
        <p:sp>
          <p:nvSpPr>
            <p:cNvPr id="7" name="Freeform 93"/>
            <p:cNvSpPr>
              <a:spLocks noEditPoints="1"/>
            </p:cNvSpPr>
            <p:nvPr/>
          </p:nvSpPr>
          <p:spPr bwMode="invGray">
            <a:xfrm>
              <a:off x="2118665" y="1750614"/>
              <a:ext cx="121265" cy="476865"/>
            </a:xfrm>
            <a:custGeom>
              <a:avLst/>
              <a:gdLst>
                <a:gd name="T0" fmla="*/ 48 w 51"/>
                <a:gd name="T1" fmla="*/ 202 h 202"/>
                <a:gd name="T2" fmla="*/ 48 w 51"/>
                <a:gd name="T3" fmla="*/ 66 h 202"/>
                <a:gd name="T4" fmla="*/ 3 w 51"/>
                <a:gd name="T5" fmla="*/ 66 h 202"/>
                <a:gd name="T6" fmla="*/ 3 w 51"/>
                <a:gd name="T7" fmla="*/ 202 h 202"/>
                <a:gd name="T8" fmla="*/ 48 w 51"/>
                <a:gd name="T9" fmla="*/ 202 h 202"/>
                <a:gd name="T10" fmla="*/ 25 w 51"/>
                <a:gd name="T11" fmla="*/ 47 h 202"/>
                <a:gd name="T12" fmla="*/ 51 w 51"/>
                <a:gd name="T13" fmla="*/ 24 h 202"/>
                <a:gd name="T14" fmla="*/ 26 w 51"/>
                <a:gd name="T15" fmla="*/ 0 h 202"/>
                <a:gd name="T16" fmla="*/ 0 w 51"/>
                <a:gd name="T17" fmla="*/ 24 h 202"/>
                <a:gd name="T18" fmla="*/ 25 w 51"/>
                <a:gd name="T19" fmla="*/ 47 h 202"/>
                <a:gd name="T20" fmla="*/ 25 w 51"/>
                <a:gd name="T21" fmla="*/ 47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1" h="202">
                  <a:moveTo>
                    <a:pt x="48" y="202"/>
                  </a:moveTo>
                  <a:cubicBezTo>
                    <a:pt x="48" y="66"/>
                    <a:pt x="48" y="66"/>
                    <a:pt x="48" y="66"/>
                  </a:cubicBezTo>
                  <a:cubicBezTo>
                    <a:pt x="3" y="66"/>
                    <a:pt x="3" y="66"/>
                    <a:pt x="3" y="66"/>
                  </a:cubicBezTo>
                  <a:cubicBezTo>
                    <a:pt x="3" y="202"/>
                    <a:pt x="3" y="202"/>
                    <a:pt x="3" y="202"/>
                  </a:cubicBezTo>
                  <a:cubicBezTo>
                    <a:pt x="48" y="202"/>
                    <a:pt x="48" y="202"/>
                    <a:pt x="48" y="202"/>
                  </a:cubicBezTo>
                  <a:close/>
                  <a:moveTo>
                    <a:pt x="25" y="47"/>
                  </a:moveTo>
                  <a:cubicBezTo>
                    <a:pt x="41" y="47"/>
                    <a:pt x="51" y="37"/>
                    <a:pt x="51" y="24"/>
                  </a:cubicBezTo>
                  <a:cubicBezTo>
                    <a:pt x="51" y="11"/>
                    <a:pt x="41" y="0"/>
                    <a:pt x="26" y="0"/>
                  </a:cubicBezTo>
                  <a:cubicBezTo>
                    <a:pt x="10" y="0"/>
                    <a:pt x="0" y="11"/>
                    <a:pt x="0" y="24"/>
                  </a:cubicBezTo>
                  <a:cubicBezTo>
                    <a:pt x="0" y="37"/>
                    <a:pt x="10" y="47"/>
                    <a:pt x="25" y="47"/>
                  </a:cubicBezTo>
                  <a:cubicBezTo>
                    <a:pt x="25" y="47"/>
                    <a:pt x="25" y="47"/>
                    <a:pt x="25" y="47"/>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endParaRPr lang="en-US" sz="3264"/>
            </a:p>
          </p:txBody>
        </p:sp>
        <p:sp>
          <p:nvSpPr>
            <p:cNvPr id="8" name="Freeform 94"/>
            <p:cNvSpPr>
              <a:spLocks/>
            </p:cNvSpPr>
            <p:nvPr/>
          </p:nvSpPr>
          <p:spPr bwMode="invGray">
            <a:xfrm>
              <a:off x="2290730" y="1899737"/>
              <a:ext cx="327742" cy="327742"/>
            </a:xfrm>
            <a:custGeom>
              <a:avLst/>
              <a:gdLst>
                <a:gd name="T0" fmla="*/ 0 w 138"/>
                <a:gd name="T1" fmla="*/ 139 h 139"/>
                <a:gd name="T2" fmla="*/ 45 w 138"/>
                <a:gd name="T3" fmla="*/ 139 h 139"/>
                <a:gd name="T4" fmla="*/ 45 w 138"/>
                <a:gd name="T5" fmla="*/ 63 h 139"/>
                <a:gd name="T6" fmla="*/ 47 w 138"/>
                <a:gd name="T7" fmla="*/ 52 h 139"/>
                <a:gd name="T8" fmla="*/ 70 w 138"/>
                <a:gd name="T9" fmla="*/ 35 h 139"/>
                <a:gd name="T10" fmla="*/ 93 w 138"/>
                <a:gd name="T11" fmla="*/ 66 h 139"/>
                <a:gd name="T12" fmla="*/ 93 w 138"/>
                <a:gd name="T13" fmla="*/ 139 h 139"/>
                <a:gd name="T14" fmla="*/ 138 w 138"/>
                <a:gd name="T15" fmla="*/ 139 h 139"/>
                <a:gd name="T16" fmla="*/ 138 w 138"/>
                <a:gd name="T17" fmla="*/ 61 h 139"/>
                <a:gd name="T18" fmla="*/ 86 w 138"/>
                <a:gd name="T19" fmla="*/ 0 h 139"/>
                <a:gd name="T20" fmla="*/ 45 w 138"/>
                <a:gd name="T21" fmla="*/ 23 h 139"/>
                <a:gd name="T22" fmla="*/ 45 w 138"/>
                <a:gd name="T23" fmla="*/ 23 h 139"/>
                <a:gd name="T24" fmla="*/ 45 w 138"/>
                <a:gd name="T25" fmla="*/ 3 h 139"/>
                <a:gd name="T26" fmla="*/ 0 w 138"/>
                <a:gd name="T27" fmla="*/ 3 h 139"/>
                <a:gd name="T28" fmla="*/ 0 w 138"/>
                <a:gd name="T29" fmla="*/ 139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8" h="139">
                  <a:moveTo>
                    <a:pt x="0" y="139"/>
                  </a:moveTo>
                  <a:cubicBezTo>
                    <a:pt x="45" y="139"/>
                    <a:pt x="45" y="139"/>
                    <a:pt x="45" y="139"/>
                  </a:cubicBezTo>
                  <a:cubicBezTo>
                    <a:pt x="45" y="63"/>
                    <a:pt x="45" y="63"/>
                    <a:pt x="45" y="63"/>
                  </a:cubicBezTo>
                  <a:cubicBezTo>
                    <a:pt x="45" y="59"/>
                    <a:pt x="45" y="55"/>
                    <a:pt x="47" y="52"/>
                  </a:cubicBezTo>
                  <a:cubicBezTo>
                    <a:pt x="50" y="44"/>
                    <a:pt x="57" y="35"/>
                    <a:pt x="70" y="35"/>
                  </a:cubicBezTo>
                  <a:cubicBezTo>
                    <a:pt x="86" y="35"/>
                    <a:pt x="93" y="48"/>
                    <a:pt x="93" y="66"/>
                  </a:cubicBezTo>
                  <a:cubicBezTo>
                    <a:pt x="93" y="139"/>
                    <a:pt x="93" y="139"/>
                    <a:pt x="93" y="139"/>
                  </a:cubicBezTo>
                  <a:cubicBezTo>
                    <a:pt x="138" y="139"/>
                    <a:pt x="138" y="139"/>
                    <a:pt x="138" y="139"/>
                  </a:cubicBezTo>
                  <a:cubicBezTo>
                    <a:pt x="138" y="61"/>
                    <a:pt x="138" y="61"/>
                    <a:pt x="138" y="61"/>
                  </a:cubicBezTo>
                  <a:cubicBezTo>
                    <a:pt x="138" y="19"/>
                    <a:pt x="116" y="0"/>
                    <a:pt x="86" y="0"/>
                  </a:cubicBezTo>
                  <a:cubicBezTo>
                    <a:pt x="61" y="0"/>
                    <a:pt x="51" y="13"/>
                    <a:pt x="45" y="23"/>
                  </a:cubicBezTo>
                  <a:cubicBezTo>
                    <a:pt x="45" y="23"/>
                    <a:pt x="45" y="23"/>
                    <a:pt x="45" y="23"/>
                  </a:cubicBezTo>
                  <a:cubicBezTo>
                    <a:pt x="45" y="3"/>
                    <a:pt x="45" y="3"/>
                    <a:pt x="45" y="3"/>
                  </a:cubicBezTo>
                  <a:cubicBezTo>
                    <a:pt x="0" y="3"/>
                    <a:pt x="0" y="3"/>
                    <a:pt x="0" y="3"/>
                  </a:cubicBezTo>
                  <a:cubicBezTo>
                    <a:pt x="1" y="16"/>
                    <a:pt x="0" y="139"/>
                    <a:pt x="0" y="139"/>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endParaRPr lang="en-US" sz="3264"/>
            </a:p>
          </p:txBody>
        </p:sp>
      </p:grpSp>
      <p:sp>
        <p:nvSpPr>
          <p:cNvPr id="10" name="Oval 95"/>
          <p:cNvSpPr>
            <a:spLocks noChangeArrowheads="1"/>
          </p:cNvSpPr>
          <p:nvPr/>
        </p:nvSpPr>
        <p:spPr bwMode="invGray">
          <a:xfrm>
            <a:off x="6624584" y="2108748"/>
            <a:ext cx="1243471" cy="1243471"/>
          </a:xfrm>
          <a:prstGeom prst="ellipse">
            <a:avLst/>
          </a:prstGeom>
          <a:solidFill>
            <a:schemeClr val="accent1"/>
          </a:solidFill>
          <a:ln w="19050">
            <a:noFill/>
            <a:round/>
            <a:headEnd/>
            <a:tailEnd/>
          </a:ln>
        </p:spPr>
        <p:txBody>
          <a:bodyPr vert="horz" wrap="square" lIns="124347" tIns="62174" rIns="124347" bIns="62174" numCol="1" anchor="t" anchorCtr="0" compatLnSpc="1">
            <a:prstTxWarp prst="textNoShape">
              <a:avLst/>
            </a:prstTxWarp>
          </a:bodyPr>
          <a:lstStyle/>
          <a:p>
            <a:endParaRPr lang="en-US" sz="3264"/>
          </a:p>
        </p:txBody>
      </p:sp>
      <p:sp>
        <p:nvSpPr>
          <p:cNvPr id="11" name="Freeform 96"/>
          <p:cNvSpPr>
            <a:spLocks noEditPoints="1"/>
          </p:cNvSpPr>
          <p:nvPr/>
        </p:nvSpPr>
        <p:spPr bwMode="invGray">
          <a:xfrm>
            <a:off x="6787554" y="2471986"/>
            <a:ext cx="895209" cy="528142"/>
          </a:xfrm>
          <a:custGeom>
            <a:avLst/>
            <a:gdLst>
              <a:gd name="T0" fmla="*/ 82 w 277"/>
              <a:gd name="T1" fmla="*/ 21 h 164"/>
              <a:gd name="T2" fmla="*/ 110 w 277"/>
              <a:gd name="T3" fmla="*/ 17 h 164"/>
              <a:gd name="T4" fmla="*/ 85 w 277"/>
              <a:gd name="T5" fmla="*/ 0 h 164"/>
              <a:gd name="T6" fmla="*/ 82 w 277"/>
              <a:gd name="T7" fmla="*/ 39 h 164"/>
              <a:gd name="T8" fmla="*/ 107 w 277"/>
              <a:gd name="T9" fmla="*/ 131 h 164"/>
              <a:gd name="T10" fmla="*/ 110 w 277"/>
              <a:gd name="T11" fmla="*/ 36 h 164"/>
              <a:gd name="T12" fmla="*/ 82 w 277"/>
              <a:gd name="T13" fmla="*/ 39 h 164"/>
              <a:gd name="T14" fmla="*/ 46 w 277"/>
              <a:gd name="T15" fmla="*/ 36 h 164"/>
              <a:gd name="T16" fmla="*/ 0 w 277"/>
              <a:gd name="T17" fmla="*/ 39 h 164"/>
              <a:gd name="T18" fmla="*/ 71 w 277"/>
              <a:gd name="T19" fmla="*/ 131 h 164"/>
              <a:gd name="T20" fmla="*/ 74 w 277"/>
              <a:gd name="T21" fmla="*/ 0 h 164"/>
              <a:gd name="T22" fmla="*/ 46 w 277"/>
              <a:gd name="T23" fmla="*/ 4 h 164"/>
              <a:gd name="T24" fmla="*/ 43 w 277"/>
              <a:gd name="T25" fmla="*/ 110 h 164"/>
              <a:gd name="T26" fmla="*/ 27 w 277"/>
              <a:gd name="T27" fmla="*/ 59 h 164"/>
              <a:gd name="T28" fmla="*/ 46 w 277"/>
              <a:gd name="T29" fmla="*/ 56 h 164"/>
              <a:gd name="T30" fmla="*/ 119 w 277"/>
              <a:gd name="T31" fmla="*/ 39 h 164"/>
              <a:gd name="T32" fmla="*/ 166 w 277"/>
              <a:gd name="T33" fmla="*/ 131 h 164"/>
              <a:gd name="T34" fmla="*/ 122 w 277"/>
              <a:gd name="T35" fmla="*/ 143 h 164"/>
              <a:gd name="T36" fmla="*/ 119 w 277"/>
              <a:gd name="T37" fmla="*/ 164 h 164"/>
              <a:gd name="T38" fmla="*/ 193 w 277"/>
              <a:gd name="T39" fmla="*/ 160 h 164"/>
              <a:gd name="T40" fmla="*/ 122 w 277"/>
              <a:gd name="T41" fmla="*/ 36 h 164"/>
              <a:gd name="T42" fmla="*/ 146 w 277"/>
              <a:gd name="T43" fmla="*/ 59 h 164"/>
              <a:gd name="T44" fmla="*/ 166 w 277"/>
              <a:gd name="T45" fmla="*/ 56 h 164"/>
              <a:gd name="T46" fmla="*/ 163 w 277"/>
              <a:gd name="T47" fmla="*/ 110 h 164"/>
              <a:gd name="T48" fmla="*/ 146 w 277"/>
              <a:gd name="T49" fmla="*/ 59 h 164"/>
              <a:gd name="T50" fmla="*/ 203 w 277"/>
              <a:gd name="T51" fmla="*/ 39 h 164"/>
              <a:gd name="T52" fmla="*/ 250 w 277"/>
              <a:gd name="T53" fmla="*/ 131 h 164"/>
              <a:gd name="T54" fmla="*/ 206 w 277"/>
              <a:gd name="T55" fmla="*/ 143 h 164"/>
              <a:gd name="T56" fmla="*/ 203 w 277"/>
              <a:gd name="T57" fmla="*/ 164 h 164"/>
              <a:gd name="T58" fmla="*/ 277 w 277"/>
              <a:gd name="T59" fmla="*/ 160 h 164"/>
              <a:gd name="T60" fmla="*/ 206 w 277"/>
              <a:gd name="T61" fmla="*/ 36 h 164"/>
              <a:gd name="T62" fmla="*/ 247 w 277"/>
              <a:gd name="T63" fmla="*/ 110 h 164"/>
              <a:gd name="T64" fmla="*/ 230 w 277"/>
              <a:gd name="T65" fmla="*/ 59 h 164"/>
              <a:gd name="T66" fmla="*/ 250 w 277"/>
              <a:gd name="T67" fmla="*/ 56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7" h="164">
                <a:moveTo>
                  <a:pt x="82" y="4"/>
                </a:moveTo>
                <a:cubicBezTo>
                  <a:pt x="82" y="7"/>
                  <a:pt x="82" y="21"/>
                  <a:pt x="82" y="21"/>
                </a:cubicBezTo>
                <a:cubicBezTo>
                  <a:pt x="107" y="21"/>
                  <a:pt x="107" y="21"/>
                  <a:pt x="107" y="21"/>
                </a:cubicBezTo>
                <a:cubicBezTo>
                  <a:pt x="107" y="21"/>
                  <a:pt x="110" y="21"/>
                  <a:pt x="110" y="17"/>
                </a:cubicBezTo>
                <a:cubicBezTo>
                  <a:pt x="110" y="14"/>
                  <a:pt x="110" y="0"/>
                  <a:pt x="110" y="0"/>
                </a:cubicBezTo>
                <a:cubicBezTo>
                  <a:pt x="85" y="0"/>
                  <a:pt x="85" y="0"/>
                  <a:pt x="85" y="0"/>
                </a:cubicBezTo>
                <a:cubicBezTo>
                  <a:pt x="85" y="0"/>
                  <a:pt x="82" y="0"/>
                  <a:pt x="82" y="4"/>
                </a:cubicBezTo>
                <a:close/>
                <a:moveTo>
                  <a:pt x="82" y="39"/>
                </a:moveTo>
                <a:cubicBezTo>
                  <a:pt x="82" y="42"/>
                  <a:pt x="82" y="131"/>
                  <a:pt x="82" y="131"/>
                </a:cubicBezTo>
                <a:cubicBezTo>
                  <a:pt x="107" y="131"/>
                  <a:pt x="107" y="131"/>
                  <a:pt x="107" y="131"/>
                </a:cubicBezTo>
                <a:cubicBezTo>
                  <a:pt x="107" y="131"/>
                  <a:pt x="110" y="131"/>
                  <a:pt x="110" y="127"/>
                </a:cubicBezTo>
                <a:cubicBezTo>
                  <a:pt x="110" y="127"/>
                  <a:pt x="110" y="36"/>
                  <a:pt x="110" y="36"/>
                </a:cubicBezTo>
                <a:cubicBezTo>
                  <a:pt x="85" y="36"/>
                  <a:pt x="85" y="36"/>
                  <a:pt x="85" y="36"/>
                </a:cubicBezTo>
                <a:cubicBezTo>
                  <a:pt x="85" y="36"/>
                  <a:pt x="82" y="36"/>
                  <a:pt x="82" y="39"/>
                </a:cubicBezTo>
                <a:close/>
                <a:moveTo>
                  <a:pt x="46" y="4"/>
                </a:moveTo>
                <a:cubicBezTo>
                  <a:pt x="46" y="36"/>
                  <a:pt x="46" y="36"/>
                  <a:pt x="46" y="36"/>
                </a:cubicBezTo>
                <a:cubicBezTo>
                  <a:pt x="3" y="36"/>
                  <a:pt x="3" y="36"/>
                  <a:pt x="3" y="36"/>
                </a:cubicBezTo>
                <a:cubicBezTo>
                  <a:pt x="3" y="36"/>
                  <a:pt x="0" y="36"/>
                  <a:pt x="0" y="39"/>
                </a:cubicBezTo>
                <a:cubicBezTo>
                  <a:pt x="0" y="131"/>
                  <a:pt x="0" y="131"/>
                  <a:pt x="0" y="131"/>
                </a:cubicBezTo>
                <a:cubicBezTo>
                  <a:pt x="71" y="131"/>
                  <a:pt x="71" y="131"/>
                  <a:pt x="71" y="131"/>
                </a:cubicBezTo>
                <a:cubicBezTo>
                  <a:pt x="71" y="131"/>
                  <a:pt x="74" y="131"/>
                  <a:pt x="74" y="127"/>
                </a:cubicBezTo>
                <a:cubicBezTo>
                  <a:pt x="74" y="124"/>
                  <a:pt x="74" y="0"/>
                  <a:pt x="74" y="0"/>
                </a:cubicBezTo>
                <a:cubicBezTo>
                  <a:pt x="49" y="0"/>
                  <a:pt x="49" y="0"/>
                  <a:pt x="49" y="0"/>
                </a:cubicBezTo>
                <a:cubicBezTo>
                  <a:pt x="49" y="0"/>
                  <a:pt x="46" y="0"/>
                  <a:pt x="46" y="4"/>
                </a:cubicBezTo>
                <a:close/>
                <a:moveTo>
                  <a:pt x="46" y="107"/>
                </a:moveTo>
                <a:cubicBezTo>
                  <a:pt x="46" y="111"/>
                  <a:pt x="43" y="110"/>
                  <a:pt x="43" y="110"/>
                </a:cubicBezTo>
                <a:cubicBezTo>
                  <a:pt x="27" y="110"/>
                  <a:pt x="27" y="110"/>
                  <a:pt x="27" y="110"/>
                </a:cubicBezTo>
                <a:cubicBezTo>
                  <a:pt x="27" y="59"/>
                  <a:pt x="27" y="59"/>
                  <a:pt x="27" y="59"/>
                </a:cubicBezTo>
                <a:cubicBezTo>
                  <a:pt x="27" y="56"/>
                  <a:pt x="30" y="56"/>
                  <a:pt x="30" y="56"/>
                </a:cubicBezTo>
                <a:cubicBezTo>
                  <a:pt x="46" y="56"/>
                  <a:pt x="46" y="56"/>
                  <a:pt x="46" y="56"/>
                </a:cubicBezTo>
                <a:lnTo>
                  <a:pt x="46" y="107"/>
                </a:lnTo>
                <a:close/>
                <a:moveTo>
                  <a:pt x="119" y="39"/>
                </a:moveTo>
                <a:cubicBezTo>
                  <a:pt x="119" y="131"/>
                  <a:pt x="119" y="131"/>
                  <a:pt x="119" y="131"/>
                </a:cubicBezTo>
                <a:cubicBezTo>
                  <a:pt x="166" y="131"/>
                  <a:pt x="166" y="131"/>
                  <a:pt x="166" y="131"/>
                </a:cubicBezTo>
                <a:cubicBezTo>
                  <a:pt x="166" y="143"/>
                  <a:pt x="166" y="143"/>
                  <a:pt x="166" y="143"/>
                </a:cubicBezTo>
                <a:cubicBezTo>
                  <a:pt x="122" y="143"/>
                  <a:pt x="122" y="143"/>
                  <a:pt x="122" y="143"/>
                </a:cubicBezTo>
                <a:cubicBezTo>
                  <a:pt x="122" y="143"/>
                  <a:pt x="119" y="143"/>
                  <a:pt x="119" y="147"/>
                </a:cubicBezTo>
                <a:cubicBezTo>
                  <a:pt x="119" y="150"/>
                  <a:pt x="119" y="164"/>
                  <a:pt x="119" y="164"/>
                </a:cubicBezTo>
                <a:cubicBezTo>
                  <a:pt x="190" y="164"/>
                  <a:pt x="190" y="164"/>
                  <a:pt x="190" y="164"/>
                </a:cubicBezTo>
                <a:cubicBezTo>
                  <a:pt x="190" y="164"/>
                  <a:pt x="193" y="164"/>
                  <a:pt x="193" y="160"/>
                </a:cubicBezTo>
                <a:cubicBezTo>
                  <a:pt x="193" y="157"/>
                  <a:pt x="193" y="36"/>
                  <a:pt x="193" y="36"/>
                </a:cubicBezTo>
                <a:cubicBezTo>
                  <a:pt x="122" y="36"/>
                  <a:pt x="122" y="36"/>
                  <a:pt x="122" y="36"/>
                </a:cubicBezTo>
                <a:cubicBezTo>
                  <a:pt x="122" y="36"/>
                  <a:pt x="119" y="36"/>
                  <a:pt x="119" y="39"/>
                </a:cubicBezTo>
                <a:close/>
                <a:moveTo>
                  <a:pt x="146" y="59"/>
                </a:moveTo>
                <a:cubicBezTo>
                  <a:pt x="146" y="56"/>
                  <a:pt x="149" y="56"/>
                  <a:pt x="149" y="56"/>
                </a:cubicBezTo>
                <a:cubicBezTo>
                  <a:pt x="166" y="56"/>
                  <a:pt x="166" y="56"/>
                  <a:pt x="166" y="56"/>
                </a:cubicBezTo>
                <a:cubicBezTo>
                  <a:pt x="166" y="107"/>
                  <a:pt x="166" y="107"/>
                  <a:pt x="166" y="107"/>
                </a:cubicBezTo>
                <a:cubicBezTo>
                  <a:pt x="166" y="111"/>
                  <a:pt x="163" y="110"/>
                  <a:pt x="163" y="110"/>
                </a:cubicBezTo>
                <a:cubicBezTo>
                  <a:pt x="146" y="110"/>
                  <a:pt x="146" y="110"/>
                  <a:pt x="146" y="110"/>
                </a:cubicBezTo>
                <a:lnTo>
                  <a:pt x="146" y="59"/>
                </a:lnTo>
                <a:close/>
                <a:moveTo>
                  <a:pt x="206" y="36"/>
                </a:moveTo>
                <a:cubicBezTo>
                  <a:pt x="206" y="36"/>
                  <a:pt x="203" y="36"/>
                  <a:pt x="203" y="39"/>
                </a:cubicBezTo>
                <a:cubicBezTo>
                  <a:pt x="203" y="131"/>
                  <a:pt x="203" y="131"/>
                  <a:pt x="203" y="131"/>
                </a:cubicBezTo>
                <a:cubicBezTo>
                  <a:pt x="250" y="131"/>
                  <a:pt x="250" y="131"/>
                  <a:pt x="250" y="131"/>
                </a:cubicBezTo>
                <a:cubicBezTo>
                  <a:pt x="250" y="143"/>
                  <a:pt x="250" y="143"/>
                  <a:pt x="250" y="143"/>
                </a:cubicBezTo>
                <a:cubicBezTo>
                  <a:pt x="206" y="143"/>
                  <a:pt x="206" y="143"/>
                  <a:pt x="206" y="143"/>
                </a:cubicBezTo>
                <a:cubicBezTo>
                  <a:pt x="206" y="143"/>
                  <a:pt x="203" y="143"/>
                  <a:pt x="203" y="147"/>
                </a:cubicBezTo>
                <a:cubicBezTo>
                  <a:pt x="203" y="150"/>
                  <a:pt x="203" y="164"/>
                  <a:pt x="203" y="164"/>
                </a:cubicBezTo>
                <a:cubicBezTo>
                  <a:pt x="274" y="164"/>
                  <a:pt x="274" y="164"/>
                  <a:pt x="274" y="164"/>
                </a:cubicBezTo>
                <a:cubicBezTo>
                  <a:pt x="274" y="164"/>
                  <a:pt x="277" y="164"/>
                  <a:pt x="277" y="160"/>
                </a:cubicBezTo>
                <a:cubicBezTo>
                  <a:pt x="277" y="157"/>
                  <a:pt x="277" y="36"/>
                  <a:pt x="277" y="36"/>
                </a:cubicBezTo>
                <a:lnTo>
                  <a:pt x="206" y="36"/>
                </a:lnTo>
                <a:close/>
                <a:moveTo>
                  <a:pt x="250" y="107"/>
                </a:moveTo>
                <a:cubicBezTo>
                  <a:pt x="250" y="111"/>
                  <a:pt x="247" y="110"/>
                  <a:pt x="247" y="110"/>
                </a:cubicBezTo>
                <a:cubicBezTo>
                  <a:pt x="230" y="110"/>
                  <a:pt x="230" y="110"/>
                  <a:pt x="230" y="110"/>
                </a:cubicBezTo>
                <a:cubicBezTo>
                  <a:pt x="230" y="59"/>
                  <a:pt x="230" y="59"/>
                  <a:pt x="230" y="59"/>
                </a:cubicBezTo>
                <a:cubicBezTo>
                  <a:pt x="230" y="56"/>
                  <a:pt x="233" y="56"/>
                  <a:pt x="233" y="56"/>
                </a:cubicBezTo>
                <a:cubicBezTo>
                  <a:pt x="250" y="56"/>
                  <a:pt x="250" y="56"/>
                  <a:pt x="250" y="56"/>
                </a:cubicBezTo>
                <a:lnTo>
                  <a:pt x="250" y="107"/>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endParaRPr lang="en-US" sz="3264"/>
          </a:p>
        </p:txBody>
      </p:sp>
      <p:sp>
        <p:nvSpPr>
          <p:cNvPr id="13" name="Oval 97"/>
          <p:cNvSpPr>
            <a:spLocks noChangeArrowheads="1"/>
          </p:cNvSpPr>
          <p:nvPr/>
        </p:nvSpPr>
        <p:spPr bwMode="invGray">
          <a:xfrm>
            <a:off x="4597303" y="2108748"/>
            <a:ext cx="1243471" cy="1243471"/>
          </a:xfrm>
          <a:prstGeom prst="ellipse">
            <a:avLst/>
          </a:prstGeom>
          <a:solidFill>
            <a:schemeClr val="accent1"/>
          </a:solidFill>
          <a:ln w="19050">
            <a:noFill/>
            <a:round/>
            <a:headEnd/>
            <a:tailEnd/>
          </a:ln>
        </p:spPr>
        <p:txBody>
          <a:bodyPr vert="horz" wrap="square" lIns="124347" tIns="62174" rIns="124347" bIns="62174" numCol="1" anchor="t" anchorCtr="0" compatLnSpc="1">
            <a:prstTxWarp prst="textNoShape">
              <a:avLst/>
            </a:prstTxWarp>
          </a:bodyPr>
          <a:lstStyle/>
          <a:p>
            <a:endParaRPr lang="en-US" sz="3264"/>
          </a:p>
        </p:txBody>
      </p:sp>
      <p:sp>
        <p:nvSpPr>
          <p:cNvPr id="14" name="Oval 98"/>
          <p:cNvSpPr>
            <a:spLocks noChangeArrowheads="1"/>
          </p:cNvSpPr>
          <p:nvPr/>
        </p:nvSpPr>
        <p:spPr bwMode="invGray">
          <a:xfrm>
            <a:off x="5239096" y="2546307"/>
            <a:ext cx="367694" cy="368354"/>
          </a:xfrm>
          <a:prstGeom prst="ellipse">
            <a:avLst/>
          </a:pr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endParaRPr lang="en-US" sz="3264"/>
          </a:p>
        </p:txBody>
      </p:sp>
      <p:sp>
        <p:nvSpPr>
          <p:cNvPr id="15" name="Oval 99"/>
          <p:cNvSpPr>
            <a:spLocks noChangeArrowheads="1"/>
          </p:cNvSpPr>
          <p:nvPr/>
        </p:nvSpPr>
        <p:spPr bwMode="invGray">
          <a:xfrm>
            <a:off x="4831290" y="2546307"/>
            <a:ext cx="369921" cy="368354"/>
          </a:xfrm>
          <a:prstGeom prst="ellipse">
            <a:avLst/>
          </a:pr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endParaRPr lang="en-US" sz="3264"/>
          </a:p>
        </p:txBody>
      </p:sp>
      <p:sp>
        <p:nvSpPr>
          <p:cNvPr id="17" name="Oval 143"/>
          <p:cNvSpPr>
            <a:spLocks noChangeArrowheads="1"/>
          </p:cNvSpPr>
          <p:nvPr/>
        </p:nvSpPr>
        <p:spPr bwMode="invGray">
          <a:xfrm>
            <a:off x="10679144" y="2108748"/>
            <a:ext cx="1243471" cy="1243471"/>
          </a:xfrm>
          <a:prstGeom prst="ellipse">
            <a:avLst/>
          </a:prstGeom>
          <a:solidFill>
            <a:schemeClr val="accent1"/>
          </a:solidFill>
          <a:ln w="19050">
            <a:noFill/>
            <a:round/>
            <a:headEnd/>
            <a:tailEnd/>
          </a:ln>
        </p:spPr>
        <p:txBody>
          <a:bodyPr vert="horz" wrap="square" lIns="124347" tIns="62174" rIns="124347" bIns="62174" numCol="1" anchor="t" anchorCtr="0" compatLnSpc="1">
            <a:prstTxWarp prst="textNoShape">
              <a:avLst/>
            </a:prstTxWarp>
          </a:bodyPr>
          <a:lstStyle/>
          <a:p>
            <a:endParaRPr lang="en-US" sz="3264"/>
          </a:p>
        </p:txBody>
      </p:sp>
      <p:grpSp>
        <p:nvGrpSpPr>
          <p:cNvPr id="46" name="Group 45"/>
          <p:cNvGrpSpPr/>
          <p:nvPr/>
        </p:nvGrpSpPr>
        <p:grpSpPr>
          <a:xfrm>
            <a:off x="10944329" y="2485355"/>
            <a:ext cx="777727" cy="492486"/>
            <a:chOff x="8047383" y="1827632"/>
            <a:chExt cx="571910" cy="362155"/>
          </a:xfrm>
        </p:grpSpPr>
        <p:sp>
          <p:nvSpPr>
            <p:cNvPr id="18" name="Freeform 144"/>
            <p:cNvSpPr>
              <a:spLocks noEditPoints="1"/>
            </p:cNvSpPr>
            <p:nvPr/>
          </p:nvSpPr>
          <p:spPr bwMode="invGray">
            <a:xfrm>
              <a:off x="8047383" y="1827632"/>
              <a:ext cx="288413" cy="353961"/>
            </a:xfrm>
            <a:custGeom>
              <a:avLst/>
              <a:gdLst>
                <a:gd name="T0" fmla="*/ 111 w 122"/>
                <a:gd name="T1" fmla="*/ 16 h 149"/>
                <a:gd name="T2" fmla="*/ 118 w 122"/>
                <a:gd name="T3" fmla="*/ 38 h 149"/>
                <a:gd name="T4" fmla="*/ 111 w 122"/>
                <a:gd name="T5" fmla="*/ 60 h 149"/>
                <a:gd name="T6" fmla="*/ 99 w 122"/>
                <a:gd name="T7" fmla="*/ 69 h 149"/>
                <a:gd name="T8" fmla="*/ 117 w 122"/>
                <a:gd name="T9" fmla="*/ 82 h 149"/>
                <a:gd name="T10" fmla="*/ 122 w 122"/>
                <a:gd name="T11" fmla="*/ 104 h 149"/>
                <a:gd name="T12" fmla="*/ 116 w 122"/>
                <a:gd name="T13" fmla="*/ 128 h 149"/>
                <a:gd name="T14" fmla="*/ 105 w 122"/>
                <a:gd name="T15" fmla="*/ 139 h 149"/>
                <a:gd name="T16" fmla="*/ 88 w 122"/>
                <a:gd name="T17" fmla="*/ 147 h 149"/>
                <a:gd name="T18" fmla="*/ 67 w 122"/>
                <a:gd name="T19" fmla="*/ 149 h 149"/>
                <a:gd name="T20" fmla="*/ 0 w 122"/>
                <a:gd name="T21" fmla="*/ 149 h 149"/>
                <a:gd name="T22" fmla="*/ 0 w 122"/>
                <a:gd name="T23" fmla="*/ 0 h 149"/>
                <a:gd name="T24" fmla="*/ 72 w 122"/>
                <a:gd name="T25" fmla="*/ 0 h 149"/>
                <a:gd name="T26" fmla="*/ 111 w 122"/>
                <a:gd name="T27" fmla="*/ 16 h 149"/>
                <a:gd name="T28" fmla="*/ 30 w 122"/>
                <a:gd name="T29" fmla="*/ 26 h 149"/>
                <a:gd name="T30" fmla="*/ 30 w 122"/>
                <a:gd name="T31" fmla="*/ 58 h 149"/>
                <a:gd name="T32" fmla="*/ 66 w 122"/>
                <a:gd name="T33" fmla="*/ 58 h 149"/>
                <a:gd name="T34" fmla="*/ 82 w 122"/>
                <a:gd name="T35" fmla="*/ 55 h 149"/>
                <a:gd name="T36" fmla="*/ 88 w 122"/>
                <a:gd name="T37" fmla="*/ 42 h 149"/>
                <a:gd name="T38" fmla="*/ 80 w 122"/>
                <a:gd name="T39" fmla="*/ 28 h 149"/>
                <a:gd name="T40" fmla="*/ 62 w 122"/>
                <a:gd name="T41" fmla="*/ 26 h 149"/>
                <a:gd name="T42" fmla="*/ 30 w 122"/>
                <a:gd name="T43" fmla="*/ 26 h 149"/>
                <a:gd name="T44" fmla="*/ 30 w 122"/>
                <a:gd name="T45" fmla="*/ 83 h 149"/>
                <a:gd name="T46" fmla="*/ 30 w 122"/>
                <a:gd name="T47" fmla="*/ 123 h 149"/>
                <a:gd name="T48" fmla="*/ 66 w 122"/>
                <a:gd name="T49" fmla="*/ 123 h 149"/>
                <a:gd name="T50" fmla="*/ 81 w 122"/>
                <a:gd name="T51" fmla="*/ 120 h 149"/>
                <a:gd name="T52" fmla="*/ 91 w 122"/>
                <a:gd name="T53" fmla="*/ 102 h 149"/>
                <a:gd name="T54" fmla="*/ 81 w 122"/>
                <a:gd name="T55" fmla="*/ 86 h 149"/>
                <a:gd name="T56" fmla="*/ 66 w 122"/>
                <a:gd name="T57" fmla="*/ 83 h 149"/>
                <a:gd name="T58" fmla="*/ 30 w 122"/>
                <a:gd name="T59" fmla="*/ 83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2" h="149">
                  <a:moveTo>
                    <a:pt x="111" y="16"/>
                  </a:moveTo>
                  <a:cubicBezTo>
                    <a:pt x="115" y="22"/>
                    <a:pt x="118" y="29"/>
                    <a:pt x="118" y="38"/>
                  </a:cubicBezTo>
                  <a:cubicBezTo>
                    <a:pt x="118" y="47"/>
                    <a:pt x="115" y="55"/>
                    <a:pt x="111" y="60"/>
                  </a:cubicBezTo>
                  <a:cubicBezTo>
                    <a:pt x="108" y="63"/>
                    <a:pt x="104" y="66"/>
                    <a:pt x="99" y="69"/>
                  </a:cubicBezTo>
                  <a:cubicBezTo>
                    <a:pt x="107" y="72"/>
                    <a:pt x="113" y="76"/>
                    <a:pt x="117" y="82"/>
                  </a:cubicBezTo>
                  <a:cubicBezTo>
                    <a:pt x="120" y="88"/>
                    <a:pt x="122" y="95"/>
                    <a:pt x="122" y="104"/>
                  </a:cubicBezTo>
                  <a:cubicBezTo>
                    <a:pt x="122" y="113"/>
                    <a:pt x="120" y="121"/>
                    <a:pt x="116" y="128"/>
                  </a:cubicBezTo>
                  <a:cubicBezTo>
                    <a:pt x="113" y="132"/>
                    <a:pt x="109" y="136"/>
                    <a:pt x="105" y="139"/>
                  </a:cubicBezTo>
                  <a:cubicBezTo>
                    <a:pt x="100" y="143"/>
                    <a:pt x="95" y="145"/>
                    <a:pt x="88" y="147"/>
                  </a:cubicBezTo>
                  <a:cubicBezTo>
                    <a:pt x="82" y="148"/>
                    <a:pt x="75" y="149"/>
                    <a:pt x="67" y="149"/>
                  </a:cubicBezTo>
                  <a:cubicBezTo>
                    <a:pt x="0" y="149"/>
                    <a:pt x="0" y="149"/>
                    <a:pt x="0" y="149"/>
                  </a:cubicBezTo>
                  <a:cubicBezTo>
                    <a:pt x="0" y="0"/>
                    <a:pt x="0" y="0"/>
                    <a:pt x="0" y="0"/>
                  </a:cubicBezTo>
                  <a:cubicBezTo>
                    <a:pt x="72" y="0"/>
                    <a:pt x="72" y="0"/>
                    <a:pt x="72" y="0"/>
                  </a:cubicBezTo>
                  <a:cubicBezTo>
                    <a:pt x="90" y="0"/>
                    <a:pt x="103" y="5"/>
                    <a:pt x="111" y="16"/>
                  </a:cubicBezTo>
                  <a:close/>
                  <a:moveTo>
                    <a:pt x="30" y="26"/>
                  </a:moveTo>
                  <a:cubicBezTo>
                    <a:pt x="30" y="58"/>
                    <a:pt x="30" y="58"/>
                    <a:pt x="30" y="58"/>
                  </a:cubicBezTo>
                  <a:cubicBezTo>
                    <a:pt x="66" y="58"/>
                    <a:pt x="66" y="58"/>
                    <a:pt x="66" y="58"/>
                  </a:cubicBezTo>
                  <a:cubicBezTo>
                    <a:pt x="72" y="58"/>
                    <a:pt x="78" y="57"/>
                    <a:pt x="82" y="55"/>
                  </a:cubicBezTo>
                  <a:cubicBezTo>
                    <a:pt x="86" y="52"/>
                    <a:pt x="88" y="48"/>
                    <a:pt x="88" y="42"/>
                  </a:cubicBezTo>
                  <a:cubicBezTo>
                    <a:pt x="88" y="35"/>
                    <a:pt x="85" y="30"/>
                    <a:pt x="80" y="28"/>
                  </a:cubicBezTo>
                  <a:cubicBezTo>
                    <a:pt x="75" y="26"/>
                    <a:pt x="69" y="26"/>
                    <a:pt x="62" y="26"/>
                  </a:cubicBezTo>
                  <a:lnTo>
                    <a:pt x="30" y="26"/>
                  </a:lnTo>
                  <a:close/>
                  <a:moveTo>
                    <a:pt x="30" y="83"/>
                  </a:moveTo>
                  <a:cubicBezTo>
                    <a:pt x="30" y="123"/>
                    <a:pt x="30" y="123"/>
                    <a:pt x="30" y="123"/>
                  </a:cubicBezTo>
                  <a:cubicBezTo>
                    <a:pt x="66" y="123"/>
                    <a:pt x="66" y="123"/>
                    <a:pt x="66" y="123"/>
                  </a:cubicBezTo>
                  <a:cubicBezTo>
                    <a:pt x="72" y="123"/>
                    <a:pt x="77" y="122"/>
                    <a:pt x="81" y="120"/>
                  </a:cubicBezTo>
                  <a:cubicBezTo>
                    <a:pt x="88" y="117"/>
                    <a:pt x="91" y="111"/>
                    <a:pt x="91" y="102"/>
                  </a:cubicBezTo>
                  <a:cubicBezTo>
                    <a:pt x="91" y="94"/>
                    <a:pt x="88" y="89"/>
                    <a:pt x="81" y="86"/>
                  </a:cubicBezTo>
                  <a:cubicBezTo>
                    <a:pt x="78" y="84"/>
                    <a:pt x="73" y="83"/>
                    <a:pt x="66" y="83"/>
                  </a:cubicBezTo>
                  <a:lnTo>
                    <a:pt x="30" y="83"/>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endParaRPr lang="en-US" sz="3264"/>
            </a:p>
          </p:txBody>
        </p:sp>
        <p:sp>
          <p:nvSpPr>
            <p:cNvPr id="19" name="Freeform 145"/>
            <p:cNvSpPr>
              <a:spLocks noEditPoints="1"/>
            </p:cNvSpPr>
            <p:nvPr/>
          </p:nvSpPr>
          <p:spPr bwMode="invGray">
            <a:xfrm>
              <a:off x="8358738" y="1912845"/>
              <a:ext cx="260555" cy="276942"/>
            </a:xfrm>
            <a:custGeom>
              <a:avLst/>
              <a:gdLst>
                <a:gd name="T0" fmla="*/ 81 w 110"/>
                <a:gd name="T1" fmla="*/ 5 h 117"/>
                <a:gd name="T2" fmla="*/ 100 w 110"/>
                <a:gd name="T3" fmla="*/ 21 h 117"/>
                <a:gd name="T4" fmla="*/ 108 w 110"/>
                <a:gd name="T5" fmla="*/ 44 h 117"/>
                <a:gd name="T6" fmla="*/ 109 w 110"/>
                <a:gd name="T7" fmla="*/ 66 h 117"/>
                <a:gd name="T8" fmla="*/ 29 w 110"/>
                <a:gd name="T9" fmla="*/ 66 h 117"/>
                <a:gd name="T10" fmla="*/ 41 w 110"/>
                <a:gd name="T11" fmla="*/ 89 h 117"/>
                <a:gd name="T12" fmla="*/ 56 w 110"/>
                <a:gd name="T13" fmla="*/ 93 h 117"/>
                <a:gd name="T14" fmla="*/ 73 w 110"/>
                <a:gd name="T15" fmla="*/ 88 h 117"/>
                <a:gd name="T16" fmla="*/ 78 w 110"/>
                <a:gd name="T17" fmla="*/ 81 h 117"/>
                <a:gd name="T18" fmla="*/ 108 w 110"/>
                <a:gd name="T19" fmla="*/ 81 h 117"/>
                <a:gd name="T20" fmla="*/ 97 w 110"/>
                <a:gd name="T21" fmla="*/ 101 h 117"/>
                <a:gd name="T22" fmla="*/ 56 w 110"/>
                <a:gd name="T23" fmla="*/ 117 h 117"/>
                <a:gd name="T24" fmla="*/ 17 w 110"/>
                <a:gd name="T25" fmla="*/ 103 h 117"/>
                <a:gd name="T26" fmla="*/ 0 w 110"/>
                <a:gd name="T27" fmla="*/ 59 h 117"/>
                <a:gd name="T28" fmla="*/ 15 w 110"/>
                <a:gd name="T29" fmla="*/ 15 h 117"/>
                <a:gd name="T30" fmla="*/ 55 w 110"/>
                <a:gd name="T31" fmla="*/ 0 h 117"/>
                <a:gd name="T32" fmla="*/ 81 w 110"/>
                <a:gd name="T33" fmla="*/ 5 h 117"/>
                <a:gd name="T34" fmla="*/ 37 w 110"/>
                <a:gd name="T35" fmla="*/ 30 h 117"/>
                <a:gd name="T36" fmla="*/ 30 w 110"/>
                <a:gd name="T37" fmla="*/ 47 h 117"/>
                <a:gd name="T38" fmla="*/ 79 w 110"/>
                <a:gd name="T39" fmla="*/ 47 h 117"/>
                <a:gd name="T40" fmla="*/ 72 w 110"/>
                <a:gd name="T41" fmla="*/ 29 h 117"/>
                <a:gd name="T42" fmla="*/ 55 w 110"/>
                <a:gd name="T43" fmla="*/ 23 h 117"/>
                <a:gd name="T44" fmla="*/ 37 w 110"/>
                <a:gd name="T45" fmla="*/ 3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0" h="117">
                  <a:moveTo>
                    <a:pt x="81" y="5"/>
                  </a:moveTo>
                  <a:cubicBezTo>
                    <a:pt x="88" y="8"/>
                    <a:pt x="95" y="14"/>
                    <a:pt x="100" y="21"/>
                  </a:cubicBezTo>
                  <a:cubicBezTo>
                    <a:pt x="104" y="28"/>
                    <a:pt x="107" y="35"/>
                    <a:pt x="108" y="44"/>
                  </a:cubicBezTo>
                  <a:cubicBezTo>
                    <a:pt x="109" y="49"/>
                    <a:pt x="110" y="56"/>
                    <a:pt x="109" y="66"/>
                  </a:cubicBezTo>
                  <a:cubicBezTo>
                    <a:pt x="29" y="66"/>
                    <a:pt x="29" y="66"/>
                    <a:pt x="29" y="66"/>
                  </a:cubicBezTo>
                  <a:cubicBezTo>
                    <a:pt x="29" y="77"/>
                    <a:pt x="33" y="85"/>
                    <a:pt x="41" y="89"/>
                  </a:cubicBezTo>
                  <a:cubicBezTo>
                    <a:pt x="45" y="92"/>
                    <a:pt x="50" y="93"/>
                    <a:pt x="56" y="93"/>
                  </a:cubicBezTo>
                  <a:cubicBezTo>
                    <a:pt x="63" y="93"/>
                    <a:pt x="68" y="92"/>
                    <a:pt x="73" y="88"/>
                  </a:cubicBezTo>
                  <a:cubicBezTo>
                    <a:pt x="75" y="86"/>
                    <a:pt x="77" y="84"/>
                    <a:pt x="78" y="81"/>
                  </a:cubicBezTo>
                  <a:cubicBezTo>
                    <a:pt x="108" y="81"/>
                    <a:pt x="108" y="81"/>
                    <a:pt x="108" y="81"/>
                  </a:cubicBezTo>
                  <a:cubicBezTo>
                    <a:pt x="107" y="87"/>
                    <a:pt x="104" y="94"/>
                    <a:pt x="97" y="101"/>
                  </a:cubicBezTo>
                  <a:cubicBezTo>
                    <a:pt x="87" y="111"/>
                    <a:pt x="73" y="117"/>
                    <a:pt x="56" y="117"/>
                  </a:cubicBezTo>
                  <a:cubicBezTo>
                    <a:pt x="41" y="117"/>
                    <a:pt x="28" y="112"/>
                    <a:pt x="17" y="103"/>
                  </a:cubicBezTo>
                  <a:cubicBezTo>
                    <a:pt x="6" y="94"/>
                    <a:pt x="0" y="79"/>
                    <a:pt x="0" y="59"/>
                  </a:cubicBezTo>
                  <a:cubicBezTo>
                    <a:pt x="0" y="40"/>
                    <a:pt x="5" y="25"/>
                    <a:pt x="15" y="15"/>
                  </a:cubicBezTo>
                  <a:cubicBezTo>
                    <a:pt x="25" y="5"/>
                    <a:pt x="38" y="0"/>
                    <a:pt x="55" y="0"/>
                  </a:cubicBezTo>
                  <a:cubicBezTo>
                    <a:pt x="64" y="0"/>
                    <a:pt x="73" y="1"/>
                    <a:pt x="81" y="5"/>
                  </a:cubicBezTo>
                  <a:close/>
                  <a:moveTo>
                    <a:pt x="37" y="30"/>
                  </a:moveTo>
                  <a:cubicBezTo>
                    <a:pt x="33" y="34"/>
                    <a:pt x="31" y="40"/>
                    <a:pt x="30" y="47"/>
                  </a:cubicBezTo>
                  <a:cubicBezTo>
                    <a:pt x="79" y="47"/>
                    <a:pt x="79" y="47"/>
                    <a:pt x="79" y="47"/>
                  </a:cubicBezTo>
                  <a:cubicBezTo>
                    <a:pt x="79" y="39"/>
                    <a:pt x="76" y="33"/>
                    <a:pt x="72" y="29"/>
                  </a:cubicBezTo>
                  <a:cubicBezTo>
                    <a:pt x="67" y="25"/>
                    <a:pt x="61" y="23"/>
                    <a:pt x="55" y="23"/>
                  </a:cubicBezTo>
                  <a:cubicBezTo>
                    <a:pt x="47" y="23"/>
                    <a:pt x="42" y="25"/>
                    <a:pt x="37" y="30"/>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endParaRPr lang="en-US" sz="3264"/>
            </a:p>
          </p:txBody>
        </p:sp>
        <p:sp>
          <p:nvSpPr>
            <p:cNvPr id="20" name="Rectangle 146"/>
            <p:cNvSpPr>
              <a:spLocks noChangeArrowheads="1"/>
            </p:cNvSpPr>
            <p:nvPr/>
          </p:nvSpPr>
          <p:spPr bwMode="invGray">
            <a:xfrm>
              <a:off x="8411177" y="1845659"/>
              <a:ext cx="152401" cy="42606"/>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124347" tIns="62174" rIns="124347" bIns="62174" numCol="1" anchor="t" anchorCtr="0" compatLnSpc="1">
              <a:prstTxWarp prst="textNoShape">
                <a:avLst/>
              </a:prstTxWarp>
            </a:bodyPr>
            <a:lstStyle/>
            <a:p>
              <a:endParaRPr lang="en-US" sz="3264"/>
            </a:p>
          </p:txBody>
        </p:sp>
      </p:grpSp>
      <p:sp>
        <p:nvSpPr>
          <p:cNvPr id="26" name="Oval 59"/>
          <p:cNvSpPr>
            <a:spLocks noChangeArrowheads="1"/>
          </p:cNvSpPr>
          <p:nvPr/>
        </p:nvSpPr>
        <p:spPr bwMode="invGray">
          <a:xfrm>
            <a:off x="6624584" y="3944370"/>
            <a:ext cx="1243471" cy="1243471"/>
          </a:xfrm>
          <a:prstGeom prst="ellipse">
            <a:avLst/>
          </a:prstGeom>
          <a:solidFill>
            <a:schemeClr val="accent1"/>
          </a:solidFill>
          <a:ln w="19050">
            <a:noFill/>
            <a:round/>
            <a:headEnd/>
            <a:tailEnd/>
          </a:ln>
        </p:spPr>
        <p:txBody>
          <a:bodyPr vert="horz" wrap="square" lIns="124347" tIns="62174" rIns="124347" bIns="62174" numCol="1" anchor="t" anchorCtr="0" compatLnSpc="1">
            <a:prstTxWarp prst="textNoShape">
              <a:avLst/>
            </a:prstTxWarp>
          </a:bodyPr>
          <a:lstStyle/>
          <a:p>
            <a:endParaRPr lang="en-US" sz="3264"/>
          </a:p>
        </p:txBody>
      </p:sp>
      <p:sp>
        <p:nvSpPr>
          <p:cNvPr id="27" name="Freeform 60"/>
          <p:cNvSpPr>
            <a:spLocks/>
          </p:cNvSpPr>
          <p:nvPr/>
        </p:nvSpPr>
        <p:spPr bwMode="invGray">
          <a:xfrm>
            <a:off x="6908104" y="4227892"/>
            <a:ext cx="676431" cy="676431"/>
          </a:xfrm>
          <a:custGeom>
            <a:avLst/>
            <a:gdLst>
              <a:gd name="T0" fmla="*/ 303 w 303"/>
              <a:gd name="T1" fmla="*/ 114 h 303"/>
              <a:gd name="T2" fmla="*/ 189 w 303"/>
              <a:gd name="T3" fmla="*/ 114 h 303"/>
              <a:gd name="T4" fmla="*/ 189 w 303"/>
              <a:gd name="T5" fmla="*/ 0 h 303"/>
              <a:gd name="T6" fmla="*/ 114 w 303"/>
              <a:gd name="T7" fmla="*/ 0 h 303"/>
              <a:gd name="T8" fmla="*/ 114 w 303"/>
              <a:gd name="T9" fmla="*/ 114 h 303"/>
              <a:gd name="T10" fmla="*/ 0 w 303"/>
              <a:gd name="T11" fmla="*/ 114 h 303"/>
              <a:gd name="T12" fmla="*/ 0 w 303"/>
              <a:gd name="T13" fmla="*/ 189 h 303"/>
              <a:gd name="T14" fmla="*/ 114 w 303"/>
              <a:gd name="T15" fmla="*/ 189 h 303"/>
              <a:gd name="T16" fmla="*/ 114 w 303"/>
              <a:gd name="T17" fmla="*/ 303 h 303"/>
              <a:gd name="T18" fmla="*/ 189 w 303"/>
              <a:gd name="T19" fmla="*/ 303 h 303"/>
              <a:gd name="T20" fmla="*/ 189 w 303"/>
              <a:gd name="T21" fmla="*/ 189 h 303"/>
              <a:gd name="T22" fmla="*/ 303 w 303"/>
              <a:gd name="T23" fmla="*/ 189 h 303"/>
              <a:gd name="T24" fmla="*/ 303 w 303"/>
              <a:gd name="T25" fmla="*/ 114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03" h="303">
                <a:moveTo>
                  <a:pt x="303" y="114"/>
                </a:moveTo>
                <a:lnTo>
                  <a:pt x="189" y="114"/>
                </a:lnTo>
                <a:lnTo>
                  <a:pt x="189" y="0"/>
                </a:lnTo>
                <a:lnTo>
                  <a:pt x="114" y="0"/>
                </a:lnTo>
                <a:lnTo>
                  <a:pt x="114" y="114"/>
                </a:lnTo>
                <a:lnTo>
                  <a:pt x="0" y="114"/>
                </a:lnTo>
                <a:lnTo>
                  <a:pt x="0" y="189"/>
                </a:lnTo>
                <a:lnTo>
                  <a:pt x="114" y="189"/>
                </a:lnTo>
                <a:lnTo>
                  <a:pt x="114" y="303"/>
                </a:lnTo>
                <a:lnTo>
                  <a:pt x="189" y="303"/>
                </a:lnTo>
                <a:lnTo>
                  <a:pt x="189" y="189"/>
                </a:lnTo>
                <a:lnTo>
                  <a:pt x="303" y="189"/>
                </a:lnTo>
                <a:lnTo>
                  <a:pt x="303" y="114"/>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endParaRPr lang="en-US" sz="3264"/>
          </a:p>
        </p:txBody>
      </p:sp>
      <p:sp>
        <p:nvSpPr>
          <p:cNvPr id="29" name="Oval 149"/>
          <p:cNvSpPr>
            <a:spLocks noChangeArrowheads="1"/>
          </p:cNvSpPr>
          <p:nvPr/>
        </p:nvSpPr>
        <p:spPr bwMode="invGray">
          <a:xfrm>
            <a:off x="10679144" y="3944370"/>
            <a:ext cx="1243471" cy="1243471"/>
          </a:xfrm>
          <a:prstGeom prst="ellipse">
            <a:avLst/>
          </a:prstGeom>
          <a:solidFill>
            <a:schemeClr val="accent1"/>
          </a:solidFill>
          <a:ln w="19050">
            <a:noFill/>
            <a:round/>
            <a:headEnd/>
            <a:tailEnd/>
          </a:ln>
        </p:spPr>
        <p:txBody>
          <a:bodyPr vert="horz" wrap="square" lIns="124347" tIns="62174" rIns="124347" bIns="62174" numCol="1" anchor="t" anchorCtr="0" compatLnSpc="1">
            <a:prstTxWarp prst="textNoShape">
              <a:avLst/>
            </a:prstTxWarp>
          </a:bodyPr>
          <a:lstStyle/>
          <a:p>
            <a:endParaRPr lang="en-US" sz="3264"/>
          </a:p>
        </p:txBody>
      </p:sp>
      <p:sp>
        <p:nvSpPr>
          <p:cNvPr id="30" name="Freeform 150"/>
          <p:cNvSpPr>
            <a:spLocks/>
          </p:cNvSpPr>
          <p:nvPr/>
        </p:nvSpPr>
        <p:spPr bwMode="invGray">
          <a:xfrm>
            <a:off x="11334307" y="4468993"/>
            <a:ext cx="84681" cy="158505"/>
          </a:xfrm>
          <a:custGeom>
            <a:avLst/>
            <a:gdLst>
              <a:gd name="T0" fmla="*/ 14 w 26"/>
              <a:gd name="T1" fmla="*/ 0 h 49"/>
              <a:gd name="T2" fmla="*/ 0 w 26"/>
              <a:gd name="T3" fmla="*/ 9 h 49"/>
              <a:gd name="T4" fmla="*/ 0 w 26"/>
              <a:gd name="T5" fmla="*/ 46 h 49"/>
              <a:gd name="T6" fmla="*/ 11 w 26"/>
              <a:gd name="T7" fmla="*/ 49 h 49"/>
              <a:gd name="T8" fmla="*/ 26 w 26"/>
              <a:gd name="T9" fmla="*/ 21 h 49"/>
              <a:gd name="T10" fmla="*/ 14 w 26"/>
              <a:gd name="T11" fmla="*/ 0 h 49"/>
            </a:gdLst>
            <a:ahLst/>
            <a:cxnLst>
              <a:cxn ang="0">
                <a:pos x="T0" y="T1"/>
              </a:cxn>
              <a:cxn ang="0">
                <a:pos x="T2" y="T3"/>
              </a:cxn>
              <a:cxn ang="0">
                <a:pos x="T4" y="T5"/>
              </a:cxn>
              <a:cxn ang="0">
                <a:pos x="T6" y="T7"/>
              </a:cxn>
              <a:cxn ang="0">
                <a:pos x="T8" y="T9"/>
              </a:cxn>
              <a:cxn ang="0">
                <a:pos x="T10" y="T11"/>
              </a:cxn>
            </a:cxnLst>
            <a:rect l="0" t="0" r="r" b="b"/>
            <a:pathLst>
              <a:path w="26" h="49">
                <a:moveTo>
                  <a:pt x="14" y="0"/>
                </a:moveTo>
                <a:cubicBezTo>
                  <a:pt x="8" y="0"/>
                  <a:pt x="3" y="4"/>
                  <a:pt x="0" y="9"/>
                </a:cubicBezTo>
                <a:cubicBezTo>
                  <a:pt x="0" y="46"/>
                  <a:pt x="0" y="46"/>
                  <a:pt x="0" y="46"/>
                </a:cubicBezTo>
                <a:cubicBezTo>
                  <a:pt x="3" y="47"/>
                  <a:pt x="7" y="49"/>
                  <a:pt x="11" y="49"/>
                </a:cubicBezTo>
                <a:cubicBezTo>
                  <a:pt x="25" y="49"/>
                  <a:pt x="26" y="30"/>
                  <a:pt x="26" y="21"/>
                </a:cubicBezTo>
                <a:cubicBezTo>
                  <a:pt x="26" y="13"/>
                  <a:pt x="25" y="0"/>
                  <a:pt x="14" y="0"/>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endParaRPr lang="en-US" sz="3264"/>
          </a:p>
        </p:txBody>
      </p:sp>
      <p:sp>
        <p:nvSpPr>
          <p:cNvPr id="31" name="Freeform 151"/>
          <p:cNvSpPr>
            <a:spLocks noEditPoints="1"/>
          </p:cNvSpPr>
          <p:nvPr/>
        </p:nvSpPr>
        <p:spPr bwMode="invGray">
          <a:xfrm>
            <a:off x="10955471" y="4198869"/>
            <a:ext cx="701960" cy="779124"/>
          </a:xfrm>
          <a:custGeom>
            <a:avLst/>
            <a:gdLst>
              <a:gd name="T0" fmla="*/ 218 w 218"/>
              <a:gd name="T1" fmla="*/ 0 h 242"/>
              <a:gd name="T2" fmla="*/ 64 w 218"/>
              <a:gd name="T3" fmla="*/ 0 h 242"/>
              <a:gd name="T4" fmla="*/ 43 w 218"/>
              <a:gd name="T5" fmla="*/ 16 h 242"/>
              <a:gd name="T6" fmla="*/ 0 w 218"/>
              <a:gd name="T7" fmla="*/ 242 h 242"/>
              <a:gd name="T8" fmla="*/ 202 w 218"/>
              <a:gd name="T9" fmla="*/ 171 h 242"/>
              <a:gd name="T10" fmla="*/ 218 w 218"/>
              <a:gd name="T11" fmla="*/ 155 h 242"/>
              <a:gd name="T12" fmla="*/ 218 w 218"/>
              <a:gd name="T13" fmla="*/ 0 h 242"/>
              <a:gd name="T14" fmla="*/ 128 w 218"/>
              <a:gd name="T15" fmla="*/ 153 h 242"/>
              <a:gd name="T16" fmla="*/ 91 w 218"/>
              <a:gd name="T17" fmla="*/ 141 h 242"/>
              <a:gd name="T18" fmla="*/ 91 w 218"/>
              <a:gd name="T19" fmla="*/ 29 h 242"/>
              <a:gd name="T20" fmla="*/ 118 w 218"/>
              <a:gd name="T21" fmla="*/ 28 h 242"/>
              <a:gd name="T22" fmla="*/ 118 w 218"/>
              <a:gd name="T23" fmla="*/ 72 h 242"/>
              <a:gd name="T24" fmla="*/ 136 w 218"/>
              <a:gd name="T25" fmla="*/ 63 h 242"/>
              <a:gd name="T26" fmla="*/ 172 w 218"/>
              <a:gd name="T27" fmla="*/ 103 h 242"/>
              <a:gd name="T28" fmla="*/ 128 w 218"/>
              <a:gd name="T29" fmla="*/ 153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8" h="242">
                <a:moveTo>
                  <a:pt x="218" y="0"/>
                </a:moveTo>
                <a:cubicBezTo>
                  <a:pt x="64" y="0"/>
                  <a:pt x="64" y="0"/>
                  <a:pt x="64" y="0"/>
                </a:cubicBezTo>
                <a:cubicBezTo>
                  <a:pt x="55" y="0"/>
                  <a:pt x="44" y="12"/>
                  <a:pt x="43" y="16"/>
                </a:cubicBezTo>
                <a:cubicBezTo>
                  <a:pt x="0" y="242"/>
                  <a:pt x="0" y="242"/>
                  <a:pt x="0" y="242"/>
                </a:cubicBezTo>
                <a:cubicBezTo>
                  <a:pt x="202" y="171"/>
                  <a:pt x="202" y="171"/>
                  <a:pt x="202" y="171"/>
                </a:cubicBezTo>
                <a:cubicBezTo>
                  <a:pt x="204" y="171"/>
                  <a:pt x="218" y="164"/>
                  <a:pt x="218" y="155"/>
                </a:cubicBezTo>
                <a:lnTo>
                  <a:pt x="218" y="0"/>
                </a:lnTo>
                <a:close/>
                <a:moveTo>
                  <a:pt x="128" y="153"/>
                </a:moveTo>
                <a:cubicBezTo>
                  <a:pt x="114" y="153"/>
                  <a:pt x="101" y="148"/>
                  <a:pt x="91" y="141"/>
                </a:cubicBezTo>
                <a:cubicBezTo>
                  <a:pt x="91" y="29"/>
                  <a:pt x="91" y="29"/>
                  <a:pt x="91" y="29"/>
                </a:cubicBezTo>
                <a:cubicBezTo>
                  <a:pt x="118" y="28"/>
                  <a:pt x="118" y="28"/>
                  <a:pt x="118" y="28"/>
                </a:cubicBezTo>
                <a:cubicBezTo>
                  <a:pt x="118" y="72"/>
                  <a:pt x="118" y="72"/>
                  <a:pt x="118" y="72"/>
                </a:cubicBezTo>
                <a:cubicBezTo>
                  <a:pt x="122" y="68"/>
                  <a:pt x="130" y="63"/>
                  <a:pt x="136" y="63"/>
                </a:cubicBezTo>
                <a:cubicBezTo>
                  <a:pt x="160" y="63"/>
                  <a:pt x="172" y="83"/>
                  <a:pt x="172" y="103"/>
                </a:cubicBezTo>
                <a:cubicBezTo>
                  <a:pt x="172" y="129"/>
                  <a:pt x="160" y="153"/>
                  <a:pt x="128" y="153"/>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endParaRPr lang="en-US" sz="3264"/>
          </a:p>
        </p:txBody>
      </p:sp>
      <p:sp>
        <p:nvSpPr>
          <p:cNvPr id="33" name="Oval 154"/>
          <p:cNvSpPr>
            <a:spLocks noChangeArrowheads="1"/>
          </p:cNvSpPr>
          <p:nvPr/>
        </p:nvSpPr>
        <p:spPr bwMode="invGray">
          <a:xfrm>
            <a:off x="542742" y="3944370"/>
            <a:ext cx="1243471" cy="1243471"/>
          </a:xfrm>
          <a:prstGeom prst="ellipse">
            <a:avLst/>
          </a:prstGeom>
          <a:solidFill>
            <a:schemeClr val="accent1"/>
          </a:solidFill>
          <a:ln w="19050">
            <a:noFill/>
            <a:round/>
            <a:headEnd/>
            <a:tailEnd/>
          </a:ln>
        </p:spPr>
        <p:txBody>
          <a:bodyPr vert="horz" wrap="square" lIns="124347" tIns="62174" rIns="124347" bIns="62174" numCol="1" anchor="t" anchorCtr="0" compatLnSpc="1">
            <a:prstTxWarp prst="textNoShape">
              <a:avLst/>
            </a:prstTxWarp>
          </a:bodyPr>
          <a:lstStyle/>
          <a:p>
            <a:endParaRPr lang="en-US" sz="3264"/>
          </a:p>
        </p:txBody>
      </p:sp>
      <p:sp>
        <p:nvSpPr>
          <p:cNvPr id="34" name="Freeform 155"/>
          <p:cNvSpPr>
            <a:spLocks noEditPoints="1"/>
          </p:cNvSpPr>
          <p:nvPr/>
        </p:nvSpPr>
        <p:spPr bwMode="invGray">
          <a:xfrm>
            <a:off x="832441" y="4185475"/>
            <a:ext cx="773270" cy="756799"/>
          </a:xfrm>
          <a:custGeom>
            <a:avLst/>
            <a:gdLst>
              <a:gd name="T0" fmla="*/ 167 w 240"/>
              <a:gd name="T1" fmla="*/ 0 h 235"/>
              <a:gd name="T2" fmla="*/ 51 w 240"/>
              <a:gd name="T3" fmla="*/ 0 h 235"/>
              <a:gd name="T4" fmla="*/ 0 w 240"/>
              <a:gd name="T5" fmla="*/ 235 h 235"/>
              <a:gd name="T6" fmla="*/ 68 w 240"/>
              <a:gd name="T7" fmla="*/ 235 h 235"/>
              <a:gd name="T8" fmla="*/ 84 w 240"/>
              <a:gd name="T9" fmla="*/ 157 h 235"/>
              <a:gd name="T10" fmla="*/ 133 w 240"/>
              <a:gd name="T11" fmla="*/ 157 h 235"/>
              <a:gd name="T12" fmla="*/ 228 w 240"/>
              <a:gd name="T13" fmla="*/ 80 h 235"/>
              <a:gd name="T14" fmla="*/ 167 w 240"/>
              <a:gd name="T15" fmla="*/ 0 h 235"/>
              <a:gd name="T16" fmla="*/ 165 w 240"/>
              <a:gd name="T17" fmla="*/ 80 h 235"/>
              <a:gd name="T18" fmla="*/ 126 w 240"/>
              <a:gd name="T19" fmla="*/ 112 h 235"/>
              <a:gd name="T20" fmla="*/ 94 w 240"/>
              <a:gd name="T21" fmla="*/ 112 h 235"/>
              <a:gd name="T22" fmla="*/ 109 w 240"/>
              <a:gd name="T23" fmla="*/ 48 h 235"/>
              <a:gd name="T24" fmla="*/ 142 w 240"/>
              <a:gd name="T25" fmla="*/ 48 h 235"/>
              <a:gd name="T26" fmla="*/ 165 w 240"/>
              <a:gd name="T27" fmla="*/ 80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0" h="235">
                <a:moveTo>
                  <a:pt x="167" y="0"/>
                </a:moveTo>
                <a:cubicBezTo>
                  <a:pt x="51" y="0"/>
                  <a:pt x="51" y="0"/>
                  <a:pt x="51" y="0"/>
                </a:cubicBezTo>
                <a:cubicBezTo>
                  <a:pt x="0" y="235"/>
                  <a:pt x="0" y="235"/>
                  <a:pt x="0" y="235"/>
                </a:cubicBezTo>
                <a:cubicBezTo>
                  <a:pt x="68" y="235"/>
                  <a:pt x="68" y="235"/>
                  <a:pt x="68" y="235"/>
                </a:cubicBezTo>
                <a:cubicBezTo>
                  <a:pt x="84" y="157"/>
                  <a:pt x="84" y="157"/>
                  <a:pt x="84" y="157"/>
                </a:cubicBezTo>
                <a:cubicBezTo>
                  <a:pt x="133" y="157"/>
                  <a:pt x="133" y="157"/>
                  <a:pt x="133" y="157"/>
                </a:cubicBezTo>
                <a:cubicBezTo>
                  <a:pt x="179" y="157"/>
                  <a:pt x="218" y="129"/>
                  <a:pt x="228" y="80"/>
                </a:cubicBezTo>
                <a:cubicBezTo>
                  <a:pt x="240" y="25"/>
                  <a:pt x="201" y="0"/>
                  <a:pt x="167" y="0"/>
                </a:cubicBezTo>
                <a:close/>
                <a:moveTo>
                  <a:pt x="165" y="80"/>
                </a:moveTo>
                <a:cubicBezTo>
                  <a:pt x="160" y="98"/>
                  <a:pt x="143" y="112"/>
                  <a:pt x="126" y="112"/>
                </a:cubicBezTo>
                <a:cubicBezTo>
                  <a:pt x="94" y="112"/>
                  <a:pt x="94" y="112"/>
                  <a:pt x="94" y="112"/>
                </a:cubicBezTo>
                <a:cubicBezTo>
                  <a:pt x="109" y="48"/>
                  <a:pt x="109" y="48"/>
                  <a:pt x="109" y="48"/>
                </a:cubicBezTo>
                <a:cubicBezTo>
                  <a:pt x="142" y="48"/>
                  <a:pt x="142" y="48"/>
                  <a:pt x="142" y="48"/>
                </a:cubicBezTo>
                <a:cubicBezTo>
                  <a:pt x="158" y="48"/>
                  <a:pt x="169" y="62"/>
                  <a:pt x="165" y="80"/>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endParaRPr lang="en-US" sz="3264"/>
          </a:p>
        </p:txBody>
      </p:sp>
      <p:sp>
        <p:nvSpPr>
          <p:cNvPr id="36" name="Oval 156"/>
          <p:cNvSpPr>
            <a:spLocks noChangeArrowheads="1"/>
          </p:cNvSpPr>
          <p:nvPr/>
        </p:nvSpPr>
        <p:spPr bwMode="invGray">
          <a:xfrm>
            <a:off x="2570023" y="3944370"/>
            <a:ext cx="1243471" cy="1243471"/>
          </a:xfrm>
          <a:prstGeom prst="ellipse">
            <a:avLst/>
          </a:prstGeom>
          <a:solidFill>
            <a:schemeClr val="accent1"/>
          </a:solidFill>
          <a:ln w="19050">
            <a:noFill/>
            <a:round/>
            <a:headEnd/>
            <a:tailEnd/>
          </a:ln>
        </p:spPr>
        <p:txBody>
          <a:bodyPr vert="horz" wrap="square" lIns="124347" tIns="62174" rIns="124347" bIns="62174" numCol="1" anchor="t" anchorCtr="0" compatLnSpc="1">
            <a:prstTxWarp prst="textNoShape">
              <a:avLst/>
            </a:prstTxWarp>
          </a:bodyPr>
          <a:lstStyle/>
          <a:p>
            <a:endParaRPr lang="en-US" sz="3264"/>
          </a:p>
        </p:txBody>
      </p:sp>
      <p:sp>
        <p:nvSpPr>
          <p:cNvPr id="37" name="Freeform 157"/>
          <p:cNvSpPr>
            <a:spLocks/>
          </p:cNvSpPr>
          <p:nvPr/>
        </p:nvSpPr>
        <p:spPr bwMode="invGray">
          <a:xfrm>
            <a:off x="3058052" y="4176130"/>
            <a:ext cx="296384" cy="296384"/>
          </a:xfrm>
          <a:custGeom>
            <a:avLst/>
            <a:gdLst>
              <a:gd name="T0" fmla="*/ 92 w 92"/>
              <a:gd name="T1" fmla="*/ 11 h 92"/>
              <a:gd name="T2" fmla="*/ 42 w 92"/>
              <a:gd name="T3" fmla="*/ 0 h 92"/>
              <a:gd name="T4" fmla="*/ 0 w 92"/>
              <a:gd name="T5" fmla="*/ 8 h 92"/>
              <a:gd name="T6" fmla="*/ 92 w 92"/>
              <a:gd name="T7" fmla="*/ 92 h 92"/>
              <a:gd name="T8" fmla="*/ 92 w 92"/>
              <a:gd name="T9" fmla="*/ 11 h 92"/>
            </a:gdLst>
            <a:ahLst/>
            <a:cxnLst>
              <a:cxn ang="0">
                <a:pos x="T0" y="T1"/>
              </a:cxn>
              <a:cxn ang="0">
                <a:pos x="T2" y="T3"/>
              </a:cxn>
              <a:cxn ang="0">
                <a:pos x="T4" y="T5"/>
              </a:cxn>
              <a:cxn ang="0">
                <a:pos x="T6" y="T7"/>
              </a:cxn>
              <a:cxn ang="0">
                <a:pos x="T8" y="T9"/>
              </a:cxn>
            </a:cxnLst>
            <a:rect l="0" t="0" r="r" b="b"/>
            <a:pathLst>
              <a:path w="92" h="92">
                <a:moveTo>
                  <a:pt x="92" y="11"/>
                </a:moveTo>
                <a:cubicBezTo>
                  <a:pt x="76" y="4"/>
                  <a:pt x="59" y="0"/>
                  <a:pt x="42" y="0"/>
                </a:cubicBezTo>
                <a:cubicBezTo>
                  <a:pt x="27" y="0"/>
                  <a:pt x="13" y="3"/>
                  <a:pt x="0" y="8"/>
                </a:cubicBezTo>
                <a:cubicBezTo>
                  <a:pt x="3" y="11"/>
                  <a:pt x="87" y="88"/>
                  <a:pt x="92" y="92"/>
                </a:cubicBezTo>
                <a:cubicBezTo>
                  <a:pt x="92" y="86"/>
                  <a:pt x="92" y="13"/>
                  <a:pt x="92" y="11"/>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endParaRPr lang="en-US" sz="3264"/>
          </a:p>
        </p:txBody>
      </p:sp>
      <p:sp>
        <p:nvSpPr>
          <p:cNvPr id="38" name="Freeform 158"/>
          <p:cNvSpPr>
            <a:spLocks/>
          </p:cNvSpPr>
          <p:nvPr/>
        </p:nvSpPr>
        <p:spPr bwMode="invGray">
          <a:xfrm>
            <a:off x="2832980" y="4563878"/>
            <a:ext cx="160448" cy="334265"/>
          </a:xfrm>
          <a:custGeom>
            <a:avLst/>
            <a:gdLst>
              <a:gd name="T0" fmla="*/ 50 w 50"/>
              <a:gd name="T1" fmla="*/ 104 h 104"/>
              <a:gd name="T2" fmla="*/ 50 w 50"/>
              <a:gd name="T3" fmla="*/ 0 h 104"/>
              <a:gd name="T4" fmla="*/ 0 w 50"/>
              <a:gd name="T5" fmla="*/ 46 h 104"/>
              <a:gd name="T6" fmla="*/ 50 w 50"/>
              <a:gd name="T7" fmla="*/ 104 h 104"/>
            </a:gdLst>
            <a:ahLst/>
            <a:cxnLst>
              <a:cxn ang="0">
                <a:pos x="T0" y="T1"/>
              </a:cxn>
              <a:cxn ang="0">
                <a:pos x="T2" y="T3"/>
              </a:cxn>
              <a:cxn ang="0">
                <a:pos x="T4" y="T5"/>
              </a:cxn>
              <a:cxn ang="0">
                <a:pos x="T6" y="T7"/>
              </a:cxn>
            </a:cxnLst>
            <a:rect l="0" t="0" r="r" b="b"/>
            <a:pathLst>
              <a:path w="50" h="104">
                <a:moveTo>
                  <a:pt x="50" y="104"/>
                </a:moveTo>
                <a:cubicBezTo>
                  <a:pt x="50" y="99"/>
                  <a:pt x="50" y="6"/>
                  <a:pt x="50" y="0"/>
                </a:cubicBezTo>
                <a:cubicBezTo>
                  <a:pt x="46" y="4"/>
                  <a:pt x="1" y="44"/>
                  <a:pt x="0" y="46"/>
                </a:cubicBezTo>
                <a:cubicBezTo>
                  <a:pt x="9" y="70"/>
                  <a:pt x="27" y="90"/>
                  <a:pt x="50" y="104"/>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endParaRPr lang="en-US" sz="3264"/>
          </a:p>
        </p:txBody>
      </p:sp>
      <p:sp>
        <p:nvSpPr>
          <p:cNvPr id="39" name="Freeform 159"/>
          <p:cNvSpPr>
            <a:spLocks/>
          </p:cNvSpPr>
          <p:nvPr/>
        </p:nvSpPr>
        <p:spPr bwMode="invGray">
          <a:xfrm>
            <a:off x="2804008" y="4220698"/>
            <a:ext cx="356551" cy="445688"/>
          </a:xfrm>
          <a:custGeom>
            <a:avLst/>
            <a:gdLst>
              <a:gd name="T0" fmla="*/ 0 w 111"/>
              <a:gd name="T1" fmla="*/ 107 h 138"/>
              <a:gd name="T2" fmla="*/ 4 w 111"/>
              <a:gd name="T3" fmla="*/ 138 h 138"/>
              <a:gd name="T4" fmla="*/ 111 w 111"/>
              <a:gd name="T5" fmla="*/ 41 h 138"/>
              <a:gd name="T6" fmla="*/ 66 w 111"/>
              <a:gd name="T7" fmla="*/ 0 h 138"/>
              <a:gd name="T8" fmla="*/ 0 w 111"/>
              <a:gd name="T9" fmla="*/ 107 h 138"/>
            </a:gdLst>
            <a:ahLst/>
            <a:cxnLst>
              <a:cxn ang="0">
                <a:pos x="T0" y="T1"/>
              </a:cxn>
              <a:cxn ang="0">
                <a:pos x="T2" y="T3"/>
              </a:cxn>
              <a:cxn ang="0">
                <a:pos x="T4" y="T5"/>
              </a:cxn>
              <a:cxn ang="0">
                <a:pos x="T6" y="T7"/>
              </a:cxn>
              <a:cxn ang="0">
                <a:pos x="T8" y="T9"/>
              </a:cxn>
            </a:cxnLst>
            <a:rect l="0" t="0" r="r" b="b"/>
            <a:pathLst>
              <a:path w="111" h="138">
                <a:moveTo>
                  <a:pt x="0" y="107"/>
                </a:moveTo>
                <a:cubicBezTo>
                  <a:pt x="0" y="117"/>
                  <a:pt x="2" y="128"/>
                  <a:pt x="4" y="138"/>
                </a:cubicBezTo>
                <a:cubicBezTo>
                  <a:pt x="8" y="135"/>
                  <a:pt x="109" y="43"/>
                  <a:pt x="111" y="41"/>
                </a:cubicBezTo>
                <a:cubicBezTo>
                  <a:pt x="109" y="39"/>
                  <a:pt x="67" y="1"/>
                  <a:pt x="66" y="0"/>
                </a:cubicBezTo>
                <a:cubicBezTo>
                  <a:pt x="25" y="20"/>
                  <a:pt x="0" y="61"/>
                  <a:pt x="0" y="107"/>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endParaRPr lang="en-US" sz="3264"/>
          </a:p>
        </p:txBody>
      </p:sp>
      <p:sp>
        <p:nvSpPr>
          <p:cNvPr id="40" name="Freeform 160"/>
          <p:cNvSpPr>
            <a:spLocks/>
          </p:cNvSpPr>
          <p:nvPr/>
        </p:nvSpPr>
        <p:spPr bwMode="invGray">
          <a:xfrm>
            <a:off x="3031309" y="4733239"/>
            <a:ext cx="508085" cy="218388"/>
          </a:xfrm>
          <a:custGeom>
            <a:avLst/>
            <a:gdLst>
              <a:gd name="T0" fmla="*/ 0 w 158"/>
              <a:gd name="T1" fmla="*/ 0 h 68"/>
              <a:gd name="T2" fmla="*/ 0 w 158"/>
              <a:gd name="T3" fmla="*/ 58 h 68"/>
              <a:gd name="T4" fmla="*/ 39 w 158"/>
              <a:gd name="T5" fmla="*/ 68 h 68"/>
              <a:gd name="T6" fmla="*/ 61 w 158"/>
              <a:gd name="T7" fmla="*/ 68 h 68"/>
              <a:gd name="T8" fmla="*/ 158 w 158"/>
              <a:gd name="T9" fmla="*/ 0 h 68"/>
              <a:gd name="T10" fmla="*/ 0 w 158"/>
              <a:gd name="T11" fmla="*/ 0 h 68"/>
            </a:gdLst>
            <a:ahLst/>
            <a:cxnLst>
              <a:cxn ang="0">
                <a:pos x="T0" y="T1"/>
              </a:cxn>
              <a:cxn ang="0">
                <a:pos x="T2" y="T3"/>
              </a:cxn>
              <a:cxn ang="0">
                <a:pos x="T4" y="T5"/>
              </a:cxn>
              <a:cxn ang="0">
                <a:pos x="T6" y="T7"/>
              </a:cxn>
              <a:cxn ang="0">
                <a:pos x="T8" y="T9"/>
              </a:cxn>
              <a:cxn ang="0">
                <a:pos x="T10" y="T11"/>
              </a:cxn>
            </a:cxnLst>
            <a:rect l="0" t="0" r="r" b="b"/>
            <a:pathLst>
              <a:path w="158" h="68">
                <a:moveTo>
                  <a:pt x="0" y="0"/>
                </a:moveTo>
                <a:cubicBezTo>
                  <a:pt x="0" y="3"/>
                  <a:pt x="0" y="56"/>
                  <a:pt x="0" y="58"/>
                </a:cubicBezTo>
                <a:cubicBezTo>
                  <a:pt x="13" y="64"/>
                  <a:pt x="25" y="67"/>
                  <a:pt x="39" y="68"/>
                </a:cubicBezTo>
                <a:cubicBezTo>
                  <a:pt x="61" y="68"/>
                  <a:pt x="61" y="68"/>
                  <a:pt x="61" y="68"/>
                </a:cubicBezTo>
                <a:cubicBezTo>
                  <a:pt x="102" y="64"/>
                  <a:pt x="140" y="39"/>
                  <a:pt x="158" y="0"/>
                </a:cubicBezTo>
                <a:cubicBezTo>
                  <a:pt x="154" y="0"/>
                  <a:pt x="3" y="0"/>
                  <a:pt x="0" y="0"/>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endParaRPr lang="en-US" sz="3264"/>
          </a:p>
        </p:txBody>
      </p:sp>
      <p:sp>
        <p:nvSpPr>
          <p:cNvPr id="41" name="Freeform 161"/>
          <p:cNvSpPr>
            <a:spLocks/>
          </p:cNvSpPr>
          <p:nvPr/>
        </p:nvSpPr>
        <p:spPr bwMode="invGray">
          <a:xfrm>
            <a:off x="3392317" y="4234069"/>
            <a:ext cx="187190" cy="461288"/>
          </a:xfrm>
          <a:custGeom>
            <a:avLst/>
            <a:gdLst>
              <a:gd name="T0" fmla="*/ 0 w 58"/>
              <a:gd name="T1" fmla="*/ 0 h 143"/>
              <a:gd name="T2" fmla="*/ 0 w 58"/>
              <a:gd name="T3" fmla="*/ 143 h 143"/>
              <a:gd name="T4" fmla="*/ 52 w 58"/>
              <a:gd name="T5" fmla="*/ 143 h 143"/>
              <a:gd name="T6" fmla="*/ 58 w 58"/>
              <a:gd name="T7" fmla="*/ 103 h 143"/>
              <a:gd name="T8" fmla="*/ 0 w 58"/>
              <a:gd name="T9" fmla="*/ 0 h 143"/>
            </a:gdLst>
            <a:ahLst/>
            <a:cxnLst>
              <a:cxn ang="0">
                <a:pos x="T0" y="T1"/>
              </a:cxn>
              <a:cxn ang="0">
                <a:pos x="T2" y="T3"/>
              </a:cxn>
              <a:cxn ang="0">
                <a:pos x="T4" y="T5"/>
              </a:cxn>
              <a:cxn ang="0">
                <a:pos x="T6" y="T7"/>
              </a:cxn>
              <a:cxn ang="0">
                <a:pos x="T8" y="T9"/>
              </a:cxn>
            </a:cxnLst>
            <a:rect l="0" t="0" r="r" b="b"/>
            <a:pathLst>
              <a:path w="58" h="143">
                <a:moveTo>
                  <a:pt x="0" y="0"/>
                </a:moveTo>
                <a:cubicBezTo>
                  <a:pt x="0" y="5"/>
                  <a:pt x="0" y="140"/>
                  <a:pt x="0" y="143"/>
                </a:cubicBezTo>
                <a:cubicBezTo>
                  <a:pt x="3" y="143"/>
                  <a:pt x="50" y="143"/>
                  <a:pt x="52" y="143"/>
                </a:cubicBezTo>
                <a:cubicBezTo>
                  <a:pt x="56" y="130"/>
                  <a:pt x="58" y="116"/>
                  <a:pt x="58" y="103"/>
                </a:cubicBezTo>
                <a:cubicBezTo>
                  <a:pt x="58" y="61"/>
                  <a:pt x="36" y="22"/>
                  <a:pt x="0" y="0"/>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endParaRPr lang="en-US" sz="3264"/>
          </a:p>
        </p:txBody>
      </p:sp>
      <p:sp>
        <p:nvSpPr>
          <p:cNvPr id="43" name="Oval 162"/>
          <p:cNvSpPr>
            <a:spLocks noChangeArrowheads="1"/>
          </p:cNvSpPr>
          <p:nvPr/>
        </p:nvSpPr>
        <p:spPr bwMode="invGray">
          <a:xfrm>
            <a:off x="4597303" y="3944370"/>
            <a:ext cx="1243471" cy="1243471"/>
          </a:xfrm>
          <a:prstGeom prst="ellipse">
            <a:avLst/>
          </a:prstGeom>
          <a:solidFill>
            <a:schemeClr val="accent1"/>
          </a:solidFill>
          <a:ln w="19050">
            <a:noFill/>
            <a:round/>
            <a:headEnd/>
            <a:tailEnd/>
          </a:ln>
        </p:spPr>
        <p:txBody>
          <a:bodyPr vert="horz" wrap="square" lIns="124347" tIns="62174" rIns="124347" bIns="62174" numCol="1" anchor="t" anchorCtr="0" compatLnSpc="1">
            <a:prstTxWarp prst="textNoShape">
              <a:avLst/>
            </a:prstTxWarp>
          </a:bodyPr>
          <a:lstStyle/>
          <a:p>
            <a:endParaRPr lang="en-US" sz="3264"/>
          </a:p>
        </p:txBody>
      </p:sp>
      <p:sp>
        <p:nvSpPr>
          <p:cNvPr id="44" name="Freeform 163"/>
          <p:cNvSpPr>
            <a:spLocks noEditPoints="1"/>
          </p:cNvSpPr>
          <p:nvPr/>
        </p:nvSpPr>
        <p:spPr bwMode="invGray">
          <a:xfrm>
            <a:off x="5014772" y="4247984"/>
            <a:ext cx="484441" cy="776889"/>
          </a:xfrm>
          <a:custGeom>
            <a:avLst/>
            <a:gdLst>
              <a:gd name="T0" fmla="*/ 0 w 150"/>
              <a:gd name="T1" fmla="*/ 5 h 241"/>
              <a:gd name="T2" fmla="*/ 28 w 150"/>
              <a:gd name="T3" fmla="*/ 5 h 241"/>
              <a:gd name="T4" fmla="*/ 28 w 150"/>
              <a:gd name="T5" fmla="*/ 27 h 241"/>
              <a:gd name="T6" fmla="*/ 47 w 150"/>
              <a:gd name="T7" fmla="*/ 9 h 241"/>
              <a:gd name="T8" fmla="*/ 81 w 150"/>
              <a:gd name="T9" fmla="*/ 0 h 241"/>
              <a:gd name="T10" fmla="*/ 130 w 150"/>
              <a:gd name="T11" fmla="*/ 22 h 241"/>
              <a:gd name="T12" fmla="*/ 150 w 150"/>
              <a:gd name="T13" fmla="*/ 85 h 241"/>
              <a:gd name="T14" fmla="*/ 121 w 150"/>
              <a:gd name="T15" fmla="*/ 164 h 241"/>
              <a:gd name="T16" fmla="*/ 78 w 150"/>
              <a:gd name="T17" fmla="*/ 179 h 241"/>
              <a:gd name="T18" fmla="*/ 46 w 150"/>
              <a:gd name="T19" fmla="*/ 171 h 241"/>
              <a:gd name="T20" fmla="*/ 29 w 150"/>
              <a:gd name="T21" fmla="*/ 155 h 241"/>
              <a:gd name="T22" fmla="*/ 29 w 150"/>
              <a:gd name="T23" fmla="*/ 241 h 241"/>
              <a:gd name="T24" fmla="*/ 0 w 150"/>
              <a:gd name="T25" fmla="*/ 241 h 241"/>
              <a:gd name="T26" fmla="*/ 0 w 150"/>
              <a:gd name="T27" fmla="*/ 5 h 241"/>
              <a:gd name="T28" fmla="*/ 108 w 150"/>
              <a:gd name="T29" fmla="*/ 138 h 241"/>
              <a:gd name="T30" fmla="*/ 121 w 150"/>
              <a:gd name="T31" fmla="*/ 88 h 241"/>
              <a:gd name="T32" fmla="*/ 115 w 150"/>
              <a:gd name="T33" fmla="*/ 53 h 241"/>
              <a:gd name="T34" fmla="*/ 74 w 150"/>
              <a:gd name="T35" fmla="*/ 25 h 241"/>
              <a:gd name="T36" fmla="*/ 34 w 150"/>
              <a:gd name="T37" fmla="*/ 55 h 241"/>
              <a:gd name="T38" fmla="*/ 28 w 150"/>
              <a:gd name="T39" fmla="*/ 95 h 241"/>
              <a:gd name="T40" fmla="*/ 34 w 150"/>
              <a:gd name="T41" fmla="*/ 128 h 241"/>
              <a:gd name="T42" fmla="*/ 74 w 150"/>
              <a:gd name="T43" fmla="*/ 155 h 241"/>
              <a:gd name="T44" fmla="*/ 108 w 150"/>
              <a:gd name="T45" fmla="*/ 138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50" h="241">
                <a:moveTo>
                  <a:pt x="0" y="5"/>
                </a:moveTo>
                <a:cubicBezTo>
                  <a:pt x="28" y="5"/>
                  <a:pt x="28" y="5"/>
                  <a:pt x="28" y="5"/>
                </a:cubicBezTo>
                <a:cubicBezTo>
                  <a:pt x="28" y="27"/>
                  <a:pt x="28" y="27"/>
                  <a:pt x="28" y="27"/>
                </a:cubicBezTo>
                <a:cubicBezTo>
                  <a:pt x="34" y="20"/>
                  <a:pt x="40" y="14"/>
                  <a:pt x="47" y="9"/>
                </a:cubicBezTo>
                <a:cubicBezTo>
                  <a:pt x="57" y="3"/>
                  <a:pt x="68" y="0"/>
                  <a:pt x="81" y="0"/>
                </a:cubicBezTo>
                <a:cubicBezTo>
                  <a:pt x="100" y="0"/>
                  <a:pt x="117" y="7"/>
                  <a:pt x="130" y="22"/>
                </a:cubicBezTo>
                <a:cubicBezTo>
                  <a:pt x="144" y="37"/>
                  <a:pt x="150" y="58"/>
                  <a:pt x="150" y="85"/>
                </a:cubicBezTo>
                <a:cubicBezTo>
                  <a:pt x="150" y="122"/>
                  <a:pt x="141" y="149"/>
                  <a:pt x="121" y="164"/>
                </a:cubicBezTo>
                <a:cubicBezTo>
                  <a:pt x="109" y="174"/>
                  <a:pt x="95" y="179"/>
                  <a:pt x="78" y="179"/>
                </a:cubicBezTo>
                <a:cubicBezTo>
                  <a:pt x="65" y="179"/>
                  <a:pt x="55" y="177"/>
                  <a:pt x="46" y="171"/>
                </a:cubicBezTo>
                <a:cubicBezTo>
                  <a:pt x="41" y="168"/>
                  <a:pt x="35" y="162"/>
                  <a:pt x="29" y="155"/>
                </a:cubicBezTo>
                <a:cubicBezTo>
                  <a:pt x="29" y="241"/>
                  <a:pt x="29" y="241"/>
                  <a:pt x="29" y="241"/>
                </a:cubicBezTo>
                <a:cubicBezTo>
                  <a:pt x="0" y="241"/>
                  <a:pt x="0" y="241"/>
                  <a:pt x="0" y="241"/>
                </a:cubicBezTo>
                <a:lnTo>
                  <a:pt x="0" y="5"/>
                </a:lnTo>
                <a:close/>
                <a:moveTo>
                  <a:pt x="108" y="138"/>
                </a:moveTo>
                <a:cubicBezTo>
                  <a:pt x="117" y="127"/>
                  <a:pt x="121" y="110"/>
                  <a:pt x="121" y="88"/>
                </a:cubicBezTo>
                <a:cubicBezTo>
                  <a:pt x="121" y="74"/>
                  <a:pt x="119" y="63"/>
                  <a:pt x="115" y="53"/>
                </a:cubicBezTo>
                <a:cubicBezTo>
                  <a:pt x="108" y="34"/>
                  <a:pt x="94" y="25"/>
                  <a:pt x="74" y="25"/>
                </a:cubicBezTo>
                <a:cubicBezTo>
                  <a:pt x="55" y="25"/>
                  <a:pt x="41" y="35"/>
                  <a:pt x="34" y="55"/>
                </a:cubicBezTo>
                <a:cubicBezTo>
                  <a:pt x="30" y="65"/>
                  <a:pt x="28" y="79"/>
                  <a:pt x="28" y="95"/>
                </a:cubicBezTo>
                <a:cubicBezTo>
                  <a:pt x="28" y="108"/>
                  <a:pt x="30" y="119"/>
                  <a:pt x="34" y="128"/>
                </a:cubicBezTo>
                <a:cubicBezTo>
                  <a:pt x="41" y="146"/>
                  <a:pt x="55" y="155"/>
                  <a:pt x="74" y="155"/>
                </a:cubicBezTo>
                <a:cubicBezTo>
                  <a:pt x="88" y="155"/>
                  <a:pt x="99" y="149"/>
                  <a:pt x="108" y="138"/>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endParaRPr lang="en-US" sz="3264"/>
          </a:p>
        </p:txBody>
      </p:sp>
      <p:sp>
        <p:nvSpPr>
          <p:cNvPr id="9225" name="Oval 21"/>
          <p:cNvSpPr>
            <a:spLocks noChangeArrowheads="1"/>
          </p:cNvSpPr>
          <p:nvPr/>
        </p:nvSpPr>
        <p:spPr bwMode="invGray">
          <a:xfrm>
            <a:off x="8651866" y="2108748"/>
            <a:ext cx="1243471" cy="1243471"/>
          </a:xfrm>
          <a:prstGeom prst="ellipse">
            <a:avLst/>
          </a:prstGeom>
          <a:solidFill>
            <a:schemeClr val="accent1"/>
          </a:solidFill>
          <a:ln w="19050">
            <a:noFill/>
            <a:round/>
            <a:headEnd/>
            <a:tailEnd/>
          </a:ln>
        </p:spPr>
        <p:txBody>
          <a:bodyPr vert="horz" wrap="square" lIns="124347" tIns="62174" rIns="124347" bIns="62174" numCol="1" anchor="t" anchorCtr="0" compatLnSpc="1">
            <a:prstTxWarp prst="textNoShape">
              <a:avLst/>
            </a:prstTxWarp>
          </a:bodyPr>
          <a:lstStyle/>
          <a:p>
            <a:endParaRPr lang="en-US" sz="3264"/>
          </a:p>
        </p:txBody>
      </p:sp>
      <p:grpSp>
        <p:nvGrpSpPr>
          <p:cNvPr id="9228" name="Group 9227"/>
          <p:cNvGrpSpPr/>
          <p:nvPr/>
        </p:nvGrpSpPr>
        <p:grpSpPr bwMode="invGray">
          <a:xfrm>
            <a:off x="8929025" y="2342495"/>
            <a:ext cx="689152" cy="775979"/>
            <a:chOff x="1938338" y="-1497012"/>
            <a:chExt cx="803275" cy="906462"/>
          </a:xfrm>
        </p:grpSpPr>
        <p:sp>
          <p:nvSpPr>
            <p:cNvPr id="9226" name="Freeform 22"/>
            <p:cNvSpPr>
              <a:spLocks/>
            </p:cNvSpPr>
            <p:nvPr/>
          </p:nvSpPr>
          <p:spPr bwMode="invGray">
            <a:xfrm>
              <a:off x="1938338" y="-1285875"/>
              <a:ext cx="803275" cy="695325"/>
            </a:xfrm>
            <a:custGeom>
              <a:avLst/>
              <a:gdLst>
                <a:gd name="T0" fmla="*/ 214 w 214"/>
                <a:gd name="T1" fmla="*/ 121 h 185"/>
                <a:gd name="T2" fmla="*/ 198 w 214"/>
                <a:gd name="T3" fmla="*/ 150 h 185"/>
                <a:gd name="T4" fmla="*/ 156 w 214"/>
                <a:gd name="T5" fmla="*/ 185 h 185"/>
                <a:gd name="T6" fmla="*/ 115 w 214"/>
                <a:gd name="T7" fmla="*/ 175 h 185"/>
                <a:gd name="T8" fmla="*/ 73 w 214"/>
                <a:gd name="T9" fmla="*/ 185 h 185"/>
                <a:gd name="T10" fmla="*/ 31 w 214"/>
                <a:gd name="T11" fmla="*/ 152 h 185"/>
                <a:gd name="T12" fmla="*/ 17 w 214"/>
                <a:gd name="T13" fmla="*/ 31 h 185"/>
                <a:gd name="T14" fmla="*/ 68 w 214"/>
                <a:gd name="T15" fmla="*/ 0 h 185"/>
                <a:gd name="T16" fmla="*/ 115 w 214"/>
                <a:gd name="T17" fmla="*/ 11 h 185"/>
                <a:gd name="T18" fmla="*/ 161 w 214"/>
                <a:gd name="T19" fmla="*/ 0 h 185"/>
                <a:gd name="T20" fmla="*/ 207 w 214"/>
                <a:gd name="T21" fmla="*/ 25 h 185"/>
                <a:gd name="T22" fmla="*/ 214 w 214"/>
                <a:gd name="T23" fmla="*/ 121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4" h="185">
                  <a:moveTo>
                    <a:pt x="214" y="121"/>
                  </a:moveTo>
                  <a:cubicBezTo>
                    <a:pt x="208" y="133"/>
                    <a:pt x="206" y="139"/>
                    <a:pt x="198" y="150"/>
                  </a:cubicBezTo>
                  <a:cubicBezTo>
                    <a:pt x="188" y="166"/>
                    <a:pt x="174" y="185"/>
                    <a:pt x="156" y="185"/>
                  </a:cubicBezTo>
                  <a:cubicBezTo>
                    <a:pt x="140" y="185"/>
                    <a:pt x="136" y="175"/>
                    <a:pt x="115" y="175"/>
                  </a:cubicBezTo>
                  <a:cubicBezTo>
                    <a:pt x="93" y="175"/>
                    <a:pt x="89" y="185"/>
                    <a:pt x="73" y="185"/>
                  </a:cubicBezTo>
                  <a:cubicBezTo>
                    <a:pt x="55" y="185"/>
                    <a:pt x="42" y="168"/>
                    <a:pt x="31" y="152"/>
                  </a:cubicBezTo>
                  <a:cubicBezTo>
                    <a:pt x="3" y="109"/>
                    <a:pt x="0" y="58"/>
                    <a:pt x="17" y="31"/>
                  </a:cubicBezTo>
                  <a:cubicBezTo>
                    <a:pt x="30" y="12"/>
                    <a:pt x="50" y="0"/>
                    <a:pt x="68" y="0"/>
                  </a:cubicBezTo>
                  <a:cubicBezTo>
                    <a:pt x="87" y="0"/>
                    <a:pt x="99" y="11"/>
                    <a:pt x="115" y="11"/>
                  </a:cubicBezTo>
                  <a:cubicBezTo>
                    <a:pt x="130" y="11"/>
                    <a:pt x="139" y="0"/>
                    <a:pt x="161" y="0"/>
                  </a:cubicBezTo>
                  <a:cubicBezTo>
                    <a:pt x="177" y="0"/>
                    <a:pt x="195" y="9"/>
                    <a:pt x="207" y="25"/>
                  </a:cubicBezTo>
                  <a:cubicBezTo>
                    <a:pt x="166" y="47"/>
                    <a:pt x="173" y="105"/>
                    <a:pt x="214" y="121"/>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endParaRPr lang="en-US" sz="3264"/>
            </a:p>
          </p:txBody>
        </p:sp>
        <p:sp>
          <p:nvSpPr>
            <p:cNvPr id="9227" name="Freeform 23"/>
            <p:cNvSpPr>
              <a:spLocks/>
            </p:cNvSpPr>
            <p:nvPr/>
          </p:nvSpPr>
          <p:spPr bwMode="invGray">
            <a:xfrm>
              <a:off x="2328863" y="-1497012"/>
              <a:ext cx="203200" cy="219075"/>
            </a:xfrm>
            <a:custGeom>
              <a:avLst/>
              <a:gdLst>
                <a:gd name="T0" fmla="*/ 40 w 54"/>
                <a:gd name="T1" fmla="*/ 39 h 58"/>
                <a:gd name="T2" fmla="*/ 52 w 54"/>
                <a:gd name="T3" fmla="*/ 0 h 58"/>
                <a:gd name="T4" fmla="*/ 15 w 54"/>
                <a:gd name="T5" fmla="*/ 20 h 58"/>
                <a:gd name="T6" fmla="*/ 3 w 54"/>
                <a:gd name="T7" fmla="*/ 58 h 58"/>
                <a:gd name="T8" fmla="*/ 40 w 54"/>
                <a:gd name="T9" fmla="*/ 39 h 58"/>
              </a:gdLst>
              <a:ahLst/>
              <a:cxnLst>
                <a:cxn ang="0">
                  <a:pos x="T0" y="T1"/>
                </a:cxn>
                <a:cxn ang="0">
                  <a:pos x="T2" y="T3"/>
                </a:cxn>
                <a:cxn ang="0">
                  <a:pos x="T4" y="T5"/>
                </a:cxn>
                <a:cxn ang="0">
                  <a:pos x="T6" y="T7"/>
                </a:cxn>
                <a:cxn ang="0">
                  <a:pos x="T8" y="T9"/>
                </a:cxn>
              </a:cxnLst>
              <a:rect l="0" t="0" r="r" b="b"/>
              <a:pathLst>
                <a:path w="54" h="58">
                  <a:moveTo>
                    <a:pt x="40" y="39"/>
                  </a:moveTo>
                  <a:cubicBezTo>
                    <a:pt x="48" y="29"/>
                    <a:pt x="54" y="14"/>
                    <a:pt x="52" y="0"/>
                  </a:cubicBezTo>
                  <a:cubicBezTo>
                    <a:pt x="39" y="1"/>
                    <a:pt x="24" y="9"/>
                    <a:pt x="15" y="20"/>
                  </a:cubicBezTo>
                  <a:cubicBezTo>
                    <a:pt x="7" y="29"/>
                    <a:pt x="0" y="44"/>
                    <a:pt x="3" y="58"/>
                  </a:cubicBezTo>
                  <a:cubicBezTo>
                    <a:pt x="17" y="58"/>
                    <a:pt x="32" y="50"/>
                    <a:pt x="40" y="39"/>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endParaRPr lang="en-US" sz="3264"/>
            </a:p>
          </p:txBody>
        </p:sp>
      </p:grpSp>
      <p:sp>
        <p:nvSpPr>
          <p:cNvPr id="9230" name="Title 9229"/>
          <p:cNvSpPr>
            <a:spLocks noGrp="1"/>
          </p:cNvSpPr>
          <p:nvPr>
            <p:ph type="title"/>
          </p:nvPr>
        </p:nvSpPr>
        <p:spPr/>
        <p:txBody>
          <a:bodyPr/>
          <a:lstStyle/>
          <a:p>
            <a:r>
              <a:rPr lang="en-US" dirty="0"/>
              <a:t>vector</a:t>
            </a:r>
          </a:p>
        </p:txBody>
      </p:sp>
      <p:sp>
        <p:nvSpPr>
          <p:cNvPr id="9231" name="Text Placeholder 9230"/>
          <p:cNvSpPr>
            <a:spLocks noGrp="1"/>
          </p:cNvSpPr>
          <p:nvPr>
            <p:ph type="body" sz="quarter" idx="10"/>
          </p:nvPr>
        </p:nvSpPr>
        <p:spPr/>
        <p:txBody>
          <a:bodyPr>
            <a:normAutofit lnSpcReduction="10000"/>
          </a:bodyPr>
          <a:lstStyle/>
          <a:p>
            <a:r>
              <a:rPr lang="en-US" dirty="0"/>
              <a:t>Digital Icon collection (cont’d)</a:t>
            </a:r>
          </a:p>
        </p:txBody>
      </p:sp>
      <p:sp>
        <p:nvSpPr>
          <p:cNvPr id="22" name="AutoShape 5"/>
          <p:cNvSpPr>
            <a:spLocks noChangeAspect="1" noChangeArrowheads="1" noTextEdit="1"/>
          </p:cNvSpPr>
          <p:nvPr/>
        </p:nvSpPr>
        <p:spPr bwMode="auto">
          <a:xfrm>
            <a:off x="8651866" y="3944370"/>
            <a:ext cx="1243471" cy="124347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124347" tIns="62174" rIns="124347" bIns="62174" numCol="1" anchor="t" anchorCtr="0" compatLnSpc="1">
            <a:prstTxWarp prst="textNoShape">
              <a:avLst/>
            </a:prstTxWarp>
          </a:bodyPr>
          <a:lstStyle/>
          <a:p>
            <a:endParaRPr lang="en-US" sz="3264"/>
          </a:p>
        </p:txBody>
      </p:sp>
      <p:sp>
        <p:nvSpPr>
          <p:cNvPr id="23" name="Oval 7"/>
          <p:cNvSpPr>
            <a:spLocks noChangeArrowheads="1"/>
          </p:cNvSpPr>
          <p:nvPr/>
        </p:nvSpPr>
        <p:spPr bwMode="auto">
          <a:xfrm>
            <a:off x="8653053" y="3944371"/>
            <a:ext cx="1242284" cy="1242284"/>
          </a:xfrm>
          <a:prstGeom prst="ellipse">
            <a:avLst/>
          </a:prstGeom>
          <a:solidFill>
            <a:schemeClr val="accent1"/>
          </a:solidFill>
          <a:ln w="19050">
            <a:noFill/>
            <a:round/>
            <a:headEnd/>
            <a:tailEnd/>
          </a:ln>
        </p:spPr>
        <p:txBody>
          <a:bodyPr vert="horz" wrap="square" lIns="124347" tIns="62174" rIns="124347" bIns="62174" numCol="1" anchor="t" anchorCtr="0" compatLnSpc="1">
            <a:prstTxWarp prst="textNoShape">
              <a:avLst/>
            </a:prstTxWarp>
          </a:bodyPr>
          <a:lstStyle/>
          <a:p>
            <a:endParaRPr lang="en-US" sz="3264"/>
          </a:p>
        </p:txBody>
      </p:sp>
      <p:sp>
        <p:nvSpPr>
          <p:cNvPr id="24" name="Freeform 8"/>
          <p:cNvSpPr>
            <a:spLocks/>
          </p:cNvSpPr>
          <p:nvPr/>
        </p:nvSpPr>
        <p:spPr bwMode="auto">
          <a:xfrm>
            <a:off x="8948779" y="4141522"/>
            <a:ext cx="668647" cy="844421"/>
          </a:xfrm>
          <a:custGeom>
            <a:avLst/>
            <a:gdLst>
              <a:gd name="T0" fmla="*/ 347 w 866"/>
              <a:gd name="T1" fmla="*/ 731 h 1094"/>
              <a:gd name="T2" fmla="*/ 182 w 866"/>
              <a:gd name="T3" fmla="*/ 1094 h 1094"/>
              <a:gd name="T4" fmla="*/ 265 w 866"/>
              <a:gd name="T5" fmla="*/ 526 h 1094"/>
              <a:gd name="T6" fmla="*/ 402 w 866"/>
              <a:gd name="T7" fmla="*/ 265 h 1094"/>
              <a:gd name="T8" fmla="*/ 463 w 866"/>
              <a:gd name="T9" fmla="*/ 690 h 1094"/>
              <a:gd name="T10" fmla="*/ 628 w 866"/>
              <a:gd name="T11" fmla="*/ 197 h 1094"/>
              <a:gd name="T12" fmla="*/ 128 w 866"/>
              <a:gd name="T13" fmla="*/ 464 h 1094"/>
              <a:gd name="T14" fmla="*/ 155 w 866"/>
              <a:gd name="T15" fmla="*/ 642 h 1094"/>
              <a:gd name="T16" fmla="*/ 4 w 866"/>
              <a:gd name="T17" fmla="*/ 395 h 1094"/>
              <a:gd name="T18" fmla="*/ 367 w 866"/>
              <a:gd name="T19" fmla="*/ 26 h 1094"/>
              <a:gd name="T20" fmla="*/ 833 w 866"/>
              <a:gd name="T21" fmla="*/ 320 h 1094"/>
              <a:gd name="T22" fmla="*/ 491 w 866"/>
              <a:gd name="T23" fmla="*/ 800 h 1094"/>
              <a:gd name="T24" fmla="*/ 347 w 866"/>
              <a:gd name="T25" fmla="*/ 731 h 10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66" h="1094">
                <a:moveTo>
                  <a:pt x="347" y="731"/>
                </a:moveTo>
                <a:cubicBezTo>
                  <a:pt x="319" y="879"/>
                  <a:pt x="284" y="1020"/>
                  <a:pt x="182" y="1094"/>
                </a:cubicBezTo>
                <a:cubicBezTo>
                  <a:pt x="151" y="871"/>
                  <a:pt x="229" y="703"/>
                  <a:pt x="265" y="526"/>
                </a:cubicBezTo>
                <a:cubicBezTo>
                  <a:pt x="203" y="422"/>
                  <a:pt x="272" y="214"/>
                  <a:pt x="402" y="265"/>
                </a:cubicBezTo>
                <a:cubicBezTo>
                  <a:pt x="561" y="328"/>
                  <a:pt x="264" y="650"/>
                  <a:pt x="463" y="690"/>
                </a:cubicBezTo>
                <a:cubicBezTo>
                  <a:pt x="672" y="732"/>
                  <a:pt x="757" y="328"/>
                  <a:pt x="628" y="197"/>
                </a:cubicBezTo>
                <a:cubicBezTo>
                  <a:pt x="441" y="7"/>
                  <a:pt x="84" y="192"/>
                  <a:pt x="128" y="464"/>
                </a:cubicBezTo>
                <a:cubicBezTo>
                  <a:pt x="138" y="530"/>
                  <a:pt x="207" y="550"/>
                  <a:pt x="155" y="642"/>
                </a:cubicBezTo>
                <a:cubicBezTo>
                  <a:pt x="35" y="616"/>
                  <a:pt x="0" y="521"/>
                  <a:pt x="4" y="395"/>
                </a:cubicBezTo>
                <a:cubicBezTo>
                  <a:pt x="12" y="190"/>
                  <a:pt x="189" y="46"/>
                  <a:pt x="367" y="26"/>
                </a:cubicBezTo>
                <a:cubicBezTo>
                  <a:pt x="593" y="0"/>
                  <a:pt x="804" y="108"/>
                  <a:pt x="833" y="320"/>
                </a:cubicBezTo>
                <a:cubicBezTo>
                  <a:pt x="866" y="559"/>
                  <a:pt x="731" y="818"/>
                  <a:pt x="491" y="800"/>
                </a:cubicBezTo>
                <a:cubicBezTo>
                  <a:pt x="425" y="795"/>
                  <a:pt x="398" y="762"/>
                  <a:pt x="347" y="731"/>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endParaRPr lang="en-US" sz="3264"/>
          </a:p>
        </p:txBody>
      </p:sp>
    </p:spTree>
    <p:extLst>
      <p:ext uri="{BB962C8B-B14F-4D97-AF65-F5344CB8AC3E}">
        <p14:creationId xmlns:p14="http://schemas.microsoft.com/office/powerpoint/2010/main" val="1243262160"/>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03" name="Oval 71"/>
          <p:cNvSpPr>
            <a:spLocks noChangeArrowheads="1"/>
          </p:cNvSpPr>
          <p:nvPr/>
        </p:nvSpPr>
        <p:spPr bwMode="auto">
          <a:xfrm>
            <a:off x="542742" y="3944370"/>
            <a:ext cx="1243471" cy="1243471"/>
          </a:xfrm>
          <a:prstGeom prst="ellipse">
            <a:avLst/>
          </a:prstGeom>
          <a:solidFill>
            <a:schemeClr val="accent1"/>
          </a:solidFill>
          <a:ln w="19050">
            <a:noFill/>
            <a:round/>
            <a:headEnd/>
            <a:tailEnd/>
          </a:ln>
        </p:spPr>
        <p:txBody>
          <a:bodyPr vert="horz" wrap="square" lIns="124347" tIns="62174" rIns="124347" bIns="62174" numCol="1" anchor="t" anchorCtr="0" compatLnSpc="1">
            <a:prstTxWarp prst="textNoShape">
              <a:avLst/>
            </a:prstTxWarp>
          </a:bodyPr>
          <a:lstStyle/>
          <a:p>
            <a:endParaRPr lang="en-US" sz="3264"/>
          </a:p>
        </p:txBody>
      </p:sp>
      <p:sp>
        <p:nvSpPr>
          <p:cNvPr id="7204" name="Freeform 72"/>
          <p:cNvSpPr>
            <a:spLocks/>
          </p:cNvSpPr>
          <p:nvPr/>
        </p:nvSpPr>
        <p:spPr bwMode="auto">
          <a:xfrm>
            <a:off x="850268" y="4169443"/>
            <a:ext cx="494715" cy="779955"/>
          </a:xfrm>
          <a:custGeom>
            <a:avLst/>
            <a:gdLst>
              <a:gd name="T0" fmla="*/ 68 w 222"/>
              <a:gd name="T1" fmla="*/ 350 h 350"/>
              <a:gd name="T2" fmla="*/ 0 w 222"/>
              <a:gd name="T3" fmla="*/ 350 h 350"/>
              <a:gd name="T4" fmla="*/ 154 w 222"/>
              <a:gd name="T5" fmla="*/ 0 h 350"/>
              <a:gd name="T6" fmla="*/ 222 w 222"/>
              <a:gd name="T7" fmla="*/ 0 h 350"/>
              <a:gd name="T8" fmla="*/ 68 w 222"/>
              <a:gd name="T9" fmla="*/ 350 h 350"/>
            </a:gdLst>
            <a:ahLst/>
            <a:cxnLst>
              <a:cxn ang="0">
                <a:pos x="T0" y="T1"/>
              </a:cxn>
              <a:cxn ang="0">
                <a:pos x="T2" y="T3"/>
              </a:cxn>
              <a:cxn ang="0">
                <a:pos x="T4" y="T5"/>
              </a:cxn>
              <a:cxn ang="0">
                <a:pos x="T6" y="T7"/>
              </a:cxn>
              <a:cxn ang="0">
                <a:pos x="T8" y="T9"/>
              </a:cxn>
            </a:cxnLst>
            <a:rect l="0" t="0" r="r" b="b"/>
            <a:pathLst>
              <a:path w="222" h="350">
                <a:moveTo>
                  <a:pt x="68" y="350"/>
                </a:moveTo>
                <a:lnTo>
                  <a:pt x="0" y="350"/>
                </a:lnTo>
                <a:lnTo>
                  <a:pt x="154" y="0"/>
                </a:lnTo>
                <a:lnTo>
                  <a:pt x="222" y="0"/>
                </a:lnTo>
                <a:lnTo>
                  <a:pt x="68" y="350"/>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endParaRPr lang="en-US" sz="3264"/>
          </a:p>
        </p:txBody>
      </p:sp>
      <p:sp>
        <p:nvSpPr>
          <p:cNvPr id="7209" name="Oval 73"/>
          <p:cNvSpPr>
            <a:spLocks noChangeArrowheads="1"/>
          </p:cNvSpPr>
          <p:nvPr/>
        </p:nvSpPr>
        <p:spPr bwMode="auto">
          <a:xfrm>
            <a:off x="1175620" y="4684216"/>
            <a:ext cx="260729" cy="265185"/>
          </a:xfrm>
          <a:prstGeom prst="ellipse">
            <a:avLst/>
          </a:pr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endParaRPr lang="en-US" sz="3264"/>
          </a:p>
        </p:txBody>
      </p:sp>
      <p:sp>
        <p:nvSpPr>
          <p:cNvPr id="7246" name="Oval 107"/>
          <p:cNvSpPr>
            <a:spLocks noChangeArrowheads="1"/>
          </p:cNvSpPr>
          <p:nvPr/>
        </p:nvSpPr>
        <p:spPr bwMode="auto">
          <a:xfrm>
            <a:off x="4598827" y="3944370"/>
            <a:ext cx="1243471" cy="1243471"/>
          </a:xfrm>
          <a:prstGeom prst="ellipse">
            <a:avLst/>
          </a:prstGeom>
          <a:solidFill>
            <a:schemeClr val="accent1"/>
          </a:solidFill>
          <a:ln w="19050">
            <a:noFill/>
            <a:round/>
            <a:headEnd/>
            <a:tailEnd/>
          </a:ln>
        </p:spPr>
        <p:txBody>
          <a:bodyPr vert="horz" wrap="square" lIns="124347" tIns="62174" rIns="124347" bIns="62174" numCol="1" anchor="t" anchorCtr="0" compatLnSpc="1">
            <a:prstTxWarp prst="textNoShape">
              <a:avLst/>
            </a:prstTxWarp>
          </a:bodyPr>
          <a:lstStyle/>
          <a:p>
            <a:endParaRPr lang="en-US" sz="3264"/>
          </a:p>
        </p:txBody>
      </p:sp>
      <p:sp>
        <p:nvSpPr>
          <p:cNvPr id="7247" name="Freeform 108"/>
          <p:cNvSpPr>
            <a:spLocks/>
          </p:cNvSpPr>
          <p:nvPr/>
        </p:nvSpPr>
        <p:spPr bwMode="auto">
          <a:xfrm>
            <a:off x="5258446" y="4158301"/>
            <a:ext cx="271871" cy="262957"/>
          </a:xfrm>
          <a:custGeom>
            <a:avLst/>
            <a:gdLst>
              <a:gd name="T0" fmla="*/ 31 w 84"/>
              <a:gd name="T1" fmla="*/ 3 h 82"/>
              <a:gd name="T2" fmla="*/ 68 w 84"/>
              <a:gd name="T3" fmla="*/ 13 h 82"/>
              <a:gd name="T4" fmla="*/ 77 w 84"/>
              <a:gd name="T5" fmla="*/ 58 h 82"/>
              <a:gd name="T6" fmla="*/ 49 w 84"/>
              <a:gd name="T7" fmla="*/ 81 h 82"/>
              <a:gd name="T8" fmla="*/ 25 w 84"/>
              <a:gd name="T9" fmla="*/ 79 h 82"/>
              <a:gd name="T10" fmla="*/ 1 w 84"/>
              <a:gd name="T11" fmla="*/ 49 h 82"/>
              <a:gd name="T12" fmla="*/ 1 w 84"/>
              <a:gd name="T13" fmla="*/ 33 h 82"/>
              <a:gd name="T14" fmla="*/ 31 w 84"/>
              <a:gd name="T15" fmla="*/ 3 h 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4" h="82">
                <a:moveTo>
                  <a:pt x="31" y="3"/>
                </a:moveTo>
                <a:cubicBezTo>
                  <a:pt x="44" y="0"/>
                  <a:pt x="59" y="3"/>
                  <a:pt x="68" y="13"/>
                </a:cubicBezTo>
                <a:cubicBezTo>
                  <a:pt x="80" y="24"/>
                  <a:pt x="84" y="43"/>
                  <a:pt x="77" y="58"/>
                </a:cubicBezTo>
                <a:cubicBezTo>
                  <a:pt x="72" y="69"/>
                  <a:pt x="61" y="78"/>
                  <a:pt x="49" y="81"/>
                </a:cubicBezTo>
                <a:cubicBezTo>
                  <a:pt x="41" y="82"/>
                  <a:pt x="33" y="82"/>
                  <a:pt x="25" y="79"/>
                </a:cubicBezTo>
                <a:cubicBezTo>
                  <a:pt x="13" y="74"/>
                  <a:pt x="4" y="62"/>
                  <a:pt x="1" y="49"/>
                </a:cubicBezTo>
                <a:cubicBezTo>
                  <a:pt x="0" y="44"/>
                  <a:pt x="0" y="39"/>
                  <a:pt x="1" y="33"/>
                </a:cubicBezTo>
                <a:cubicBezTo>
                  <a:pt x="4" y="18"/>
                  <a:pt x="16" y="6"/>
                  <a:pt x="31" y="3"/>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endParaRPr lang="en-US" sz="3264"/>
          </a:p>
        </p:txBody>
      </p:sp>
      <p:sp>
        <p:nvSpPr>
          <p:cNvPr id="7248" name="Freeform 109"/>
          <p:cNvSpPr>
            <a:spLocks/>
          </p:cNvSpPr>
          <p:nvPr/>
        </p:nvSpPr>
        <p:spPr bwMode="auto">
          <a:xfrm>
            <a:off x="5060116" y="4196186"/>
            <a:ext cx="189418" cy="209474"/>
          </a:xfrm>
          <a:custGeom>
            <a:avLst/>
            <a:gdLst>
              <a:gd name="T0" fmla="*/ 22 w 59"/>
              <a:gd name="T1" fmla="*/ 5 h 65"/>
              <a:gd name="T2" fmla="*/ 58 w 59"/>
              <a:gd name="T3" fmla="*/ 34 h 65"/>
              <a:gd name="T4" fmla="*/ 35 w 59"/>
              <a:gd name="T5" fmla="*/ 62 h 65"/>
              <a:gd name="T6" fmla="*/ 4 w 59"/>
              <a:gd name="T7" fmla="*/ 48 h 65"/>
              <a:gd name="T8" fmla="*/ 0 w 59"/>
              <a:gd name="T9" fmla="*/ 30 h 65"/>
              <a:gd name="T10" fmla="*/ 22 w 59"/>
              <a:gd name="T11" fmla="*/ 5 h 65"/>
            </a:gdLst>
            <a:ahLst/>
            <a:cxnLst>
              <a:cxn ang="0">
                <a:pos x="T0" y="T1"/>
              </a:cxn>
              <a:cxn ang="0">
                <a:pos x="T2" y="T3"/>
              </a:cxn>
              <a:cxn ang="0">
                <a:pos x="T4" y="T5"/>
              </a:cxn>
              <a:cxn ang="0">
                <a:pos x="T6" y="T7"/>
              </a:cxn>
              <a:cxn ang="0">
                <a:pos x="T8" y="T9"/>
              </a:cxn>
              <a:cxn ang="0">
                <a:pos x="T10" y="T11"/>
              </a:cxn>
            </a:cxnLst>
            <a:rect l="0" t="0" r="r" b="b"/>
            <a:pathLst>
              <a:path w="59" h="65">
                <a:moveTo>
                  <a:pt x="22" y="5"/>
                </a:moveTo>
                <a:cubicBezTo>
                  <a:pt x="40" y="0"/>
                  <a:pt x="59" y="15"/>
                  <a:pt x="58" y="34"/>
                </a:cubicBezTo>
                <a:cubicBezTo>
                  <a:pt x="59" y="47"/>
                  <a:pt x="48" y="60"/>
                  <a:pt x="35" y="62"/>
                </a:cubicBezTo>
                <a:cubicBezTo>
                  <a:pt x="23" y="65"/>
                  <a:pt x="9" y="59"/>
                  <a:pt x="4" y="48"/>
                </a:cubicBezTo>
                <a:cubicBezTo>
                  <a:pt x="0" y="42"/>
                  <a:pt x="0" y="36"/>
                  <a:pt x="0" y="30"/>
                </a:cubicBezTo>
                <a:cubicBezTo>
                  <a:pt x="1" y="18"/>
                  <a:pt x="11" y="8"/>
                  <a:pt x="22" y="5"/>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endParaRPr lang="en-US" sz="3264"/>
          </a:p>
        </p:txBody>
      </p:sp>
      <p:sp>
        <p:nvSpPr>
          <p:cNvPr id="7249" name="Freeform 110"/>
          <p:cNvSpPr>
            <a:spLocks/>
          </p:cNvSpPr>
          <p:nvPr/>
        </p:nvSpPr>
        <p:spPr bwMode="auto">
          <a:xfrm>
            <a:off x="4875153" y="4225155"/>
            <a:ext cx="169362" cy="171590"/>
          </a:xfrm>
          <a:custGeom>
            <a:avLst/>
            <a:gdLst>
              <a:gd name="T0" fmla="*/ 24 w 52"/>
              <a:gd name="T1" fmla="*/ 3 h 53"/>
              <a:gd name="T2" fmla="*/ 51 w 52"/>
              <a:gd name="T3" fmla="*/ 26 h 53"/>
              <a:gd name="T4" fmla="*/ 23 w 52"/>
              <a:gd name="T5" fmla="*/ 50 h 53"/>
              <a:gd name="T6" fmla="*/ 4 w 52"/>
              <a:gd name="T7" fmla="*/ 20 h 53"/>
              <a:gd name="T8" fmla="*/ 24 w 52"/>
              <a:gd name="T9" fmla="*/ 3 h 53"/>
            </a:gdLst>
            <a:ahLst/>
            <a:cxnLst>
              <a:cxn ang="0">
                <a:pos x="T0" y="T1"/>
              </a:cxn>
              <a:cxn ang="0">
                <a:pos x="T2" y="T3"/>
              </a:cxn>
              <a:cxn ang="0">
                <a:pos x="T4" y="T5"/>
              </a:cxn>
              <a:cxn ang="0">
                <a:pos x="T6" y="T7"/>
              </a:cxn>
              <a:cxn ang="0">
                <a:pos x="T8" y="T9"/>
              </a:cxn>
            </a:cxnLst>
            <a:rect l="0" t="0" r="r" b="b"/>
            <a:pathLst>
              <a:path w="52" h="53">
                <a:moveTo>
                  <a:pt x="24" y="3"/>
                </a:moveTo>
                <a:cubicBezTo>
                  <a:pt x="38" y="0"/>
                  <a:pt x="52" y="12"/>
                  <a:pt x="51" y="26"/>
                </a:cubicBezTo>
                <a:cubicBezTo>
                  <a:pt x="52" y="41"/>
                  <a:pt x="37" y="53"/>
                  <a:pt x="23" y="50"/>
                </a:cubicBezTo>
                <a:cubicBezTo>
                  <a:pt x="10" y="48"/>
                  <a:pt x="0" y="33"/>
                  <a:pt x="4" y="20"/>
                </a:cubicBezTo>
                <a:cubicBezTo>
                  <a:pt x="7" y="11"/>
                  <a:pt x="15" y="4"/>
                  <a:pt x="24" y="3"/>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endParaRPr lang="en-US" sz="3264"/>
          </a:p>
        </p:txBody>
      </p:sp>
      <p:sp>
        <p:nvSpPr>
          <p:cNvPr id="7250" name="Freeform 111"/>
          <p:cNvSpPr>
            <a:spLocks/>
          </p:cNvSpPr>
          <p:nvPr/>
        </p:nvSpPr>
        <p:spPr bwMode="auto">
          <a:xfrm>
            <a:off x="4857326" y="4396745"/>
            <a:ext cx="708645" cy="543740"/>
          </a:xfrm>
          <a:custGeom>
            <a:avLst/>
            <a:gdLst>
              <a:gd name="T0" fmla="*/ 9 w 220"/>
              <a:gd name="T1" fmla="*/ 14 h 169"/>
              <a:gd name="T2" fmla="*/ 44 w 220"/>
              <a:gd name="T3" fmla="*/ 4 h 169"/>
              <a:gd name="T4" fmla="*/ 63 w 220"/>
              <a:gd name="T5" fmla="*/ 19 h 169"/>
              <a:gd name="T6" fmla="*/ 94 w 220"/>
              <a:gd name="T7" fmla="*/ 7 h 169"/>
              <a:gd name="T8" fmla="*/ 129 w 220"/>
              <a:gd name="T9" fmla="*/ 29 h 169"/>
              <a:gd name="T10" fmla="*/ 154 w 220"/>
              <a:gd name="T11" fmla="*/ 17 h 169"/>
              <a:gd name="T12" fmla="*/ 204 w 220"/>
              <a:gd name="T13" fmla="*/ 31 h 169"/>
              <a:gd name="T14" fmla="*/ 220 w 220"/>
              <a:gd name="T15" fmla="*/ 70 h 169"/>
              <a:gd name="T16" fmla="*/ 220 w 220"/>
              <a:gd name="T17" fmla="*/ 169 h 169"/>
              <a:gd name="T18" fmla="*/ 111 w 220"/>
              <a:gd name="T19" fmla="*/ 169 h 169"/>
              <a:gd name="T20" fmla="*/ 111 w 220"/>
              <a:gd name="T21" fmla="*/ 119 h 169"/>
              <a:gd name="T22" fmla="*/ 52 w 220"/>
              <a:gd name="T23" fmla="*/ 119 h 169"/>
              <a:gd name="T24" fmla="*/ 52 w 220"/>
              <a:gd name="T25" fmla="*/ 94 h 169"/>
              <a:gd name="T26" fmla="*/ 0 w 220"/>
              <a:gd name="T27" fmla="*/ 94 h 169"/>
              <a:gd name="T28" fmla="*/ 0 w 220"/>
              <a:gd name="T29" fmla="*/ 33 h 169"/>
              <a:gd name="T30" fmla="*/ 9 w 220"/>
              <a:gd name="T31" fmla="*/ 14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0" h="169">
                <a:moveTo>
                  <a:pt x="9" y="14"/>
                </a:moveTo>
                <a:cubicBezTo>
                  <a:pt x="17" y="4"/>
                  <a:pt x="32" y="0"/>
                  <a:pt x="44" y="4"/>
                </a:cubicBezTo>
                <a:cubicBezTo>
                  <a:pt x="52" y="7"/>
                  <a:pt x="58" y="13"/>
                  <a:pt x="63" y="19"/>
                </a:cubicBezTo>
                <a:cubicBezTo>
                  <a:pt x="71" y="11"/>
                  <a:pt x="82" y="6"/>
                  <a:pt x="94" y="7"/>
                </a:cubicBezTo>
                <a:cubicBezTo>
                  <a:pt x="109" y="7"/>
                  <a:pt x="122" y="17"/>
                  <a:pt x="129" y="29"/>
                </a:cubicBezTo>
                <a:cubicBezTo>
                  <a:pt x="136" y="24"/>
                  <a:pt x="145" y="18"/>
                  <a:pt x="154" y="17"/>
                </a:cubicBezTo>
                <a:cubicBezTo>
                  <a:pt x="172" y="13"/>
                  <a:pt x="191" y="18"/>
                  <a:pt x="204" y="31"/>
                </a:cubicBezTo>
                <a:cubicBezTo>
                  <a:pt x="214" y="41"/>
                  <a:pt x="220" y="56"/>
                  <a:pt x="220" y="70"/>
                </a:cubicBezTo>
                <a:cubicBezTo>
                  <a:pt x="220" y="103"/>
                  <a:pt x="220" y="136"/>
                  <a:pt x="220" y="169"/>
                </a:cubicBezTo>
                <a:cubicBezTo>
                  <a:pt x="184" y="169"/>
                  <a:pt x="147" y="169"/>
                  <a:pt x="111" y="169"/>
                </a:cubicBezTo>
                <a:cubicBezTo>
                  <a:pt x="111" y="152"/>
                  <a:pt x="111" y="136"/>
                  <a:pt x="111" y="119"/>
                </a:cubicBezTo>
                <a:cubicBezTo>
                  <a:pt x="91" y="119"/>
                  <a:pt x="72" y="119"/>
                  <a:pt x="52" y="119"/>
                </a:cubicBezTo>
                <a:cubicBezTo>
                  <a:pt x="52" y="111"/>
                  <a:pt x="52" y="103"/>
                  <a:pt x="52" y="94"/>
                </a:cubicBezTo>
                <a:cubicBezTo>
                  <a:pt x="35" y="94"/>
                  <a:pt x="18" y="94"/>
                  <a:pt x="0" y="94"/>
                </a:cubicBezTo>
                <a:cubicBezTo>
                  <a:pt x="0" y="33"/>
                  <a:pt x="0" y="33"/>
                  <a:pt x="0" y="33"/>
                </a:cubicBezTo>
                <a:cubicBezTo>
                  <a:pt x="2" y="26"/>
                  <a:pt x="4" y="19"/>
                  <a:pt x="9" y="14"/>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endParaRPr lang="en-US" sz="3264"/>
          </a:p>
        </p:txBody>
      </p:sp>
      <p:sp>
        <p:nvSpPr>
          <p:cNvPr id="7255" name="Oval 116"/>
          <p:cNvSpPr>
            <a:spLocks noChangeArrowheads="1"/>
          </p:cNvSpPr>
          <p:nvPr/>
        </p:nvSpPr>
        <p:spPr bwMode="auto">
          <a:xfrm>
            <a:off x="10679144" y="3944370"/>
            <a:ext cx="1243471" cy="1243471"/>
          </a:xfrm>
          <a:prstGeom prst="ellipse">
            <a:avLst/>
          </a:prstGeom>
          <a:solidFill>
            <a:schemeClr val="accent1"/>
          </a:solidFill>
          <a:ln w="19050">
            <a:noFill/>
            <a:round/>
            <a:headEnd/>
            <a:tailEnd/>
          </a:ln>
        </p:spPr>
        <p:txBody>
          <a:bodyPr vert="horz" wrap="square" lIns="124347" tIns="62174" rIns="124347" bIns="62174" numCol="1" anchor="t" anchorCtr="0" compatLnSpc="1">
            <a:prstTxWarp prst="textNoShape">
              <a:avLst/>
            </a:prstTxWarp>
          </a:bodyPr>
          <a:lstStyle/>
          <a:p>
            <a:endParaRPr lang="en-US" sz="3264"/>
          </a:p>
        </p:txBody>
      </p:sp>
      <p:sp>
        <p:nvSpPr>
          <p:cNvPr id="7256" name="Freeform 117"/>
          <p:cNvSpPr>
            <a:spLocks/>
          </p:cNvSpPr>
          <p:nvPr/>
        </p:nvSpPr>
        <p:spPr bwMode="auto">
          <a:xfrm>
            <a:off x="10901990" y="4006873"/>
            <a:ext cx="960458" cy="866655"/>
          </a:xfrm>
          <a:custGeom>
            <a:avLst/>
            <a:gdLst>
              <a:gd name="T0" fmla="*/ 326 w 326"/>
              <a:gd name="T1" fmla="*/ 189 h 294"/>
              <a:gd name="T2" fmla="*/ 317 w 326"/>
              <a:gd name="T3" fmla="*/ 134 h 294"/>
              <a:gd name="T4" fmla="*/ 209 w 326"/>
              <a:gd name="T5" fmla="*/ 183 h 294"/>
              <a:gd name="T6" fmla="*/ 85 w 326"/>
              <a:gd name="T7" fmla="*/ 89 h 294"/>
              <a:gd name="T8" fmla="*/ 160 w 326"/>
              <a:gd name="T9" fmla="*/ 1 h 294"/>
              <a:gd name="T10" fmla="*/ 137 w 326"/>
              <a:gd name="T11" fmla="*/ 0 h 294"/>
              <a:gd name="T12" fmla="*/ 21 w 326"/>
              <a:gd name="T13" fmla="*/ 40 h 294"/>
              <a:gd name="T14" fmla="*/ 72 w 326"/>
              <a:gd name="T15" fmla="*/ 204 h 294"/>
              <a:gd name="T16" fmla="*/ 63 w 326"/>
              <a:gd name="T17" fmla="*/ 294 h 294"/>
              <a:gd name="T18" fmla="*/ 149 w 326"/>
              <a:gd name="T19" fmla="*/ 242 h 294"/>
              <a:gd name="T20" fmla="*/ 323 w 326"/>
              <a:gd name="T21" fmla="*/ 219 h 294"/>
              <a:gd name="T22" fmla="*/ 326 w 326"/>
              <a:gd name="T23" fmla="*/ 18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6" h="294">
                <a:moveTo>
                  <a:pt x="326" y="189"/>
                </a:moveTo>
                <a:cubicBezTo>
                  <a:pt x="326" y="169"/>
                  <a:pt x="323" y="151"/>
                  <a:pt x="317" y="134"/>
                </a:cubicBezTo>
                <a:cubicBezTo>
                  <a:pt x="296" y="163"/>
                  <a:pt x="256" y="183"/>
                  <a:pt x="209" y="183"/>
                </a:cubicBezTo>
                <a:cubicBezTo>
                  <a:pt x="141" y="183"/>
                  <a:pt x="85" y="141"/>
                  <a:pt x="85" y="89"/>
                </a:cubicBezTo>
                <a:cubicBezTo>
                  <a:pt x="85" y="49"/>
                  <a:pt x="116" y="16"/>
                  <a:pt x="160" y="1"/>
                </a:cubicBezTo>
                <a:cubicBezTo>
                  <a:pt x="152" y="0"/>
                  <a:pt x="145" y="0"/>
                  <a:pt x="137" y="0"/>
                </a:cubicBezTo>
                <a:cubicBezTo>
                  <a:pt x="93" y="0"/>
                  <a:pt x="53" y="15"/>
                  <a:pt x="21" y="40"/>
                </a:cubicBezTo>
                <a:cubicBezTo>
                  <a:pt x="0" y="96"/>
                  <a:pt x="17" y="160"/>
                  <a:pt x="72" y="204"/>
                </a:cubicBezTo>
                <a:cubicBezTo>
                  <a:pt x="70" y="234"/>
                  <a:pt x="66" y="264"/>
                  <a:pt x="63" y="294"/>
                </a:cubicBezTo>
                <a:cubicBezTo>
                  <a:pt x="86" y="275"/>
                  <a:pt x="119" y="259"/>
                  <a:pt x="149" y="242"/>
                </a:cubicBezTo>
                <a:cubicBezTo>
                  <a:pt x="209" y="257"/>
                  <a:pt x="271" y="250"/>
                  <a:pt x="323" y="219"/>
                </a:cubicBezTo>
                <a:cubicBezTo>
                  <a:pt x="324" y="209"/>
                  <a:pt x="326" y="199"/>
                  <a:pt x="326" y="189"/>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endParaRPr lang="en-US" sz="3264"/>
          </a:p>
        </p:txBody>
      </p:sp>
      <p:sp>
        <p:nvSpPr>
          <p:cNvPr id="7274" name="Oval 135"/>
          <p:cNvSpPr>
            <a:spLocks noChangeArrowheads="1"/>
          </p:cNvSpPr>
          <p:nvPr/>
        </p:nvSpPr>
        <p:spPr bwMode="auto">
          <a:xfrm>
            <a:off x="4598827" y="2108748"/>
            <a:ext cx="1243471" cy="1243471"/>
          </a:xfrm>
          <a:prstGeom prst="ellipse">
            <a:avLst/>
          </a:prstGeom>
          <a:solidFill>
            <a:schemeClr val="accent1"/>
          </a:solidFill>
          <a:ln w="19050">
            <a:noFill/>
            <a:round/>
            <a:headEnd/>
            <a:tailEnd/>
          </a:ln>
        </p:spPr>
        <p:txBody>
          <a:bodyPr vert="horz" wrap="square" lIns="124347" tIns="62174" rIns="124347" bIns="62174" numCol="1" anchor="t" anchorCtr="0" compatLnSpc="1">
            <a:prstTxWarp prst="textNoShape">
              <a:avLst/>
            </a:prstTxWarp>
          </a:bodyPr>
          <a:lstStyle/>
          <a:p>
            <a:endParaRPr lang="en-US" sz="3264"/>
          </a:p>
        </p:txBody>
      </p:sp>
      <p:sp>
        <p:nvSpPr>
          <p:cNvPr id="7275" name="Freeform 136"/>
          <p:cNvSpPr>
            <a:spLocks/>
          </p:cNvSpPr>
          <p:nvPr/>
        </p:nvSpPr>
        <p:spPr bwMode="auto">
          <a:xfrm>
            <a:off x="4832813" y="2340923"/>
            <a:ext cx="777727" cy="776889"/>
          </a:xfrm>
          <a:custGeom>
            <a:avLst/>
            <a:gdLst>
              <a:gd name="T0" fmla="*/ 349 w 349"/>
              <a:gd name="T1" fmla="*/ 120 h 348"/>
              <a:gd name="T2" fmla="*/ 229 w 349"/>
              <a:gd name="T3" fmla="*/ 120 h 348"/>
              <a:gd name="T4" fmla="*/ 229 w 349"/>
              <a:gd name="T5" fmla="*/ 0 h 348"/>
              <a:gd name="T6" fmla="*/ 120 w 349"/>
              <a:gd name="T7" fmla="*/ 0 h 348"/>
              <a:gd name="T8" fmla="*/ 120 w 349"/>
              <a:gd name="T9" fmla="*/ 120 h 348"/>
              <a:gd name="T10" fmla="*/ 0 w 349"/>
              <a:gd name="T11" fmla="*/ 120 h 348"/>
              <a:gd name="T12" fmla="*/ 0 w 349"/>
              <a:gd name="T13" fmla="*/ 228 h 348"/>
              <a:gd name="T14" fmla="*/ 120 w 349"/>
              <a:gd name="T15" fmla="*/ 228 h 348"/>
              <a:gd name="T16" fmla="*/ 120 w 349"/>
              <a:gd name="T17" fmla="*/ 348 h 348"/>
              <a:gd name="T18" fmla="*/ 229 w 349"/>
              <a:gd name="T19" fmla="*/ 348 h 348"/>
              <a:gd name="T20" fmla="*/ 229 w 349"/>
              <a:gd name="T21" fmla="*/ 228 h 348"/>
              <a:gd name="T22" fmla="*/ 349 w 349"/>
              <a:gd name="T23" fmla="*/ 228 h 348"/>
              <a:gd name="T24" fmla="*/ 349 w 349"/>
              <a:gd name="T25" fmla="*/ 120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9" h="348">
                <a:moveTo>
                  <a:pt x="349" y="120"/>
                </a:moveTo>
                <a:lnTo>
                  <a:pt x="229" y="120"/>
                </a:lnTo>
                <a:lnTo>
                  <a:pt x="229" y="0"/>
                </a:lnTo>
                <a:lnTo>
                  <a:pt x="120" y="0"/>
                </a:lnTo>
                <a:lnTo>
                  <a:pt x="120" y="120"/>
                </a:lnTo>
                <a:lnTo>
                  <a:pt x="0" y="120"/>
                </a:lnTo>
                <a:lnTo>
                  <a:pt x="0" y="228"/>
                </a:lnTo>
                <a:lnTo>
                  <a:pt x="120" y="228"/>
                </a:lnTo>
                <a:lnTo>
                  <a:pt x="120" y="348"/>
                </a:lnTo>
                <a:lnTo>
                  <a:pt x="229" y="348"/>
                </a:lnTo>
                <a:lnTo>
                  <a:pt x="229" y="228"/>
                </a:lnTo>
                <a:lnTo>
                  <a:pt x="349" y="228"/>
                </a:lnTo>
                <a:lnTo>
                  <a:pt x="349" y="120"/>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endParaRPr lang="en-US" sz="3264"/>
          </a:p>
        </p:txBody>
      </p:sp>
      <p:sp>
        <p:nvSpPr>
          <p:cNvPr id="7286" name="Oval 147"/>
          <p:cNvSpPr>
            <a:spLocks noChangeArrowheads="1"/>
          </p:cNvSpPr>
          <p:nvPr/>
        </p:nvSpPr>
        <p:spPr bwMode="auto">
          <a:xfrm>
            <a:off x="8651104" y="2108748"/>
            <a:ext cx="1243471" cy="1243471"/>
          </a:xfrm>
          <a:prstGeom prst="ellipse">
            <a:avLst/>
          </a:prstGeom>
          <a:solidFill>
            <a:schemeClr val="accent1"/>
          </a:solidFill>
          <a:ln w="19050">
            <a:noFill/>
            <a:round/>
            <a:headEnd/>
            <a:tailEnd/>
          </a:ln>
        </p:spPr>
        <p:txBody>
          <a:bodyPr vert="horz" wrap="square" lIns="124347" tIns="62174" rIns="124347" bIns="62174" numCol="1" anchor="t" anchorCtr="0" compatLnSpc="1">
            <a:prstTxWarp prst="textNoShape">
              <a:avLst/>
            </a:prstTxWarp>
          </a:bodyPr>
          <a:lstStyle/>
          <a:p>
            <a:endParaRPr lang="en-US" sz="3264"/>
          </a:p>
        </p:txBody>
      </p:sp>
      <p:sp>
        <p:nvSpPr>
          <p:cNvPr id="7287" name="Freeform 148"/>
          <p:cNvSpPr>
            <a:spLocks noEditPoints="1"/>
          </p:cNvSpPr>
          <p:nvPr/>
        </p:nvSpPr>
        <p:spPr bwMode="auto">
          <a:xfrm>
            <a:off x="8969773" y="2340923"/>
            <a:ext cx="661847" cy="776889"/>
          </a:xfrm>
          <a:custGeom>
            <a:avLst/>
            <a:gdLst>
              <a:gd name="T0" fmla="*/ 84 w 205"/>
              <a:gd name="T1" fmla="*/ 165 h 241"/>
              <a:gd name="T2" fmla="*/ 84 w 205"/>
              <a:gd name="T3" fmla="*/ 138 h 241"/>
              <a:gd name="T4" fmla="*/ 116 w 205"/>
              <a:gd name="T5" fmla="*/ 138 h 241"/>
              <a:gd name="T6" fmla="*/ 205 w 205"/>
              <a:gd name="T7" fmla="*/ 69 h 241"/>
              <a:gd name="T8" fmla="*/ 116 w 205"/>
              <a:gd name="T9" fmla="*/ 0 h 241"/>
              <a:gd name="T10" fmla="*/ 0 w 205"/>
              <a:gd name="T11" fmla="*/ 0 h 241"/>
              <a:gd name="T12" fmla="*/ 0 w 205"/>
              <a:gd name="T13" fmla="*/ 11 h 241"/>
              <a:gd name="T14" fmla="*/ 44 w 205"/>
              <a:gd name="T15" fmla="*/ 76 h 241"/>
              <a:gd name="T16" fmla="*/ 44 w 205"/>
              <a:gd name="T17" fmla="*/ 165 h 241"/>
              <a:gd name="T18" fmla="*/ 0 w 205"/>
              <a:gd name="T19" fmla="*/ 230 h 241"/>
              <a:gd name="T20" fmla="*/ 0 w 205"/>
              <a:gd name="T21" fmla="*/ 241 h 241"/>
              <a:gd name="T22" fmla="*/ 128 w 205"/>
              <a:gd name="T23" fmla="*/ 241 h 241"/>
              <a:gd name="T24" fmla="*/ 128 w 205"/>
              <a:gd name="T25" fmla="*/ 230 h 241"/>
              <a:gd name="T26" fmla="*/ 84 w 205"/>
              <a:gd name="T27" fmla="*/ 165 h 241"/>
              <a:gd name="T28" fmla="*/ 161 w 205"/>
              <a:gd name="T29" fmla="*/ 69 h 241"/>
              <a:gd name="T30" fmla="*/ 116 w 205"/>
              <a:gd name="T31" fmla="*/ 117 h 241"/>
              <a:gd name="T32" fmla="*/ 84 w 205"/>
              <a:gd name="T33" fmla="*/ 117 h 241"/>
              <a:gd name="T34" fmla="*/ 84 w 205"/>
              <a:gd name="T35" fmla="*/ 20 h 241"/>
              <a:gd name="T36" fmla="*/ 116 w 205"/>
              <a:gd name="T37" fmla="*/ 20 h 241"/>
              <a:gd name="T38" fmla="*/ 161 w 205"/>
              <a:gd name="T39" fmla="*/ 69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5" h="241">
                <a:moveTo>
                  <a:pt x="84" y="165"/>
                </a:moveTo>
                <a:cubicBezTo>
                  <a:pt x="84" y="138"/>
                  <a:pt x="84" y="138"/>
                  <a:pt x="84" y="138"/>
                </a:cubicBezTo>
                <a:cubicBezTo>
                  <a:pt x="116" y="138"/>
                  <a:pt x="116" y="138"/>
                  <a:pt x="116" y="138"/>
                </a:cubicBezTo>
                <a:cubicBezTo>
                  <a:pt x="173" y="138"/>
                  <a:pt x="205" y="108"/>
                  <a:pt x="205" y="69"/>
                </a:cubicBezTo>
                <a:cubicBezTo>
                  <a:pt x="205" y="29"/>
                  <a:pt x="173" y="0"/>
                  <a:pt x="116" y="0"/>
                </a:cubicBezTo>
                <a:cubicBezTo>
                  <a:pt x="0" y="0"/>
                  <a:pt x="0" y="0"/>
                  <a:pt x="0" y="0"/>
                </a:cubicBezTo>
                <a:cubicBezTo>
                  <a:pt x="0" y="11"/>
                  <a:pt x="0" y="11"/>
                  <a:pt x="0" y="11"/>
                </a:cubicBezTo>
                <a:cubicBezTo>
                  <a:pt x="38" y="11"/>
                  <a:pt x="44" y="20"/>
                  <a:pt x="44" y="76"/>
                </a:cubicBezTo>
                <a:cubicBezTo>
                  <a:pt x="44" y="165"/>
                  <a:pt x="44" y="165"/>
                  <a:pt x="44" y="165"/>
                </a:cubicBezTo>
                <a:cubicBezTo>
                  <a:pt x="44" y="221"/>
                  <a:pt x="38" y="230"/>
                  <a:pt x="0" y="230"/>
                </a:cubicBezTo>
                <a:cubicBezTo>
                  <a:pt x="0" y="241"/>
                  <a:pt x="0" y="241"/>
                  <a:pt x="0" y="241"/>
                </a:cubicBezTo>
                <a:cubicBezTo>
                  <a:pt x="128" y="241"/>
                  <a:pt x="128" y="241"/>
                  <a:pt x="128" y="241"/>
                </a:cubicBezTo>
                <a:cubicBezTo>
                  <a:pt x="128" y="230"/>
                  <a:pt x="128" y="230"/>
                  <a:pt x="128" y="230"/>
                </a:cubicBezTo>
                <a:cubicBezTo>
                  <a:pt x="91" y="230"/>
                  <a:pt x="84" y="221"/>
                  <a:pt x="84" y="165"/>
                </a:cubicBezTo>
                <a:close/>
                <a:moveTo>
                  <a:pt x="161" y="69"/>
                </a:moveTo>
                <a:cubicBezTo>
                  <a:pt x="161" y="95"/>
                  <a:pt x="147" y="117"/>
                  <a:pt x="116" y="117"/>
                </a:cubicBezTo>
                <a:cubicBezTo>
                  <a:pt x="84" y="117"/>
                  <a:pt x="84" y="117"/>
                  <a:pt x="84" y="117"/>
                </a:cubicBezTo>
                <a:cubicBezTo>
                  <a:pt x="84" y="20"/>
                  <a:pt x="84" y="20"/>
                  <a:pt x="84" y="20"/>
                </a:cubicBezTo>
                <a:cubicBezTo>
                  <a:pt x="116" y="20"/>
                  <a:pt x="116" y="20"/>
                  <a:pt x="116" y="20"/>
                </a:cubicBezTo>
                <a:cubicBezTo>
                  <a:pt x="147" y="20"/>
                  <a:pt x="161" y="42"/>
                  <a:pt x="161" y="69"/>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endParaRPr lang="en-US" sz="3264"/>
          </a:p>
        </p:txBody>
      </p:sp>
      <p:sp>
        <p:nvSpPr>
          <p:cNvPr id="7291" name="Oval 152"/>
          <p:cNvSpPr>
            <a:spLocks noChangeArrowheads="1"/>
          </p:cNvSpPr>
          <p:nvPr/>
        </p:nvSpPr>
        <p:spPr bwMode="auto">
          <a:xfrm>
            <a:off x="2570784" y="2108748"/>
            <a:ext cx="1243471" cy="1243471"/>
          </a:xfrm>
          <a:prstGeom prst="ellipse">
            <a:avLst/>
          </a:prstGeom>
          <a:solidFill>
            <a:schemeClr val="accent1"/>
          </a:solidFill>
          <a:ln w="19050">
            <a:noFill/>
            <a:round/>
            <a:headEnd/>
            <a:tailEnd/>
          </a:ln>
        </p:spPr>
        <p:txBody>
          <a:bodyPr vert="horz" wrap="square" lIns="124347" tIns="62174" rIns="124347" bIns="62174" numCol="1" anchor="t" anchorCtr="0" compatLnSpc="1">
            <a:prstTxWarp prst="textNoShape">
              <a:avLst/>
            </a:prstTxWarp>
          </a:bodyPr>
          <a:lstStyle/>
          <a:p>
            <a:endParaRPr lang="en-US" sz="3264"/>
          </a:p>
        </p:txBody>
      </p:sp>
      <p:sp>
        <p:nvSpPr>
          <p:cNvPr id="7292" name="Freeform 153"/>
          <p:cNvSpPr>
            <a:spLocks/>
          </p:cNvSpPr>
          <p:nvPr/>
        </p:nvSpPr>
        <p:spPr bwMode="auto">
          <a:xfrm>
            <a:off x="2916192" y="2269197"/>
            <a:ext cx="550427" cy="1049598"/>
          </a:xfrm>
          <a:custGeom>
            <a:avLst/>
            <a:gdLst>
              <a:gd name="T0" fmla="*/ 125 w 171"/>
              <a:gd name="T1" fmla="*/ 261 h 326"/>
              <a:gd name="T2" fmla="*/ 125 w 171"/>
              <a:gd name="T3" fmla="*/ 257 h 326"/>
              <a:gd name="T4" fmla="*/ 143 w 171"/>
              <a:gd name="T5" fmla="*/ 235 h 326"/>
              <a:gd name="T6" fmla="*/ 160 w 171"/>
              <a:gd name="T7" fmla="*/ 239 h 326"/>
              <a:gd name="T8" fmla="*/ 169 w 171"/>
              <a:gd name="T9" fmla="*/ 253 h 326"/>
              <a:gd name="T10" fmla="*/ 151 w 171"/>
              <a:gd name="T11" fmla="*/ 279 h 326"/>
              <a:gd name="T12" fmla="*/ 136 w 171"/>
              <a:gd name="T13" fmla="*/ 276 h 326"/>
              <a:gd name="T14" fmla="*/ 96 w 171"/>
              <a:gd name="T15" fmla="*/ 305 h 326"/>
              <a:gd name="T16" fmla="*/ 96 w 171"/>
              <a:gd name="T17" fmla="*/ 326 h 326"/>
              <a:gd name="T18" fmla="*/ 76 w 171"/>
              <a:gd name="T19" fmla="*/ 326 h 326"/>
              <a:gd name="T20" fmla="*/ 76 w 171"/>
              <a:gd name="T21" fmla="*/ 260 h 326"/>
              <a:gd name="T22" fmla="*/ 35 w 171"/>
              <a:gd name="T23" fmla="*/ 231 h 326"/>
              <a:gd name="T24" fmla="*/ 20 w 171"/>
              <a:gd name="T25" fmla="*/ 234 h 326"/>
              <a:gd name="T26" fmla="*/ 6 w 171"/>
              <a:gd name="T27" fmla="*/ 225 h 326"/>
              <a:gd name="T28" fmla="*/ 2 w 171"/>
              <a:gd name="T29" fmla="*/ 208 h 326"/>
              <a:gd name="T30" fmla="*/ 12 w 171"/>
              <a:gd name="T31" fmla="*/ 193 h 326"/>
              <a:gd name="T32" fmla="*/ 28 w 171"/>
              <a:gd name="T33" fmla="*/ 190 h 326"/>
              <a:gd name="T34" fmla="*/ 43 w 171"/>
              <a:gd name="T35" fmla="*/ 199 h 326"/>
              <a:gd name="T36" fmla="*/ 47 w 171"/>
              <a:gd name="T37" fmla="*/ 212 h 326"/>
              <a:gd name="T38" fmla="*/ 46 w 171"/>
              <a:gd name="T39" fmla="*/ 215 h 326"/>
              <a:gd name="T40" fmla="*/ 76 w 171"/>
              <a:gd name="T41" fmla="*/ 236 h 326"/>
              <a:gd name="T42" fmla="*/ 76 w 171"/>
              <a:gd name="T43" fmla="*/ 169 h 326"/>
              <a:gd name="T44" fmla="*/ 35 w 171"/>
              <a:gd name="T45" fmla="*/ 140 h 326"/>
              <a:gd name="T46" fmla="*/ 20 w 171"/>
              <a:gd name="T47" fmla="*/ 143 h 326"/>
              <a:gd name="T48" fmla="*/ 6 w 171"/>
              <a:gd name="T49" fmla="*/ 134 h 326"/>
              <a:gd name="T50" fmla="*/ 2 w 171"/>
              <a:gd name="T51" fmla="*/ 117 h 326"/>
              <a:gd name="T52" fmla="*/ 28 w 171"/>
              <a:gd name="T53" fmla="*/ 99 h 326"/>
              <a:gd name="T54" fmla="*/ 46 w 171"/>
              <a:gd name="T55" fmla="*/ 124 h 326"/>
              <a:gd name="T56" fmla="*/ 76 w 171"/>
              <a:gd name="T57" fmla="*/ 145 h 326"/>
              <a:gd name="T58" fmla="*/ 76 w 171"/>
              <a:gd name="T59" fmla="*/ 82 h 326"/>
              <a:gd name="T60" fmla="*/ 35 w 171"/>
              <a:gd name="T61" fmla="*/ 54 h 326"/>
              <a:gd name="T62" fmla="*/ 20 w 171"/>
              <a:gd name="T63" fmla="*/ 56 h 326"/>
              <a:gd name="T64" fmla="*/ 2 w 171"/>
              <a:gd name="T65" fmla="*/ 30 h 326"/>
              <a:gd name="T66" fmla="*/ 28 w 171"/>
              <a:gd name="T67" fmla="*/ 12 h 326"/>
              <a:gd name="T68" fmla="*/ 43 w 171"/>
              <a:gd name="T69" fmla="*/ 21 h 326"/>
              <a:gd name="T70" fmla="*/ 47 w 171"/>
              <a:gd name="T71" fmla="*/ 34 h 326"/>
              <a:gd name="T72" fmla="*/ 46 w 171"/>
              <a:gd name="T73" fmla="*/ 38 h 326"/>
              <a:gd name="T74" fmla="*/ 76 w 171"/>
              <a:gd name="T75" fmla="*/ 59 h 326"/>
              <a:gd name="T76" fmla="*/ 76 w 171"/>
              <a:gd name="T77" fmla="*/ 0 h 326"/>
              <a:gd name="T78" fmla="*/ 96 w 171"/>
              <a:gd name="T79" fmla="*/ 0 h 326"/>
              <a:gd name="T80" fmla="*/ 96 w 171"/>
              <a:gd name="T81" fmla="*/ 104 h 326"/>
              <a:gd name="T82" fmla="*/ 125 w 171"/>
              <a:gd name="T83" fmla="*/ 83 h 326"/>
              <a:gd name="T84" fmla="*/ 129 w 171"/>
              <a:gd name="T85" fmla="*/ 67 h 326"/>
              <a:gd name="T86" fmla="*/ 143 w 171"/>
              <a:gd name="T87" fmla="*/ 57 h 326"/>
              <a:gd name="T88" fmla="*/ 169 w 171"/>
              <a:gd name="T89" fmla="*/ 75 h 326"/>
              <a:gd name="T90" fmla="*/ 151 w 171"/>
              <a:gd name="T91" fmla="*/ 101 h 326"/>
              <a:gd name="T92" fmla="*/ 136 w 171"/>
              <a:gd name="T93" fmla="*/ 99 h 326"/>
              <a:gd name="T94" fmla="*/ 96 w 171"/>
              <a:gd name="T95" fmla="*/ 127 h 326"/>
              <a:gd name="T96" fmla="*/ 96 w 171"/>
              <a:gd name="T97" fmla="*/ 190 h 326"/>
              <a:gd name="T98" fmla="*/ 125 w 171"/>
              <a:gd name="T99" fmla="*/ 170 h 326"/>
              <a:gd name="T100" fmla="*/ 143 w 171"/>
              <a:gd name="T101" fmla="*/ 144 h 326"/>
              <a:gd name="T102" fmla="*/ 143 w 171"/>
              <a:gd name="T103" fmla="*/ 144 h 326"/>
              <a:gd name="T104" fmla="*/ 169 w 171"/>
              <a:gd name="T105" fmla="*/ 162 h 326"/>
              <a:gd name="T106" fmla="*/ 165 w 171"/>
              <a:gd name="T107" fmla="*/ 179 h 326"/>
              <a:gd name="T108" fmla="*/ 151 w 171"/>
              <a:gd name="T109" fmla="*/ 188 h 326"/>
              <a:gd name="T110" fmla="*/ 136 w 171"/>
              <a:gd name="T111" fmla="*/ 186 h 326"/>
              <a:gd name="T112" fmla="*/ 96 w 171"/>
              <a:gd name="T113" fmla="*/ 214 h 326"/>
              <a:gd name="T114" fmla="*/ 96 w 171"/>
              <a:gd name="T115" fmla="*/ 281 h 326"/>
              <a:gd name="T116" fmla="*/ 125 w 171"/>
              <a:gd name="T117" fmla="*/ 261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71" h="326">
                <a:moveTo>
                  <a:pt x="125" y="261"/>
                </a:moveTo>
                <a:cubicBezTo>
                  <a:pt x="125" y="260"/>
                  <a:pt x="125" y="258"/>
                  <a:pt x="125" y="257"/>
                </a:cubicBezTo>
                <a:cubicBezTo>
                  <a:pt x="125" y="246"/>
                  <a:pt x="132" y="237"/>
                  <a:pt x="143" y="235"/>
                </a:cubicBezTo>
                <a:cubicBezTo>
                  <a:pt x="149" y="234"/>
                  <a:pt x="155" y="235"/>
                  <a:pt x="160" y="239"/>
                </a:cubicBezTo>
                <a:cubicBezTo>
                  <a:pt x="165" y="242"/>
                  <a:pt x="168" y="247"/>
                  <a:pt x="169" y="253"/>
                </a:cubicBezTo>
                <a:cubicBezTo>
                  <a:pt x="171" y="265"/>
                  <a:pt x="163" y="277"/>
                  <a:pt x="151" y="279"/>
                </a:cubicBezTo>
                <a:cubicBezTo>
                  <a:pt x="146" y="280"/>
                  <a:pt x="141" y="279"/>
                  <a:pt x="136" y="276"/>
                </a:cubicBezTo>
                <a:cubicBezTo>
                  <a:pt x="96" y="305"/>
                  <a:pt x="96" y="305"/>
                  <a:pt x="96" y="305"/>
                </a:cubicBezTo>
                <a:cubicBezTo>
                  <a:pt x="96" y="326"/>
                  <a:pt x="96" y="326"/>
                  <a:pt x="96" y="326"/>
                </a:cubicBezTo>
                <a:cubicBezTo>
                  <a:pt x="76" y="326"/>
                  <a:pt x="76" y="326"/>
                  <a:pt x="76" y="326"/>
                </a:cubicBezTo>
                <a:cubicBezTo>
                  <a:pt x="76" y="260"/>
                  <a:pt x="76" y="260"/>
                  <a:pt x="76" y="260"/>
                </a:cubicBezTo>
                <a:cubicBezTo>
                  <a:pt x="35" y="231"/>
                  <a:pt x="35" y="231"/>
                  <a:pt x="35" y="231"/>
                </a:cubicBezTo>
                <a:cubicBezTo>
                  <a:pt x="31" y="234"/>
                  <a:pt x="26" y="235"/>
                  <a:pt x="20" y="234"/>
                </a:cubicBezTo>
                <a:cubicBezTo>
                  <a:pt x="15" y="233"/>
                  <a:pt x="9" y="229"/>
                  <a:pt x="6" y="225"/>
                </a:cubicBezTo>
                <a:cubicBezTo>
                  <a:pt x="3" y="220"/>
                  <a:pt x="1" y="214"/>
                  <a:pt x="2" y="208"/>
                </a:cubicBezTo>
                <a:cubicBezTo>
                  <a:pt x="3" y="202"/>
                  <a:pt x="7" y="197"/>
                  <a:pt x="12" y="193"/>
                </a:cubicBezTo>
                <a:cubicBezTo>
                  <a:pt x="17" y="190"/>
                  <a:pt x="23" y="189"/>
                  <a:pt x="28" y="190"/>
                </a:cubicBezTo>
                <a:cubicBezTo>
                  <a:pt x="34" y="191"/>
                  <a:pt x="39" y="194"/>
                  <a:pt x="43" y="199"/>
                </a:cubicBezTo>
                <a:cubicBezTo>
                  <a:pt x="45" y="203"/>
                  <a:pt x="47" y="207"/>
                  <a:pt x="47" y="212"/>
                </a:cubicBezTo>
                <a:cubicBezTo>
                  <a:pt x="47" y="213"/>
                  <a:pt x="47" y="214"/>
                  <a:pt x="46" y="215"/>
                </a:cubicBezTo>
                <a:cubicBezTo>
                  <a:pt x="76" y="236"/>
                  <a:pt x="76" y="236"/>
                  <a:pt x="76" y="236"/>
                </a:cubicBezTo>
                <a:cubicBezTo>
                  <a:pt x="76" y="169"/>
                  <a:pt x="76" y="169"/>
                  <a:pt x="76" y="169"/>
                </a:cubicBezTo>
                <a:cubicBezTo>
                  <a:pt x="35" y="140"/>
                  <a:pt x="35" y="140"/>
                  <a:pt x="35" y="140"/>
                </a:cubicBezTo>
                <a:cubicBezTo>
                  <a:pt x="31" y="143"/>
                  <a:pt x="26" y="144"/>
                  <a:pt x="20" y="143"/>
                </a:cubicBezTo>
                <a:cubicBezTo>
                  <a:pt x="15" y="142"/>
                  <a:pt x="9" y="138"/>
                  <a:pt x="6" y="134"/>
                </a:cubicBezTo>
                <a:cubicBezTo>
                  <a:pt x="3" y="129"/>
                  <a:pt x="1" y="123"/>
                  <a:pt x="2" y="117"/>
                </a:cubicBezTo>
                <a:cubicBezTo>
                  <a:pt x="5" y="105"/>
                  <a:pt x="16" y="97"/>
                  <a:pt x="28" y="99"/>
                </a:cubicBezTo>
                <a:cubicBezTo>
                  <a:pt x="40" y="101"/>
                  <a:pt x="48" y="112"/>
                  <a:pt x="46" y="124"/>
                </a:cubicBezTo>
                <a:cubicBezTo>
                  <a:pt x="76" y="145"/>
                  <a:pt x="76" y="145"/>
                  <a:pt x="76" y="145"/>
                </a:cubicBezTo>
                <a:cubicBezTo>
                  <a:pt x="76" y="82"/>
                  <a:pt x="76" y="82"/>
                  <a:pt x="76" y="82"/>
                </a:cubicBezTo>
                <a:cubicBezTo>
                  <a:pt x="35" y="54"/>
                  <a:pt x="35" y="54"/>
                  <a:pt x="35" y="54"/>
                </a:cubicBezTo>
                <a:cubicBezTo>
                  <a:pt x="31" y="56"/>
                  <a:pt x="26" y="57"/>
                  <a:pt x="20" y="56"/>
                </a:cubicBezTo>
                <a:cubicBezTo>
                  <a:pt x="8" y="54"/>
                  <a:pt x="0" y="42"/>
                  <a:pt x="2" y="30"/>
                </a:cubicBezTo>
                <a:cubicBezTo>
                  <a:pt x="5" y="18"/>
                  <a:pt x="16" y="10"/>
                  <a:pt x="28" y="12"/>
                </a:cubicBezTo>
                <a:cubicBezTo>
                  <a:pt x="34" y="13"/>
                  <a:pt x="39" y="16"/>
                  <a:pt x="43" y="21"/>
                </a:cubicBezTo>
                <a:cubicBezTo>
                  <a:pt x="45" y="25"/>
                  <a:pt x="47" y="30"/>
                  <a:pt x="47" y="34"/>
                </a:cubicBezTo>
                <a:cubicBezTo>
                  <a:pt x="47" y="35"/>
                  <a:pt x="47" y="37"/>
                  <a:pt x="46" y="38"/>
                </a:cubicBezTo>
                <a:cubicBezTo>
                  <a:pt x="76" y="59"/>
                  <a:pt x="76" y="59"/>
                  <a:pt x="76" y="59"/>
                </a:cubicBezTo>
                <a:cubicBezTo>
                  <a:pt x="76" y="0"/>
                  <a:pt x="76" y="0"/>
                  <a:pt x="76" y="0"/>
                </a:cubicBezTo>
                <a:cubicBezTo>
                  <a:pt x="96" y="0"/>
                  <a:pt x="96" y="0"/>
                  <a:pt x="96" y="0"/>
                </a:cubicBezTo>
                <a:cubicBezTo>
                  <a:pt x="96" y="104"/>
                  <a:pt x="96" y="104"/>
                  <a:pt x="96" y="104"/>
                </a:cubicBezTo>
                <a:cubicBezTo>
                  <a:pt x="125" y="83"/>
                  <a:pt x="125" y="83"/>
                  <a:pt x="125" y="83"/>
                </a:cubicBezTo>
                <a:cubicBezTo>
                  <a:pt x="124" y="77"/>
                  <a:pt x="125" y="72"/>
                  <a:pt x="129" y="67"/>
                </a:cubicBezTo>
                <a:cubicBezTo>
                  <a:pt x="132" y="62"/>
                  <a:pt x="137" y="59"/>
                  <a:pt x="143" y="57"/>
                </a:cubicBezTo>
                <a:cubicBezTo>
                  <a:pt x="155" y="55"/>
                  <a:pt x="167" y="63"/>
                  <a:pt x="169" y="75"/>
                </a:cubicBezTo>
                <a:cubicBezTo>
                  <a:pt x="171" y="88"/>
                  <a:pt x="163" y="99"/>
                  <a:pt x="151" y="101"/>
                </a:cubicBezTo>
                <a:cubicBezTo>
                  <a:pt x="146" y="102"/>
                  <a:pt x="141" y="101"/>
                  <a:pt x="136" y="99"/>
                </a:cubicBezTo>
                <a:cubicBezTo>
                  <a:pt x="96" y="127"/>
                  <a:pt x="96" y="127"/>
                  <a:pt x="96" y="127"/>
                </a:cubicBezTo>
                <a:cubicBezTo>
                  <a:pt x="96" y="190"/>
                  <a:pt x="96" y="190"/>
                  <a:pt x="96" y="190"/>
                </a:cubicBezTo>
                <a:cubicBezTo>
                  <a:pt x="125" y="170"/>
                  <a:pt x="125" y="170"/>
                  <a:pt x="125" y="170"/>
                </a:cubicBezTo>
                <a:cubicBezTo>
                  <a:pt x="123" y="158"/>
                  <a:pt x="131" y="146"/>
                  <a:pt x="143" y="144"/>
                </a:cubicBezTo>
                <a:cubicBezTo>
                  <a:pt x="143" y="144"/>
                  <a:pt x="143" y="144"/>
                  <a:pt x="143" y="144"/>
                </a:cubicBezTo>
                <a:cubicBezTo>
                  <a:pt x="155" y="142"/>
                  <a:pt x="167" y="150"/>
                  <a:pt x="169" y="162"/>
                </a:cubicBezTo>
                <a:cubicBezTo>
                  <a:pt x="170" y="168"/>
                  <a:pt x="169" y="174"/>
                  <a:pt x="165" y="179"/>
                </a:cubicBezTo>
                <a:cubicBezTo>
                  <a:pt x="162" y="184"/>
                  <a:pt x="157" y="187"/>
                  <a:pt x="151" y="188"/>
                </a:cubicBezTo>
                <a:cubicBezTo>
                  <a:pt x="146" y="189"/>
                  <a:pt x="140" y="188"/>
                  <a:pt x="136" y="186"/>
                </a:cubicBezTo>
                <a:cubicBezTo>
                  <a:pt x="96" y="214"/>
                  <a:pt x="96" y="214"/>
                  <a:pt x="96" y="214"/>
                </a:cubicBezTo>
                <a:cubicBezTo>
                  <a:pt x="96" y="281"/>
                  <a:pt x="96" y="281"/>
                  <a:pt x="96" y="281"/>
                </a:cubicBezTo>
                <a:lnTo>
                  <a:pt x="125" y="261"/>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endParaRPr lang="en-US" sz="3264"/>
          </a:p>
        </p:txBody>
      </p:sp>
      <p:sp>
        <p:nvSpPr>
          <p:cNvPr id="7303" name="Oval 164"/>
          <p:cNvSpPr>
            <a:spLocks noChangeArrowheads="1"/>
          </p:cNvSpPr>
          <p:nvPr/>
        </p:nvSpPr>
        <p:spPr bwMode="auto">
          <a:xfrm>
            <a:off x="542742" y="2108748"/>
            <a:ext cx="1243471" cy="1243471"/>
          </a:xfrm>
          <a:prstGeom prst="ellipse">
            <a:avLst/>
          </a:prstGeom>
          <a:solidFill>
            <a:schemeClr val="accent1"/>
          </a:solidFill>
          <a:ln w="19050">
            <a:noFill/>
            <a:round/>
            <a:headEnd/>
            <a:tailEnd/>
          </a:ln>
        </p:spPr>
        <p:txBody>
          <a:bodyPr vert="horz" wrap="square" lIns="124347" tIns="62174" rIns="124347" bIns="62174" numCol="1" anchor="t" anchorCtr="0" compatLnSpc="1">
            <a:prstTxWarp prst="textNoShape">
              <a:avLst/>
            </a:prstTxWarp>
          </a:bodyPr>
          <a:lstStyle/>
          <a:p>
            <a:endParaRPr lang="en-US" sz="3264"/>
          </a:p>
        </p:txBody>
      </p:sp>
      <p:sp>
        <p:nvSpPr>
          <p:cNvPr id="7304" name="Freeform 165"/>
          <p:cNvSpPr>
            <a:spLocks noEditPoints="1"/>
          </p:cNvSpPr>
          <p:nvPr/>
        </p:nvSpPr>
        <p:spPr bwMode="auto">
          <a:xfrm>
            <a:off x="772274" y="2434103"/>
            <a:ext cx="795555" cy="661847"/>
          </a:xfrm>
          <a:custGeom>
            <a:avLst/>
            <a:gdLst>
              <a:gd name="T0" fmla="*/ 247 w 247"/>
              <a:gd name="T1" fmla="*/ 101 h 206"/>
              <a:gd name="T2" fmla="*/ 220 w 247"/>
              <a:gd name="T3" fmla="*/ 74 h 206"/>
              <a:gd name="T4" fmla="*/ 201 w 247"/>
              <a:gd name="T5" fmla="*/ 82 h 206"/>
              <a:gd name="T6" fmla="*/ 127 w 247"/>
              <a:gd name="T7" fmla="*/ 61 h 206"/>
              <a:gd name="T8" fmla="*/ 143 w 247"/>
              <a:gd name="T9" fmla="*/ 9 h 206"/>
              <a:gd name="T10" fmla="*/ 188 w 247"/>
              <a:gd name="T11" fmla="*/ 20 h 206"/>
              <a:gd name="T12" fmla="*/ 188 w 247"/>
              <a:gd name="T13" fmla="*/ 21 h 206"/>
              <a:gd name="T14" fmla="*/ 209 w 247"/>
              <a:gd name="T15" fmla="*/ 42 h 206"/>
              <a:gd name="T16" fmla="*/ 230 w 247"/>
              <a:gd name="T17" fmla="*/ 21 h 206"/>
              <a:gd name="T18" fmla="*/ 209 w 247"/>
              <a:gd name="T19" fmla="*/ 0 h 206"/>
              <a:gd name="T20" fmla="*/ 189 w 247"/>
              <a:gd name="T21" fmla="*/ 15 h 206"/>
              <a:gd name="T22" fmla="*/ 140 w 247"/>
              <a:gd name="T23" fmla="*/ 3 h 206"/>
              <a:gd name="T24" fmla="*/ 122 w 247"/>
              <a:gd name="T25" fmla="*/ 61 h 206"/>
              <a:gd name="T26" fmla="*/ 45 w 247"/>
              <a:gd name="T27" fmla="*/ 82 h 206"/>
              <a:gd name="T28" fmla="*/ 27 w 247"/>
              <a:gd name="T29" fmla="*/ 74 h 206"/>
              <a:gd name="T30" fmla="*/ 0 w 247"/>
              <a:gd name="T31" fmla="*/ 101 h 206"/>
              <a:gd name="T32" fmla="*/ 14 w 247"/>
              <a:gd name="T33" fmla="*/ 124 h 206"/>
              <a:gd name="T34" fmla="*/ 13 w 247"/>
              <a:gd name="T35" fmla="*/ 133 h 206"/>
              <a:gd name="T36" fmla="*/ 123 w 247"/>
              <a:gd name="T37" fmla="*/ 206 h 206"/>
              <a:gd name="T38" fmla="*/ 233 w 247"/>
              <a:gd name="T39" fmla="*/ 133 h 206"/>
              <a:gd name="T40" fmla="*/ 232 w 247"/>
              <a:gd name="T41" fmla="*/ 124 h 206"/>
              <a:gd name="T42" fmla="*/ 247 w 247"/>
              <a:gd name="T43" fmla="*/ 101 h 206"/>
              <a:gd name="T44" fmla="*/ 123 w 247"/>
              <a:gd name="T45" fmla="*/ 201 h 206"/>
              <a:gd name="T46" fmla="*/ 17 w 247"/>
              <a:gd name="T47" fmla="*/ 133 h 206"/>
              <a:gd name="T48" fmla="*/ 19 w 247"/>
              <a:gd name="T49" fmla="*/ 123 h 206"/>
              <a:gd name="T50" fmla="*/ 46 w 247"/>
              <a:gd name="T51" fmla="*/ 87 h 206"/>
              <a:gd name="T52" fmla="*/ 123 w 247"/>
              <a:gd name="T53" fmla="*/ 66 h 206"/>
              <a:gd name="T54" fmla="*/ 200 w 247"/>
              <a:gd name="T55" fmla="*/ 87 h 206"/>
              <a:gd name="T56" fmla="*/ 227 w 247"/>
              <a:gd name="T57" fmla="*/ 123 h 206"/>
              <a:gd name="T58" fmla="*/ 227 w 247"/>
              <a:gd name="T59" fmla="*/ 124 h 206"/>
              <a:gd name="T60" fmla="*/ 228 w 247"/>
              <a:gd name="T61" fmla="*/ 133 h 206"/>
              <a:gd name="T62" fmla="*/ 123 w 247"/>
              <a:gd name="T63" fmla="*/ 201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47" h="206">
                <a:moveTo>
                  <a:pt x="247" y="101"/>
                </a:moveTo>
                <a:cubicBezTo>
                  <a:pt x="247" y="86"/>
                  <a:pt x="235" y="74"/>
                  <a:pt x="220" y="74"/>
                </a:cubicBezTo>
                <a:cubicBezTo>
                  <a:pt x="213" y="74"/>
                  <a:pt x="206" y="77"/>
                  <a:pt x="201" y="82"/>
                </a:cubicBezTo>
                <a:cubicBezTo>
                  <a:pt x="181" y="69"/>
                  <a:pt x="155" y="62"/>
                  <a:pt x="127" y="61"/>
                </a:cubicBezTo>
                <a:cubicBezTo>
                  <a:pt x="143" y="9"/>
                  <a:pt x="143" y="9"/>
                  <a:pt x="143" y="9"/>
                </a:cubicBezTo>
                <a:cubicBezTo>
                  <a:pt x="188" y="20"/>
                  <a:pt x="188" y="20"/>
                  <a:pt x="188" y="20"/>
                </a:cubicBezTo>
                <a:cubicBezTo>
                  <a:pt x="188" y="20"/>
                  <a:pt x="188" y="21"/>
                  <a:pt x="188" y="21"/>
                </a:cubicBezTo>
                <a:cubicBezTo>
                  <a:pt x="188" y="33"/>
                  <a:pt x="197" y="42"/>
                  <a:pt x="209" y="42"/>
                </a:cubicBezTo>
                <a:cubicBezTo>
                  <a:pt x="220" y="42"/>
                  <a:pt x="230" y="33"/>
                  <a:pt x="230" y="21"/>
                </a:cubicBezTo>
                <a:cubicBezTo>
                  <a:pt x="230" y="10"/>
                  <a:pt x="220" y="0"/>
                  <a:pt x="209" y="0"/>
                </a:cubicBezTo>
                <a:cubicBezTo>
                  <a:pt x="199" y="0"/>
                  <a:pt x="192" y="6"/>
                  <a:pt x="189" y="15"/>
                </a:cubicBezTo>
                <a:cubicBezTo>
                  <a:pt x="140" y="3"/>
                  <a:pt x="140" y="3"/>
                  <a:pt x="140" y="3"/>
                </a:cubicBezTo>
                <a:cubicBezTo>
                  <a:pt x="122" y="61"/>
                  <a:pt x="122" y="61"/>
                  <a:pt x="122" y="61"/>
                </a:cubicBezTo>
                <a:cubicBezTo>
                  <a:pt x="93" y="61"/>
                  <a:pt x="66" y="68"/>
                  <a:pt x="45" y="82"/>
                </a:cubicBezTo>
                <a:cubicBezTo>
                  <a:pt x="40" y="77"/>
                  <a:pt x="34" y="74"/>
                  <a:pt x="27" y="74"/>
                </a:cubicBezTo>
                <a:cubicBezTo>
                  <a:pt x="12" y="74"/>
                  <a:pt x="0" y="86"/>
                  <a:pt x="0" y="101"/>
                </a:cubicBezTo>
                <a:cubicBezTo>
                  <a:pt x="0" y="110"/>
                  <a:pt x="5" y="119"/>
                  <a:pt x="14" y="124"/>
                </a:cubicBezTo>
                <a:cubicBezTo>
                  <a:pt x="13" y="127"/>
                  <a:pt x="13" y="130"/>
                  <a:pt x="13" y="133"/>
                </a:cubicBezTo>
                <a:cubicBezTo>
                  <a:pt x="13" y="173"/>
                  <a:pt x="62" y="206"/>
                  <a:pt x="123" y="206"/>
                </a:cubicBezTo>
                <a:cubicBezTo>
                  <a:pt x="184" y="206"/>
                  <a:pt x="233" y="173"/>
                  <a:pt x="233" y="133"/>
                </a:cubicBezTo>
                <a:cubicBezTo>
                  <a:pt x="233" y="130"/>
                  <a:pt x="233" y="127"/>
                  <a:pt x="232" y="124"/>
                </a:cubicBezTo>
                <a:cubicBezTo>
                  <a:pt x="241" y="120"/>
                  <a:pt x="247" y="111"/>
                  <a:pt x="247" y="101"/>
                </a:cubicBezTo>
                <a:close/>
                <a:moveTo>
                  <a:pt x="123" y="201"/>
                </a:moveTo>
                <a:cubicBezTo>
                  <a:pt x="65" y="201"/>
                  <a:pt x="17" y="171"/>
                  <a:pt x="17" y="133"/>
                </a:cubicBezTo>
                <a:cubicBezTo>
                  <a:pt x="17" y="130"/>
                  <a:pt x="18" y="126"/>
                  <a:pt x="19" y="123"/>
                </a:cubicBezTo>
                <a:cubicBezTo>
                  <a:pt x="22" y="109"/>
                  <a:pt x="31" y="97"/>
                  <a:pt x="46" y="87"/>
                </a:cubicBezTo>
                <a:cubicBezTo>
                  <a:pt x="66" y="73"/>
                  <a:pt x="94" y="66"/>
                  <a:pt x="123" y="66"/>
                </a:cubicBezTo>
                <a:cubicBezTo>
                  <a:pt x="152" y="66"/>
                  <a:pt x="180" y="73"/>
                  <a:pt x="200" y="87"/>
                </a:cubicBezTo>
                <a:cubicBezTo>
                  <a:pt x="215" y="97"/>
                  <a:pt x="224" y="110"/>
                  <a:pt x="227" y="123"/>
                </a:cubicBezTo>
                <a:cubicBezTo>
                  <a:pt x="227" y="124"/>
                  <a:pt x="227" y="124"/>
                  <a:pt x="227" y="124"/>
                </a:cubicBezTo>
                <a:cubicBezTo>
                  <a:pt x="228" y="127"/>
                  <a:pt x="228" y="130"/>
                  <a:pt x="228" y="133"/>
                </a:cubicBezTo>
                <a:cubicBezTo>
                  <a:pt x="228" y="171"/>
                  <a:pt x="181" y="201"/>
                  <a:pt x="123" y="201"/>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endParaRPr lang="en-US" sz="3264"/>
          </a:p>
        </p:txBody>
      </p:sp>
      <p:sp>
        <p:nvSpPr>
          <p:cNvPr id="7305" name="Oval 166"/>
          <p:cNvSpPr>
            <a:spLocks noChangeArrowheads="1"/>
          </p:cNvSpPr>
          <p:nvPr/>
        </p:nvSpPr>
        <p:spPr bwMode="auto">
          <a:xfrm>
            <a:off x="990661" y="2759454"/>
            <a:ext cx="115879" cy="115879"/>
          </a:xfrm>
          <a:prstGeom prst="ellipse">
            <a:avLst/>
          </a:pr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endParaRPr lang="en-US" sz="3264"/>
          </a:p>
        </p:txBody>
      </p:sp>
      <p:sp>
        <p:nvSpPr>
          <p:cNvPr id="7306" name="Oval 167"/>
          <p:cNvSpPr>
            <a:spLocks noChangeArrowheads="1"/>
          </p:cNvSpPr>
          <p:nvPr/>
        </p:nvSpPr>
        <p:spPr bwMode="auto">
          <a:xfrm>
            <a:off x="1231333" y="2759454"/>
            <a:ext cx="115879" cy="115879"/>
          </a:xfrm>
          <a:prstGeom prst="ellipse">
            <a:avLst/>
          </a:pr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endParaRPr lang="en-US" sz="3264"/>
          </a:p>
        </p:txBody>
      </p:sp>
      <p:sp>
        <p:nvSpPr>
          <p:cNvPr id="7307" name="Freeform 168"/>
          <p:cNvSpPr>
            <a:spLocks/>
          </p:cNvSpPr>
          <p:nvPr/>
        </p:nvSpPr>
        <p:spPr bwMode="auto">
          <a:xfrm>
            <a:off x="1039686" y="2957784"/>
            <a:ext cx="260729" cy="55711"/>
          </a:xfrm>
          <a:custGeom>
            <a:avLst/>
            <a:gdLst>
              <a:gd name="T0" fmla="*/ 77 w 81"/>
              <a:gd name="T1" fmla="*/ 0 h 17"/>
              <a:gd name="T2" fmla="*/ 4 w 81"/>
              <a:gd name="T3" fmla="*/ 0 h 17"/>
              <a:gd name="T4" fmla="*/ 1 w 81"/>
              <a:gd name="T5" fmla="*/ 1 h 17"/>
              <a:gd name="T6" fmla="*/ 1 w 81"/>
              <a:gd name="T7" fmla="*/ 4 h 17"/>
              <a:gd name="T8" fmla="*/ 40 w 81"/>
              <a:gd name="T9" fmla="*/ 17 h 17"/>
              <a:gd name="T10" fmla="*/ 79 w 81"/>
              <a:gd name="T11" fmla="*/ 4 h 17"/>
              <a:gd name="T12" fmla="*/ 80 w 81"/>
              <a:gd name="T13" fmla="*/ 1 h 17"/>
              <a:gd name="T14" fmla="*/ 77 w 81"/>
              <a:gd name="T15" fmla="*/ 0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1" h="17">
                <a:moveTo>
                  <a:pt x="77" y="0"/>
                </a:moveTo>
                <a:cubicBezTo>
                  <a:pt x="55" y="16"/>
                  <a:pt x="26" y="16"/>
                  <a:pt x="4" y="0"/>
                </a:cubicBezTo>
                <a:cubicBezTo>
                  <a:pt x="3" y="0"/>
                  <a:pt x="2" y="0"/>
                  <a:pt x="1" y="1"/>
                </a:cubicBezTo>
                <a:cubicBezTo>
                  <a:pt x="0" y="2"/>
                  <a:pt x="0" y="4"/>
                  <a:pt x="1" y="4"/>
                </a:cubicBezTo>
                <a:cubicBezTo>
                  <a:pt x="13" y="12"/>
                  <a:pt x="27" y="17"/>
                  <a:pt x="40" y="17"/>
                </a:cubicBezTo>
                <a:cubicBezTo>
                  <a:pt x="54" y="17"/>
                  <a:pt x="68" y="12"/>
                  <a:pt x="79" y="4"/>
                </a:cubicBezTo>
                <a:cubicBezTo>
                  <a:pt x="80" y="4"/>
                  <a:pt x="81" y="2"/>
                  <a:pt x="80" y="1"/>
                </a:cubicBezTo>
                <a:cubicBezTo>
                  <a:pt x="79" y="0"/>
                  <a:pt x="78" y="0"/>
                  <a:pt x="77" y="0"/>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endParaRPr lang="en-US" sz="3264"/>
          </a:p>
        </p:txBody>
      </p:sp>
      <p:sp>
        <p:nvSpPr>
          <p:cNvPr id="7308" name="Oval 169"/>
          <p:cNvSpPr>
            <a:spLocks noChangeArrowheads="1"/>
          </p:cNvSpPr>
          <p:nvPr/>
        </p:nvSpPr>
        <p:spPr bwMode="auto">
          <a:xfrm>
            <a:off x="2570784" y="3944370"/>
            <a:ext cx="1243471" cy="1243471"/>
          </a:xfrm>
          <a:prstGeom prst="ellipse">
            <a:avLst/>
          </a:prstGeom>
          <a:solidFill>
            <a:schemeClr val="accent1"/>
          </a:solidFill>
          <a:ln w="19050">
            <a:noFill/>
            <a:round/>
            <a:headEnd/>
            <a:tailEnd/>
          </a:ln>
        </p:spPr>
        <p:txBody>
          <a:bodyPr vert="horz" wrap="square" lIns="124347" tIns="62174" rIns="124347" bIns="62174" numCol="1" anchor="t" anchorCtr="0" compatLnSpc="1">
            <a:prstTxWarp prst="textNoShape">
              <a:avLst/>
            </a:prstTxWarp>
          </a:bodyPr>
          <a:lstStyle/>
          <a:p>
            <a:endParaRPr lang="en-US" sz="3264"/>
          </a:p>
        </p:txBody>
      </p:sp>
      <p:sp>
        <p:nvSpPr>
          <p:cNvPr id="7309" name="Freeform 170"/>
          <p:cNvSpPr>
            <a:spLocks/>
          </p:cNvSpPr>
          <p:nvPr/>
        </p:nvSpPr>
        <p:spPr bwMode="auto">
          <a:xfrm>
            <a:off x="2942936" y="4193957"/>
            <a:ext cx="481343" cy="775498"/>
          </a:xfrm>
          <a:custGeom>
            <a:avLst/>
            <a:gdLst>
              <a:gd name="T0" fmla="*/ 83 w 149"/>
              <a:gd name="T1" fmla="*/ 0 h 241"/>
              <a:gd name="T2" fmla="*/ 83 w 149"/>
              <a:gd name="T3" fmla="*/ 61 h 241"/>
              <a:gd name="T4" fmla="*/ 140 w 149"/>
              <a:gd name="T5" fmla="*/ 61 h 241"/>
              <a:gd name="T6" fmla="*/ 140 w 149"/>
              <a:gd name="T7" fmla="*/ 99 h 241"/>
              <a:gd name="T8" fmla="*/ 83 w 149"/>
              <a:gd name="T9" fmla="*/ 99 h 241"/>
              <a:gd name="T10" fmla="*/ 83 w 149"/>
              <a:gd name="T11" fmla="*/ 161 h 241"/>
              <a:gd name="T12" fmla="*/ 85 w 149"/>
              <a:gd name="T13" fmla="*/ 188 h 241"/>
              <a:gd name="T14" fmla="*/ 94 w 149"/>
              <a:gd name="T15" fmla="*/ 197 h 241"/>
              <a:gd name="T16" fmla="*/ 112 w 149"/>
              <a:gd name="T17" fmla="*/ 202 h 241"/>
              <a:gd name="T18" fmla="*/ 149 w 149"/>
              <a:gd name="T19" fmla="*/ 190 h 241"/>
              <a:gd name="T20" fmla="*/ 149 w 149"/>
              <a:gd name="T21" fmla="*/ 228 h 241"/>
              <a:gd name="T22" fmla="*/ 120 w 149"/>
              <a:gd name="T23" fmla="*/ 238 h 241"/>
              <a:gd name="T24" fmla="*/ 93 w 149"/>
              <a:gd name="T25" fmla="*/ 241 h 241"/>
              <a:gd name="T26" fmla="*/ 64 w 149"/>
              <a:gd name="T27" fmla="*/ 237 h 241"/>
              <a:gd name="T28" fmla="*/ 42 w 149"/>
              <a:gd name="T29" fmla="*/ 225 h 241"/>
              <a:gd name="T30" fmla="*/ 30 w 149"/>
              <a:gd name="T31" fmla="*/ 209 h 241"/>
              <a:gd name="T32" fmla="*/ 26 w 149"/>
              <a:gd name="T33" fmla="*/ 183 h 241"/>
              <a:gd name="T34" fmla="*/ 26 w 149"/>
              <a:gd name="T35" fmla="*/ 99 h 241"/>
              <a:gd name="T36" fmla="*/ 0 w 149"/>
              <a:gd name="T37" fmla="*/ 99 h 241"/>
              <a:gd name="T38" fmla="*/ 0 w 149"/>
              <a:gd name="T39" fmla="*/ 65 h 241"/>
              <a:gd name="T40" fmla="*/ 24 w 149"/>
              <a:gd name="T41" fmla="*/ 51 h 241"/>
              <a:gd name="T42" fmla="*/ 40 w 149"/>
              <a:gd name="T43" fmla="*/ 31 h 241"/>
              <a:gd name="T44" fmla="*/ 49 w 149"/>
              <a:gd name="T45" fmla="*/ 0 h 241"/>
              <a:gd name="T46" fmla="*/ 83 w 149"/>
              <a:gd name="T47" fmla="*/ 0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9" h="241">
                <a:moveTo>
                  <a:pt x="83" y="0"/>
                </a:moveTo>
                <a:cubicBezTo>
                  <a:pt x="83" y="61"/>
                  <a:pt x="83" y="61"/>
                  <a:pt x="83" y="61"/>
                </a:cubicBezTo>
                <a:cubicBezTo>
                  <a:pt x="140" y="61"/>
                  <a:pt x="140" y="61"/>
                  <a:pt x="140" y="61"/>
                </a:cubicBezTo>
                <a:cubicBezTo>
                  <a:pt x="140" y="99"/>
                  <a:pt x="140" y="99"/>
                  <a:pt x="140" y="99"/>
                </a:cubicBezTo>
                <a:cubicBezTo>
                  <a:pt x="83" y="99"/>
                  <a:pt x="83" y="99"/>
                  <a:pt x="83" y="99"/>
                </a:cubicBezTo>
                <a:cubicBezTo>
                  <a:pt x="83" y="161"/>
                  <a:pt x="83" y="161"/>
                  <a:pt x="83" y="161"/>
                </a:cubicBezTo>
                <a:cubicBezTo>
                  <a:pt x="83" y="175"/>
                  <a:pt x="84" y="184"/>
                  <a:pt x="85" y="188"/>
                </a:cubicBezTo>
                <a:cubicBezTo>
                  <a:pt x="87" y="192"/>
                  <a:pt x="90" y="195"/>
                  <a:pt x="94" y="197"/>
                </a:cubicBezTo>
                <a:cubicBezTo>
                  <a:pt x="99" y="200"/>
                  <a:pt x="105" y="202"/>
                  <a:pt x="112" y="202"/>
                </a:cubicBezTo>
                <a:cubicBezTo>
                  <a:pt x="124" y="202"/>
                  <a:pt x="136" y="198"/>
                  <a:pt x="149" y="190"/>
                </a:cubicBezTo>
                <a:cubicBezTo>
                  <a:pt x="149" y="228"/>
                  <a:pt x="149" y="228"/>
                  <a:pt x="149" y="228"/>
                </a:cubicBezTo>
                <a:cubicBezTo>
                  <a:pt x="138" y="233"/>
                  <a:pt x="129" y="236"/>
                  <a:pt x="120" y="238"/>
                </a:cubicBezTo>
                <a:cubicBezTo>
                  <a:pt x="112" y="240"/>
                  <a:pt x="103" y="241"/>
                  <a:pt x="93" y="241"/>
                </a:cubicBezTo>
                <a:cubicBezTo>
                  <a:pt x="82" y="241"/>
                  <a:pt x="73" y="240"/>
                  <a:pt x="64" y="237"/>
                </a:cubicBezTo>
                <a:cubicBezTo>
                  <a:pt x="56" y="234"/>
                  <a:pt x="48" y="230"/>
                  <a:pt x="42" y="225"/>
                </a:cubicBezTo>
                <a:cubicBezTo>
                  <a:pt x="36" y="220"/>
                  <a:pt x="32" y="214"/>
                  <a:pt x="30" y="209"/>
                </a:cubicBezTo>
                <a:cubicBezTo>
                  <a:pt x="28" y="203"/>
                  <a:pt x="26" y="194"/>
                  <a:pt x="26" y="183"/>
                </a:cubicBezTo>
                <a:cubicBezTo>
                  <a:pt x="26" y="99"/>
                  <a:pt x="26" y="99"/>
                  <a:pt x="26" y="99"/>
                </a:cubicBezTo>
                <a:cubicBezTo>
                  <a:pt x="0" y="99"/>
                  <a:pt x="0" y="99"/>
                  <a:pt x="0" y="99"/>
                </a:cubicBezTo>
                <a:cubicBezTo>
                  <a:pt x="0" y="65"/>
                  <a:pt x="0" y="65"/>
                  <a:pt x="0" y="65"/>
                </a:cubicBezTo>
                <a:cubicBezTo>
                  <a:pt x="9" y="61"/>
                  <a:pt x="17" y="57"/>
                  <a:pt x="24" y="51"/>
                </a:cubicBezTo>
                <a:cubicBezTo>
                  <a:pt x="31" y="45"/>
                  <a:pt x="36" y="39"/>
                  <a:pt x="40" y="31"/>
                </a:cubicBezTo>
                <a:cubicBezTo>
                  <a:pt x="44" y="22"/>
                  <a:pt x="47" y="12"/>
                  <a:pt x="49" y="0"/>
                </a:cubicBezTo>
                <a:lnTo>
                  <a:pt x="83" y="0"/>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endParaRPr lang="en-US" sz="3264"/>
          </a:p>
        </p:txBody>
      </p:sp>
      <p:sp>
        <p:nvSpPr>
          <p:cNvPr id="7333" name="Oval 194"/>
          <p:cNvSpPr>
            <a:spLocks noChangeArrowheads="1"/>
          </p:cNvSpPr>
          <p:nvPr/>
        </p:nvSpPr>
        <p:spPr bwMode="auto">
          <a:xfrm>
            <a:off x="10679144" y="2108748"/>
            <a:ext cx="1243471" cy="1243471"/>
          </a:xfrm>
          <a:prstGeom prst="ellipse">
            <a:avLst/>
          </a:prstGeom>
          <a:solidFill>
            <a:schemeClr val="accent1"/>
          </a:solidFill>
          <a:ln w="19050">
            <a:noFill/>
            <a:round/>
            <a:headEnd/>
            <a:tailEnd/>
          </a:ln>
        </p:spPr>
        <p:txBody>
          <a:bodyPr vert="horz" wrap="square" lIns="124347" tIns="62174" rIns="124347" bIns="62174" numCol="1" anchor="t" anchorCtr="0" compatLnSpc="1">
            <a:prstTxWarp prst="textNoShape">
              <a:avLst/>
            </a:prstTxWarp>
          </a:bodyPr>
          <a:lstStyle/>
          <a:p>
            <a:endParaRPr lang="en-US" sz="3264"/>
          </a:p>
        </p:txBody>
      </p:sp>
      <p:sp>
        <p:nvSpPr>
          <p:cNvPr id="7334" name="Freeform 195"/>
          <p:cNvSpPr>
            <a:spLocks noEditPoints="1"/>
          </p:cNvSpPr>
          <p:nvPr/>
        </p:nvSpPr>
        <p:spPr bwMode="auto">
          <a:xfrm>
            <a:off x="11091406" y="2391762"/>
            <a:ext cx="416719" cy="777727"/>
          </a:xfrm>
          <a:custGeom>
            <a:avLst/>
            <a:gdLst>
              <a:gd name="T0" fmla="*/ 129 w 129"/>
              <a:gd name="T1" fmla="*/ 0 h 241"/>
              <a:gd name="T2" fmla="*/ 89 w 129"/>
              <a:gd name="T3" fmla="*/ 11 h 241"/>
              <a:gd name="T4" fmla="*/ 60 w 129"/>
              <a:gd name="T5" fmla="*/ 3 h 241"/>
              <a:gd name="T6" fmla="*/ 3 w 129"/>
              <a:gd name="T7" fmla="*/ 60 h 241"/>
              <a:gd name="T8" fmla="*/ 31 w 129"/>
              <a:gd name="T9" fmla="*/ 108 h 241"/>
              <a:gd name="T10" fmla="*/ 31 w 129"/>
              <a:gd name="T11" fmla="*/ 153 h 241"/>
              <a:gd name="T12" fmla="*/ 0 w 129"/>
              <a:gd name="T13" fmla="*/ 194 h 241"/>
              <a:gd name="T14" fmla="*/ 65 w 129"/>
              <a:gd name="T15" fmla="*/ 241 h 241"/>
              <a:gd name="T16" fmla="*/ 129 w 129"/>
              <a:gd name="T17" fmla="*/ 194 h 241"/>
              <a:gd name="T18" fmla="*/ 69 w 129"/>
              <a:gd name="T19" fmla="*/ 146 h 241"/>
              <a:gd name="T20" fmla="*/ 63 w 129"/>
              <a:gd name="T21" fmla="*/ 116 h 241"/>
              <a:gd name="T22" fmla="*/ 117 w 129"/>
              <a:gd name="T23" fmla="*/ 60 h 241"/>
              <a:gd name="T24" fmla="*/ 112 w 129"/>
              <a:gd name="T25" fmla="*/ 37 h 241"/>
              <a:gd name="T26" fmla="*/ 129 w 129"/>
              <a:gd name="T27" fmla="*/ 37 h 241"/>
              <a:gd name="T28" fmla="*/ 129 w 129"/>
              <a:gd name="T29" fmla="*/ 0 h 241"/>
              <a:gd name="T30" fmla="*/ 93 w 129"/>
              <a:gd name="T31" fmla="*/ 193 h 241"/>
              <a:gd name="T32" fmla="*/ 64 w 129"/>
              <a:gd name="T33" fmla="*/ 212 h 241"/>
              <a:gd name="T34" fmla="*/ 34 w 129"/>
              <a:gd name="T35" fmla="*/ 193 h 241"/>
              <a:gd name="T36" fmla="*/ 64 w 129"/>
              <a:gd name="T37" fmla="*/ 175 h 241"/>
              <a:gd name="T38" fmla="*/ 93 w 129"/>
              <a:gd name="T39" fmla="*/ 193 h 241"/>
              <a:gd name="T40" fmla="*/ 61 w 129"/>
              <a:gd name="T41" fmla="*/ 83 h 241"/>
              <a:gd name="T42" fmla="*/ 40 w 129"/>
              <a:gd name="T43" fmla="*/ 57 h 241"/>
              <a:gd name="T44" fmla="*/ 61 w 129"/>
              <a:gd name="T45" fmla="*/ 31 h 241"/>
              <a:gd name="T46" fmla="*/ 81 w 129"/>
              <a:gd name="T47" fmla="*/ 57 h 241"/>
              <a:gd name="T48" fmla="*/ 61 w 129"/>
              <a:gd name="T49" fmla="*/ 83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9" h="241">
                <a:moveTo>
                  <a:pt x="129" y="0"/>
                </a:moveTo>
                <a:cubicBezTo>
                  <a:pt x="123" y="6"/>
                  <a:pt x="101" y="10"/>
                  <a:pt x="89" y="11"/>
                </a:cubicBezTo>
                <a:cubicBezTo>
                  <a:pt x="81" y="6"/>
                  <a:pt x="71" y="3"/>
                  <a:pt x="60" y="3"/>
                </a:cubicBezTo>
                <a:cubicBezTo>
                  <a:pt x="29" y="3"/>
                  <a:pt x="3" y="28"/>
                  <a:pt x="3" y="60"/>
                </a:cubicBezTo>
                <a:cubicBezTo>
                  <a:pt x="3" y="80"/>
                  <a:pt x="15" y="98"/>
                  <a:pt x="31" y="108"/>
                </a:cubicBezTo>
                <a:cubicBezTo>
                  <a:pt x="25" y="115"/>
                  <a:pt x="12" y="128"/>
                  <a:pt x="31" y="153"/>
                </a:cubicBezTo>
                <a:cubicBezTo>
                  <a:pt x="13" y="162"/>
                  <a:pt x="0" y="177"/>
                  <a:pt x="0" y="194"/>
                </a:cubicBezTo>
                <a:cubicBezTo>
                  <a:pt x="0" y="220"/>
                  <a:pt x="29" y="241"/>
                  <a:pt x="65" y="241"/>
                </a:cubicBezTo>
                <a:cubicBezTo>
                  <a:pt x="100" y="241"/>
                  <a:pt x="129" y="220"/>
                  <a:pt x="129" y="194"/>
                </a:cubicBezTo>
                <a:cubicBezTo>
                  <a:pt x="129" y="168"/>
                  <a:pt x="103" y="148"/>
                  <a:pt x="69" y="146"/>
                </a:cubicBezTo>
                <a:cubicBezTo>
                  <a:pt x="61" y="141"/>
                  <a:pt x="53" y="131"/>
                  <a:pt x="63" y="116"/>
                </a:cubicBezTo>
                <a:cubicBezTo>
                  <a:pt x="93" y="115"/>
                  <a:pt x="117" y="90"/>
                  <a:pt x="117" y="60"/>
                </a:cubicBezTo>
                <a:cubicBezTo>
                  <a:pt x="117" y="52"/>
                  <a:pt x="115" y="44"/>
                  <a:pt x="112" y="37"/>
                </a:cubicBezTo>
                <a:cubicBezTo>
                  <a:pt x="129" y="37"/>
                  <a:pt x="129" y="37"/>
                  <a:pt x="129" y="37"/>
                </a:cubicBezTo>
                <a:lnTo>
                  <a:pt x="129" y="0"/>
                </a:lnTo>
                <a:close/>
                <a:moveTo>
                  <a:pt x="93" y="193"/>
                </a:moveTo>
                <a:cubicBezTo>
                  <a:pt x="93" y="203"/>
                  <a:pt x="80" y="212"/>
                  <a:pt x="64" y="212"/>
                </a:cubicBezTo>
                <a:cubicBezTo>
                  <a:pt x="47" y="212"/>
                  <a:pt x="34" y="203"/>
                  <a:pt x="34" y="193"/>
                </a:cubicBezTo>
                <a:cubicBezTo>
                  <a:pt x="34" y="183"/>
                  <a:pt x="47" y="175"/>
                  <a:pt x="64" y="175"/>
                </a:cubicBezTo>
                <a:cubicBezTo>
                  <a:pt x="80" y="175"/>
                  <a:pt x="93" y="183"/>
                  <a:pt x="93" y="193"/>
                </a:cubicBezTo>
                <a:close/>
                <a:moveTo>
                  <a:pt x="61" y="83"/>
                </a:moveTo>
                <a:cubicBezTo>
                  <a:pt x="49" y="83"/>
                  <a:pt x="40" y="72"/>
                  <a:pt x="40" y="57"/>
                </a:cubicBezTo>
                <a:cubicBezTo>
                  <a:pt x="40" y="43"/>
                  <a:pt x="49" y="31"/>
                  <a:pt x="61" y="31"/>
                </a:cubicBezTo>
                <a:cubicBezTo>
                  <a:pt x="72" y="31"/>
                  <a:pt x="81" y="43"/>
                  <a:pt x="81" y="57"/>
                </a:cubicBezTo>
                <a:cubicBezTo>
                  <a:pt x="81" y="72"/>
                  <a:pt x="72" y="83"/>
                  <a:pt x="61" y="83"/>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endParaRPr lang="en-US" sz="3264"/>
          </a:p>
        </p:txBody>
      </p:sp>
      <p:sp>
        <p:nvSpPr>
          <p:cNvPr id="281" name="Oval 196"/>
          <p:cNvSpPr>
            <a:spLocks noChangeArrowheads="1"/>
          </p:cNvSpPr>
          <p:nvPr/>
        </p:nvSpPr>
        <p:spPr bwMode="auto">
          <a:xfrm>
            <a:off x="8651104" y="3944370"/>
            <a:ext cx="1243471" cy="1243471"/>
          </a:xfrm>
          <a:prstGeom prst="ellipse">
            <a:avLst/>
          </a:prstGeom>
          <a:solidFill>
            <a:schemeClr val="accent1"/>
          </a:solidFill>
          <a:ln w="19050">
            <a:noFill/>
            <a:round/>
            <a:headEnd/>
            <a:tailEnd/>
          </a:ln>
        </p:spPr>
        <p:txBody>
          <a:bodyPr vert="horz" wrap="square" lIns="124347" tIns="62174" rIns="124347" bIns="62174" numCol="1" anchor="t" anchorCtr="0" compatLnSpc="1">
            <a:prstTxWarp prst="textNoShape">
              <a:avLst/>
            </a:prstTxWarp>
          </a:bodyPr>
          <a:lstStyle/>
          <a:p>
            <a:endParaRPr lang="en-US" sz="3264"/>
          </a:p>
        </p:txBody>
      </p:sp>
      <p:sp>
        <p:nvSpPr>
          <p:cNvPr id="282" name="Freeform 197"/>
          <p:cNvSpPr>
            <a:spLocks noEditPoints="1"/>
          </p:cNvSpPr>
          <p:nvPr/>
        </p:nvSpPr>
        <p:spPr bwMode="auto">
          <a:xfrm>
            <a:off x="8898462" y="4176546"/>
            <a:ext cx="744300" cy="779124"/>
          </a:xfrm>
          <a:custGeom>
            <a:avLst/>
            <a:gdLst>
              <a:gd name="T0" fmla="*/ 189 w 231"/>
              <a:gd name="T1" fmla="*/ 131 h 242"/>
              <a:gd name="T2" fmla="*/ 170 w 231"/>
              <a:gd name="T3" fmla="*/ 118 h 242"/>
              <a:gd name="T4" fmla="*/ 179 w 231"/>
              <a:gd name="T5" fmla="*/ 94 h 242"/>
              <a:gd name="T6" fmla="*/ 182 w 231"/>
              <a:gd name="T7" fmla="*/ 72 h 242"/>
              <a:gd name="T8" fmla="*/ 140 w 231"/>
              <a:gd name="T9" fmla="*/ 37 h 242"/>
              <a:gd name="T10" fmla="*/ 122 w 231"/>
              <a:gd name="T11" fmla="*/ 29 h 242"/>
              <a:gd name="T12" fmla="*/ 116 w 231"/>
              <a:gd name="T13" fmla="*/ 10 h 242"/>
              <a:gd name="T14" fmla="*/ 119 w 231"/>
              <a:gd name="T15" fmla="*/ 33 h 242"/>
              <a:gd name="T16" fmla="*/ 148 w 231"/>
              <a:gd name="T17" fmla="*/ 50 h 242"/>
              <a:gd name="T18" fmla="*/ 164 w 231"/>
              <a:gd name="T19" fmla="*/ 80 h 242"/>
              <a:gd name="T20" fmla="*/ 153 w 231"/>
              <a:gd name="T21" fmla="*/ 95 h 242"/>
              <a:gd name="T22" fmla="*/ 145 w 231"/>
              <a:gd name="T23" fmla="*/ 107 h 242"/>
              <a:gd name="T24" fmla="*/ 144 w 231"/>
              <a:gd name="T25" fmla="*/ 97 h 242"/>
              <a:gd name="T26" fmla="*/ 138 w 231"/>
              <a:gd name="T27" fmla="*/ 78 h 242"/>
              <a:gd name="T28" fmla="*/ 101 w 231"/>
              <a:gd name="T29" fmla="*/ 49 h 242"/>
              <a:gd name="T30" fmla="*/ 72 w 231"/>
              <a:gd name="T31" fmla="*/ 29 h 242"/>
              <a:gd name="T32" fmla="*/ 66 w 231"/>
              <a:gd name="T33" fmla="*/ 0 h 242"/>
              <a:gd name="T34" fmla="*/ 74 w 231"/>
              <a:gd name="T35" fmla="*/ 47 h 242"/>
              <a:gd name="T36" fmla="*/ 103 w 231"/>
              <a:gd name="T37" fmla="*/ 70 h 242"/>
              <a:gd name="T38" fmla="*/ 118 w 231"/>
              <a:gd name="T39" fmla="*/ 85 h 242"/>
              <a:gd name="T40" fmla="*/ 120 w 231"/>
              <a:gd name="T41" fmla="*/ 109 h 242"/>
              <a:gd name="T42" fmla="*/ 116 w 231"/>
              <a:gd name="T43" fmla="*/ 112 h 242"/>
              <a:gd name="T44" fmla="*/ 100 w 231"/>
              <a:gd name="T45" fmla="*/ 107 h 242"/>
              <a:gd name="T46" fmla="*/ 71 w 231"/>
              <a:gd name="T47" fmla="*/ 90 h 242"/>
              <a:gd name="T48" fmla="*/ 60 w 231"/>
              <a:gd name="T49" fmla="*/ 53 h 242"/>
              <a:gd name="T50" fmla="*/ 39 w 231"/>
              <a:gd name="T51" fmla="*/ 36 h 242"/>
              <a:gd name="T52" fmla="*/ 19 w 231"/>
              <a:gd name="T53" fmla="*/ 36 h 242"/>
              <a:gd name="T54" fmla="*/ 0 w 231"/>
              <a:gd name="T55" fmla="*/ 43 h 242"/>
              <a:gd name="T56" fmla="*/ 23 w 231"/>
              <a:gd name="T57" fmla="*/ 42 h 242"/>
              <a:gd name="T58" fmla="*/ 49 w 231"/>
              <a:gd name="T59" fmla="*/ 65 h 242"/>
              <a:gd name="T60" fmla="*/ 69 w 231"/>
              <a:gd name="T61" fmla="*/ 116 h 242"/>
              <a:gd name="T62" fmla="*/ 92 w 231"/>
              <a:gd name="T63" fmla="*/ 136 h 242"/>
              <a:gd name="T64" fmla="*/ 108 w 231"/>
              <a:gd name="T65" fmla="*/ 142 h 242"/>
              <a:gd name="T66" fmla="*/ 83 w 231"/>
              <a:gd name="T67" fmla="*/ 147 h 242"/>
              <a:gd name="T68" fmla="*/ 49 w 231"/>
              <a:gd name="T69" fmla="*/ 147 h 242"/>
              <a:gd name="T70" fmla="*/ 42 w 231"/>
              <a:gd name="T71" fmla="*/ 107 h 242"/>
              <a:gd name="T72" fmla="*/ 39 w 231"/>
              <a:gd name="T73" fmla="*/ 88 h 242"/>
              <a:gd name="T74" fmla="*/ 17 w 231"/>
              <a:gd name="T75" fmla="*/ 76 h 242"/>
              <a:gd name="T76" fmla="*/ 28 w 231"/>
              <a:gd name="T77" fmla="*/ 86 h 242"/>
              <a:gd name="T78" fmla="*/ 29 w 231"/>
              <a:gd name="T79" fmla="*/ 100 h 242"/>
              <a:gd name="T80" fmla="*/ 26 w 231"/>
              <a:gd name="T81" fmla="*/ 146 h 242"/>
              <a:gd name="T82" fmla="*/ 52 w 231"/>
              <a:gd name="T83" fmla="*/ 172 h 242"/>
              <a:gd name="T84" fmla="*/ 110 w 231"/>
              <a:gd name="T85" fmla="*/ 171 h 242"/>
              <a:gd name="T86" fmla="*/ 122 w 231"/>
              <a:gd name="T87" fmla="*/ 195 h 242"/>
              <a:gd name="T88" fmla="*/ 169 w 231"/>
              <a:gd name="T89" fmla="*/ 242 h 242"/>
              <a:gd name="T90" fmla="*/ 226 w 231"/>
              <a:gd name="T91" fmla="*/ 189 h 242"/>
              <a:gd name="T92" fmla="*/ 189 w 231"/>
              <a:gd name="T93" fmla="*/ 131 h 242"/>
              <a:gd name="T94" fmla="*/ 174 w 231"/>
              <a:gd name="T95" fmla="*/ 230 h 242"/>
              <a:gd name="T96" fmla="*/ 141 w 231"/>
              <a:gd name="T97" fmla="*/ 190 h 242"/>
              <a:gd name="T98" fmla="*/ 178 w 231"/>
              <a:gd name="T99" fmla="*/ 145 h 242"/>
              <a:gd name="T100" fmla="*/ 216 w 231"/>
              <a:gd name="T101" fmla="*/ 186 h 242"/>
              <a:gd name="T102" fmla="*/ 174 w 231"/>
              <a:gd name="T103" fmla="*/ 230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31" h="242">
                <a:moveTo>
                  <a:pt x="189" y="131"/>
                </a:moveTo>
                <a:cubicBezTo>
                  <a:pt x="180" y="128"/>
                  <a:pt x="170" y="132"/>
                  <a:pt x="170" y="118"/>
                </a:cubicBezTo>
                <a:cubicBezTo>
                  <a:pt x="170" y="109"/>
                  <a:pt x="176" y="102"/>
                  <a:pt x="179" y="94"/>
                </a:cubicBezTo>
                <a:cubicBezTo>
                  <a:pt x="182" y="87"/>
                  <a:pt x="183" y="79"/>
                  <a:pt x="182" y="72"/>
                </a:cubicBezTo>
                <a:cubicBezTo>
                  <a:pt x="178" y="53"/>
                  <a:pt x="157" y="42"/>
                  <a:pt x="140" y="37"/>
                </a:cubicBezTo>
                <a:cubicBezTo>
                  <a:pt x="133" y="36"/>
                  <a:pt x="126" y="35"/>
                  <a:pt x="122" y="29"/>
                </a:cubicBezTo>
                <a:cubicBezTo>
                  <a:pt x="119" y="24"/>
                  <a:pt x="115" y="16"/>
                  <a:pt x="116" y="10"/>
                </a:cubicBezTo>
                <a:cubicBezTo>
                  <a:pt x="115" y="15"/>
                  <a:pt x="116" y="26"/>
                  <a:pt x="119" y="33"/>
                </a:cubicBezTo>
                <a:cubicBezTo>
                  <a:pt x="122" y="41"/>
                  <a:pt x="140" y="45"/>
                  <a:pt x="148" y="50"/>
                </a:cubicBezTo>
                <a:cubicBezTo>
                  <a:pt x="156" y="55"/>
                  <a:pt x="168" y="69"/>
                  <a:pt x="164" y="80"/>
                </a:cubicBezTo>
                <a:cubicBezTo>
                  <a:pt x="161" y="85"/>
                  <a:pt x="157" y="90"/>
                  <a:pt x="153" y="95"/>
                </a:cubicBezTo>
                <a:cubicBezTo>
                  <a:pt x="150" y="98"/>
                  <a:pt x="148" y="104"/>
                  <a:pt x="145" y="107"/>
                </a:cubicBezTo>
                <a:cubicBezTo>
                  <a:pt x="146" y="106"/>
                  <a:pt x="144" y="98"/>
                  <a:pt x="144" y="97"/>
                </a:cubicBezTo>
                <a:cubicBezTo>
                  <a:pt x="143" y="90"/>
                  <a:pt x="142" y="83"/>
                  <a:pt x="138" y="78"/>
                </a:cubicBezTo>
                <a:cubicBezTo>
                  <a:pt x="130" y="66"/>
                  <a:pt x="114" y="55"/>
                  <a:pt x="101" y="49"/>
                </a:cubicBezTo>
                <a:cubicBezTo>
                  <a:pt x="93" y="45"/>
                  <a:pt x="77" y="38"/>
                  <a:pt x="72" y="29"/>
                </a:cubicBezTo>
                <a:cubicBezTo>
                  <a:pt x="67" y="21"/>
                  <a:pt x="67" y="10"/>
                  <a:pt x="66" y="0"/>
                </a:cubicBezTo>
                <a:cubicBezTo>
                  <a:pt x="64" y="16"/>
                  <a:pt x="65" y="33"/>
                  <a:pt x="74" y="47"/>
                </a:cubicBezTo>
                <a:cubicBezTo>
                  <a:pt x="81" y="58"/>
                  <a:pt x="92" y="63"/>
                  <a:pt x="103" y="70"/>
                </a:cubicBezTo>
                <a:cubicBezTo>
                  <a:pt x="109" y="73"/>
                  <a:pt x="114" y="79"/>
                  <a:pt x="118" y="85"/>
                </a:cubicBezTo>
                <a:cubicBezTo>
                  <a:pt x="121" y="91"/>
                  <a:pt x="120" y="101"/>
                  <a:pt x="120" y="109"/>
                </a:cubicBezTo>
                <a:cubicBezTo>
                  <a:pt x="121" y="113"/>
                  <a:pt x="120" y="113"/>
                  <a:pt x="116" y="112"/>
                </a:cubicBezTo>
                <a:cubicBezTo>
                  <a:pt x="111" y="111"/>
                  <a:pt x="105" y="109"/>
                  <a:pt x="100" y="107"/>
                </a:cubicBezTo>
                <a:cubicBezTo>
                  <a:pt x="91" y="103"/>
                  <a:pt x="76" y="99"/>
                  <a:pt x="71" y="90"/>
                </a:cubicBezTo>
                <a:cubicBezTo>
                  <a:pt x="64" y="79"/>
                  <a:pt x="64" y="64"/>
                  <a:pt x="60" y="53"/>
                </a:cubicBezTo>
                <a:cubicBezTo>
                  <a:pt x="56" y="42"/>
                  <a:pt x="49" y="38"/>
                  <a:pt x="39" y="36"/>
                </a:cubicBezTo>
                <a:cubicBezTo>
                  <a:pt x="32" y="34"/>
                  <a:pt x="25" y="35"/>
                  <a:pt x="19" y="36"/>
                </a:cubicBezTo>
                <a:cubicBezTo>
                  <a:pt x="16" y="37"/>
                  <a:pt x="0" y="41"/>
                  <a:pt x="0" y="43"/>
                </a:cubicBezTo>
                <a:cubicBezTo>
                  <a:pt x="0" y="43"/>
                  <a:pt x="22" y="42"/>
                  <a:pt x="23" y="42"/>
                </a:cubicBezTo>
                <a:cubicBezTo>
                  <a:pt x="40" y="43"/>
                  <a:pt x="45" y="51"/>
                  <a:pt x="49" y="65"/>
                </a:cubicBezTo>
                <a:cubicBezTo>
                  <a:pt x="54" y="82"/>
                  <a:pt x="58" y="102"/>
                  <a:pt x="69" y="116"/>
                </a:cubicBezTo>
                <a:cubicBezTo>
                  <a:pt x="76" y="124"/>
                  <a:pt x="84" y="130"/>
                  <a:pt x="92" y="136"/>
                </a:cubicBezTo>
                <a:cubicBezTo>
                  <a:pt x="95" y="138"/>
                  <a:pt x="103" y="144"/>
                  <a:pt x="108" y="142"/>
                </a:cubicBezTo>
                <a:cubicBezTo>
                  <a:pt x="100" y="145"/>
                  <a:pt x="91" y="145"/>
                  <a:pt x="83" y="147"/>
                </a:cubicBezTo>
                <a:cubicBezTo>
                  <a:pt x="73" y="148"/>
                  <a:pt x="58" y="152"/>
                  <a:pt x="49" y="147"/>
                </a:cubicBezTo>
                <a:cubicBezTo>
                  <a:pt x="39" y="142"/>
                  <a:pt x="42" y="116"/>
                  <a:pt x="42" y="107"/>
                </a:cubicBezTo>
                <a:cubicBezTo>
                  <a:pt x="42" y="101"/>
                  <a:pt x="42" y="93"/>
                  <a:pt x="39" y="88"/>
                </a:cubicBezTo>
                <a:cubicBezTo>
                  <a:pt x="34" y="81"/>
                  <a:pt x="25" y="76"/>
                  <a:pt x="17" y="76"/>
                </a:cubicBezTo>
                <a:cubicBezTo>
                  <a:pt x="21" y="79"/>
                  <a:pt x="25" y="82"/>
                  <a:pt x="28" y="86"/>
                </a:cubicBezTo>
                <a:cubicBezTo>
                  <a:pt x="32" y="91"/>
                  <a:pt x="30" y="95"/>
                  <a:pt x="29" y="100"/>
                </a:cubicBezTo>
                <a:cubicBezTo>
                  <a:pt x="26" y="115"/>
                  <a:pt x="24" y="131"/>
                  <a:pt x="26" y="146"/>
                </a:cubicBezTo>
                <a:cubicBezTo>
                  <a:pt x="28" y="161"/>
                  <a:pt x="38" y="170"/>
                  <a:pt x="52" y="172"/>
                </a:cubicBezTo>
                <a:cubicBezTo>
                  <a:pt x="71" y="175"/>
                  <a:pt x="91" y="173"/>
                  <a:pt x="110" y="171"/>
                </a:cubicBezTo>
                <a:cubicBezTo>
                  <a:pt x="121" y="169"/>
                  <a:pt x="120" y="188"/>
                  <a:pt x="122" y="195"/>
                </a:cubicBezTo>
                <a:cubicBezTo>
                  <a:pt x="127" y="218"/>
                  <a:pt x="142" y="242"/>
                  <a:pt x="169" y="242"/>
                </a:cubicBezTo>
                <a:cubicBezTo>
                  <a:pt x="200" y="242"/>
                  <a:pt x="221" y="218"/>
                  <a:pt x="226" y="189"/>
                </a:cubicBezTo>
                <a:cubicBezTo>
                  <a:pt x="231" y="163"/>
                  <a:pt x="214" y="138"/>
                  <a:pt x="189" y="131"/>
                </a:cubicBezTo>
                <a:close/>
                <a:moveTo>
                  <a:pt x="174" y="230"/>
                </a:moveTo>
                <a:cubicBezTo>
                  <a:pt x="154" y="230"/>
                  <a:pt x="141" y="213"/>
                  <a:pt x="141" y="190"/>
                </a:cubicBezTo>
                <a:cubicBezTo>
                  <a:pt x="141" y="167"/>
                  <a:pt x="159" y="145"/>
                  <a:pt x="178" y="145"/>
                </a:cubicBezTo>
                <a:cubicBezTo>
                  <a:pt x="198" y="145"/>
                  <a:pt x="216" y="163"/>
                  <a:pt x="216" y="186"/>
                </a:cubicBezTo>
                <a:cubicBezTo>
                  <a:pt x="216" y="209"/>
                  <a:pt x="193" y="230"/>
                  <a:pt x="174" y="230"/>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endParaRPr lang="en-US" sz="3264"/>
          </a:p>
        </p:txBody>
      </p:sp>
      <p:sp>
        <p:nvSpPr>
          <p:cNvPr id="283" name="Freeform 198"/>
          <p:cNvSpPr>
            <a:spLocks/>
          </p:cNvSpPr>
          <p:nvPr/>
        </p:nvSpPr>
        <p:spPr bwMode="auto">
          <a:xfrm>
            <a:off x="9446659" y="4727957"/>
            <a:ext cx="102509" cy="118320"/>
          </a:xfrm>
          <a:custGeom>
            <a:avLst/>
            <a:gdLst>
              <a:gd name="T0" fmla="*/ 15 w 32"/>
              <a:gd name="T1" fmla="*/ 0 h 37"/>
              <a:gd name="T2" fmla="*/ 0 w 32"/>
              <a:gd name="T3" fmla="*/ 18 h 37"/>
              <a:gd name="T4" fmla="*/ 15 w 32"/>
              <a:gd name="T5" fmla="*/ 37 h 37"/>
              <a:gd name="T6" fmla="*/ 32 w 32"/>
              <a:gd name="T7" fmla="*/ 18 h 37"/>
              <a:gd name="T8" fmla="*/ 15 w 32"/>
              <a:gd name="T9" fmla="*/ 0 h 37"/>
            </a:gdLst>
            <a:ahLst/>
            <a:cxnLst>
              <a:cxn ang="0">
                <a:pos x="T0" y="T1"/>
              </a:cxn>
              <a:cxn ang="0">
                <a:pos x="T2" y="T3"/>
              </a:cxn>
              <a:cxn ang="0">
                <a:pos x="T4" y="T5"/>
              </a:cxn>
              <a:cxn ang="0">
                <a:pos x="T6" y="T7"/>
              </a:cxn>
              <a:cxn ang="0">
                <a:pos x="T8" y="T9"/>
              </a:cxn>
            </a:cxnLst>
            <a:rect l="0" t="0" r="r" b="b"/>
            <a:pathLst>
              <a:path w="32" h="37">
                <a:moveTo>
                  <a:pt x="15" y="0"/>
                </a:moveTo>
                <a:cubicBezTo>
                  <a:pt x="7" y="0"/>
                  <a:pt x="0" y="8"/>
                  <a:pt x="0" y="18"/>
                </a:cubicBezTo>
                <a:cubicBezTo>
                  <a:pt x="0" y="29"/>
                  <a:pt x="7" y="37"/>
                  <a:pt x="15" y="37"/>
                </a:cubicBezTo>
                <a:cubicBezTo>
                  <a:pt x="23" y="37"/>
                  <a:pt x="32" y="28"/>
                  <a:pt x="32" y="18"/>
                </a:cubicBezTo>
                <a:cubicBezTo>
                  <a:pt x="32" y="8"/>
                  <a:pt x="23" y="0"/>
                  <a:pt x="15" y="0"/>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endParaRPr lang="en-US" sz="3264"/>
          </a:p>
        </p:txBody>
      </p:sp>
      <p:sp>
        <p:nvSpPr>
          <p:cNvPr id="291" name="Oval 6"/>
          <p:cNvSpPr>
            <a:spLocks noChangeArrowheads="1"/>
          </p:cNvSpPr>
          <p:nvPr/>
        </p:nvSpPr>
        <p:spPr bwMode="auto">
          <a:xfrm>
            <a:off x="6626869" y="3944370"/>
            <a:ext cx="1239664" cy="1239664"/>
          </a:xfrm>
          <a:prstGeom prst="ellipse">
            <a:avLst/>
          </a:prstGeom>
          <a:solidFill>
            <a:schemeClr val="accent1"/>
          </a:solidFill>
          <a:ln w="19050">
            <a:noFill/>
            <a:round/>
            <a:headEnd/>
            <a:tailEnd/>
          </a:ln>
        </p:spPr>
        <p:txBody>
          <a:bodyPr vert="horz" wrap="square" lIns="124347" tIns="62174" rIns="124347" bIns="62174" numCol="1" anchor="t" anchorCtr="0" compatLnSpc="1">
            <a:prstTxWarp prst="textNoShape">
              <a:avLst/>
            </a:prstTxWarp>
          </a:bodyPr>
          <a:lstStyle/>
          <a:p>
            <a:endParaRPr lang="en-US" sz="3264"/>
          </a:p>
        </p:txBody>
      </p:sp>
      <p:grpSp>
        <p:nvGrpSpPr>
          <p:cNvPr id="292" name="Group 291"/>
          <p:cNvGrpSpPr/>
          <p:nvPr/>
        </p:nvGrpSpPr>
        <p:grpSpPr>
          <a:xfrm>
            <a:off x="6859634" y="4177134"/>
            <a:ext cx="774135" cy="775444"/>
            <a:chOff x="4542766" y="67602"/>
            <a:chExt cx="569269" cy="570231"/>
          </a:xfrm>
        </p:grpSpPr>
        <p:sp>
          <p:nvSpPr>
            <p:cNvPr id="293" name="Freeform 8"/>
            <p:cNvSpPr>
              <a:spLocks/>
            </p:cNvSpPr>
            <p:nvPr/>
          </p:nvSpPr>
          <p:spPr bwMode="auto">
            <a:xfrm>
              <a:off x="5035107" y="156070"/>
              <a:ext cx="76928" cy="390411"/>
            </a:xfrm>
            <a:custGeom>
              <a:avLst/>
              <a:gdLst>
                <a:gd name="T0" fmla="*/ 0 w 34"/>
                <a:gd name="T1" fmla="*/ 171 h 171"/>
                <a:gd name="T2" fmla="*/ 34 w 34"/>
                <a:gd name="T3" fmla="*/ 86 h 171"/>
                <a:gd name="T4" fmla="*/ 0 w 34"/>
                <a:gd name="T5" fmla="*/ 0 h 171"/>
                <a:gd name="T6" fmla="*/ 0 w 34"/>
                <a:gd name="T7" fmla="*/ 171 h 171"/>
              </a:gdLst>
              <a:ahLst/>
              <a:cxnLst>
                <a:cxn ang="0">
                  <a:pos x="T0" y="T1"/>
                </a:cxn>
                <a:cxn ang="0">
                  <a:pos x="T2" y="T3"/>
                </a:cxn>
                <a:cxn ang="0">
                  <a:pos x="T4" y="T5"/>
                </a:cxn>
                <a:cxn ang="0">
                  <a:pos x="T6" y="T7"/>
                </a:cxn>
              </a:cxnLst>
              <a:rect l="0" t="0" r="r" b="b"/>
              <a:pathLst>
                <a:path w="34" h="171">
                  <a:moveTo>
                    <a:pt x="0" y="171"/>
                  </a:moveTo>
                  <a:cubicBezTo>
                    <a:pt x="21" y="149"/>
                    <a:pt x="34" y="119"/>
                    <a:pt x="34" y="86"/>
                  </a:cubicBezTo>
                  <a:cubicBezTo>
                    <a:pt x="34" y="53"/>
                    <a:pt x="21" y="23"/>
                    <a:pt x="0" y="0"/>
                  </a:cubicBezTo>
                  <a:lnTo>
                    <a:pt x="0" y="171"/>
                  </a:lnTo>
                  <a:close/>
                </a:path>
              </a:pathLst>
            </a:custGeom>
            <a:solidFill>
              <a:srgbClr val="1A1A1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endParaRPr lang="en-US" sz="3264"/>
            </a:p>
          </p:txBody>
        </p:sp>
        <p:sp>
          <p:nvSpPr>
            <p:cNvPr id="294" name="Freeform 9"/>
            <p:cNvSpPr>
              <a:spLocks/>
            </p:cNvSpPr>
            <p:nvPr/>
          </p:nvSpPr>
          <p:spPr bwMode="auto">
            <a:xfrm>
              <a:off x="4932216" y="85873"/>
              <a:ext cx="102892" cy="530805"/>
            </a:xfrm>
            <a:custGeom>
              <a:avLst/>
              <a:gdLst>
                <a:gd name="T0" fmla="*/ 0 w 45"/>
                <a:gd name="T1" fmla="*/ 0 h 233"/>
                <a:gd name="T2" fmla="*/ 0 w 45"/>
                <a:gd name="T3" fmla="*/ 233 h 233"/>
                <a:gd name="T4" fmla="*/ 45 w 45"/>
                <a:gd name="T5" fmla="*/ 202 h 233"/>
                <a:gd name="T6" fmla="*/ 45 w 45"/>
                <a:gd name="T7" fmla="*/ 31 h 233"/>
                <a:gd name="T8" fmla="*/ 0 w 45"/>
                <a:gd name="T9" fmla="*/ 0 h 233"/>
              </a:gdLst>
              <a:ahLst/>
              <a:cxnLst>
                <a:cxn ang="0">
                  <a:pos x="T0" y="T1"/>
                </a:cxn>
                <a:cxn ang="0">
                  <a:pos x="T2" y="T3"/>
                </a:cxn>
                <a:cxn ang="0">
                  <a:pos x="T4" y="T5"/>
                </a:cxn>
                <a:cxn ang="0">
                  <a:pos x="T6" y="T7"/>
                </a:cxn>
                <a:cxn ang="0">
                  <a:pos x="T8" y="T9"/>
                </a:cxn>
              </a:cxnLst>
              <a:rect l="0" t="0" r="r" b="b"/>
              <a:pathLst>
                <a:path w="45" h="233">
                  <a:moveTo>
                    <a:pt x="0" y="0"/>
                  </a:moveTo>
                  <a:cubicBezTo>
                    <a:pt x="0" y="233"/>
                    <a:pt x="0" y="233"/>
                    <a:pt x="0" y="233"/>
                  </a:cubicBezTo>
                  <a:cubicBezTo>
                    <a:pt x="17" y="226"/>
                    <a:pt x="33" y="216"/>
                    <a:pt x="45" y="202"/>
                  </a:cubicBezTo>
                  <a:cubicBezTo>
                    <a:pt x="45" y="31"/>
                    <a:pt x="45" y="31"/>
                    <a:pt x="45" y="31"/>
                  </a:cubicBezTo>
                  <a:cubicBezTo>
                    <a:pt x="33" y="18"/>
                    <a:pt x="17" y="7"/>
                    <a:pt x="0" y="0"/>
                  </a:cubicBezTo>
                  <a:close/>
                </a:path>
              </a:pathLst>
            </a:custGeom>
            <a:solidFill>
              <a:srgbClr val="4D4D4D"/>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endParaRPr lang="en-US" sz="3264"/>
            </a:p>
          </p:txBody>
        </p:sp>
        <p:sp>
          <p:nvSpPr>
            <p:cNvPr id="295" name="Freeform 10"/>
            <p:cNvSpPr>
              <a:spLocks/>
            </p:cNvSpPr>
            <p:nvPr/>
          </p:nvSpPr>
          <p:spPr bwMode="auto">
            <a:xfrm>
              <a:off x="4827401" y="67602"/>
              <a:ext cx="104815" cy="570231"/>
            </a:xfrm>
            <a:custGeom>
              <a:avLst/>
              <a:gdLst>
                <a:gd name="T0" fmla="*/ 0 w 46"/>
                <a:gd name="T1" fmla="*/ 0 h 250"/>
                <a:gd name="T2" fmla="*/ 0 w 46"/>
                <a:gd name="T3" fmla="*/ 0 h 250"/>
                <a:gd name="T4" fmla="*/ 0 w 46"/>
                <a:gd name="T5" fmla="*/ 250 h 250"/>
                <a:gd name="T6" fmla="*/ 0 w 46"/>
                <a:gd name="T7" fmla="*/ 250 h 250"/>
                <a:gd name="T8" fmla="*/ 46 w 46"/>
                <a:gd name="T9" fmla="*/ 241 h 250"/>
                <a:gd name="T10" fmla="*/ 46 w 46"/>
                <a:gd name="T11" fmla="*/ 8 h 250"/>
                <a:gd name="T12" fmla="*/ 0 w 46"/>
                <a:gd name="T13" fmla="*/ 0 h 250"/>
              </a:gdLst>
              <a:ahLst/>
              <a:cxnLst>
                <a:cxn ang="0">
                  <a:pos x="T0" y="T1"/>
                </a:cxn>
                <a:cxn ang="0">
                  <a:pos x="T2" y="T3"/>
                </a:cxn>
                <a:cxn ang="0">
                  <a:pos x="T4" y="T5"/>
                </a:cxn>
                <a:cxn ang="0">
                  <a:pos x="T6" y="T7"/>
                </a:cxn>
                <a:cxn ang="0">
                  <a:pos x="T8" y="T9"/>
                </a:cxn>
                <a:cxn ang="0">
                  <a:pos x="T10" y="T11"/>
                </a:cxn>
                <a:cxn ang="0">
                  <a:pos x="T12" y="T13"/>
                </a:cxn>
              </a:cxnLst>
              <a:rect l="0" t="0" r="r" b="b"/>
              <a:pathLst>
                <a:path w="46" h="250">
                  <a:moveTo>
                    <a:pt x="0" y="0"/>
                  </a:moveTo>
                  <a:cubicBezTo>
                    <a:pt x="0" y="0"/>
                    <a:pt x="0" y="0"/>
                    <a:pt x="0" y="0"/>
                  </a:cubicBezTo>
                  <a:cubicBezTo>
                    <a:pt x="0" y="250"/>
                    <a:pt x="0" y="250"/>
                    <a:pt x="0" y="250"/>
                  </a:cubicBezTo>
                  <a:cubicBezTo>
                    <a:pt x="0" y="250"/>
                    <a:pt x="0" y="250"/>
                    <a:pt x="0" y="250"/>
                  </a:cubicBezTo>
                  <a:cubicBezTo>
                    <a:pt x="16" y="250"/>
                    <a:pt x="31" y="247"/>
                    <a:pt x="46" y="241"/>
                  </a:cubicBezTo>
                  <a:cubicBezTo>
                    <a:pt x="46" y="8"/>
                    <a:pt x="46" y="8"/>
                    <a:pt x="46" y="8"/>
                  </a:cubicBezTo>
                  <a:cubicBezTo>
                    <a:pt x="31" y="3"/>
                    <a:pt x="16" y="0"/>
                    <a:pt x="0" y="0"/>
                  </a:cubicBezTo>
                  <a:close/>
                </a:path>
              </a:pathLst>
            </a:custGeom>
            <a:solidFill>
              <a:srgbClr val="CCCCC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endParaRPr lang="en-US" sz="3264"/>
            </a:p>
          </p:txBody>
        </p:sp>
        <p:sp>
          <p:nvSpPr>
            <p:cNvPr id="296" name="Freeform 11"/>
            <p:cNvSpPr>
              <a:spLocks/>
            </p:cNvSpPr>
            <p:nvPr/>
          </p:nvSpPr>
          <p:spPr bwMode="auto">
            <a:xfrm>
              <a:off x="4722586" y="67602"/>
              <a:ext cx="104815" cy="570231"/>
            </a:xfrm>
            <a:custGeom>
              <a:avLst/>
              <a:gdLst>
                <a:gd name="T0" fmla="*/ 0 w 46"/>
                <a:gd name="T1" fmla="*/ 8 h 250"/>
                <a:gd name="T2" fmla="*/ 0 w 46"/>
                <a:gd name="T3" fmla="*/ 241 h 250"/>
                <a:gd name="T4" fmla="*/ 46 w 46"/>
                <a:gd name="T5" fmla="*/ 250 h 250"/>
                <a:gd name="T6" fmla="*/ 46 w 46"/>
                <a:gd name="T7" fmla="*/ 0 h 250"/>
                <a:gd name="T8" fmla="*/ 0 w 46"/>
                <a:gd name="T9" fmla="*/ 8 h 250"/>
              </a:gdLst>
              <a:ahLst/>
              <a:cxnLst>
                <a:cxn ang="0">
                  <a:pos x="T0" y="T1"/>
                </a:cxn>
                <a:cxn ang="0">
                  <a:pos x="T2" y="T3"/>
                </a:cxn>
                <a:cxn ang="0">
                  <a:pos x="T4" y="T5"/>
                </a:cxn>
                <a:cxn ang="0">
                  <a:pos x="T6" y="T7"/>
                </a:cxn>
                <a:cxn ang="0">
                  <a:pos x="T8" y="T9"/>
                </a:cxn>
              </a:cxnLst>
              <a:rect l="0" t="0" r="r" b="b"/>
              <a:pathLst>
                <a:path w="46" h="250">
                  <a:moveTo>
                    <a:pt x="0" y="8"/>
                  </a:moveTo>
                  <a:cubicBezTo>
                    <a:pt x="0" y="241"/>
                    <a:pt x="0" y="241"/>
                    <a:pt x="0" y="241"/>
                  </a:cubicBezTo>
                  <a:cubicBezTo>
                    <a:pt x="14" y="247"/>
                    <a:pt x="30" y="250"/>
                    <a:pt x="46" y="250"/>
                  </a:cubicBezTo>
                  <a:cubicBezTo>
                    <a:pt x="46" y="0"/>
                    <a:pt x="46" y="0"/>
                    <a:pt x="46" y="0"/>
                  </a:cubicBezTo>
                  <a:cubicBezTo>
                    <a:pt x="30" y="0"/>
                    <a:pt x="14" y="3"/>
                    <a:pt x="0" y="8"/>
                  </a:cubicBezTo>
                  <a:close/>
                </a:path>
              </a:pathLst>
            </a:custGeom>
            <a:solidFill>
              <a:srgbClr val="80808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endParaRPr lang="en-US" sz="3264"/>
            </a:p>
          </p:txBody>
        </p:sp>
        <p:sp>
          <p:nvSpPr>
            <p:cNvPr id="297" name="Freeform 12"/>
            <p:cNvSpPr>
              <a:spLocks/>
            </p:cNvSpPr>
            <p:nvPr/>
          </p:nvSpPr>
          <p:spPr bwMode="auto">
            <a:xfrm>
              <a:off x="4619694" y="85873"/>
              <a:ext cx="102892" cy="530805"/>
            </a:xfrm>
            <a:custGeom>
              <a:avLst/>
              <a:gdLst>
                <a:gd name="T0" fmla="*/ 0 w 45"/>
                <a:gd name="T1" fmla="*/ 32 h 233"/>
                <a:gd name="T2" fmla="*/ 0 w 45"/>
                <a:gd name="T3" fmla="*/ 202 h 233"/>
                <a:gd name="T4" fmla="*/ 45 w 45"/>
                <a:gd name="T5" fmla="*/ 233 h 233"/>
                <a:gd name="T6" fmla="*/ 45 w 45"/>
                <a:gd name="T7" fmla="*/ 0 h 233"/>
                <a:gd name="T8" fmla="*/ 0 w 45"/>
                <a:gd name="T9" fmla="*/ 32 h 233"/>
              </a:gdLst>
              <a:ahLst/>
              <a:cxnLst>
                <a:cxn ang="0">
                  <a:pos x="T0" y="T1"/>
                </a:cxn>
                <a:cxn ang="0">
                  <a:pos x="T2" y="T3"/>
                </a:cxn>
                <a:cxn ang="0">
                  <a:pos x="T4" y="T5"/>
                </a:cxn>
                <a:cxn ang="0">
                  <a:pos x="T6" y="T7"/>
                </a:cxn>
                <a:cxn ang="0">
                  <a:pos x="T8" y="T9"/>
                </a:cxn>
              </a:cxnLst>
              <a:rect l="0" t="0" r="r" b="b"/>
              <a:pathLst>
                <a:path w="45" h="233">
                  <a:moveTo>
                    <a:pt x="0" y="32"/>
                  </a:moveTo>
                  <a:cubicBezTo>
                    <a:pt x="0" y="202"/>
                    <a:pt x="0" y="202"/>
                    <a:pt x="0" y="202"/>
                  </a:cubicBezTo>
                  <a:cubicBezTo>
                    <a:pt x="12" y="216"/>
                    <a:pt x="28" y="226"/>
                    <a:pt x="45" y="233"/>
                  </a:cubicBezTo>
                  <a:cubicBezTo>
                    <a:pt x="45" y="0"/>
                    <a:pt x="45" y="0"/>
                    <a:pt x="45" y="0"/>
                  </a:cubicBezTo>
                  <a:cubicBezTo>
                    <a:pt x="28" y="7"/>
                    <a:pt x="12" y="18"/>
                    <a:pt x="0" y="32"/>
                  </a:cubicBezTo>
                  <a:close/>
                </a:path>
              </a:pathLst>
            </a:custGeom>
            <a:solidFill>
              <a:srgbClr val="E6E6E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endParaRPr lang="en-US" sz="3264"/>
            </a:p>
          </p:txBody>
        </p:sp>
        <p:sp>
          <p:nvSpPr>
            <p:cNvPr id="298" name="Freeform 13"/>
            <p:cNvSpPr>
              <a:spLocks/>
            </p:cNvSpPr>
            <p:nvPr/>
          </p:nvSpPr>
          <p:spPr bwMode="auto">
            <a:xfrm>
              <a:off x="4542766" y="158955"/>
              <a:ext cx="76928" cy="387526"/>
            </a:xfrm>
            <a:custGeom>
              <a:avLst/>
              <a:gdLst>
                <a:gd name="T0" fmla="*/ 0 w 34"/>
                <a:gd name="T1" fmla="*/ 85 h 170"/>
                <a:gd name="T2" fmla="*/ 34 w 34"/>
                <a:gd name="T3" fmla="*/ 170 h 170"/>
                <a:gd name="T4" fmla="*/ 34 w 34"/>
                <a:gd name="T5" fmla="*/ 0 h 170"/>
                <a:gd name="T6" fmla="*/ 0 w 34"/>
                <a:gd name="T7" fmla="*/ 85 h 170"/>
              </a:gdLst>
              <a:ahLst/>
              <a:cxnLst>
                <a:cxn ang="0">
                  <a:pos x="T0" y="T1"/>
                </a:cxn>
                <a:cxn ang="0">
                  <a:pos x="T2" y="T3"/>
                </a:cxn>
                <a:cxn ang="0">
                  <a:pos x="T4" y="T5"/>
                </a:cxn>
                <a:cxn ang="0">
                  <a:pos x="T6" y="T7"/>
                </a:cxn>
              </a:cxnLst>
              <a:rect l="0" t="0" r="r" b="b"/>
              <a:pathLst>
                <a:path w="34" h="170">
                  <a:moveTo>
                    <a:pt x="0" y="85"/>
                  </a:moveTo>
                  <a:cubicBezTo>
                    <a:pt x="0" y="118"/>
                    <a:pt x="13" y="148"/>
                    <a:pt x="34" y="170"/>
                  </a:cubicBezTo>
                  <a:cubicBezTo>
                    <a:pt x="34" y="0"/>
                    <a:pt x="34" y="0"/>
                    <a:pt x="34" y="0"/>
                  </a:cubicBezTo>
                  <a:cubicBezTo>
                    <a:pt x="13" y="22"/>
                    <a:pt x="0" y="52"/>
                    <a:pt x="0" y="85"/>
                  </a:cubicBezTo>
                  <a:close/>
                </a:path>
              </a:pathLst>
            </a:custGeom>
            <a:solidFill>
              <a:srgbClr val="4D4D4D"/>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endParaRPr lang="en-US" sz="3264"/>
            </a:p>
          </p:txBody>
        </p:sp>
      </p:grpSp>
      <p:sp>
        <p:nvSpPr>
          <p:cNvPr id="300" name="Oval 14"/>
          <p:cNvSpPr>
            <a:spLocks noChangeArrowheads="1"/>
          </p:cNvSpPr>
          <p:nvPr/>
        </p:nvSpPr>
        <p:spPr bwMode="auto">
          <a:xfrm>
            <a:off x="6626869" y="2112556"/>
            <a:ext cx="1239664" cy="1239664"/>
          </a:xfrm>
          <a:prstGeom prst="ellipse">
            <a:avLst/>
          </a:prstGeom>
          <a:solidFill>
            <a:schemeClr val="accent1"/>
          </a:solidFill>
          <a:ln w="19050">
            <a:noFill/>
            <a:round/>
            <a:headEnd/>
            <a:tailEnd/>
          </a:ln>
        </p:spPr>
        <p:txBody>
          <a:bodyPr vert="horz" wrap="square" lIns="124347" tIns="62174" rIns="124347" bIns="62174" numCol="1" anchor="t" anchorCtr="0" compatLnSpc="1">
            <a:prstTxWarp prst="textNoShape">
              <a:avLst/>
            </a:prstTxWarp>
          </a:bodyPr>
          <a:lstStyle/>
          <a:p>
            <a:endParaRPr lang="en-US" sz="3264"/>
          </a:p>
        </p:txBody>
      </p:sp>
      <p:grpSp>
        <p:nvGrpSpPr>
          <p:cNvPr id="301" name="Group 300"/>
          <p:cNvGrpSpPr/>
          <p:nvPr/>
        </p:nvGrpSpPr>
        <p:grpSpPr>
          <a:xfrm>
            <a:off x="6858326" y="2344013"/>
            <a:ext cx="775444" cy="775444"/>
            <a:chOff x="3575393" y="-858422"/>
            <a:chExt cx="570231" cy="570231"/>
          </a:xfrm>
        </p:grpSpPr>
        <p:sp>
          <p:nvSpPr>
            <p:cNvPr id="302" name="Freeform 15"/>
            <p:cNvSpPr>
              <a:spLocks/>
            </p:cNvSpPr>
            <p:nvPr/>
          </p:nvSpPr>
          <p:spPr bwMode="auto">
            <a:xfrm>
              <a:off x="3616742" y="-817073"/>
              <a:ext cx="191359" cy="194244"/>
            </a:xfrm>
            <a:custGeom>
              <a:avLst/>
              <a:gdLst>
                <a:gd name="T0" fmla="*/ 84 w 84"/>
                <a:gd name="T1" fmla="*/ 41 h 85"/>
                <a:gd name="T2" fmla="*/ 84 w 84"/>
                <a:gd name="T3" fmla="*/ 0 h 85"/>
                <a:gd name="T4" fmla="*/ 0 w 84"/>
                <a:gd name="T5" fmla="*/ 85 h 85"/>
                <a:gd name="T6" fmla="*/ 41 w 84"/>
                <a:gd name="T7" fmla="*/ 85 h 85"/>
                <a:gd name="T8" fmla="*/ 84 w 84"/>
                <a:gd name="T9" fmla="*/ 41 h 85"/>
              </a:gdLst>
              <a:ahLst/>
              <a:cxnLst>
                <a:cxn ang="0">
                  <a:pos x="T0" y="T1"/>
                </a:cxn>
                <a:cxn ang="0">
                  <a:pos x="T2" y="T3"/>
                </a:cxn>
                <a:cxn ang="0">
                  <a:pos x="T4" y="T5"/>
                </a:cxn>
                <a:cxn ang="0">
                  <a:pos x="T6" y="T7"/>
                </a:cxn>
                <a:cxn ang="0">
                  <a:pos x="T8" y="T9"/>
                </a:cxn>
              </a:cxnLst>
              <a:rect l="0" t="0" r="r" b="b"/>
              <a:pathLst>
                <a:path w="84" h="85">
                  <a:moveTo>
                    <a:pt x="84" y="41"/>
                  </a:moveTo>
                  <a:cubicBezTo>
                    <a:pt x="84" y="0"/>
                    <a:pt x="84" y="0"/>
                    <a:pt x="84" y="0"/>
                  </a:cubicBezTo>
                  <a:cubicBezTo>
                    <a:pt x="42" y="9"/>
                    <a:pt x="8" y="42"/>
                    <a:pt x="0" y="85"/>
                  </a:cubicBezTo>
                  <a:cubicBezTo>
                    <a:pt x="41" y="85"/>
                    <a:pt x="41" y="85"/>
                    <a:pt x="41" y="85"/>
                  </a:cubicBezTo>
                  <a:cubicBezTo>
                    <a:pt x="48" y="65"/>
                    <a:pt x="64" y="48"/>
                    <a:pt x="84" y="41"/>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endParaRPr lang="en-US" sz="3264"/>
            </a:p>
          </p:txBody>
        </p:sp>
        <p:sp>
          <p:nvSpPr>
            <p:cNvPr id="303" name="Freeform 16"/>
            <p:cNvSpPr>
              <a:spLocks noEditPoints="1"/>
            </p:cNvSpPr>
            <p:nvPr/>
          </p:nvSpPr>
          <p:spPr bwMode="auto">
            <a:xfrm>
              <a:off x="3575393" y="-858422"/>
              <a:ext cx="570231" cy="570231"/>
            </a:xfrm>
            <a:custGeom>
              <a:avLst/>
              <a:gdLst>
                <a:gd name="T0" fmla="*/ 125 w 250"/>
                <a:gd name="T1" fmla="*/ 0 h 250"/>
                <a:gd name="T2" fmla="*/ 0 w 250"/>
                <a:gd name="T3" fmla="*/ 125 h 250"/>
                <a:gd name="T4" fmla="*/ 125 w 250"/>
                <a:gd name="T5" fmla="*/ 250 h 250"/>
                <a:gd name="T6" fmla="*/ 250 w 250"/>
                <a:gd name="T7" fmla="*/ 125 h 250"/>
                <a:gd name="T8" fmla="*/ 125 w 250"/>
                <a:gd name="T9" fmla="*/ 0 h 250"/>
                <a:gd name="T10" fmla="*/ 125 w 250"/>
                <a:gd name="T11" fmla="*/ 243 h 250"/>
                <a:gd name="T12" fmla="*/ 7 w 250"/>
                <a:gd name="T13" fmla="*/ 125 h 250"/>
                <a:gd name="T14" fmla="*/ 125 w 250"/>
                <a:gd name="T15" fmla="*/ 8 h 250"/>
                <a:gd name="T16" fmla="*/ 243 w 250"/>
                <a:gd name="T17" fmla="*/ 125 h 250"/>
                <a:gd name="T18" fmla="*/ 125 w 250"/>
                <a:gd name="T19" fmla="*/ 243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0" h="250">
                  <a:moveTo>
                    <a:pt x="125" y="0"/>
                  </a:moveTo>
                  <a:cubicBezTo>
                    <a:pt x="56" y="0"/>
                    <a:pt x="0" y="56"/>
                    <a:pt x="0" y="125"/>
                  </a:cubicBezTo>
                  <a:cubicBezTo>
                    <a:pt x="0" y="194"/>
                    <a:pt x="56" y="250"/>
                    <a:pt x="125" y="250"/>
                  </a:cubicBezTo>
                  <a:cubicBezTo>
                    <a:pt x="194" y="250"/>
                    <a:pt x="250" y="194"/>
                    <a:pt x="250" y="125"/>
                  </a:cubicBezTo>
                  <a:cubicBezTo>
                    <a:pt x="250" y="56"/>
                    <a:pt x="194" y="0"/>
                    <a:pt x="125" y="0"/>
                  </a:cubicBezTo>
                  <a:close/>
                  <a:moveTo>
                    <a:pt x="125" y="243"/>
                  </a:moveTo>
                  <a:cubicBezTo>
                    <a:pt x="60" y="243"/>
                    <a:pt x="7" y="190"/>
                    <a:pt x="7" y="125"/>
                  </a:cubicBezTo>
                  <a:cubicBezTo>
                    <a:pt x="7" y="60"/>
                    <a:pt x="60" y="8"/>
                    <a:pt x="125" y="8"/>
                  </a:cubicBezTo>
                  <a:cubicBezTo>
                    <a:pt x="190" y="8"/>
                    <a:pt x="243" y="60"/>
                    <a:pt x="243" y="125"/>
                  </a:cubicBezTo>
                  <a:cubicBezTo>
                    <a:pt x="243" y="190"/>
                    <a:pt x="190" y="243"/>
                    <a:pt x="125" y="243"/>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endParaRPr lang="en-US" sz="3264"/>
            </a:p>
          </p:txBody>
        </p:sp>
        <p:sp>
          <p:nvSpPr>
            <p:cNvPr id="304" name="Freeform 17"/>
            <p:cNvSpPr>
              <a:spLocks/>
            </p:cNvSpPr>
            <p:nvPr/>
          </p:nvSpPr>
          <p:spPr bwMode="auto">
            <a:xfrm>
              <a:off x="3910993" y="-817073"/>
              <a:ext cx="193282" cy="194244"/>
            </a:xfrm>
            <a:custGeom>
              <a:avLst/>
              <a:gdLst>
                <a:gd name="T0" fmla="*/ 44 w 85"/>
                <a:gd name="T1" fmla="*/ 85 h 85"/>
                <a:gd name="T2" fmla="*/ 85 w 85"/>
                <a:gd name="T3" fmla="*/ 85 h 85"/>
                <a:gd name="T4" fmla="*/ 0 w 85"/>
                <a:gd name="T5" fmla="*/ 0 h 85"/>
                <a:gd name="T6" fmla="*/ 0 w 85"/>
                <a:gd name="T7" fmla="*/ 41 h 85"/>
                <a:gd name="T8" fmla="*/ 44 w 85"/>
                <a:gd name="T9" fmla="*/ 85 h 85"/>
              </a:gdLst>
              <a:ahLst/>
              <a:cxnLst>
                <a:cxn ang="0">
                  <a:pos x="T0" y="T1"/>
                </a:cxn>
                <a:cxn ang="0">
                  <a:pos x="T2" y="T3"/>
                </a:cxn>
                <a:cxn ang="0">
                  <a:pos x="T4" y="T5"/>
                </a:cxn>
                <a:cxn ang="0">
                  <a:pos x="T6" y="T7"/>
                </a:cxn>
                <a:cxn ang="0">
                  <a:pos x="T8" y="T9"/>
                </a:cxn>
              </a:cxnLst>
              <a:rect l="0" t="0" r="r" b="b"/>
              <a:pathLst>
                <a:path w="85" h="85">
                  <a:moveTo>
                    <a:pt x="44" y="85"/>
                  </a:moveTo>
                  <a:cubicBezTo>
                    <a:pt x="85" y="85"/>
                    <a:pt x="85" y="85"/>
                    <a:pt x="85" y="85"/>
                  </a:cubicBezTo>
                  <a:cubicBezTo>
                    <a:pt x="77" y="42"/>
                    <a:pt x="43" y="9"/>
                    <a:pt x="0" y="0"/>
                  </a:cubicBezTo>
                  <a:cubicBezTo>
                    <a:pt x="0" y="41"/>
                    <a:pt x="0" y="41"/>
                    <a:pt x="0" y="41"/>
                  </a:cubicBezTo>
                  <a:cubicBezTo>
                    <a:pt x="21" y="48"/>
                    <a:pt x="37" y="64"/>
                    <a:pt x="44" y="85"/>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endParaRPr lang="en-US" sz="3264"/>
            </a:p>
          </p:txBody>
        </p:sp>
        <p:sp>
          <p:nvSpPr>
            <p:cNvPr id="305" name="Freeform 18"/>
            <p:cNvSpPr>
              <a:spLocks/>
            </p:cNvSpPr>
            <p:nvPr/>
          </p:nvSpPr>
          <p:spPr bwMode="auto">
            <a:xfrm>
              <a:off x="3616742" y="-520899"/>
              <a:ext cx="191359" cy="191359"/>
            </a:xfrm>
            <a:custGeom>
              <a:avLst/>
              <a:gdLst>
                <a:gd name="T0" fmla="*/ 41 w 84"/>
                <a:gd name="T1" fmla="*/ 0 h 84"/>
                <a:gd name="T2" fmla="*/ 0 w 84"/>
                <a:gd name="T3" fmla="*/ 0 h 84"/>
                <a:gd name="T4" fmla="*/ 84 w 84"/>
                <a:gd name="T5" fmla="*/ 84 h 84"/>
                <a:gd name="T6" fmla="*/ 84 w 84"/>
                <a:gd name="T7" fmla="*/ 43 h 84"/>
                <a:gd name="T8" fmla="*/ 41 w 84"/>
                <a:gd name="T9" fmla="*/ 0 h 84"/>
              </a:gdLst>
              <a:ahLst/>
              <a:cxnLst>
                <a:cxn ang="0">
                  <a:pos x="T0" y="T1"/>
                </a:cxn>
                <a:cxn ang="0">
                  <a:pos x="T2" y="T3"/>
                </a:cxn>
                <a:cxn ang="0">
                  <a:pos x="T4" y="T5"/>
                </a:cxn>
                <a:cxn ang="0">
                  <a:pos x="T6" y="T7"/>
                </a:cxn>
                <a:cxn ang="0">
                  <a:pos x="T8" y="T9"/>
                </a:cxn>
              </a:cxnLst>
              <a:rect l="0" t="0" r="r" b="b"/>
              <a:pathLst>
                <a:path w="84" h="84">
                  <a:moveTo>
                    <a:pt x="41" y="0"/>
                  </a:moveTo>
                  <a:cubicBezTo>
                    <a:pt x="0" y="0"/>
                    <a:pt x="0" y="0"/>
                    <a:pt x="0" y="0"/>
                  </a:cubicBezTo>
                  <a:cubicBezTo>
                    <a:pt x="9" y="42"/>
                    <a:pt x="42" y="75"/>
                    <a:pt x="84" y="84"/>
                  </a:cubicBezTo>
                  <a:cubicBezTo>
                    <a:pt x="84" y="43"/>
                    <a:pt x="84" y="43"/>
                    <a:pt x="84" y="43"/>
                  </a:cubicBezTo>
                  <a:cubicBezTo>
                    <a:pt x="64" y="36"/>
                    <a:pt x="48" y="20"/>
                    <a:pt x="41" y="0"/>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endParaRPr lang="en-US" sz="3264"/>
            </a:p>
          </p:txBody>
        </p:sp>
        <p:sp>
          <p:nvSpPr>
            <p:cNvPr id="306" name="Freeform 19"/>
            <p:cNvSpPr>
              <a:spLocks/>
            </p:cNvSpPr>
            <p:nvPr/>
          </p:nvSpPr>
          <p:spPr bwMode="auto">
            <a:xfrm>
              <a:off x="3910993" y="-520899"/>
              <a:ext cx="193282" cy="191359"/>
            </a:xfrm>
            <a:custGeom>
              <a:avLst/>
              <a:gdLst>
                <a:gd name="T0" fmla="*/ 0 w 85"/>
                <a:gd name="T1" fmla="*/ 43 h 84"/>
                <a:gd name="T2" fmla="*/ 0 w 85"/>
                <a:gd name="T3" fmla="*/ 84 h 84"/>
                <a:gd name="T4" fmla="*/ 85 w 85"/>
                <a:gd name="T5" fmla="*/ 0 h 84"/>
                <a:gd name="T6" fmla="*/ 44 w 85"/>
                <a:gd name="T7" fmla="*/ 0 h 84"/>
                <a:gd name="T8" fmla="*/ 0 w 85"/>
                <a:gd name="T9" fmla="*/ 43 h 84"/>
              </a:gdLst>
              <a:ahLst/>
              <a:cxnLst>
                <a:cxn ang="0">
                  <a:pos x="T0" y="T1"/>
                </a:cxn>
                <a:cxn ang="0">
                  <a:pos x="T2" y="T3"/>
                </a:cxn>
                <a:cxn ang="0">
                  <a:pos x="T4" y="T5"/>
                </a:cxn>
                <a:cxn ang="0">
                  <a:pos x="T6" y="T7"/>
                </a:cxn>
                <a:cxn ang="0">
                  <a:pos x="T8" y="T9"/>
                </a:cxn>
              </a:cxnLst>
              <a:rect l="0" t="0" r="r" b="b"/>
              <a:pathLst>
                <a:path w="85" h="84">
                  <a:moveTo>
                    <a:pt x="0" y="43"/>
                  </a:moveTo>
                  <a:cubicBezTo>
                    <a:pt x="0" y="84"/>
                    <a:pt x="0" y="84"/>
                    <a:pt x="0" y="84"/>
                  </a:cubicBezTo>
                  <a:cubicBezTo>
                    <a:pt x="43" y="76"/>
                    <a:pt x="76" y="42"/>
                    <a:pt x="85" y="0"/>
                  </a:cubicBezTo>
                  <a:cubicBezTo>
                    <a:pt x="44" y="0"/>
                    <a:pt x="44" y="0"/>
                    <a:pt x="44" y="0"/>
                  </a:cubicBezTo>
                  <a:cubicBezTo>
                    <a:pt x="37" y="20"/>
                    <a:pt x="21" y="36"/>
                    <a:pt x="0" y="43"/>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endParaRPr lang="en-US" sz="3264"/>
            </a:p>
          </p:txBody>
        </p:sp>
        <p:sp>
          <p:nvSpPr>
            <p:cNvPr id="307" name="Freeform 20"/>
            <p:cNvSpPr>
              <a:spLocks noEditPoints="1"/>
            </p:cNvSpPr>
            <p:nvPr/>
          </p:nvSpPr>
          <p:spPr bwMode="auto">
            <a:xfrm>
              <a:off x="3721557" y="-712258"/>
              <a:ext cx="277903" cy="280788"/>
            </a:xfrm>
            <a:custGeom>
              <a:avLst/>
              <a:gdLst>
                <a:gd name="T0" fmla="*/ 122 w 122"/>
                <a:gd name="T1" fmla="*/ 61 h 123"/>
                <a:gd name="T2" fmla="*/ 61 w 122"/>
                <a:gd name="T3" fmla="*/ 0 h 123"/>
                <a:gd name="T4" fmla="*/ 0 w 122"/>
                <a:gd name="T5" fmla="*/ 61 h 123"/>
                <a:gd name="T6" fmla="*/ 61 w 122"/>
                <a:gd name="T7" fmla="*/ 123 h 123"/>
                <a:gd name="T8" fmla="*/ 122 w 122"/>
                <a:gd name="T9" fmla="*/ 61 h 123"/>
                <a:gd name="T10" fmla="*/ 61 w 122"/>
                <a:gd name="T11" fmla="*/ 114 h 123"/>
                <a:gd name="T12" fmla="*/ 8 w 122"/>
                <a:gd name="T13" fmla="*/ 61 h 123"/>
                <a:gd name="T14" fmla="*/ 61 w 122"/>
                <a:gd name="T15" fmla="*/ 9 h 123"/>
                <a:gd name="T16" fmla="*/ 114 w 122"/>
                <a:gd name="T17" fmla="*/ 61 h 123"/>
                <a:gd name="T18" fmla="*/ 61 w 122"/>
                <a:gd name="T19" fmla="*/ 114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2" h="123">
                  <a:moveTo>
                    <a:pt x="122" y="61"/>
                  </a:moveTo>
                  <a:cubicBezTo>
                    <a:pt x="122" y="27"/>
                    <a:pt x="95" y="0"/>
                    <a:pt x="61" y="0"/>
                  </a:cubicBezTo>
                  <a:cubicBezTo>
                    <a:pt x="27" y="0"/>
                    <a:pt x="0" y="27"/>
                    <a:pt x="0" y="61"/>
                  </a:cubicBezTo>
                  <a:cubicBezTo>
                    <a:pt x="0" y="95"/>
                    <a:pt x="27" y="123"/>
                    <a:pt x="61" y="123"/>
                  </a:cubicBezTo>
                  <a:cubicBezTo>
                    <a:pt x="95" y="123"/>
                    <a:pt x="122" y="95"/>
                    <a:pt x="122" y="61"/>
                  </a:cubicBezTo>
                  <a:close/>
                  <a:moveTo>
                    <a:pt x="61" y="114"/>
                  </a:moveTo>
                  <a:cubicBezTo>
                    <a:pt x="32" y="114"/>
                    <a:pt x="8" y="90"/>
                    <a:pt x="8" y="61"/>
                  </a:cubicBezTo>
                  <a:cubicBezTo>
                    <a:pt x="8" y="32"/>
                    <a:pt x="32" y="9"/>
                    <a:pt x="61" y="9"/>
                  </a:cubicBezTo>
                  <a:cubicBezTo>
                    <a:pt x="90" y="9"/>
                    <a:pt x="114" y="32"/>
                    <a:pt x="114" y="61"/>
                  </a:cubicBezTo>
                  <a:cubicBezTo>
                    <a:pt x="114" y="90"/>
                    <a:pt x="90" y="114"/>
                    <a:pt x="61" y="114"/>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endParaRPr lang="en-US" sz="3264"/>
            </a:p>
          </p:txBody>
        </p:sp>
      </p:grpSp>
      <p:sp>
        <p:nvSpPr>
          <p:cNvPr id="7406" name="Title 7405"/>
          <p:cNvSpPr>
            <a:spLocks noGrp="1"/>
          </p:cNvSpPr>
          <p:nvPr>
            <p:ph type="title"/>
          </p:nvPr>
        </p:nvSpPr>
        <p:spPr/>
        <p:txBody>
          <a:bodyPr/>
          <a:lstStyle/>
          <a:p>
            <a:r>
              <a:rPr lang="en-US" dirty="0"/>
              <a:t>vector</a:t>
            </a:r>
          </a:p>
        </p:txBody>
      </p:sp>
      <p:sp>
        <p:nvSpPr>
          <p:cNvPr id="7407" name="Text Placeholder 7406"/>
          <p:cNvSpPr>
            <a:spLocks noGrp="1"/>
          </p:cNvSpPr>
          <p:nvPr>
            <p:ph type="body" sz="quarter" idx="10"/>
          </p:nvPr>
        </p:nvSpPr>
        <p:spPr/>
        <p:txBody>
          <a:bodyPr>
            <a:normAutofit lnSpcReduction="10000"/>
          </a:bodyPr>
          <a:lstStyle/>
          <a:p>
            <a:r>
              <a:rPr lang="en-US" dirty="0"/>
              <a:t>Digital Icon collection (cont’d)</a:t>
            </a:r>
          </a:p>
        </p:txBody>
      </p:sp>
    </p:spTree>
    <p:extLst>
      <p:ext uri="{BB962C8B-B14F-4D97-AF65-F5344CB8AC3E}">
        <p14:creationId xmlns:p14="http://schemas.microsoft.com/office/powerpoint/2010/main" val="2622800188"/>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p:cNvGrpSpPr/>
          <p:nvPr/>
        </p:nvGrpSpPr>
        <p:grpSpPr>
          <a:xfrm>
            <a:off x="8651866" y="2108748"/>
            <a:ext cx="1243471" cy="1243471"/>
            <a:chOff x="7391400" y="-2114550"/>
            <a:chExt cx="885825" cy="885825"/>
          </a:xfrm>
        </p:grpSpPr>
        <p:sp>
          <p:nvSpPr>
            <p:cNvPr id="3" name="Oval 107"/>
            <p:cNvSpPr>
              <a:spLocks noChangeArrowheads="1"/>
            </p:cNvSpPr>
            <p:nvPr/>
          </p:nvSpPr>
          <p:spPr bwMode="auto">
            <a:xfrm>
              <a:off x="7391400" y="-2114550"/>
              <a:ext cx="885825" cy="885825"/>
            </a:xfrm>
            <a:prstGeom prst="ellipse">
              <a:avLst/>
            </a:prstGeom>
            <a:solidFill>
              <a:schemeClr val="accent1"/>
            </a:solidFill>
            <a:ln w="19050">
              <a:noFill/>
              <a:round/>
              <a:headEnd/>
              <a:tailEnd/>
            </a:ln>
          </p:spPr>
          <p:txBody>
            <a:bodyPr vert="horz" wrap="square" lIns="124347" tIns="62174" rIns="124347" bIns="62174" numCol="1" anchor="t" anchorCtr="0" compatLnSpc="1">
              <a:prstTxWarp prst="textNoShape">
                <a:avLst/>
              </a:prstTxWarp>
            </a:bodyPr>
            <a:lstStyle/>
            <a:p>
              <a:endParaRPr lang="en-US" sz="3264"/>
            </a:p>
          </p:txBody>
        </p:sp>
        <p:grpSp>
          <p:nvGrpSpPr>
            <p:cNvPr id="4" name="Group 3"/>
            <p:cNvGrpSpPr/>
            <p:nvPr/>
          </p:nvGrpSpPr>
          <p:grpSpPr>
            <a:xfrm>
              <a:off x="7477696" y="-2028254"/>
              <a:ext cx="713232" cy="713232"/>
              <a:chOff x="6243638" y="-2114550"/>
              <a:chExt cx="885825" cy="885825"/>
            </a:xfrm>
          </p:grpSpPr>
          <p:sp>
            <p:nvSpPr>
              <p:cNvPr id="5" name="Freeform 53"/>
              <p:cNvSpPr>
                <a:spLocks/>
              </p:cNvSpPr>
              <p:nvPr/>
            </p:nvSpPr>
            <p:spPr bwMode="auto">
              <a:xfrm>
                <a:off x="6243638" y="-1660525"/>
                <a:ext cx="446088" cy="431800"/>
              </a:xfrm>
              <a:custGeom>
                <a:avLst/>
                <a:gdLst>
                  <a:gd name="T0" fmla="*/ 0 w 194"/>
                  <a:gd name="T1" fmla="*/ 0 h 188"/>
                  <a:gd name="T2" fmla="*/ 193 w 194"/>
                  <a:gd name="T3" fmla="*/ 188 h 188"/>
                  <a:gd name="T4" fmla="*/ 194 w 194"/>
                  <a:gd name="T5" fmla="*/ 188 h 188"/>
                  <a:gd name="T6" fmla="*/ 194 w 194"/>
                  <a:gd name="T7" fmla="*/ 0 h 188"/>
                  <a:gd name="T8" fmla="*/ 0 w 194"/>
                  <a:gd name="T9" fmla="*/ 0 h 188"/>
                </a:gdLst>
                <a:ahLst/>
                <a:cxnLst>
                  <a:cxn ang="0">
                    <a:pos x="T0" y="T1"/>
                  </a:cxn>
                  <a:cxn ang="0">
                    <a:pos x="T2" y="T3"/>
                  </a:cxn>
                  <a:cxn ang="0">
                    <a:pos x="T4" y="T5"/>
                  </a:cxn>
                  <a:cxn ang="0">
                    <a:pos x="T6" y="T7"/>
                  </a:cxn>
                  <a:cxn ang="0">
                    <a:pos x="T8" y="T9"/>
                  </a:cxn>
                </a:cxnLst>
                <a:rect l="0" t="0" r="r" b="b"/>
                <a:pathLst>
                  <a:path w="194" h="188">
                    <a:moveTo>
                      <a:pt x="0" y="0"/>
                    </a:moveTo>
                    <a:cubicBezTo>
                      <a:pt x="3" y="104"/>
                      <a:pt x="88" y="188"/>
                      <a:pt x="193" y="188"/>
                    </a:cubicBezTo>
                    <a:cubicBezTo>
                      <a:pt x="193" y="188"/>
                      <a:pt x="194" y="188"/>
                      <a:pt x="194" y="188"/>
                    </a:cubicBezTo>
                    <a:cubicBezTo>
                      <a:pt x="194" y="0"/>
                      <a:pt x="194" y="0"/>
                      <a:pt x="194" y="0"/>
                    </a:cubicBezTo>
                    <a:lnTo>
                      <a:pt x="0" y="0"/>
                    </a:lnTo>
                    <a:close/>
                  </a:path>
                </a:pathLst>
              </a:custGeom>
              <a:solidFill>
                <a:srgbClr val="33333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endParaRPr lang="en-US" sz="3264"/>
              </a:p>
            </p:txBody>
          </p:sp>
          <p:sp>
            <p:nvSpPr>
              <p:cNvPr id="6" name="Freeform 54"/>
              <p:cNvSpPr>
                <a:spLocks/>
              </p:cNvSpPr>
              <p:nvPr/>
            </p:nvSpPr>
            <p:spPr bwMode="auto">
              <a:xfrm>
                <a:off x="6689725" y="-1660525"/>
                <a:ext cx="438150" cy="431800"/>
              </a:xfrm>
              <a:custGeom>
                <a:avLst/>
                <a:gdLst>
                  <a:gd name="T0" fmla="*/ 0 w 191"/>
                  <a:gd name="T1" fmla="*/ 188 h 188"/>
                  <a:gd name="T2" fmla="*/ 191 w 191"/>
                  <a:gd name="T3" fmla="*/ 0 h 188"/>
                  <a:gd name="T4" fmla="*/ 0 w 191"/>
                  <a:gd name="T5" fmla="*/ 0 h 188"/>
                  <a:gd name="T6" fmla="*/ 0 w 191"/>
                  <a:gd name="T7" fmla="*/ 188 h 188"/>
                </a:gdLst>
                <a:ahLst/>
                <a:cxnLst>
                  <a:cxn ang="0">
                    <a:pos x="T0" y="T1"/>
                  </a:cxn>
                  <a:cxn ang="0">
                    <a:pos x="T2" y="T3"/>
                  </a:cxn>
                  <a:cxn ang="0">
                    <a:pos x="T4" y="T5"/>
                  </a:cxn>
                  <a:cxn ang="0">
                    <a:pos x="T6" y="T7"/>
                  </a:cxn>
                </a:cxnLst>
                <a:rect l="0" t="0" r="r" b="b"/>
                <a:pathLst>
                  <a:path w="191" h="188">
                    <a:moveTo>
                      <a:pt x="0" y="188"/>
                    </a:moveTo>
                    <a:cubicBezTo>
                      <a:pt x="104" y="187"/>
                      <a:pt x="189" y="104"/>
                      <a:pt x="191" y="0"/>
                    </a:cubicBezTo>
                    <a:cubicBezTo>
                      <a:pt x="0" y="0"/>
                      <a:pt x="0" y="0"/>
                      <a:pt x="0" y="0"/>
                    </a:cubicBezTo>
                    <a:lnTo>
                      <a:pt x="0" y="188"/>
                    </a:lnTo>
                    <a:close/>
                  </a:path>
                </a:pathLst>
              </a:custGeom>
              <a:solidFill>
                <a:srgbClr val="CCCCC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endParaRPr lang="en-US" sz="3264"/>
              </a:p>
            </p:txBody>
          </p:sp>
          <p:sp>
            <p:nvSpPr>
              <p:cNvPr id="7" name="Freeform 55"/>
              <p:cNvSpPr>
                <a:spLocks/>
              </p:cNvSpPr>
              <p:nvPr/>
            </p:nvSpPr>
            <p:spPr bwMode="auto">
              <a:xfrm>
                <a:off x="6243638" y="-2114550"/>
                <a:ext cx="446088" cy="454025"/>
              </a:xfrm>
              <a:custGeom>
                <a:avLst/>
                <a:gdLst>
                  <a:gd name="T0" fmla="*/ 194 w 194"/>
                  <a:gd name="T1" fmla="*/ 0 h 198"/>
                  <a:gd name="T2" fmla="*/ 193 w 194"/>
                  <a:gd name="T3" fmla="*/ 0 h 198"/>
                  <a:gd name="T4" fmla="*/ 0 w 194"/>
                  <a:gd name="T5" fmla="*/ 193 h 198"/>
                  <a:gd name="T6" fmla="*/ 0 w 194"/>
                  <a:gd name="T7" fmla="*/ 198 h 198"/>
                  <a:gd name="T8" fmla="*/ 194 w 194"/>
                  <a:gd name="T9" fmla="*/ 198 h 198"/>
                  <a:gd name="T10" fmla="*/ 194 w 194"/>
                  <a:gd name="T11" fmla="*/ 0 h 198"/>
                </a:gdLst>
                <a:ahLst/>
                <a:cxnLst>
                  <a:cxn ang="0">
                    <a:pos x="T0" y="T1"/>
                  </a:cxn>
                  <a:cxn ang="0">
                    <a:pos x="T2" y="T3"/>
                  </a:cxn>
                  <a:cxn ang="0">
                    <a:pos x="T4" y="T5"/>
                  </a:cxn>
                  <a:cxn ang="0">
                    <a:pos x="T6" y="T7"/>
                  </a:cxn>
                  <a:cxn ang="0">
                    <a:pos x="T8" y="T9"/>
                  </a:cxn>
                  <a:cxn ang="0">
                    <a:pos x="T10" y="T11"/>
                  </a:cxn>
                </a:cxnLst>
                <a:rect l="0" t="0" r="r" b="b"/>
                <a:pathLst>
                  <a:path w="194" h="198">
                    <a:moveTo>
                      <a:pt x="194" y="0"/>
                    </a:moveTo>
                    <a:cubicBezTo>
                      <a:pt x="194" y="0"/>
                      <a:pt x="193" y="0"/>
                      <a:pt x="193" y="0"/>
                    </a:cubicBezTo>
                    <a:cubicBezTo>
                      <a:pt x="86" y="0"/>
                      <a:pt x="0" y="87"/>
                      <a:pt x="0" y="193"/>
                    </a:cubicBezTo>
                    <a:cubicBezTo>
                      <a:pt x="0" y="195"/>
                      <a:pt x="0" y="197"/>
                      <a:pt x="0" y="198"/>
                    </a:cubicBezTo>
                    <a:cubicBezTo>
                      <a:pt x="194" y="198"/>
                      <a:pt x="194" y="198"/>
                      <a:pt x="194" y="198"/>
                    </a:cubicBezTo>
                    <a:lnTo>
                      <a:pt x="194" y="0"/>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endParaRPr lang="en-US" sz="3264"/>
              </a:p>
            </p:txBody>
          </p:sp>
          <p:sp>
            <p:nvSpPr>
              <p:cNvPr id="8" name="Freeform 56"/>
              <p:cNvSpPr>
                <a:spLocks/>
              </p:cNvSpPr>
              <p:nvPr/>
            </p:nvSpPr>
            <p:spPr bwMode="auto">
              <a:xfrm>
                <a:off x="6689725" y="-2114550"/>
                <a:ext cx="439738" cy="454025"/>
              </a:xfrm>
              <a:custGeom>
                <a:avLst/>
                <a:gdLst>
                  <a:gd name="T0" fmla="*/ 0 w 192"/>
                  <a:gd name="T1" fmla="*/ 0 h 198"/>
                  <a:gd name="T2" fmla="*/ 0 w 192"/>
                  <a:gd name="T3" fmla="*/ 198 h 198"/>
                  <a:gd name="T4" fmla="*/ 191 w 192"/>
                  <a:gd name="T5" fmla="*/ 198 h 198"/>
                  <a:gd name="T6" fmla="*/ 192 w 192"/>
                  <a:gd name="T7" fmla="*/ 193 h 198"/>
                  <a:gd name="T8" fmla="*/ 0 w 192"/>
                  <a:gd name="T9" fmla="*/ 0 h 198"/>
                </a:gdLst>
                <a:ahLst/>
                <a:cxnLst>
                  <a:cxn ang="0">
                    <a:pos x="T0" y="T1"/>
                  </a:cxn>
                  <a:cxn ang="0">
                    <a:pos x="T2" y="T3"/>
                  </a:cxn>
                  <a:cxn ang="0">
                    <a:pos x="T4" y="T5"/>
                  </a:cxn>
                  <a:cxn ang="0">
                    <a:pos x="T6" y="T7"/>
                  </a:cxn>
                  <a:cxn ang="0">
                    <a:pos x="T8" y="T9"/>
                  </a:cxn>
                </a:cxnLst>
                <a:rect l="0" t="0" r="r" b="b"/>
                <a:pathLst>
                  <a:path w="192" h="198">
                    <a:moveTo>
                      <a:pt x="0" y="0"/>
                    </a:moveTo>
                    <a:cubicBezTo>
                      <a:pt x="0" y="198"/>
                      <a:pt x="0" y="198"/>
                      <a:pt x="0" y="198"/>
                    </a:cubicBezTo>
                    <a:cubicBezTo>
                      <a:pt x="191" y="198"/>
                      <a:pt x="191" y="198"/>
                      <a:pt x="191" y="198"/>
                    </a:cubicBezTo>
                    <a:cubicBezTo>
                      <a:pt x="192" y="197"/>
                      <a:pt x="192" y="195"/>
                      <a:pt x="192" y="193"/>
                    </a:cubicBezTo>
                    <a:cubicBezTo>
                      <a:pt x="192" y="87"/>
                      <a:pt x="106" y="1"/>
                      <a:pt x="0" y="0"/>
                    </a:cubicBezTo>
                    <a:close/>
                  </a:path>
                </a:pathLst>
              </a:custGeom>
              <a:solidFill>
                <a:srgbClr val="66666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endParaRPr lang="en-US" sz="3264"/>
              </a:p>
            </p:txBody>
          </p:sp>
        </p:grpSp>
      </p:grpSp>
      <p:grpSp>
        <p:nvGrpSpPr>
          <p:cNvPr id="9" name="Group 8"/>
          <p:cNvGrpSpPr/>
          <p:nvPr/>
        </p:nvGrpSpPr>
        <p:grpSpPr>
          <a:xfrm>
            <a:off x="6624584" y="2108748"/>
            <a:ext cx="1243471" cy="1243471"/>
            <a:chOff x="7559675" y="-449263"/>
            <a:chExt cx="884238" cy="885825"/>
          </a:xfrm>
        </p:grpSpPr>
        <p:sp>
          <p:nvSpPr>
            <p:cNvPr id="10" name="Oval 57"/>
            <p:cNvSpPr>
              <a:spLocks noChangeArrowheads="1"/>
            </p:cNvSpPr>
            <p:nvPr/>
          </p:nvSpPr>
          <p:spPr bwMode="auto">
            <a:xfrm>
              <a:off x="7559675" y="-449263"/>
              <a:ext cx="884238" cy="885825"/>
            </a:xfrm>
            <a:prstGeom prst="ellipse">
              <a:avLst/>
            </a:prstGeom>
            <a:solidFill>
              <a:schemeClr val="accent1"/>
            </a:solidFill>
            <a:ln w="19050">
              <a:noFill/>
              <a:round/>
              <a:headEnd/>
              <a:tailEnd/>
            </a:ln>
          </p:spPr>
          <p:txBody>
            <a:bodyPr vert="horz" wrap="square" lIns="124347" tIns="62174" rIns="124347" bIns="62174" numCol="1" anchor="t" anchorCtr="0" compatLnSpc="1">
              <a:prstTxWarp prst="textNoShape">
                <a:avLst/>
              </a:prstTxWarp>
            </a:bodyPr>
            <a:lstStyle/>
            <a:p>
              <a:endParaRPr lang="en-US" sz="3264"/>
            </a:p>
          </p:txBody>
        </p:sp>
        <p:sp>
          <p:nvSpPr>
            <p:cNvPr id="11" name="Freeform 58"/>
            <p:cNvSpPr>
              <a:spLocks noEditPoints="1"/>
            </p:cNvSpPr>
            <p:nvPr/>
          </p:nvSpPr>
          <p:spPr bwMode="auto">
            <a:xfrm>
              <a:off x="7683500" y="-257175"/>
              <a:ext cx="636588" cy="493713"/>
            </a:xfrm>
            <a:custGeom>
              <a:avLst/>
              <a:gdLst>
                <a:gd name="T0" fmla="*/ 275 w 278"/>
                <a:gd name="T1" fmla="*/ 123 h 215"/>
                <a:gd name="T2" fmla="*/ 77 w 278"/>
                <a:gd name="T3" fmla="*/ 203 h 215"/>
                <a:gd name="T4" fmla="*/ 77 w 278"/>
                <a:gd name="T5" fmla="*/ 202 h 215"/>
                <a:gd name="T6" fmla="*/ 37 w 278"/>
                <a:gd name="T7" fmla="*/ 153 h 215"/>
                <a:gd name="T8" fmla="*/ 40 w 278"/>
                <a:gd name="T9" fmla="*/ 146 h 215"/>
                <a:gd name="T10" fmla="*/ 80 w 278"/>
                <a:gd name="T11" fmla="*/ 145 h 215"/>
                <a:gd name="T12" fmla="*/ 86 w 278"/>
                <a:gd name="T13" fmla="*/ 156 h 215"/>
                <a:gd name="T14" fmla="*/ 104 w 278"/>
                <a:gd name="T15" fmla="*/ 157 h 215"/>
                <a:gd name="T16" fmla="*/ 104 w 278"/>
                <a:gd name="T17" fmla="*/ 151 h 215"/>
                <a:gd name="T18" fmla="*/ 64 w 278"/>
                <a:gd name="T19" fmla="*/ 64 h 215"/>
                <a:gd name="T20" fmla="*/ 59 w 278"/>
                <a:gd name="T21" fmla="*/ 62 h 215"/>
                <a:gd name="T22" fmla="*/ 58 w 278"/>
                <a:gd name="T23" fmla="*/ 64 h 215"/>
                <a:gd name="T24" fmla="*/ 23 w 278"/>
                <a:gd name="T25" fmla="*/ 141 h 215"/>
                <a:gd name="T26" fmla="*/ 3 w 278"/>
                <a:gd name="T27" fmla="*/ 97 h 215"/>
                <a:gd name="T28" fmla="*/ 133 w 278"/>
                <a:gd name="T29" fmla="*/ 153 h 215"/>
                <a:gd name="T30" fmla="*/ 123 w 278"/>
                <a:gd name="T31" fmla="*/ 61 h 215"/>
                <a:gd name="T32" fmla="*/ 113 w 278"/>
                <a:gd name="T33" fmla="*/ 153 h 215"/>
                <a:gd name="T34" fmla="*/ 133 w 278"/>
                <a:gd name="T35" fmla="*/ 153 h 215"/>
                <a:gd name="T36" fmla="*/ 249 w 278"/>
                <a:gd name="T37" fmla="*/ 71 h 215"/>
                <a:gd name="T38" fmla="*/ 232 w 278"/>
                <a:gd name="T39" fmla="*/ 64 h 215"/>
                <a:gd name="T40" fmla="*/ 200 w 278"/>
                <a:gd name="T41" fmla="*/ 131 h 215"/>
                <a:gd name="T42" fmla="*/ 169 w 278"/>
                <a:gd name="T43" fmla="*/ 64 h 215"/>
                <a:gd name="T44" fmla="*/ 152 w 278"/>
                <a:gd name="T45" fmla="*/ 71 h 215"/>
                <a:gd name="T46" fmla="*/ 162 w 278"/>
                <a:gd name="T47" fmla="*/ 162 h 215"/>
                <a:gd name="T48" fmla="*/ 172 w 278"/>
                <a:gd name="T49" fmla="*/ 114 h 215"/>
                <a:gd name="T50" fmla="*/ 200 w 278"/>
                <a:gd name="T51" fmla="*/ 160 h 215"/>
                <a:gd name="T52" fmla="*/ 229 w 278"/>
                <a:gd name="T53" fmla="*/ 115 h 215"/>
                <a:gd name="T54" fmla="*/ 239 w 278"/>
                <a:gd name="T55" fmla="*/ 162 h 215"/>
                <a:gd name="T56" fmla="*/ 72 w 278"/>
                <a:gd name="T57" fmla="*/ 128 h 215"/>
                <a:gd name="T58" fmla="*/ 49 w 278"/>
                <a:gd name="T59" fmla="*/ 126 h 215"/>
                <a:gd name="T60" fmla="*/ 60 w 278"/>
                <a:gd name="T61" fmla="*/ 100 h 215"/>
                <a:gd name="T62" fmla="*/ 61 w 278"/>
                <a:gd name="T63" fmla="*/ 99 h 215"/>
                <a:gd name="T64" fmla="*/ 62 w 278"/>
                <a:gd name="T65" fmla="*/ 100 h 215"/>
                <a:gd name="T66" fmla="*/ 73 w 278"/>
                <a:gd name="T67" fmla="*/ 126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8" h="215">
                  <a:moveTo>
                    <a:pt x="131" y="4"/>
                  </a:moveTo>
                  <a:cubicBezTo>
                    <a:pt x="203" y="7"/>
                    <a:pt x="278" y="57"/>
                    <a:pt x="275" y="123"/>
                  </a:cubicBezTo>
                  <a:cubicBezTo>
                    <a:pt x="273" y="171"/>
                    <a:pt x="223" y="214"/>
                    <a:pt x="145" y="214"/>
                  </a:cubicBezTo>
                  <a:cubicBezTo>
                    <a:pt x="111" y="215"/>
                    <a:pt x="91" y="209"/>
                    <a:pt x="77" y="203"/>
                  </a:cubicBezTo>
                  <a:cubicBezTo>
                    <a:pt x="76" y="203"/>
                    <a:pt x="75" y="202"/>
                    <a:pt x="75" y="202"/>
                  </a:cubicBezTo>
                  <a:cubicBezTo>
                    <a:pt x="75" y="201"/>
                    <a:pt x="76" y="201"/>
                    <a:pt x="77" y="202"/>
                  </a:cubicBezTo>
                  <a:cubicBezTo>
                    <a:pt x="112" y="210"/>
                    <a:pt x="124" y="196"/>
                    <a:pt x="118" y="186"/>
                  </a:cubicBezTo>
                  <a:cubicBezTo>
                    <a:pt x="112" y="174"/>
                    <a:pt x="68" y="175"/>
                    <a:pt x="37" y="153"/>
                  </a:cubicBezTo>
                  <a:cubicBezTo>
                    <a:pt x="37" y="153"/>
                    <a:pt x="37" y="153"/>
                    <a:pt x="37" y="153"/>
                  </a:cubicBezTo>
                  <a:cubicBezTo>
                    <a:pt x="37" y="153"/>
                    <a:pt x="39" y="148"/>
                    <a:pt x="40" y="146"/>
                  </a:cubicBezTo>
                  <a:cubicBezTo>
                    <a:pt x="40" y="145"/>
                    <a:pt x="41" y="145"/>
                    <a:pt x="42" y="145"/>
                  </a:cubicBezTo>
                  <a:cubicBezTo>
                    <a:pt x="80" y="145"/>
                    <a:pt x="80" y="145"/>
                    <a:pt x="80" y="145"/>
                  </a:cubicBezTo>
                  <a:cubicBezTo>
                    <a:pt x="81" y="145"/>
                    <a:pt x="82" y="145"/>
                    <a:pt x="82" y="147"/>
                  </a:cubicBezTo>
                  <a:cubicBezTo>
                    <a:pt x="83" y="149"/>
                    <a:pt x="86" y="156"/>
                    <a:pt x="86" y="156"/>
                  </a:cubicBezTo>
                  <a:cubicBezTo>
                    <a:pt x="86" y="156"/>
                    <a:pt x="89" y="163"/>
                    <a:pt x="95" y="163"/>
                  </a:cubicBezTo>
                  <a:cubicBezTo>
                    <a:pt x="97" y="163"/>
                    <a:pt x="102" y="162"/>
                    <a:pt x="104" y="157"/>
                  </a:cubicBezTo>
                  <a:cubicBezTo>
                    <a:pt x="104" y="155"/>
                    <a:pt x="104" y="154"/>
                    <a:pt x="104" y="153"/>
                  </a:cubicBezTo>
                  <a:cubicBezTo>
                    <a:pt x="104" y="152"/>
                    <a:pt x="104" y="152"/>
                    <a:pt x="104" y="151"/>
                  </a:cubicBezTo>
                  <a:cubicBezTo>
                    <a:pt x="104" y="151"/>
                    <a:pt x="104" y="151"/>
                    <a:pt x="103" y="150"/>
                  </a:cubicBezTo>
                  <a:cubicBezTo>
                    <a:pt x="103" y="149"/>
                    <a:pt x="65" y="64"/>
                    <a:pt x="64" y="64"/>
                  </a:cubicBezTo>
                  <a:cubicBezTo>
                    <a:pt x="64" y="62"/>
                    <a:pt x="63" y="61"/>
                    <a:pt x="61" y="61"/>
                  </a:cubicBezTo>
                  <a:cubicBezTo>
                    <a:pt x="60" y="61"/>
                    <a:pt x="60" y="61"/>
                    <a:pt x="59" y="62"/>
                  </a:cubicBezTo>
                  <a:cubicBezTo>
                    <a:pt x="59" y="62"/>
                    <a:pt x="59" y="62"/>
                    <a:pt x="58" y="63"/>
                  </a:cubicBezTo>
                  <a:cubicBezTo>
                    <a:pt x="58" y="63"/>
                    <a:pt x="58" y="63"/>
                    <a:pt x="58" y="64"/>
                  </a:cubicBezTo>
                  <a:cubicBezTo>
                    <a:pt x="57" y="65"/>
                    <a:pt x="35" y="114"/>
                    <a:pt x="24" y="138"/>
                  </a:cubicBezTo>
                  <a:cubicBezTo>
                    <a:pt x="23" y="141"/>
                    <a:pt x="23" y="141"/>
                    <a:pt x="23" y="141"/>
                  </a:cubicBezTo>
                  <a:cubicBezTo>
                    <a:pt x="19" y="137"/>
                    <a:pt x="17" y="134"/>
                    <a:pt x="17" y="134"/>
                  </a:cubicBezTo>
                  <a:cubicBezTo>
                    <a:pt x="10" y="125"/>
                    <a:pt x="4" y="110"/>
                    <a:pt x="3" y="97"/>
                  </a:cubicBezTo>
                  <a:cubicBezTo>
                    <a:pt x="0" y="43"/>
                    <a:pt x="52" y="0"/>
                    <a:pt x="131" y="4"/>
                  </a:cubicBezTo>
                  <a:close/>
                  <a:moveTo>
                    <a:pt x="133" y="153"/>
                  </a:moveTo>
                  <a:cubicBezTo>
                    <a:pt x="133" y="71"/>
                    <a:pt x="133" y="71"/>
                    <a:pt x="133" y="71"/>
                  </a:cubicBezTo>
                  <a:cubicBezTo>
                    <a:pt x="133" y="64"/>
                    <a:pt x="129" y="61"/>
                    <a:pt x="123" y="61"/>
                  </a:cubicBezTo>
                  <a:cubicBezTo>
                    <a:pt x="117" y="61"/>
                    <a:pt x="113" y="64"/>
                    <a:pt x="113" y="71"/>
                  </a:cubicBezTo>
                  <a:cubicBezTo>
                    <a:pt x="113" y="153"/>
                    <a:pt x="113" y="153"/>
                    <a:pt x="113" y="153"/>
                  </a:cubicBezTo>
                  <a:cubicBezTo>
                    <a:pt x="113" y="159"/>
                    <a:pt x="117" y="162"/>
                    <a:pt x="123" y="162"/>
                  </a:cubicBezTo>
                  <a:cubicBezTo>
                    <a:pt x="129" y="162"/>
                    <a:pt x="133" y="159"/>
                    <a:pt x="133" y="153"/>
                  </a:cubicBezTo>
                  <a:close/>
                  <a:moveTo>
                    <a:pt x="249" y="153"/>
                  </a:moveTo>
                  <a:cubicBezTo>
                    <a:pt x="249" y="71"/>
                    <a:pt x="249" y="71"/>
                    <a:pt x="249" y="71"/>
                  </a:cubicBezTo>
                  <a:cubicBezTo>
                    <a:pt x="249" y="64"/>
                    <a:pt x="245" y="61"/>
                    <a:pt x="239" y="61"/>
                  </a:cubicBezTo>
                  <a:cubicBezTo>
                    <a:pt x="236" y="61"/>
                    <a:pt x="233" y="62"/>
                    <a:pt x="232" y="64"/>
                  </a:cubicBezTo>
                  <a:cubicBezTo>
                    <a:pt x="231" y="65"/>
                    <a:pt x="230" y="66"/>
                    <a:pt x="229" y="68"/>
                  </a:cubicBezTo>
                  <a:cubicBezTo>
                    <a:pt x="200" y="131"/>
                    <a:pt x="200" y="131"/>
                    <a:pt x="200" y="131"/>
                  </a:cubicBezTo>
                  <a:cubicBezTo>
                    <a:pt x="172" y="68"/>
                    <a:pt x="172" y="68"/>
                    <a:pt x="172" y="68"/>
                  </a:cubicBezTo>
                  <a:cubicBezTo>
                    <a:pt x="171" y="66"/>
                    <a:pt x="170" y="65"/>
                    <a:pt x="169" y="64"/>
                  </a:cubicBezTo>
                  <a:cubicBezTo>
                    <a:pt x="168" y="62"/>
                    <a:pt x="165" y="61"/>
                    <a:pt x="162" y="61"/>
                  </a:cubicBezTo>
                  <a:cubicBezTo>
                    <a:pt x="156" y="61"/>
                    <a:pt x="152" y="64"/>
                    <a:pt x="152" y="71"/>
                  </a:cubicBezTo>
                  <a:cubicBezTo>
                    <a:pt x="152" y="153"/>
                    <a:pt x="152" y="153"/>
                    <a:pt x="152" y="153"/>
                  </a:cubicBezTo>
                  <a:cubicBezTo>
                    <a:pt x="152" y="159"/>
                    <a:pt x="156" y="162"/>
                    <a:pt x="162" y="162"/>
                  </a:cubicBezTo>
                  <a:cubicBezTo>
                    <a:pt x="168" y="162"/>
                    <a:pt x="172" y="159"/>
                    <a:pt x="172" y="153"/>
                  </a:cubicBezTo>
                  <a:cubicBezTo>
                    <a:pt x="172" y="114"/>
                    <a:pt x="172" y="114"/>
                    <a:pt x="172" y="114"/>
                  </a:cubicBezTo>
                  <a:cubicBezTo>
                    <a:pt x="191" y="153"/>
                    <a:pt x="191" y="153"/>
                    <a:pt x="191" y="153"/>
                  </a:cubicBezTo>
                  <a:cubicBezTo>
                    <a:pt x="193" y="156"/>
                    <a:pt x="196" y="160"/>
                    <a:pt x="200" y="160"/>
                  </a:cubicBezTo>
                  <a:cubicBezTo>
                    <a:pt x="204" y="160"/>
                    <a:pt x="208" y="157"/>
                    <a:pt x="210" y="153"/>
                  </a:cubicBezTo>
                  <a:cubicBezTo>
                    <a:pt x="229" y="115"/>
                    <a:pt x="229" y="115"/>
                    <a:pt x="229" y="115"/>
                  </a:cubicBezTo>
                  <a:cubicBezTo>
                    <a:pt x="229" y="153"/>
                    <a:pt x="229" y="153"/>
                    <a:pt x="229" y="153"/>
                  </a:cubicBezTo>
                  <a:cubicBezTo>
                    <a:pt x="229" y="159"/>
                    <a:pt x="233" y="162"/>
                    <a:pt x="239" y="162"/>
                  </a:cubicBezTo>
                  <a:cubicBezTo>
                    <a:pt x="245" y="162"/>
                    <a:pt x="249" y="159"/>
                    <a:pt x="249" y="153"/>
                  </a:cubicBezTo>
                  <a:close/>
                  <a:moveTo>
                    <a:pt x="72" y="128"/>
                  </a:moveTo>
                  <a:cubicBezTo>
                    <a:pt x="50" y="128"/>
                    <a:pt x="50" y="128"/>
                    <a:pt x="50" y="128"/>
                  </a:cubicBezTo>
                  <a:cubicBezTo>
                    <a:pt x="49" y="128"/>
                    <a:pt x="48" y="127"/>
                    <a:pt x="49" y="126"/>
                  </a:cubicBezTo>
                  <a:cubicBezTo>
                    <a:pt x="60" y="100"/>
                    <a:pt x="60" y="100"/>
                    <a:pt x="60" y="100"/>
                  </a:cubicBezTo>
                  <a:cubicBezTo>
                    <a:pt x="60" y="100"/>
                    <a:pt x="60" y="100"/>
                    <a:pt x="60" y="100"/>
                  </a:cubicBezTo>
                  <a:cubicBezTo>
                    <a:pt x="60" y="100"/>
                    <a:pt x="60" y="100"/>
                    <a:pt x="60" y="100"/>
                  </a:cubicBezTo>
                  <a:cubicBezTo>
                    <a:pt x="60" y="99"/>
                    <a:pt x="60" y="99"/>
                    <a:pt x="61" y="99"/>
                  </a:cubicBezTo>
                  <a:cubicBezTo>
                    <a:pt x="62" y="99"/>
                    <a:pt x="62" y="99"/>
                    <a:pt x="62" y="100"/>
                  </a:cubicBezTo>
                  <a:cubicBezTo>
                    <a:pt x="62" y="100"/>
                    <a:pt x="62" y="100"/>
                    <a:pt x="62" y="100"/>
                  </a:cubicBezTo>
                  <a:cubicBezTo>
                    <a:pt x="62" y="100"/>
                    <a:pt x="62" y="100"/>
                    <a:pt x="62" y="100"/>
                  </a:cubicBezTo>
                  <a:cubicBezTo>
                    <a:pt x="73" y="126"/>
                    <a:pt x="73" y="126"/>
                    <a:pt x="73" y="126"/>
                  </a:cubicBezTo>
                  <a:cubicBezTo>
                    <a:pt x="74" y="127"/>
                    <a:pt x="73" y="128"/>
                    <a:pt x="72" y="128"/>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endParaRPr lang="en-US" sz="3264"/>
            </a:p>
          </p:txBody>
        </p:sp>
      </p:grpSp>
      <p:grpSp>
        <p:nvGrpSpPr>
          <p:cNvPr id="17" name="Group 16"/>
          <p:cNvGrpSpPr/>
          <p:nvPr/>
        </p:nvGrpSpPr>
        <p:grpSpPr>
          <a:xfrm>
            <a:off x="10679144" y="2108748"/>
            <a:ext cx="1243471" cy="1243471"/>
            <a:chOff x="8839200" y="17660937"/>
            <a:chExt cx="885825" cy="885825"/>
          </a:xfrm>
        </p:grpSpPr>
        <p:sp>
          <p:nvSpPr>
            <p:cNvPr id="18" name="Oval 89"/>
            <p:cNvSpPr>
              <a:spLocks noChangeArrowheads="1"/>
            </p:cNvSpPr>
            <p:nvPr/>
          </p:nvSpPr>
          <p:spPr bwMode="auto">
            <a:xfrm>
              <a:off x="8839200" y="17660937"/>
              <a:ext cx="885825" cy="885825"/>
            </a:xfrm>
            <a:prstGeom prst="ellipse">
              <a:avLst/>
            </a:prstGeom>
            <a:solidFill>
              <a:schemeClr val="accent1"/>
            </a:solidFill>
            <a:ln w="19050">
              <a:noFill/>
              <a:round/>
              <a:headEnd/>
              <a:tailEnd/>
            </a:ln>
          </p:spPr>
          <p:txBody>
            <a:bodyPr vert="horz" wrap="square" lIns="124347" tIns="62174" rIns="124347" bIns="62174" numCol="1" anchor="t" anchorCtr="0" compatLnSpc="1">
              <a:prstTxWarp prst="textNoShape">
                <a:avLst/>
              </a:prstTxWarp>
            </a:bodyPr>
            <a:lstStyle/>
            <a:p>
              <a:endParaRPr lang="en-US" sz="3264"/>
            </a:p>
          </p:txBody>
        </p:sp>
        <p:sp>
          <p:nvSpPr>
            <p:cNvPr id="19" name="Freeform 91"/>
            <p:cNvSpPr>
              <a:spLocks/>
            </p:cNvSpPr>
            <p:nvPr/>
          </p:nvSpPr>
          <p:spPr bwMode="auto">
            <a:xfrm>
              <a:off x="8963025" y="17826037"/>
              <a:ext cx="552450" cy="554038"/>
            </a:xfrm>
            <a:custGeom>
              <a:avLst/>
              <a:gdLst>
                <a:gd name="T0" fmla="*/ 39 w 241"/>
                <a:gd name="T1" fmla="*/ 159 h 241"/>
                <a:gd name="T2" fmla="*/ 66 w 241"/>
                <a:gd name="T3" fmla="*/ 148 h 241"/>
                <a:gd name="T4" fmla="*/ 164 w 241"/>
                <a:gd name="T5" fmla="*/ 197 h 241"/>
                <a:gd name="T6" fmla="*/ 164 w 241"/>
                <a:gd name="T7" fmla="*/ 203 h 241"/>
                <a:gd name="T8" fmla="*/ 203 w 241"/>
                <a:gd name="T9" fmla="*/ 241 h 241"/>
                <a:gd name="T10" fmla="*/ 241 w 241"/>
                <a:gd name="T11" fmla="*/ 203 h 241"/>
                <a:gd name="T12" fmla="*/ 203 w 241"/>
                <a:gd name="T13" fmla="*/ 164 h 241"/>
                <a:gd name="T14" fmla="*/ 175 w 241"/>
                <a:gd name="T15" fmla="*/ 176 h 241"/>
                <a:gd name="T16" fmla="*/ 77 w 241"/>
                <a:gd name="T17" fmla="*/ 126 h 241"/>
                <a:gd name="T18" fmla="*/ 77 w 241"/>
                <a:gd name="T19" fmla="*/ 121 h 241"/>
                <a:gd name="T20" fmla="*/ 77 w 241"/>
                <a:gd name="T21" fmla="*/ 114 h 241"/>
                <a:gd name="T22" fmla="*/ 174 w 241"/>
                <a:gd name="T23" fmla="*/ 65 h 241"/>
                <a:gd name="T24" fmla="*/ 203 w 241"/>
                <a:gd name="T25" fmla="*/ 78 h 241"/>
                <a:gd name="T26" fmla="*/ 241 w 241"/>
                <a:gd name="T27" fmla="*/ 39 h 241"/>
                <a:gd name="T28" fmla="*/ 203 w 241"/>
                <a:gd name="T29" fmla="*/ 0 h 241"/>
                <a:gd name="T30" fmla="*/ 164 w 241"/>
                <a:gd name="T31" fmla="*/ 39 h 241"/>
                <a:gd name="T32" fmla="*/ 164 w 241"/>
                <a:gd name="T33" fmla="*/ 44 h 241"/>
                <a:gd name="T34" fmla="*/ 66 w 241"/>
                <a:gd name="T35" fmla="*/ 93 h 241"/>
                <a:gd name="T36" fmla="*/ 39 w 241"/>
                <a:gd name="T37" fmla="*/ 82 h 241"/>
                <a:gd name="T38" fmla="*/ 0 w 241"/>
                <a:gd name="T39" fmla="*/ 121 h 241"/>
                <a:gd name="T40" fmla="*/ 39 w 241"/>
                <a:gd name="T41" fmla="*/ 159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41" h="241">
                  <a:moveTo>
                    <a:pt x="39" y="159"/>
                  </a:moveTo>
                  <a:cubicBezTo>
                    <a:pt x="50" y="159"/>
                    <a:pt x="59" y="155"/>
                    <a:pt x="66" y="148"/>
                  </a:cubicBezTo>
                  <a:cubicBezTo>
                    <a:pt x="164" y="197"/>
                    <a:pt x="164" y="197"/>
                    <a:pt x="164" y="197"/>
                  </a:cubicBezTo>
                  <a:cubicBezTo>
                    <a:pt x="164" y="199"/>
                    <a:pt x="164" y="201"/>
                    <a:pt x="164" y="203"/>
                  </a:cubicBezTo>
                  <a:cubicBezTo>
                    <a:pt x="164" y="224"/>
                    <a:pt x="181" y="241"/>
                    <a:pt x="203" y="241"/>
                  </a:cubicBezTo>
                  <a:cubicBezTo>
                    <a:pt x="224" y="241"/>
                    <a:pt x="241" y="224"/>
                    <a:pt x="241" y="203"/>
                  </a:cubicBezTo>
                  <a:cubicBezTo>
                    <a:pt x="241" y="181"/>
                    <a:pt x="224" y="164"/>
                    <a:pt x="203" y="164"/>
                  </a:cubicBezTo>
                  <a:cubicBezTo>
                    <a:pt x="192" y="164"/>
                    <a:pt x="182" y="168"/>
                    <a:pt x="175" y="176"/>
                  </a:cubicBezTo>
                  <a:cubicBezTo>
                    <a:pt x="77" y="126"/>
                    <a:pt x="77" y="126"/>
                    <a:pt x="77" y="126"/>
                  </a:cubicBezTo>
                  <a:cubicBezTo>
                    <a:pt x="77" y="124"/>
                    <a:pt x="77" y="123"/>
                    <a:pt x="77" y="121"/>
                  </a:cubicBezTo>
                  <a:cubicBezTo>
                    <a:pt x="77" y="119"/>
                    <a:pt x="77" y="117"/>
                    <a:pt x="77" y="114"/>
                  </a:cubicBezTo>
                  <a:cubicBezTo>
                    <a:pt x="174" y="65"/>
                    <a:pt x="174" y="65"/>
                    <a:pt x="174" y="65"/>
                  </a:cubicBezTo>
                  <a:cubicBezTo>
                    <a:pt x="182" y="73"/>
                    <a:pt x="191" y="78"/>
                    <a:pt x="203" y="78"/>
                  </a:cubicBezTo>
                  <a:cubicBezTo>
                    <a:pt x="224" y="78"/>
                    <a:pt x="241" y="60"/>
                    <a:pt x="241" y="39"/>
                  </a:cubicBezTo>
                  <a:cubicBezTo>
                    <a:pt x="241" y="17"/>
                    <a:pt x="224" y="0"/>
                    <a:pt x="203" y="0"/>
                  </a:cubicBezTo>
                  <a:cubicBezTo>
                    <a:pt x="181" y="0"/>
                    <a:pt x="164" y="17"/>
                    <a:pt x="164" y="39"/>
                  </a:cubicBezTo>
                  <a:cubicBezTo>
                    <a:pt x="164" y="40"/>
                    <a:pt x="164" y="42"/>
                    <a:pt x="164" y="44"/>
                  </a:cubicBezTo>
                  <a:cubicBezTo>
                    <a:pt x="66" y="93"/>
                    <a:pt x="66" y="93"/>
                    <a:pt x="66" y="93"/>
                  </a:cubicBezTo>
                  <a:cubicBezTo>
                    <a:pt x="59" y="86"/>
                    <a:pt x="49" y="82"/>
                    <a:pt x="39" y="82"/>
                  </a:cubicBezTo>
                  <a:cubicBezTo>
                    <a:pt x="17" y="82"/>
                    <a:pt x="0" y="99"/>
                    <a:pt x="0" y="121"/>
                  </a:cubicBezTo>
                  <a:cubicBezTo>
                    <a:pt x="0" y="142"/>
                    <a:pt x="17" y="159"/>
                    <a:pt x="39" y="159"/>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endParaRPr lang="en-US" sz="3264"/>
            </a:p>
          </p:txBody>
        </p:sp>
      </p:grpSp>
      <p:grpSp>
        <p:nvGrpSpPr>
          <p:cNvPr id="23" name="Group 22"/>
          <p:cNvGrpSpPr/>
          <p:nvPr/>
        </p:nvGrpSpPr>
        <p:grpSpPr>
          <a:xfrm>
            <a:off x="4597303" y="2108748"/>
            <a:ext cx="1243471" cy="1243471"/>
            <a:chOff x="8858250" y="-465138"/>
            <a:chExt cx="885825" cy="882650"/>
          </a:xfrm>
        </p:grpSpPr>
        <p:sp>
          <p:nvSpPr>
            <p:cNvPr id="24" name="Oval 121"/>
            <p:cNvSpPr>
              <a:spLocks noChangeArrowheads="1"/>
            </p:cNvSpPr>
            <p:nvPr/>
          </p:nvSpPr>
          <p:spPr bwMode="auto">
            <a:xfrm>
              <a:off x="8858250" y="-465138"/>
              <a:ext cx="885825" cy="882650"/>
            </a:xfrm>
            <a:prstGeom prst="ellipse">
              <a:avLst/>
            </a:prstGeom>
            <a:solidFill>
              <a:schemeClr val="accent1"/>
            </a:solidFill>
            <a:ln w="19050">
              <a:noFill/>
              <a:round/>
              <a:headEnd/>
              <a:tailEnd/>
            </a:ln>
          </p:spPr>
          <p:txBody>
            <a:bodyPr vert="horz" wrap="square" lIns="124347" tIns="62174" rIns="124347" bIns="62174" numCol="1" anchor="t" anchorCtr="0" compatLnSpc="1">
              <a:prstTxWarp prst="textNoShape">
                <a:avLst/>
              </a:prstTxWarp>
            </a:bodyPr>
            <a:lstStyle/>
            <a:p>
              <a:endParaRPr lang="en-US" sz="3264"/>
            </a:p>
          </p:txBody>
        </p:sp>
        <p:sp>
          <p:nvSpPr>
            <p:cNvPr id="25" name="Freeform 122"/>
            <p:cNvSpPr>
              <a:spLocks noEditPoints="1"/>
            </p:cNvSpPr>
            <p:nvPr/>
          </p:nvSpPr>
          <p:spPr bwMode="auto">
            <a:xfrm>
              <a:off x="9061450" y="-288925"/>
              <a:ext cx="463550" cy="552450"/>
            </a:xfrm>
            <a:custGeom>
              <a:avLst/>
              <a:gdLst>
                <a:gd name="T0" fmla="*/ 128 w 202"/>
                <a:gd name="T1" fmla="*/ 0 h 241"/>
                <a:gd name="T2" fmla="*/ 83 w 202"/>
                <a:gd name="T3" fmla="*/ 44 h 241"/>
                <a:gd name="T4" fmla="*/ 60 w 202"/>
                <a:gd name="T5" fmla="*/ 138 h 241"/>
                <a:gd name="T6" fmla="*/ 29 w 202"/>
                <a:gd name="T7" fmla="*/ 176 h 241"/>
                <a:gd name="T8" fmla="*/ 0 w 202"/>
                <a:gd name="T9" fmla="*/ 184 h 241"/>
                <a:gd name="T10" fmla="*/ 28 w 202"/>
                <a:gd name="T11" fmla="*/ 239 h 241"/>
                <a:gd name="T12" fmla="*/ 105 w 202"/>
                <a:gd name="T13" fmla="*/ 189 h 241"/>
                <a:gd name="T14" fmla="*/ 155 w 202"/>
                <a:gd name="T15" fmla="*/ 240 h 241"/>
                <a:gd name="T16" fmla="*/ 199 w 202"/>
                <a:gd name="T17" fmla="*/ 206 h 241"/>
                <a:gd name="T18" fmla="*/ 194 w 202"/>
                <a:gd name="T19" fmla="*/ 127 h 241"/>
                <a:gd name="T20" fmla="*/ 179 w 202"/>
                <a:gd name="T21" fmla="*/ 76 h 241"/>
                <a:gd name="T22" fmla="*/ 139 w 202"/>
                <a:gd name="T23" fmla="*/ 87 h 241"/>
                <a:gd name="T24" fmla="*/ 172 w 202"/>
                <a:gd name="T25" fmla="*/ 44 h 241"/>
                <a:gd name="T26" fmla="*/ 181 w 202"/>
                <a:gd name="T27" fmla="*/ 117 h 241"/>
                <a:gd name="T28" fmla="*/ 127 w 202"/>
                <a:gd name="T29" fmla="*/ 127 h 241"/>
                <a:gd name="T30" fmla="*/ 115 w 202"/>
                <a:gd name="T31" fmla="*/ 134 h 241"/>
                <a:gd name="T32" fmla="*/ 125 w 202"/>
                <a:gd name="T33" fmla="*/ 144 h 241"/>
                <a:gd name="T34" fmla="*/ 183 w 202"/>
                <a:gd name="T35" fmla="*/ 206 h 241"/>
                <a:gd name="T36" fmla="*/ 106 w 202"/>
                <a:gd name="T37" fmla="*/ 174 h 241"/>
                <a:gd name="T38" fmla="*/ 98 w 202"/>
                <a:gd name="T39" fmla="*/ 174 h 241"/>
                <a:gd name="T40" fmla="*/ 72 w 202"/>
                <a:gd name="T41" fmla="*/ 204 h 241"/>
                <a:gd name="T42" fmla="*/ 20 w 202"/>
                <a:gd name="T43" fmla="*/ 196 h 241"/>
                <a:gd name="T44" fmla="*/ 75 w 202"/>
                <a:gd name="T45" fmla="*/ 139 h 241"/>
                <a:gd name="T46" fmla="*/ 104 w 202"/>
                <a:gd name="T47" fmla="*/ 81 h 241"/>
                <a:gd name="T48" fmla="*/ 119 w 202"/>
                <a:gd name="T49" fmla="*/ 89 h 241"/>
                <a:gd name="T50" fmla="*/ 122 w 202"/>
                <a:gd name="T51" fmla="*/ 99 h 241"/>
                <a:gd name="T52" fmla="*/ 172 w 202"/>
                <a:gd name="T53" fmla="*/ 97 h 241"/>
                <a:gd name="T54" fmla="*/ 128 w 202"/>
                <a:gd name="T55" fmla="*/ 16 h 241"/>
                <a:gd name="T56" fmla="*/ 156 w 202"/>
                <a:gd name="T57" fmla="*/ 44 h 241"/>
                <a:gd name="T58" fmla="*/ 128 w 202"/>
                <a:gd name="T59" fmla="*/ 72 h 241"/>
                <a:gd name="T60" fmla="*/ 99 w 202"/>
                <a:gd name="T61" fmla="*/ 44 h 241"/>
                <a:gd name="T62" fmla="*/ 128 w 202"/>
                <a:gd name="T63" fmla="*/ 16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02" h="241">
                  <a:moveTo>
                    <a:pt x="159" y="13"/>
                  </a:moveTo>
                  <a:cubicBezTo>
                    <a:pt x="150" y="4"/>
                    <a:pt x="140" y="0"/>
                    <a:pt x="128" y="0"/>
                  </a:cubicBezTo>
                  <a:cubicBezTo>
                    <a:pt x="116" y="0"/>
                    <a:pt x="105" y="4"/>
                    <a:pt x="96" y="13"/>
                  </a:cubicBezTo>
                  <a:cubicBezTo>
                    <a:pt x="88" y="21"/>
                    <a:pt x="83" y="32"/>
                    <a:pt x="83" y="44"/>
                  </a:cubicBezTo>
                  <a:cubicBezTo>
                    <a:pt x="83" y="54"/>
                    <a:pt x="86" y="63"/>
                    <a:pt x="92" y="71"/>
                  </a:cubicBezTo>
                  <a:cubicBezTo>
                    <a:pt x="73" y="84"/>
                    <a:pt x="62" y="106"/>
                    <a:pt x="60" y="138"/>
                  </a:cubicBezTo>
                  <a:cubicBezTo>
                    <a:pt x="60" y="142"/>
                    <a:pt x="59" y="145"/>
                    <a:pt x="59" y="147"/>
                  </a:cubicBezTo>
                  <a:cubicBezTo>
                    <a:pt x="52" y="160"/>
                    <a:pt x="42" y="170"/>
                    <a:pt x="29" y="176"/>
                  </a:cubicBezTo>
                  <a:cubicBezTo>
                    <a:pt x="25" y="178"/>
                    <a:pt x="20" y="180"/>
                    <a:pt x="16" y="181"/>
                  </a:cubicBezTo>
                  <a:cubicBezTo>
                    <a:pt x="0" y="184"/>
                    <a:pt x="0" y="184"/>
                    <a:pt x="0" y="184"/>
                  </a:cubicBezTo>
                  <a:cubicBezTo>
                    <a:pt x="21" y="241"/>
                    <a:pt x="21" y="241"/>
                    <a:pt x="21" y="241"/>
                  </a:cubicBezTo>
                  <a:cubicBezTo>
                    <a:pt x="28" y="239"/>
                    <a:pt x="28" y="239"/>
                    <a:pt x="28" y="239"/>
                  </a:cubicBezTo>
                  <a:cubicBezTo>
                    <a:pt x="49" y="235"/>
                    <a:pt x="66" y="227"/>
                    <a:pt x="79" y="217"/>
                  </a:cubicBezTo>
                  <a:cubicBezTo>
                    <a:pt x="88" y="211"/>
                    <a:pt x="96" y="202"/>
                    <a:pt x="105" y="189"/>
                  </a:cubicBezTo>
                  <a:cubicBezTo>
                    <a:pt x="128" y="201"/>
                    <a:pt x="143" y="215"/>
                    <a:pt x="151" y="233"/>
                  </a:cubicBezTo>
                  <a:cubicBezTo>
                    <a:pt x="155" y="240"/>
                    <a:pt x="155" y="240"/>
                    <a:pt x="155" y="240"/>
                  </a:cubicBezTo>
                  <a:cubicBezTo>
                    <a:pt x="202" y="212"/>
                    <a:pt x="202" y="212"/>
                    <a:pt x="202" y="212"/>
                  </a:cubicBezTo>
                  <a:cubicBezTo>
                    <a:pt x="199" y="206"/>
                    <a:pt x="199" y="206"/>
                    <a:pt x="199" y="206"/>
                  </a:cubicBezTo>
                  <a:cubicBezTo>
                    <a:pt x="188" y="180"/>
                    <a:pt x="172" y="159"/>
                    <a:pt x="151" y="143"/>
                  </a:cubicBezTo>
                  <a:cubicBezTo>
                    <a:pt x="163" y="141"/>
                    <a:pt x="178" y="136"/>
                    <a:pt x="194" y="127"/>
                  </a:cubicBezTo>
                  <a:cubicBezTo>
                    <a:pt x="200" y="123"/>
                    <a:pt x="200" y="123"/>
                    <a:pt x="200" y="123"/>
                  </a:cubicBezTo>
                  <a:cubicBezTo>
                    <a:pt x="179" y="76"/>
                    <a:pt x="179" y="76"/>
                    <a:pt x="179" y="76"/>
                  </a:cubicBezTo>
                  <a:cubicBezTo>
                    <a:pt x="172" y="81"/>
                    <a:pt x="172" y="81"/>
                    <a:pt x="172" y="81"/>
                  </a:cubicBezTo>
                  <a:cubicBezTo>
                    <a:pt x="162" y="86"/>
                    <a:pt x="151" y="88"/>
                    <a:pt x="139" y="87"/>
                  </a:cubicBezTo>
                  <a:cubicBezTo>
                    <a:pt x="149" y="84"/>
                    <a:pt x="156" y="79"/>
                    <a:pt x="163" y="71"/>
                  </a:cubicBezTo>
                  <a:cubicBezTo>
                    <a:pt x="169" y="63"/>
                    <a:pt x="172" y="54"/>
                    <a:pt x="172" y="44"/>
                  </a:cubicBezTo>
                  <a:cubicBezTo>
                    <a:pt x="172" y="32"/>
                    <a:pt x="168" y="21"/>
                    <a:pt x="159" y="13"/>
                  </a:cubicBezTo>
                  <a:close/>
                  <a:moveTo>
                    <a:pt x="181" y="117"/>
                  </a:moveTo>
                  <a:cubicBezTo>
                    <a:pt x="168" y="123"/>
                    <a:pt x="158" y="127"/>
                    <a:pt x="149" y="128"/>
                  </a:cubicBezTo>
                  <a:cubicBezTo>
                    <a:pt x="127" y="127"/>
                    <a:pt x="127" y="127"/>
                    <a:pt x="127" y="127"/>
                  </a:cubicBezTo>
                  <a:cubicBezTo>
                    <a:pt x="122" y="126"/>
                    <a:pt x="122" y="126"/>
                    <a:pt x="122" y="126"/>
                  </a:cubicBezTo>
                  <a:cubicBezTo>
                    <a:pt x="118" y="126"/>
                    <a:pt x="115" y="129"/>
                    <a:pt x="115" y="134"/>
                  </a:cubicBezTo>
                  <a:cubicBezTo>
                    <a:pt x="114" y="137"/>
                    <a:pt x="116" y="139"/>
                    <a:pt x="118" y="140"/>
                  </a:cubicBezTo>
                  <a:cubicBezTo>
                    <a:pt x="125" y="144"/>
                    <a:pt x="125" y="144"/>
                    <a:pt x="125" y="144"/>
                  </a:cubicBezTo>
                  <a:cubicBezTo>
                    <a:pt x="131" y="147"/>
                    <a:pt x="136" y="151"/>
                    <a:pt x="142" y="155"/>
                  </a:cubicBezTo>
                  <a:cubicBezTo>
                    <a:pt x="159" y="168"/>
                    <a:pt x="172" y="185"/>
                    <a:pt x="183" y="206"/>
                  </a:cubicBezTo>
                  <a:cubicBezTo>
                    <a:pt x="161" y="219"/>
                    <a:pt x="161" y="219"/>
                    <a:pt x="161" y="219"/>
                  </a:cubicBezTo>
                  <a:cubicBezTo>
                    <a:pt x="150" y="200"/>
                    <a:pt x="132" y="185"/>
                    <a:pt x="106" y="174"/>
                  </a:cubicBezTo>
                  <a:cubicBezTo>
                    <a:pt x="105" y="173"/>
                    <a:pt x="104" y="172"/>
                    <a:pt x="103" y="172"/>
                  </a:cubicBezTo>
                  <a:cubicBezTo>
                    <a:pt x="101" y="172"/>
                    <a:pt x="99" y="173"/>
                    <a:pt x="98" y="174"/>
                  </a:cubicBezTo>
                  <a:cubicBezTo>
                    <a:pt x="94" y="179"/>
                    <a:pt x="94" y="179"/>
                    <a:pt x="94" y="179"/>
                  </a:cubicBezTo>
                  <a:cubicBezTo>
                    <a:pt x="86" y="190"/>
                    <a:pt x="79" y="199"/>
                    <a:pt x="72" y="204"/>
                  </a:cubicBezTo>
                  <a:cubicBezTo>
                    <a:pt x="61" y="213"/>
                    <a:pt x="47" y="219"/>
                    <a:pt x="31" y="223"/>
                  </a:cubicBezTo>
                  <a:cubicBezTo>
                    <a:pt x="20" y="196"/>
                    <a:pt x="20" y="196"/>
                    <a:pt x="20" y="196"/>
                  </a:cubicBezTo>
                  <a:cubicBezTo>
                    <a:pt x="45" y="189"/>
                    <a:pt x="62" y="175"/>
                    <a:pt x="72" y="153"/>
                  </a:cubicBezTo>
                  <a:cubicBezTo>
                    <a:pt x="73" y="151"/>
                    <a:pt x="74" y="146"/>
                    <a:pt x="75" y="139"/>
                  </a:cubicBezTo>
                  <a:cubicBezTo>
                    <a:pt x="76" y="124"/>
                    <a:pt x="79" y="111"/>
                    <a:pt x="84" y="103"/>
                  </a:cubicBezTo>
                  <a:cubicBezTo>
                    <a:pt x="88" y="93"/>
                    <a:pt x="95" y="86"/>
                    <a:pt x="104" y="81"/>
                  </a:cubicBezTo>
                  <a:cubicBezTo>
                    <a:pt x="109" y="84"/>
                    <a:pt x="113" y="86"/>
                    <a:pt x="119" y="88"/>
                  </a:cubicBezTo>
                  <a:cubicBezTo>
                    <a:pt x="119" y="89"/>
                    <a:pt x="119" y="89"/>
                    <a:pt x="119" y="89"/>
                  </a:cubicBezTo>
                  <a:cubicBezTo>
                    <a:pt x="120" y="92"/>
                    <a:pt x="120" y="94"/>
                    <a:pt x="120" y="96"/>
                  </a:cubicBezTo>
                  <a:cubicBezTo>
                    <a:pt x="122" y="99"/>
                    <a:pt x="122" y="99"/>
                    <a:pt x="122" y="99"/>
                  </a:cubicBezTo>
                  <a:cubicBezTo>
                    <a:pt x="125" y="100"/>
                    <a:pt x="125" y="100"/>
                    <a:pt x="125" y="100"/>
                  </a:cubicBezTo>
                  <a:cubicBezTo>
                    <a:pt x="140" y="105"/>
                    <a:pt x="156" y="104"/>
                    <a:pt x="172" y="97"/>
                  </a:cubicBezTo>
                  <a:cubicBezTo>
                    <a:pt x="181" y="117"/>
                    <a:pt x="181" y="117"/>
                    <a:pt x="181" y="117"/>
                  </a:cubicBezTo>
                  <a:close/>
                  <a:moveTo>
                    <a:pt x="128" y="16"/>
                  </a:moveTo>
                  <a:cubicBezTo>
                    <a:pt x="136" y="16"/>
                    <a:pt x="142" y="18"/>
                    <a:pt x="148" y="24"/>
                  </a:cubicBezTo>
                  <a:cubicBezTo>
                    <a:pt x="153" y="30"/>
                    <a:pt x="156" y="36"/>
                    <a:pt x="156" y="44"/>
                  </a:cubicBezTo>
                  <a:cubicBezTo>
                    <a:pt x="156" y="52"/>
                    <a:pt x="153" y="58"/>
                    <a:pt x="148" y="64"/>
                  </a:cubicBezTo>
                  <a:cubicBezTo>
                    <a:pt x="142" y="70"/>
                    <a:pt x="136" y="72"/>
                    <a:pt x="128" y="72"/>
                  </a:cubicBezTo>
                  <a:cubicBezTo>
                    <a:pt x="120" y="72"/>
                    <a:pt x="113" y="70"/>
                    <a:pt x="108" y="64"/>
                  </a:cubicBezTo>
                  <a:cubicBezTo>
                    <a:pt x="102" y="58"/>
                    <a:pt x="99" y="52"/>
                    <a:pt x="99" y="44"/>
                  </a:cubicBezTo>
                  <a:cubicBezTo>
                    <a:pt x="99" y="36"/>
                    <a:pt x="102" y="30"/>
                    <a:pt x="108" y="24"/>
                  </a:cubicBezTo>
                  <a:cubicBezTo>
                    <a:pt x="113" y="18"/>
                    <a:pt x="120" y="16"/>
                    <a:pt x="128" y="16"/>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endParaRPr lang="en-US" sz="3264"/>
            </a:p>
          </p:txBody>
        </p:sp>
      </p:grpSp>
      <p:grpSp>
        <p:nvGrpSpPr>
          <p:cNvPr id="39" name="Group 38"/>
          <p:cNvGrpSpPr/>
          <p:nvPr/>
        </p:nvGrpSpPr>
        <p:grpSpPr>
          <a:xfrm>
            <a:off x="542742" y="2108748"/>
            <a:ext cx="1243471" cy="1243471"/>
            <a:chOff x="6243638" y="19304000"/>
            <a:chExt cx="885825" cy="884238"/>
          </a:xfrm>
        </p:grpSpPr>
        <p:sp>
          <p:nvSpPr>
            <p:cNvPr id="40" name="Oval 199"/>
            <p:cNvSpPr>
              <a:spLocks noChangeArrowheads="1"/>
            </p:cNvSpPr>
            <p:nvPr/>
          </p:nvSpPr>
          <p:spPr bwMode="auto">
            <a:xfrm>
              <a:off x="6243638" y="19304000"/>
              <a:ext cx="885825" cy="884238"/>
            </a:xfrm>
            <a:prstGeom prst="ellipse">
              <a:avLst/>
            </a:prstGeom>
            <a:solidFill>
              <a:schemeClr val="accent1"/>
            </a:solidFill>
            <a:ln w="19050">
              <a:noFill/>
              <a:round/>
              <a:headEnd/>
              <a:tailEnd/>
            </a:ln>
          </p:spPr>
          <p:txBody>
            <a:bodyPr vert="horz" wrap="square" lIns="124347" tIns="62174" rIns="124347" bIns="62174" numCol="1" anchor="t" anchorCtr="0" compatLnSpc="1">
              <a:prstTxWarp prst="textNoShape">
                <a:avLst/>
              </a:prstTxWarp>
            </a:bodyPr>
            <a:lstStyle/>
            <a:p>
              <a:endParaRPr lang="en-US" sz="3264"/>
            </a:p>
          </p:txBody>
        </p:sp>
        <p:sp>
          <p:nvSpPr>
            <p:cNvPr id="41" name="Freeform 200"/>
            <p:cNvSpPr>
              <a:spLocks/>
            </p:cNvSpPr>
            <p:nvPr/>
          </p:nvSpPr>
          <p:spPr bwMode="auto">
            <a:xfrm>
              <a:off x="6402388" y="19538950"/>
              <a:ext cx="557213" cy="482600"/>
            </a:xfrm>
            <a:custGeom>
              <a:avLst/>
              <a:gdLst>
                <a:gd name="T0" fmla="*/ 241 w 243"/>
                <a:gd name="T1" fmla="*/ 50 h 210"/>
                <a:gd name="T2" fmla="*/ 192 w 243"/>
                <a:gd name="T3" fmla="*/ 146 h 210"/>
                <a:gd name="T4" fmla="*/ 109 w 243"/>
                <a:gd name="T5" fmla="*/ 210 h 210"/>
                <a:gd name="T6" fmla="*/ 73 w 243"/>
                <a:gd name="T7" fmla="*/ 171 h 210"/>
                <a:gd name="T8" fmla="*/ 53 w 243"/>
                <a:gd name="T9" fmla="*/ 99 h 210"/>
                <a:gd name="T10" fmla="*/ 30 w 243"/>
                <a:gd name="T11" fmla="*/ 60 h 210"/>
                <a:gd name="T12" fmla="*/ 11 w 243"/>
                <a:gd name="T13" fmla="*/ 72 h 210"/>
                <a:gd name="T14" fmla="*/ 0 w 243"/>
                <a:gd name="T15" fmla="*/ 57 h 210"/>
                <a:gd name="T16" fmla="*/ 35 w 243"/>
                <a:gd name="T17" fmla="*/ 26 h 210"/>
                <a:gd name="T18" fmla="*/ 71 w 243"/>
                <a:gd name="T19" fmla="*/ 4 h 210"/>
                <a:gd name="T20" fmla="*/ 105 w 243"/>
                <a:gd name="T21" fmla="*/ 43 h 210"/>
                <a:gd name="T22" fmla="*/ 115 w 243"/>
                <a:gd name="T23" fmla="*/ 98 h 210"/>
                <a:gd name="T24" fmla="*/ 133 w 243"/>
                <a:gd name="T25" fmla="*/ 135 h 210"/>
                <a:gd name="T26" fmla="*/ 156 w 243"/>
                <a:gd name="T27" fmla="*/ 111 h 210"/>
                <a:gd name="T28" fmla="*/ 172 w 243"/>
                <a:gd name="T29" fmla="*/ 74 h 210"/>
                <a:gd name="T30" fmla="*/ 156 w 243"/>
                <a:gd name="T31" fmla="*/ 54 h 210"/>
                <a:gd name="T32" fmla="*/ 138 w 243"/>
                <a:gd name="T33" fmla="*/ 58 h 210"/>
                <a:gd name="T34" fmla="*/ 206 w 243"/>
                <a:gd name="T35" fmla="*/ 1 h 210"/>
                <a:gd name="T36" fmla="*/ 241 w 243"/>
                <a:gd name="T37" fmla="*/ 5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43" h="210">
                  <a:moveTo>
                    <a:pt x="241" y="50"/>
                  </a:moveTo>
                  <a:cubicBezTo>
                    <a:pt x="240" y="73"/>
                    <a:pt x="224" y="105"/>
                    <a:pt x="192" y="146"/>
                  </a:cubicBezTo>
                  <a:cubicBezTo>
                    <a:pt x="159" y="188"/>
                    <a:pt x="131" y="210"/>
                    <a:pt x="109" y="210"/>
                  </a:cubicBezTo>
                  <a:cubicBezTo>
                    <a:pt x="95" y="210"/>
                    <a:pt x="83" y="197"/>
                    <a:pt x="73" y="171"/>
                  </a:cubicBezTo>
                  <a:cubicBezTo>
                    <a:pt x="66" y="147"/>
                    <a:pt x="60" y="123"/>
                    <a:pt x="53" y="99"/>
                  </a:cubicBezTo>
                  <a:cubicBezTo>
                    <a:pt x="46" y="73"/>
                    <a:pt x="39" y="60"/>
                    <a:pt x="30" y="60"/>
                  </a:cubicBezTo>
                  <a:cubicBezTo>
                    <a:pt x="28" y="60"/>
                    <a:pt x="22" y="64"/>
                    <a:pt x="11" y="72"/>
                  </a:cubicBezTo>
                  <a:cubicBezTo>
                    <a:pt x="0" y="57"/>
                    <a:pt x="0" y="57"/>
                    <a:pt x="0" y="57"/>
                  </a:cubicBezTo>
                  <a:cubicBezTo>
                    <a:pt x="12" y="47"/>
                    <a:pt x="24" y="36"/>
                    <a:pt x="35" y="26"/>
                  </a:cubicBezTo>
                  <a:cubicBezTo>
                    <a:pt x="51" y="12"/>
                    <a:pt x="63" y="5"/>
                    <a:pt x="71" y="4"/>
                  </a:cubicBezTo>
                  <a:cubicBezTo>
                    <a:pt x="90" y="2"/>
                    <a:pt x="101" y="15"/>
                    <a:pt x="105" y="43"/>
                  </a:cubicBezTo>
                  <a:cubicBezTo>
                    <a:pt x="110" y="72"/>
                    <a:pt x="113" y="91"/>
                    <a:pt x="115" y="98"/>
                  </a:cubicBezTo>
                  <a:cubicBezTo>
                    <a:pt x="121" y="122"/>
                    <a:pt x="127" y="135"/>
                    <a:pt x="133" y="135"/>
                  </a:cubicBezTo>
                  <a:cubicBezTo>
                    <a:pt x="138" y="135"/>
                    <a:pt x="146" y="127"/>
                    <a:pt x="156" y="111"/>
                  </a:cubicBezTo>
                  <a:cubicBezTo>
                    <a:pt x="166" y="95"/>
                    <a:pt x="171" y="83"/>
                    <a:pt x="172" y="74"/>
                  </a:cubicBezTo>
                  <a:cubicBezTo>
                    <a:pt x="173" y="61"/>
                    <a:pt x="168" y="54"/>
                    <a:pt x="156" y="54"/>
                  </a:cubicBezTo>
                  <a:cubicBezTo>
                    <a:pt x="150" y="54"/>
                    <a:pt x="144" y="55"/>
                    <a:pt x="138" y="58"/>
                  </a:cubicBezTo>
                  <a:cubicBezTo>
                    <a:pt x="150" y="19"/>
                    <a:pt x="173" y="0"/>
                    <a:pt x="206" y="1"/>
                  </a:cubicBezTo>
                  <a:cubicBezTo>
                    <a:pt x="231" y="2"/>
                    <a:pt x="243" y="18"/>
                    <a:pt x="241" y="50"/>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endParaRPr lang="en-US" sz="3264"/>
            </a:p>
          </p:txBody>
        </p:sp>
      </p:grpSp>
      <p:grpSp>
        <p:nvGrpSpPr>
          <p:cNvPr id="42" name="Group 41"/>
          <p:cNvGrpSpPr/>
          <p:nvPr/>
        </p:nvGrpSpPr>
        <p:grpSpPr>
          <a:xfrm>
            <a:off x="2570023" y="2108748"/>
            <a:ext cx="1243471" cy="1243471"/>
            <a:chOff x="7540625" y="19310350"/>
            <a:chExt cx="885825" cy="885825"/>
          </a:xfrm>
        </p:grpSpPr>
        <p:sp>
          <p:nvSpPr>
            <p:cNvPr id="43" name="Oval 201"/>
            <p:cNvSpPr>
              <a:spLocks noChangeArrowheads="1"/>
            </p:cNvSpPr>
            <p:nvPr/>
          </p:nvSpPr>
          <p:spPr bwMode="auto">
            <a:xfrm>
              <a:off x="7540625" y="19310350"/>
              <a:ext cx="885825" cy="885825"/>
            </a:xfrm>
            <a:prstGeom prst="ellipse">
              <a:avLst/>
            </a:prstGeom>
            <a:solidFill>
              <a:schemeClr val="accent1"/>
            </a:solidFill>
            <a:ln w="19050">
              <a:noFill/>
              <a:round/>
              <a:headEnd/>
              <a:tailEnd/>
            </a:ln>
          </p:spPr>
          <p:txBody>
            <a:bodyPr vert="horz" wrap="square" lIns="124347" tIns="62174" rIns="124347" bIns="62174" numCol="1" anchor="t" anchorCtr="0" compatLnSpc="1">
              <a:prstTxWarp prst="textNoShape">
                <a:avLst/>
              </a:prstTxWarp>
            </a:bodyPr>
            <a:lstStyle/>
            <a:p>
              <a:endParaRPr lang="en-US" sz="3264"/>
            </a:p>
          </p:txBody>
        </p:sp>
        <p:sp>
          <p:nvSpPr>
            <p:cNvPr id="44" name="Freeform 202"/>
            <p:cNvSpPr>
              <a:spLocks noEditPoints="1"/>
            </p:cNvSpPr>
            <p:nvPr/>
          </p:nvSpPr>
          <p:spPr bwMode="auto">
            <a:xfrm>
              <a:off x="7704138" y="19470687"/>
              <a:ext cx="561975" cy="563563"/>
            </a:xfrm>
            <a:custGeom>
              <a:avLst/>
              <a:gdLst>
                <a:gd name="T0" fmla="*/ 122 w 245"/>
                <a:gd name="T1" fmla="*/ 0 h 246"/>
                <a:gd name="T2" fmla="*/ 0 w 245"/>
                <a:gd name="T3" fmla="*/ 123 h 246"/>
                <a:gd name="T4" fmla="*/ 122 w 245"/>
                <a:gd name="T5" fmla="*/ 246 h 246"/>
                <a:gd name="T6" fmla="*/ 245 w 245"/>
                <a:gd name="T7" fmla="*/ 123 h 246"/>
                <a:gd name="T8" fmla="*/ 122 w 245"/>
                <a:gd name="T9" fmla="*/ 0 h 246"/>
                <a:gd name="T10" fmla="*/ 200 w 245"/>
                <a:gd name="T11" fmla="*/ 57 h 246"/>
                <a:gd name="T12" fmla="*/ 224 w 245"/>
                <a:gd name="T13" fmla="*/ 116 h 246"/>
                <a:gd name="T14" fmla="*/ 154 w 245"/>
                <a:gd name="T15" fmla="*/ 117 h 246"/>
                <a:gd name="T16" fmla="*/ 146 w 245"/>
                <a:gd name="T17" fmla="*/ 97 h 246"/>
                <a:gd name="T18" fmla="*/ 200 w 245"/>
                <a:gd name="T19" fmla="*/ 57 h 246"/>
                <a:gd name="T20" fmla="*/ 122 w 245"/>
                <a:gd name="T21" fmla="*/ 21 h 246"/>
                <a:gd name="T22" fmla="*/ 188 w 245"/>
                <a:gd name="T23" fmla="*/ 44 h 246"/>
                <a:gd name="T24" fmla="*/ 137 w 245"/>
                <a:gd name="T25" fmla="*/ 80 h 246"/>
                <a:gd name="T26" fmla="*/ 97 w 245"/>
                <a:gd name="T27" fmla="*/ 24 h 246"/>
                <a:gd name="T28" fmla="*/ 122 w 245"/>
                <a:gd name="T29" fmla="*/ 21 h 246"/>
                <a:gd name="T30" fmla="*/ 76 w 245"/>
                <a:gd name="T31" fmla="*/ 32 h 246"/>
                <a:gd name="T32" fmla="*/ 117 w 245"/>
                <a:gd name="T33" fmla="*/ 87 h 246"/>
                <a:gd name="T34" fmla="*/ 39 w 245"/>
                <a:gd name="T35" fmla="*/ 98 h 246"/>
                <a:gd name="T36" fmla="*/ 23 w 245"/>
                <a:gd name="T37" fmla="*/ 98 h 246"/>
                <a:gd name="T38" fmla="*/ 76 w 245"/>
                <a:gd name="T39" fmla="*/ 32 h 246"/>
                <a:gd name="T40" fmla="*/ 20 w 245"/>
                <a:gd name="T41" fmla="*/ 118 h 246"/>
                <a:gd name="T42" fmla="*/ 38 w 245"/>
                <a:gd name="T43" fmla="*/ 118 h 246"/>
                <a:gd name="T44" fmla="*/ 126 w 245"/>
                <a:gd name="T45" fmla="*/ 105 h 246"/>
                <a:gd name="T46" fmla="*/ 133 w 245"/>
                <a:gd name="T47" fmla="*/ 120 h 246"/>
                <a:gd name="T48" fmla="*/ 124 w 245"/>
                <a:gd name="T49" fmla="*/ 123 h 246"/>
                <a:gd name="T50" fmla="*/ 46 w 245"/>
                <a:gd name="T51" fmla="*/ 190 h 246"/>
                <a:gd name="T52" fmla="*/ 20 w 245"/>
                <a:gd name="T53" fmla="*/ 123 h 246"/>
                <a:gd name="T54" fmla="*/ 20 w 245"/>
                <a:gd name="T55" fmla="*/ 118 h 246"/>
                <a:gd name="T56" fmla="*/ 122 w 245"/>
                <a:gd name="T57" fmla="*/ 225 h 246"/>
                <a:gd name="T58" fmla="*/ 60 w 245"/>
                <a:gd name="T59" fmla="*/ 204 h 246"/>
                <a:gd name="T60" fmla="*/ 128 w 245"/>
                <a:gd name="T61" fmla="*/ 141 h 246"/>
                <a:gd name="T62" fmla="*/ 139 w 245"/>
                <a:gd name="T63" fmla="*/ 137 h 246"/>
                <a:gd name="T64" fmla="*/ 149 w 245"/>
                <a:gd name="T65" fmla="*/ 169 h 246"/>
                <a:gd name="T66" fmla="*/ 159 w 245"/>
                <a:gd name="T67" fmla="*/ 219 h 246"/>
                <a:gd name="T68" fmla="*/ 122 w 245"/>
                <a:gd name="T69" fmla="*/ 225 h 246"/>
                <a:gd name="T70" fmla="*/ 178 w 245"/>
                <a:gd name="T71" fmla="*/ 209 h 246"/>
                <a:gd name="T72" fmla="*/ 168 w 245"/>
                <a:gd name="T73" fmla="*/ 159 h 246"/>
                <a:gd name="T74" fmla="*/ 161 w 245"/>
                <a:gd name="T75" fmla="*/ 134 h 246"/>
                <a:gd name="T76" fmla="*/ 224 w 245"/>
                <a:gd name="T77" fmla="*/ 134 h 246"/>
                <a:gd name="T78" fmla="*/ 178 w 245"/>
                <a:gd name="T79" fmla="*/ 209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5" h="246">
                  <a:moveTo>
                    <a:pt x="122" y="0"/>
                  </a:moveTo>
                  <a:cubicBezTo>
                    <a:pt x="55" y="0"/>
                    <a:pt x="0" y="55"/>
                    <a:pt x="0" y="123"/>
                  </a:cubicBezTo>
                  <a:cubicBezTo>
                    <a:pt x="0" y="191"/>
                    <a:pt x="55" y="246"/>
                    <a:pt x="122" y="246"/>
                  </a:cubicBezTo>
                  <a:cubicBezTo>
                    <a:pt x="190" y="246"/>
                    <a:pt x="245" y="191"/>
                    <a:pt x="245" y="123"/>
                  </a:cubicBezTo>
                  <a:cubicBezTo>
                    <a:pt x="245" y="55"/>
                    <a:pt x="190" y="0"/>
                    <a:pt x="122" y="0"/>
                  </a:cubicBezTo>
                  <a:close/>
                  <a:moveTo>
                    <a:pt x="200" y="57"/>
                  </a:moveTo>
                  <a:cubicBezTo>
                    <a:pt x="214" y="73"/>
                    <a:pt x="223" y="94"/>
                    <a:pt x="224" y="116"/>
                  </a:cubicBezTo>
                  <a:cubicBezTo>
                    <a:pt x="202" y="115"/>
                    <a:pt x="176" y="115"/>
                    <a:pt x="154" y="117"/>
                  </a:cubicBezTo>
                  <a:cubicBezTo>
                    <a:pt x="152" y="110"/>
                    <a:pt x="149" y="104"/>
                    <a:pt x="146" y="97"/>
                  </a:cubicBezTo>
                  <a:cubicBezTo>
                    <a:pt x="171" y="87"/>
                    <a:pt x="189" y="73"/>
                    <a:pt x="200" y="57"/>
                  </a:cubicBezTo>
                  <a:close/>
                  <a:moveTo>
                    <a:pt x="122" y="21"/>
                  </a:moveTo>
                  <a:cubicBezTo>
                    <a:pt x="147" y="21"/>
                    <a:pt x="170" y="30"/>
                    <a:pt x="188" y="44"/>
                  </a:cubicBezTo>
                  <a:cubicBezTo>
                    <a:pt x="176" y="58"/>
                    <a:pt x="159" y="71"/>
                    <a:pt x="137" y="80"/>
                  </a:cubicBezTo>
                  <a:cubicBezTo>
                    <a:pt x="125" y="58"/>
                    <a:pt x="112" y="39"/>
                    <a:pt x="97" y="24"/>
                  </a:cubicBezTo>
                  <a:cubicBezTo>
                    <a:pt x="105" y="22"/>
                    <a:pt x="114" y="21"/>
                    <a:pt x="122" y="21"/>
                  </a:cubicBezTo>
                  <a:close/>
                  <a:moveTo>
                    <a:pt x="76" y="32"/>
                  </a:moveTo>
                  <a:cubicBezTo>
                    <a:pt x="91" y="47"/>
                    <a:pt x="105" y="65"/>
                    <a:pt x="117" y="87"/>
                  </a:cubicBezTo>
                  <a:cubicBezTo>
                    <a:pt x="94" y="94"/>
                    <a:pt x="67" y="98"/>
                    <a:pt x="39" y="98"/>
                  </a:cubicBezTo>
                  <a:cubicBezTo>
                    <a:pt x="34" y="98"/>
                    <a:pt x="29" y="98"/>
                    <a:pt x="23" y="98"/>
                  </a:cubicBezTo>
                  <a:cubicBezTo>
                    <a:pt x="31" y="69"/>
                    <a:pt x="50" y="45"/>
                    <a:pt x="76" y="32"/>
                  </a:cubicBezTo>
                  <a:close/>
                  <a:moveTo>
                    <a:pt x="20" y="118"/>
                  </a:moveTo>
                  <a:cubicBezTo>
                    <a:pt x="26" y="118"/>
                    <a:pt x="32" y="118"/>
                    <a:pt x="38" y="118"/>
                  </a:cubicBezTo>
                  <a:cubicBezTo>
                    <a:pt x="70" y="118"/>
                    <a:pt x="100" y="113"/>
                    <a:pt x="126" y="105"/>
                  </a:cubicBezTo>
                  <a:cubicBezTo>
                    <a:pt x="128" y="110"/>
                    <a:pt x="131" y="115"/>
                    <a:pt x="133" y="120"/>
                  </a:cubicBezTo>
                  <a:cubicBezTo>
                    <a:pt x="129" y="121"/>
                    <a:pt x="126" y="122"/>
                    <a:pt x="124" y="123"/>
                  </a:cubicBezTo>
                  <a:cubicBezTo>
                    <a:pt x="88" y="138"/>
                    <a:pt x="61" y="162"/>
                    <a:pt x="46" y="190"/>
                  </a:cubicBezTo>
                  <a:cubicBezTo>
                    <a:pt x="30" y="172"/>
                    <a:pt x="20" y="149"/>
                    <a:pt x="20" y="123"/>
                  </a:cubicBezTo>
                  <a:cubicBezTo>
                    <a:pt x="20" y="121"/>
                    <a:pt x="20" y="120"/>
                    <a:pt x="20" y="118"/>
                  </a:cubicBezTo>
                  <a:close/>
                  <a:moveTo>
                    <a:pt x="122" y="225"/>
                  </a:moveTo>
                  <a:cubicBezTo>
                    <a:pt x="99" y="225"/>
                    <a:pt x="77" y="217"/>
                    <a:pt x="60" y="204"/>
                  </a:cubicBezTo>
                  <a:cubicBezTo>
                    <a:pt x="73" y="177"/>
                    <a:pt x="98" y="154"/>
                    <a:pt x="128" y="141"/>
                  </a:cubicBezTo>
                  <a:cubicBezTo>
                    <a:pt x="131" y="139"/>
                    <a:pt x="135" y="138"/>
                    <a:pt x="139" y="137"/>
                  </a:cubicBezTo>
                  <a:cubicBezTo>
                    <a:pt x="143" y="147"/>
                    <a:pt x="146" y="158"/>
                    <a:pt x="149" y="169"/>
                  </a:cubicBezTo>
                  <a:cubicBezTo>
                    <a:pt x="154" y="186"/>
                    <a:pt x="157" y="202"/>
                    <a:pt x="159" y="219"/>
                  </a:cubicBezTo>
                  <a:cubicBezTo>
                    <a:pt x="147" y="223"/>
                    <a:pt x="135" y="225"/>
                    <a:pt x="122" y="225"/>
                  </a:cubicBezTo>
                  <a:close/>
                  <a:moveTo>
                    <a:pt x="178" y="209"/>
                  </a:moveTo>
                  <a:cubicBezTo>
                    <a:pt x="176" y="193"/>
                    <a:pt x="173" y="176"/>
                    <a:pt x="168" y="159"/>
                  </a:cubicBezTo>
                  <a:cubicBezTo>
                    <a:pt x="166" y="150"/>
                    <a:pt x="163" y="142"/>
                    <a:pt x="161" y="134"/>
                  </a:cubicBezTo>
                  <a:cubicBezTo>
                    <a:pt x="181" y="133"/>
                    <a:pt x="205" y="133"/>
                    <a:pt x="224" y="134"/>
                  </a:cubicBezTo>
                  <a:cubicBezTo>
                    <a:pt x="220" y="166"/>
                    <a:pt x="203" y="193"/>
                    <a:pt x="178" y="209"/>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endParaRPr lang="en-US" sz="3264"/>
            </a:p>
          </p:txBody>
        </p:sp>
      </p:grpSp>
      <p:grpSp>
        <p:nvGrpSpPr>
          <p:cNvPr id="49" name="Group 48"/>
          <p:cNvGrpSpPr/>
          <p:nvPr/>
        </p:nvGrpSpPr>
        <p:grpSpPr>
          <a:xfrm>
            <a:off x="4597303" y="3944370"/>
            <a:ext cx="1243471" cy="1243471"/>
            <a:chOff x="6243638" y="1181100"/>
            <a:chExt cx="885825" cy="885825"/>
          </a:xfrm>
        </p:grpSpPr>
        <p:sp>
          <p:nvSpPr>
            <p:cNvPr id="50" name="Oval 129"/>
            <p:cNvSpPr>
              <a:spLocks noChangeArrowheads="1"/>
            </p:cNvSpPr>
            <p:nvPr/>
          </p:nvSpPr>
          <p:spPr bwMode="auto">
            <a:xfrm>
              <a:off x="6243638" y="1181100"/>
              <a:ext cx="885825" cy="885825"/>
            </a:xfrm>
            <a:prstGeom prst="ellipse">
              <a:avLst/>
            </a:prstGeom>
            <a:solidFill>
              <a:schemeClr val="accent1"/>
            </a:solidFill>
            <a:ln w="19050">
              <a:noFill/>
              <a:round/>
              <a:headEnd/>
              <a:tailEnd/>
            </a:ln>
          </p:spPr>
          <p:txBody>
            <a:bodyPr vert="horz" wrap="square" lIns="124347" tIns="62174" rIns="124347" bIns="62174" numCol="1" anchor="t" anchorCtr="0" compatLnSpc="1">
              <a:prstTxWarp prst="textNoShape">
                <a:avLst/>
              </a:prstTxWarp>
            </a:bodyPr>
            <a:lstStyle/>
            <a:p>
              <a:endParaRPr lang="en-US" sz="3264"/>
            </a:p>
          </p:txBody>
        </p:sp>
        <p:sp>
          <p:nvSpPr>
            <p:cNvPr id="51" name="Freeform 130"/>
            <p:cNvSpPr>
              <a:spLocks noEditPoints="1"/>
            </p:cNvSpPr>
            <p:nvPr/>
          </p:nvSpPr>
          <p:spPr bwMode="auto">
            <a:xfrm>
              <a:off x="6391275" y="1465262"/>
              <a:ext cx="628650" cy="323850"/>
            </a:xfrm>
            <a:custGeom>
              <a:avLst/>
              <a:gdLst>
                <a:gd name="T0" fmla="*/ 53 w 274"/>
                <a:gd name="T1" fmla="*/ 8 h 141"/>
                <a:gd name="T2" fmla="*/ 83 w 274"/>
                <a:gd name="T3" fmla="*/ 0 h 141"/>
                <a:gd name="T4" fmla="*/ 94 w 274"/>
                <a:gd name="T5" fmla="*/ 21 h 141"/>
                <a:gd name="T6" fmla="*/ 274 w 274"/>
                <a:gd name="T7" fmla="*/ 67 h 141"/>
                <a:gd name="T8" fmla="*/ 146 w 274"/>
                <a:gd name="T9" fmla="*/ 103 h 141"/>
                <a:gd name="T10" fmla="*/ 115 w 274"/>
                <a:gd name="T11" fmla="*/ 44 h 141"/>
                <a:gd name="T12" fmla="*/ 134 w 274"/>
                <a:gd name="T13" fmla="*/ 42 h 141"/>
                <a:gd name="T14" fmla="*/ 152 w 274"/>
                <a:gd name="T15" fmla="*/ 43 h 141"/>
                <a:gd name="T16" fmla="*/ 169 w 274"/>
                <a:gd name="T17" fmla="*/ 71 h 141"/>
                <a:gd name="T18" fmla="*/ 212 w 274"/>
                <a:gd name="T19" fmla="*/ 61 h 141"/>
                <a:gd name="T20" fmla="*/ 104 w 274"/>
                <a:gd name="T21" fmla="*/ 39 h 141"/>
                <a:gd name="T22" fmla="*/ 138 w 274"/>
                <a:gd name="T23" fmla="*/ 105 h 141"/>
                <a:gd name="T24" fmla="*/ 10 w 274"/>
                <a:gd name="T25" fmla="*/ 141 h 141"/>
                <a:gd name="T26" fmla="*/ 2 w 274"/>
                <a:gd name="T27" fmla="*/ 111 h 141"/>
                <a:gd name="T28" fmla="*/ 63 w 274"/>
                <a:gd name="T29" fmla="*/ 29 h 141"/>
                <a:gd name="T30" fmla="*/ 53 w 274"/>
                <a:gd name="T31" fmla="*/ 8 h 141"/>
                <a:gd name="T32" fmla="*/ 92 w 274"/>
                <a:gd name="T33" fmla="*/ 90 h 141"/>
                <a:gd name="T34" fmla="*/ 73 w 274"/>
                <a:gd name="T35" fmla="*/ 49 h 141"/>
                <a:gd name="T36" fmla="*/ 49 w 274"/>
                <a:gd name="T37" fmla="*/ 100 h 141"/>
                <a:gd name="T38" fmla="*/ 92 w 274"/>
                <a:gd name="T39" fmla="*/ 90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74" h="141">
                  <a:moveTo>
                    <a:pt x="53" y="8"/>
                  </a:moveTo>
                  <a:cubicBezTo>
                    <a:pt x="63" y="4"/>
                    <a:pt x="73" y="2"/>
                    <a:pt x="83" y="0"/>
                  </a:cubicBezTo>
                  <a:cubicBezTo>
                    <a:pt x="94" y="21"/>
                    <a:pt x="94" y="21"/>
                    <a:pt x="94" y="21"/>
                  </a:cubicBezTo>
                  <a:cubicBezTo>
                    <a:pt x="151" y="9"/>
                    <a:pt x="243" y="20"/>
                    <a:pt x="274" y="67"/>
                  </a:cubicBezTo>
                  <a:cubicBezTo>
                    <a:pt x="146" y="103"/>
                    <a:pt x="146" y="103"/>
                    <a:pt x="146" y="103"/>
                  </a:cubicBezTo>
                  <a:cubicBezTo>
                    <a:pt x="115" y="44"/>
                    <a:pt x="115" y="44"/>
                    <a:pt x="115" y="44"/>
                  </a:cubicBezTo>
                  <a:cubicBezTo>
                    <a:pt x="121" y="43"/>
                    <a:pt x="128" y="43"/>
                    <a:pt x="134" y="42"/>
                  </a:cubicBezTo>
                  <a:cubicBezTo>
                    <a:pt x="140" y="42"/>
                    <a:pt x="146" y="42"/>
                    <a:pt x="152" y="43"/>
                  </a:cubicBezTo>
                  <a:cubicBezTo>
                    <a:pt x="169" y="71"/>
                    <a:pt x="169" y="71"/>
                    <a:pt x="169" y="71"/>
                  </a:cubicBezTo>
                  <a:cubicBezTo>
                    <a:pt x="212" y="61"/>
                    <a:pt x="212" y="61"/>
                    <a:pt x="212" y="61"/>
                  </a:cubicBezTo>
                  <a:cubicBezTo>
                    <a:pt x="184" y="33"/>
                    <a:pt x="140" y="34"/>
                    <a:pt x="104" y="39"/>
                  </a:cubicBezTo>
                  <a:cubicBezTo>
                    <a:pt x="138" y="105"/>
                    <a:pt x="138" y="105"/>
                    <a:pt x="138" y="105"/>
                  </a:cubicBezTo>
                  <a:cubicBezTo>
                    <a:pt x="10" y="141"/>
                    <a:pt x="10" y="141"/>
                    <a:pt x="10" y="141"/>
                  </a:cubicBezTo>
                  <a:cubicBezTo>
                    <a:pt x="6" y="132"/>
                    <a:pt x="3" y="121"/>
                    <a:pt x="2" y="111"/>
                  </a:cubicBezTo>
                  <a:cubicBezTo>
                    <a:pt x="0" y="75"/>
                    <a:pt x="24" y="45"/>
                    <a:pt x="63" y="29"/>
                  </a:cubicBezTo>
                  <a:cubicBezTo>
                    <a:pt x="53" y="8"/>
                    <a:pt x="53" y="8"/>
                    <a:pt x="53" y="8"/>
                  </a:cubicBezTo>
                  <a:close/>
                  <a:moveTo>
                    <a:pt x="92" y="90"/>
                  </a:moveTo>
                  <a:cubicBezTo>
                    <a:pt x="73" y="49"/>
                    <a:pt x="73" y="49"/>
                    <a:pt x="73" y="49"/>
                  </a:cubicBezTo>
                  <a:cubicBezTo>
                    <a:pt x="54" y="59"/>
                    <a:pt x="44" y="76"/>
                    <a:pt x="49" y="100"/>
                  </a:cubicBezTo>
                  <a:cubicBezTo>
                    <a:pt x="92" y="90"/>
                    <a:pt x="92" y="90"/>
                    <a:pt x="92" y="90"/>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endParaRPr lang="en-US" sz="3264"/>
            </a:p>
          </p:txBody>
        </p:sp>
      </p:grpSp>
      <p:grpSp>
        <p:nvGrpSpPr>
          <p:cNvPr id="52" name="Group 51"/>
          <p:cNvGrpSpPr/>
          <p:nvPr/>
        </p:nvGrpSpPr>
        <p:grpSpPr>
          <a:xfrm>
            <a:off x="10679144" y="3944370"/>
            <a:ext cx="1243471" cy="1243471"/>
            <a:chOff x="8858250" y="7770812"/>
            <a:chExt cx="885825" cy="885825"/>
          </a:xfrm>
        </p:grpSpPr>
        <p:sp>
          <p:nvSpPr>
            <p:cNvPr id="53" name="Oval 52"/>
            <p:cNvSpPr>
              <a:spLocks noChangeArrowheads="1"/>
            </p:cNvSpPr>
            <p:nvPr/>
          </p:nvSpPr>
          <p:spPr bwMode="auto">
            <a:xfrm>
              <a:off x="8858250" y="7770812"/>
              <a:ext cx="885825" cy="885825"/>
            </a:xfrm>
            <a:prstGeom prst="ellipse">
              <a:avLst/>
            </a:prstGeom>
            <a:solidFill>
              <a:schemeClr val="accent1"/>
            </a:solidFill>
            <a:ln w="19050">
              <a:noFill/>
              <a:round/>
              <a:headEnd/>
              <a:tailEnd/>
            </a:ln>
          </p:spPr>
          <p:txBody>
            <a:bodyPr vert="horz" wrap="square" lIns="124347" tIns="62174" rIns="124347" bIns="62174" numCol="1" anchor="t" anchorCtr="0" compatLnSpc="1">
              <a:prstTxWarp prst="textNoShape">
                <a:avLst/>
              </a:prstTxWarp>
            </a:bodyPr>
            <a:lstStyle/>
            <a:p>
              <a:endParaRPr lang="en-US" sz="3264"/>
            </a:p>
          </p:txBody>
        </p:sp>
        <p:sp>
          <p:nvSpPr>
            <p:cNvPr id="54" name="Freeform 53"/>
            <p:cNvSpPr>
              <a:spLocks noEditPoints="1"/>
            </p:cNvSpPr>
            <p:nvPr/>
          </p:nvSpPr>
          <p:spPr bwMode="auto">
            <a:xfrm>
              <a:off x="9043988" y="7994650"/>
              <a:ext cx="552450" cy="460375"/>
            </a:xfrm>
            <a:custGeom>
              <a:avLst/>
              <a:gdLst>
                <a:gd name="T0" fmla="*/ 183 w 241"/>
                <a:gd name="T1" fmla="*/ 0 h 201"/>
                <a:gd name="T2" fmla="*/ 130 w 241"/>
                <a:gd name="T3" fmla="*/ 36 h 201"/>
                <a:gd name="T4" fmla="*/ 120 w 241"/>
                <a:gd name="T5" fmla="*/ 36 h 201"/>
                <a:gd name="T6" fmla="*/ 67 w 241"/>
                <a:gd name="T7" fmla="*/ 0 h 201"/>
                <a:gd name="T8" fmla="*/ 9 w 241"/>
                <a:gd name="T9" fmla="*/ 58 h 201"/>
                <a:gd name="T10" fmla="*/ 67 w 241"/>
                <a:gd name="T11" fmla="*/ 116 h 201"/>
                <a:gd name="T12" fmla="*/ 70 w 241"/>
                <a:gd name="T13" fmla="*/ 116 h 201"/>
                <a:gd name="T14" fmla="*/ 70 w 241"/>
                <a:gd name="T15" fmla="*/ 137 h 201"/>
                <a:gd name="T16" fmla="*/ 0 w 241"/>
                <a:gd name="T17" fmla="*/ 120 h 201"/>
                <a:gd name="T18" fmla="*/ 0 w 241"/>
                <a:gd name="T19" fmla="*/ 196 h 201"/>
                <a:gd name="T20" fmla="*/ 70 w 241"/>
                <a:gd name="T21" fmla="*/ 179 h 201"/>
                <a:gd name="T22" fmla="*/ 70 w 241"/>
                <a:gd name="T23" fmla="*/ 201 h 201"/>
                <a:gd name="T24" fmla="*/ 164 w 241"/>
                <a:gd name="T25" fmla="*/ 201 h 201"/>
                <a:gd name="T26" fmla="*/ 133 w 241"/>
                <a:gd name="T27" fmla="*/ 116 h 201"/>
                <a:gd name="T28" fmla="*/ 182 w 241"/>
                <a:gd name="T29" fmla="*/ 116 h 201"/>
                <a:gd name="T30" fmla="*/ 183 w 241"/>
                <a:gd name="T31" fmla="*/ 116 h 201"/>
                <a:gd name="T32" fmla="*/ 241 w 241"/>
                <a:gd name="T33" fmla="*/ 58 h 201"/>
                <a:gd name="T34" fmla="*/ 183 w 241"/>
                <a:gd name="T35" fmla="*/ 0 h 201"/>
                <a:gd name="T36" fmla="*/ 67 w 241"/>
                <a:gd name="T37" fmla="*/ 72 h 201"/>
                <a:gd name="T38" fmla="*/ 53 w 241"/>
                <a:gd name="T39" fmla="*/ 58 h 201"/>
                <a:gd name="T40" fmla="*/ 67 w 241"/>
                <a:gd name="T41" fmla="*/ 45 h 201"/>
                <a:gd name="T42" fmla="*/ 80 w 241"/>
                <a:gd name="T43" fmla="*/ 58 h 201"/>
                <a:gd name="T44" fmla="*/ 67 w 241"/>
                <a:gd name="T45" fmla="*/ 72 h 201"/>
                <a:gd name="T46" fmla="*/ 183 w 241"/>
                <a:gd name="T47" fmla="*/ 72 h 201"/>
                <a:gd name="T48" fmla="*/ 170 w 241"/>
                <a:gd name="T49" fmla="*/ 58 h 201"/>
                <a:gd name="T50" fmla="*/ 183 w 241"/>
                <a:gd name="T51" fmla="*/ 45 h 201"/>
                <a:gd name="T52" fmla="*/ 197 w 241"/>
                <a:gd name="T53" fmla="*/ 58 h 201"/>
                <a:gd name="T54" fmla="*/ 183 w 241"/>
                <a:gd name="T55" fmla="*/ 72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41" h="201">
                  <a:moveTo>
                    <a:pt x="183" y="0"/>
                  </a:moveTo>
                  <a:cubicBezTo>
                    <a:pt x="159" y="0"/>
                    <a:pt x="139" y="15"/>
                    <a:pt x="130" y="36"/>
                  </a:cubicBezTo>
                  <a:cubicBezTo>
                    <a:pt x="120" y="36"/>
                    <a:pt x="120" y="36"/>
                    <a:pt x="120" y="36"/>
                  </a:cubicBezTo>
                  <a:cubicBezTo>
                    <a:pt x="111" y="15"/>
                    <a:pt x="91" y="0"/>
                    <a:pt x="67" y="0"/>
                  </a:cubicBezTo>
                  <a:cubicBezTo>
                    <a:pt x="35" y="0"/>
                    <a:pt x="9" y="26"/>
                    <a:pt x="9" y="58"/>
                  </a:cubicBezTo>
                  <a:cubicBezTo>
                    <a:pt x="9" y="90"/>
                    <a:pt x="35" y="116"/>
                    <a:pt x="67" y="116"/>
                  </a:cubicBezTo>
                  <a:cubicBezTo>
                    <a:pt x="68" y="116"/>
                    <a:pt x="69" y="116"/>
                    <a:pt x="70" y="116"/>
                  </a:cubicBezTo>
                  <a:cubicBezTo>
                    <a:pt x="70" y="137"/>
                    <a:pt x="70" y="137"/>
                    <a:pt x="70" y="137"/>
                  </a:cubicBezTo>
                  <a:cubicBezTo>
                    <a:pt x="0" y="120"/>
                    <a:pt x="0" y="120"/>
                    <a:pt x="0" y="120"/>
                  </a:cubicBezTo>
                  <a:cubicBezTo>
                    <a:pt x="0" y="196"/>
                    <a:pt x="0" y="196"/>
                    <a:pt x="0" y="196"/>
                  </a:cubicBezTo>
                  <a:cubicBezTo>
                    <a:pt x="70" y="179"/>
                    <a:pt x="70" y="179"/>
                    <a:pt x="70" y="179"/>
                  </a:cubicBezTo>
                  <a:cubicBezTo>
                    <a:pt x="70" y="201"/>
                    <a:pt x="70" y="201"/>
                    <a:pt x="70" y="201"/>
                  </a:cubicBezTo>
                  <a:cubicBezTo>
                    <a:pt x="164" y="201"/>
                    <a:pt x="164" y="201"/>
                    <a:pt x="164" y="201"/>
                  </a:cubicBezTo>
                  <a:cubicBezTo>
                    <a:pt x="133" y="116"/>
                    <a:pt x="133" y="116"/>
                    <a:pt x="133" y="116"/>
                  </a:cubicBezTo>
                  <a:cubicBezTo>
                    <a:pt x="182" y="116"/>
                    <a:pt x="182" y="116"/>
                    <a:pt x="182" y="116"/>
                  </a:cubicBezTo>
                  <a:cubicBezTo>
                    <a:pt x="182" y="116"/>
                    <a:pt x="183" y="116"/>
                    <a:pt x="183" y="116"/>
                  </a:cubicBezTo>
                  <a:cubicBezTo>
                    <a:pt x="215" y="116"/>
                    <a:pt x="241" y="90"/>
                    <a:pt x="241" y="58"/>
                  </a:cubicBezTo>
                  <a:cubicBezTo>
                    <a:pt x="241" y="26"/>
                    <a:pt x="215" y="0"/>
                    <a:pt x="183" y="0"/>
                  </a:cubicBezTo>
                  <a:close/>
                  <a:moveTo>
                    <a:pt x="67" y="72"/>
                  </a:moveTo>
                  <a:cubicBezTo>
                    <a:pt x="59" y="72"/>
                    <a:pt x="53" y="66"/>
                    <a:pt x="53" y="58"/>
                  </a:cubicBezTo>
                  <a:cubicBezTo>
                    <a:pt x="53" y="51"/>
                    <a:pt x="59" y="45"/>
                    <a:pt x="67" y="45"/>
                  </a:cubicBezTo>
                  <a:cubicBezTo>
                    <a:pt x="74" y="45"/>
                    <a:pt x="80" y="51"/>
                    <a:pt x="80" y="58"/>
                  </a:cubicBezTo>
                  <a:cubicBezTo>
                    <a:pt x="80" y="66"/>
                    <a:pt x="74" y="72"/>
                    <a:pt x="67" y="72"/>
                  </a:cubicBezTo>
                  <a:close/>
                  <a:moveTo>
                    <a:pt x="183" y="72"/>
                  </a:moveTo>
                  <a:cubicBezTo>
                    <a:pt x="176" y="72"/>
                    <a:pt x="170" y="66"/>
                    <a:pt x="170" y="58"/>
                  </a:cubicBezTo>
                  <a:cubicBezTo>
                    <a:pt x="170" y="51"/>
                    <a:pt x="176" y="45"/>
                    <a:pt x="183" y="45"/>
                  </a:cubicBezTo>
                  <a:cubicBezTo>
                    <a:pt x="191" y="45"/>
                    <a:pt x="197" y="51"/>
                    <a:pt x="197" y="58"/>
                  </a:cubicBezTo>
                  <a:cubicBezTo>
                    <a:pt x="197" y="66"/>
                    <a:pt x="191" y="72"/>
                    <a:pt x="183" y="72"/>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endParaRPr lang="en-US" sz="3264"/>
            </a:p>
          </p:txBody>
        </p:sp>
      </p:grpSp>
      <p:grpSp>
        <p:nvGrpSpPr>
          <p:cNvPr id="55" name="Group 54"/>
          <p:cNvGrpSpPr/>
          <p:nvPr/>
        </p:nvGrpSpPr>
        <p:grpSpPr>
          <a:xfrm>
            <a:off x="8651866" y="3944370"/>
            <a:ext cx="1243471" cy="1243471"/>
            <a:chOff x="7559675" y="7770812"/>
            <a:chExt cx="884238" cy="885825"/>
          </a:xfrm>
        </p:grpSpPr>
        <p:sp>
          <p:nvSpPr>
            <p:cNvPr id="56" name="Oval 173"/>
            <p:cNvSpPr>
              <a:spLocks noChangeArrowheads="1"/>
            </p:cNvSpPr>
            <p:nvPr/>
          </p:nvSpPr>
          <p:spPr bwMode="auto">
            <a:xfrm>
              <a:off x="7559675" y="7770812"/>
              <a:ext cx="884238" cy="885825"/>
            </a:xfrm>
            <a:prstGeom prst="ellipse">
              <a:avLst/>
            </a:prstGeom>
            <a:solidFill>
              <a:schemeClr val="accent1"/>
            </a:solidFill>
            <a:ln w="19050">
              <a:noFill/>
              <a:round/>
              <a:headEnd/>
              <a:tailEnd/>
            </a:ln>
          </p:spPr>
          <p:txBody>
            <a:bodyPr vert="horz" wrap="square" lIns="124347" tIns="62174" rIns="124347" bIns="62174" numCol="1" anchor="t" anchorCtr="0" compatLnSpc="1">
              <a:prstTxWarp prst="textNoShape">
                <a:avLst/>
              </a:prstTxWarp>
            </a:bodyPr>
            <a:lstStyle/>
            <a:p>
              <a:endParaRPr lang="en-US" sz="3264"/>
            </a:p>
          </p:txBody>
        </p:sp>
        <p:sp>
          <p:nvSpPr>
            <p:cNvPr id="57" name="Freeform 174"/>
            <p:cNvSpPr>
              <a:spLocks/>
            </p:cNvSpPr>
            <p:nvPr/>
          </p:nvSpPr>
          <p:spPr bwMode="auto">
            <a:xfrm>
              <a:off x="7716838" y="8069262"/>
              <a:ext cx="401638" cy="350838"/>
            </a:xfrm>
            <a:custGeom>
              <a:avLst/>
              <a:gdLst>
                <a:gd name="T0" fmla="*/ 83 w 253"/>
                <a:gd name="T1" fmla="*/ 221 h 221"/>
                <a:gd name="T2" fmla="*/ 0 w 253"/>
                <a:gd name="T3" fmla="*/ 0 h 221"/>
                <a:gd name="T4" fmla="*/ 81 w 253"/>
                <a:gd name="T5" fmla="*/ 0 h 221"/>
                <a:gd name="T6" fmla="*/ 126 w 253"/>
                <a:gd name="T7" fmla="*/ 136 h 221"/>
                <a:gd name="T8" fmla="*/ 126 w 253"/>
                <a:gd name="T9" fmla="*/ 136 h 221"/>
                <a:gd name="T10" fmla="*/ 172 w 253"/>
                <a:gd name="T11" fmla="*/ 0 h 221"/>
                <a:gd name="T12" fmla="*/ 253 w 253"/>
                <a:gd name="T13" fmla="*/ 0 h 221"/>
                <a:gd name="T14" fmla="*/ 168 w 253"/>
                <a:gd name="T15" fmla="*/ 221 h 221"/>
                <a:gd name="T16" fmla="*/ 83 w 253"/>
                <a:gd name="T17" fmla="*/ 221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3" h="221">
                  <a:moveTo>
                    <a:pt x="83" y="221"/>
                  </a:moveTo>
                  <a:lnTo>
                    <a:pt x="0" y="0"/>
                  </a:lnTo>
                  <a:lnTo>
                    <a:pt x="81" y="0"/>
                  </a:lnTo>
                  <a:lnTo>
                    <a:pt x="126" y="136"/>
                  </a:lnTo>
                  <a:lnTo>
                    <a:pt x="126" y="136"/>
                  </a:lnTo>
                  <a:lnTo>
                    <a:pt x="172" y="0"/>
                  </a:lnTo>
                  <a:lnTo>
                    <a:pt x="253" y="0"/>
                  </a:lnTo>
                  <a:lnTo>
                    <a:pt x="168" y="221"/>
                  </a:lnTo>
                  <a:lnTo>
                    <a:pt x="83" y="221"/>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endParaRPr lang="en-US" sz="3264"/>
            </a:p>
          </p:txBody>
        </p:sp>
        <p:sp>
          <p:nvSpPr>
            <p:cNvPr id="58" name="Oval 175"/>
            <p:cNvSpPr>
              <a:spLocks noChangeArrowheads="1"/>
            </p:cNvSpPr>
            <p:nvPr/>
          </p:nvSpPr>
          <p:spPr bwMode="auto">
            <a:xfrm>
              <a:off x="8128000" y="8069262"/>
              <a:ext cx="144463" cy="144463"/>
            </a:xfrm>
            <a:prstGeom prst="ellipse">
              <a:avLst/>
            </a:pr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endParaRPr lang="en-US" sz="3264"/>
            </a:p>
          </p:txBody>
        </p:sp>
      </p:grpSp>
      <p:grpSp>
        <p:nvGrpSpPr>
          <p:cNvPr id="59" name="Group 58"/>
          <p:cNvGrpSpPr/>
          <p:nvPr/>
        </p:nvGrpSpPr>
        <p:grpSpPr>
          <a:xfrm>
            <a:off x="6624584" y="3944370"/>
            <a:ext cx="1243471" cy="1243471"/>
            <a:chOff x="6272213" y="7773987"/>
            <a:chExt cx="885825" cy="884238"/>
          </a:xfrm>
        </p:grpSpPr>
        <p:sp>
          <p:nvSpPr>
            <p:cNvPr id="60" name="Oval 176"/>
            <p:cNvSpPr>
              <a:spLocks noChangeArrowheads="1"/>
            </p:cNvSpPr>
            <p:nvPr/>
          </p:nvSpPr>
          <p:spPr bwMode="auto">
            <a:xfrm>
              <a:off x="6272213" y="7773987"/>
              <a:ext cx="885825" cy="884238"/>
            </a:xfrm>
            <a:prstGeom prst="ellipse">
              <a:avLst/>
            </a:prstGeom>
            <a:solidFill>
              <a:schemeClr val="accent1"/>
            </a:solidFill>
            <a:ln w="19050">
              <a:noFill/>
              <a:round/>
              <a:headEnd/>
              <a:tailEnd/>
            </a:ln>
          </p:spPr>
          <p:txBody>
            <a:bodyPr vert="horz" wrap="square" lIns="124347" tIns="62174" rIns="124347" bIns="62174" numCol="1" anchor="t" anchorCtr="0" compatLnSpc="1">
              <a:prstTxWarp prst="textNoShape">
                <a:avLst/>
              </a:prstTxWarp>
            </a:bodyPr>
            <a:lstStyle/>
            <a:p>
              <a:endParaRPr lang="en-US" sz="3264"/>
            </a:p>
          </p:txBody>
        </p:sp>
        <p:sp>
          <p:nvSpPr>
            <p:cNvPr id="61" name="Freeform 177"/>
            <p:cNvSpPr>
              <a:spLocks/>
            </p:cNvSpPr>
            <p:nvPr/>
          </p:nvSpPr>
          <p:spPr bwMode="auto">
            <a:xfrm>
              <a:off x="6742113" y="8031162"/>
              <a:ext cx="250825" cy="207963"/>
            </a:xfrm>
            <a:custGeom>
              <a:avLst/>
              <a:gdLst>
                <a:gd name="T0" fmla="*/ 20 w 109"/>
                <a:gd name="T1" fmla="*/ 0 h 91"/>
                <a:gd name="T2" fmla="*/ 54 w 109"/>
                <a:gd name="T3" fmla="*/ 13 h 91"/>
                <a:gd name="T4" fmla="*/ 109 w 109"/>
                <a:gd name="T5" fmla="*/ 5 h 91"/>
                <a:gd name="T6" fmla="*/ 88 w 109"/>
                <a:gd name="T7" fmla="*/ 77 h 91"/>
                <a:gd name="T8" fmla="*/ 28 w 109"/>
                <a:gd name="T9" fmla="*/ 84 h 91"/>
                <a:gd name="T10" fmla="*/ 0 w 109"/>
                <a:gd name="T11" fmla="*/ 72 h 91"/>
                <a:gd name="T12" fmla="*/ 20 w 109"/>
                <a:gd name="T13" fmla="*/ 0 h 91"/>
              </a:gdLst>
              <a:ahLst/>
              <a:cxnLst>
                <a:cxn ang="0">
                  <a:pos x="T0" y="T1"/>
                </a:cxn>
                <a:cxn ang="0">
                  <a:pos x="T2" y="T3"/>
                </a:cxn>
                <a:cxn ang="0">
                  <a:pos x="T4" y="T5"/>
                </a:cxn>
                <a:cxn ang="0">
                  <a:pos x="T6" y="T7"/>
                </a:cxn>
                <a:cxn ang="0">
                  <a:pos x="T8" y="T9"/>
                </a:cxn>
                <a:cxn ang="0">
                  <a:pos x="T10" y="T11"/>
                </a:cxn>
                <a:cxn ang="0">
                  <a:pos x="T12" y="T13"/>
                </a:cxn>
              </a:cxnLst>
              <a:rect l="0" t="0" r="r" b="b"/>
              <a:pathLst>
                <a:path w="109" h="91">
                  <a:moveTo>
                    <a:pt x="20" y="0"/>
                  </a:moveTo>
                  <a:cubicBezTo>
                    <a:pt x="20" y="0"/>
                    <a:pt x="37" y="12"/>
                    <a:pt x="54" y="13"/>
                  </a:cubicBezTo>
                  <a:cubicBezTo>
                    <a:pt x="92" y="17"/>
                    <a:pt x="109" y="5"/>
                    <a:pt x="109" y="5"/>
                  </a:cubicBezTo>
                  <a:cubicBezTo>
                    <a:pt x="88" y="77"/>
                    <a:pt x="88" y="77"/>
                    <a:pt x="88" y="77"/>
                  </a:cubicBezTo>
                  <a:cubicBezTo>
                    <a:pt x="88" y="77"/>
                    <a:pt x="64" y="91"/>
                    <a:pt x="28" y="84"/>
                  </a:cubicBezTo>
                  <a:cubicBezTo>
                    <a:pt x="9" y="80"/>
                    <a:pt x="0" y="72"/>
                    <a:pt x="0" y="72"/>
                  </a:cubicBezTo>
                  <a:lnTo>
                    <a:pt x="20" y="0"/>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endParaRPr lang="en-US" sz="3264"/>
            </a:p>
          </p:txBody>
        </p:sp>
        <p:sp>
          <p:nvSpPr>
            <p:cNvPr id="62" name="Freeform 178"/>
            <p:cNvSpPr>
              <a:spLocks/>
            </p:cNvSpPr>
            <p:nvPr/>
          </p:nvSpPr>
          <p:spPr bwMode="auto">
            <a:xfrm>
              <a:off x="6689725" y="8242300"/>
              <a:ext cx="247650" cy="209550"/>
            </a:xfrm>
            <a:custGeom>
              <a:avLst/>
              <a:gdLst>
                <a:gd name="T0" fmla="*/ 20 w 108"/>
                <a:gd name="T1" fmla="*/ 0 h 92"/>
                <a:gd name="T2" fmla="*/ 54 w 108"/>
                <a:gd name="T3" fmla="*/ 14 h 92"/>
                <a:gd name="T4" fmla="*/ 108 w 108"/>
                <a:gd name="T5" fmla="*/ 6 h 92"/>
                <a:gd name="T6" fmla="*/ 88 w 108"/>
                <a:gd name="T7" fmla="*/ 78 h 92"/>
                <a:gd name="T8" fmla="*/ 28 w 108"/>
                <a:gd name="T9" fmla="*/ 85 h 92"/>
                <a:gd name="T10" fmla="*/ 0 w 108"/>
                <a:gd name="T11" fmla="*/ 73 h 92"/>
                <a:gd name="T12" fmla="*/ 20 w 108"/>
                <a:gd name="T13" fmla="*/ 0 h 92"/>
              </a:gdLst>
              <a:ahLst/>
              <a:cxnLst>
                <a:cxn ang="0">
                  <a:pos x="T0" y="T1"/>
                </a:cxn>
                <a:cxn ang="0">
                  <a:pos x="T2" y="T3"/>
                </a:cxn>
                <a:cxn ang="0">
                  <a:pos x="T4" y="T5"/>
                </a:cxn>
                <a:cxn ang="0">
                  <a:pos x="T6" y="T7"/>
                </a:cxn>
                <a:cxn ang="0">
                  <a:pos x="T8" y="T9"/>
                </a:cxn>
                <a:cxn ang="0">
                  <a:pos x="T10" y="T11"/>
                </a:cxn>
                <a:cxn ang="0">
                  <a:pos x="T12" y="T13"/>
                </a:cxn>
              </a:cxnLst>
              <a:rect l="0" t="0" r="r" b="b"/>
              <a:pathLst>
                <a:path w="108" h="92">
                  <a:moveTo>
                    <a:pt x="20" y="0"/>
                  </a:moveTo>
                  <a:cubicBezTo>
                    <a:pt x="20" y="0"/>
                    <a:pt x="36" y="13"/>
                    <a:pt x="54" y="14"/>
                  </a:cubicBezTo>
                  <a:cubicBezTo>
                    <a:pt x="92" y="17"/>
                    <a:pt x="108" y="6"/>
                    <a:pt x="108" y="6"/>
                  </a:cubicBezTo>
                  <a:cubicBezTo>
                    <a:pt x="88" y="78"/>
                    <a:pt x="88" y="78"/>
                    <a:pt x="88" y="78"/>
                  </a:cubicBezTo>
                  <a:cubicBezTo>
                    <a:pt x="88" y="78"/>
                    <a:pt x="64" y="92"/>
                    <a:pt x="28" y="85"/>
                  </a:cubicBezTo>
                  <a:cubicBezTo>
                    <a:pt x="8" y="81"/>
                    <a:pt x="0" y="73"/>
                    <a:pt x="0" y="73"/>
                  </a:cubicBezTo>
                  <a:lnTo>
                    <a:pt x="20" y="0"/>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endParaRPr lang="en-US" sz="3264"/>
            </a:p>
          </p:txBody>
        </p:sp>
        <p:sp>
          <p:nvSpPr>
            <p:cNvPr id="63" name="Freeform 179"/>
            <p:cNvSpPr>
              <a:spLocks/>
            </p:cNvSpPr>
            <p:nvPr/>
          </p:nvSpPr>
          <p:spPr bwMode="auto">
            <a:xfrm>
              <a:off x="6437313" y="8193087"/>
              <a:ext cx="249238" cy="211138"/>
            </a:xfrm>
            <a:custGeom>
              <a:avLst/>
              <a:gdLst>
                <a:gd name="T0" fmla="*/ 89 w 109"/>
                <a:gd name="T1" fmla="*/ 92 h 92"/>
                <a:gd name="T2" fmla="*/ 55 w 109"/>
                <a:gd name="T3" fmla="*/ 78 h 92"/>
                <a:gd name="T4" fmla="*/ 0 w 109"/>
                <a:gd name="T5" fmla="*/ 87 h 92"/>
                <a:gd name="T6" fmla="*/ 21 w 109"/>
                <a:gd name="T7" fmla="*/ 14 h 92"/>
                <a:gd name="T8" fmla="*/ 81 w 109"/>
                <a:gd name="T9" fmla="*/ 7 h 92"/>
                <a:gd name="T10" fmla="*/ 109 w 109"/>
                <a:gd name="T11" fmla="*/ 19 h 92"/>
                <a:gd name="T12" fmla="*/ 89 w 109"/>
                <a:gd name="T13" fmla="*/ 92 h 92"/>
              </a:gdLst>
              <a:ahLst/>
              <a:cxnLst>
                <a:cxn ang="0">
                  <a:pos x="T0" y="T1"/>
                </a:cxn>
                <a:cxn ang="0">
                  <a:pos x="T2" y="T3"/>
                </a:cxn>
                <a:cxn ang="0">
                  <a:pos x="T4" y="T5"/>
                </a:cxn>
                <a:cxn ang="0">
                  <a:pos x="T6" y="T7"/>
                </a:cxn>
                <a:cxn ang="0">
                  <a:pos x="T8" y="T9"/>
                </a:cxn>
                <a:cxn ang="0">
                  <a:pos x="T10" y="T11"/>
                </a:cxn>
                <a:cxn ang="0">
                  <a:pos x="T12" y="T13"/>
                </a:cxn>
              </a:cxnLst>
              <a:rect l="0" t="0" r="r" b="b"/>
              <a:pathLst>
                <a:path w="109" h="92">
                  <a:moveTo>
                    <a:pt x="89" y="92"/>
                  </a:moveTo>
                  <a:cubicBezTo>
                    <a:pt x="89" y="92"/>
                    <a:pt x="73" y="80"/>
                    <a:pt x="55" y="78"/>
                  </a:cubicBezTo>
                  <a:cubicBezTo>
                    <a:pt x="17" y="75"/>
                    <a:pt x="0" y="87"/>
                    <a:pt x="0" y="87"/>
                  </a:cubicBezTo>
                  <a:cubicBezTo>
                    <a:pt x="21" y="14"/>
                    <a:pt x="21" y="14"/>
                    <a:pt x="21" y="14"/>
                  </a:cubicBezTo>
                  <a:cubicBezTo>
                    <a:pt x="21" y="14"/>
                    <a:pt x="45" y="0"/>
                    <a:pt x="81" y="7"/>
                  </a:cubicBezTo>
                  <a:cubicBezTo>
                    <a:pt x="101" y="11"/>
                    <a:pt x="109" y="19"/>
                    <a:pt x="109" y="19"/>
                  </a:cubicBezTo>
                  <a:lnTo>
                    <a:pt x="89" y="92"/>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endParaRPr lang="en-US" sz="3264"/>
            </a:p>
          </p:txBody>
        </p:sp>
        <p:sp>
          <p:nvSpPr>
            <p:cNvPr id="64" name="Freeform 180"/>
            <p:cNvSpPr>
              <a:spLocks/>
            </p:cNvSpPr>
            <p:nvPr/>
          </p:nvSpPr>
          <p:spPr bwMode="auto">
            <a:xfrm>
              <a:off x="6494463" y="7980362"/>
              <a:ext cx="250825" cy="211138"/>
            </a:xfrm>
            <a:custGeom>
              <a:avLst/>
              <a:gdLst>
                <a:gd name="T0" fmla="*/ 89 w 109"/>
                <a:gd name="T1" fmla="*/ 92 h 92"/>
                <a:gd name="T2" fmla="*/ 55 w 109"/>
                <a:gd name="T3" fmla="*/ 78 h 92"/>
                <a:gd name="T4" fmla="*/ 0 w 109"/>
                <a:gd name="T5" fmla="*/ 87 h 92"/>
                <a:gd name="T6" fmla="*/ 21 w 109"/>
                <a:gd name="T7" fmla="*/ 14 h 92"/>
                <a:gd name="T8" fmla="*/ 81 w 109"/>
                <a:gd name="T9" fmla="*/ 7 h 92"/>
                <a:gd name="T10" fmla="*/ 109 w 109"/>
                <a:gd name="T11" fmla="*/ 19 h 92"/>
                <a:gd name="T12" fmla="*/ 89 w 109"/>
                <a:gd name="T13" fmla="*/ 92 h 92"/>
              </a:gdLst>
              <a:ahLst/>
              <a:cxnLst>
                <a:cxn ang="0">
                  <a:pos x="T0" y="T1"/>
                </a:cxn>
                <a:cxn ang="0">
                  <a:pos x="T2" y="T3"/>
                </a:cxn>
                <a:cxn ang="0">
                  <a:pos x="T4" y="T5"/>
                </a:cxn>
                <a:cxn ang="0">
                  <a:pos x="T6" y="T7"/>
                </a:cxn>
                <a:cxn ang="0">
                  <a:pos x="T8" y="T9"/>
                </a:cxn>
                <a:cxn ang="0">
                  <a:pos x="T10" y="T11"/>
                </a:cxn>
                <a:cxn ang="0">
                  <a:pos x="T12" y="T13"/>
                </a:cxn>
              </a:cxnLst>
              <a:rect l="0" t="0" r="r" b="b"/>
              <a:pathLst>
                <a:path w="109" h="92">
                  <a:moveTo>
                    <a:pt x="89" y="92"/>
                  </a:moveTo>
                  <a:cubicBezTo>
                    <a:pt x="89" y="92"/>
                    <a:pt x="72" y="80"/>
                    <a:pt x="55" y="78"/>
                  </a:cubicBezTo>
                  <a:cubicBezTo>
                    <a:pt x="17" y="75"/>
                    <a:pt x="0" y="87"/>
                    <a:pt x="0" y="87"/>
                  </a:cubicBezTo>
                  <a:cubicBezTo>
                    <a:pt x="21" y="14"/>
                    <a:pt x="21" y="14"/>
                    <a:pt x="21" y="14"/>
                  </a:cubicBezTo>
                  <a:cubicBezTo>
                    <a:pt x="21" y="14"/>
                    <a:pt x="45" y="0"/>
                    <a:pt x="81" y="7"/>
                  </a:cubicBezTo>
                  <a:cubicBezTo>
                    <a:pt x="101" y="11"/>
                    <a:pt x="109" y="19"/>
                    <a:pt x="109" y="19"/>
                  </a:cubicBezTo>
                  <a:lnTo>
                    <a:pt x="89" y="92"/>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endParaRPr lang="en-US" sz="3264"/>
            </a:p>
          </p:txBody>
        </p:sp>
      </p:grpSp>
      <p:grpSp>
        <p:nvGrpSpPr>
          <p:cNvPr id="65" name="Group 64"/>
          <p:cNvGrpSpPr/>
          <p:nvPr/>
        </p:nvGrpSpPr>
        <p:grpSpPr>
          <a:xfrm>
            <a:off x="2570023" y="3944370"/>
            <a:ext cx="1243471" cy="1243471"/>
            <a:chOff x="4959350" y="7770812"/>
            <a:chExt cx="885825" cy="885825"/>
          </a:xfrm>
        </p:grpSpPr>
        <p:sp>
          <p:nvSpPr>
            <p:cNvPr id="66" name="Oval 181"/>
            <p:cNvSpPr>
              <a:spLocks noChangeArrowheads="1"/>
            </p:cNvSpPr>
            <p:nvPr/>
          </p:nvSpPr>
          <p:spPr bwMode="auto">
            <a:xfrm>
              <a:off x="4959350" y="7770812"/>
              <a:ext cx="885825" cy="885825"/>
            </a:xfrm>
            <a:prstGeom prst="ellipse">
              <a:avLst/>
            </a:prstGeom>
            <a:solidFill>
              <a:schemeClr val="accent1"/>
            </a:solidFill>
            <a:ln w="19050">
              <a:noFill/>
              <a:round/>
              <a:headEnd/>
              <a:tailEnd/>
            </a:ln>
          </p:spPr>
          <p:txBody>
            <a:bodyPr vert="horz" wrap="square" lIns="124347" tIns="62174" rIns="124347" bIns="62174" numCol="1" anchor="t" anchorCtr="0" compatLnSpc="1">
              <a:prstTxWarp prst="textNoShape">
                <a:avLst/>
              </a:prstTxWarp>
            </a:bodyPr>
            <a:lstStyle/>
            <a:p>
              <a:endParaRPr lang="en-US" sz="3264"/>
            </a:p>
          </p:txBody>
        </p:sp>
        <p:sp>
          <p:nvSpPr>
            <p:cNvPr id="67" name="Freeform 182"/>
            <p:cNvSpPr>
              <a:spLocks/>
            </p:cNvSpPr>
            <p:nvPr/>
          </p:nvSpPr>
          <p:spPr bwMode="auto">
            <a:xfrm>
              <a:off x="5089525" y="7991475"/>
              <a:ext cx="585788" cy="550863"/>
            </a:xfrm>
            <a:custGeom>
              <a:avLst/>
              <a:gdLst>
                <a:gd name="T0" fmla="*/ 241 w 255"/>
                <a:gd name="T1" fmla="*/ 114 h 240"/>
                <a:gd name="T2" fmla="*/ 240 w 255"/>
                <a:gd name="T3" fmla="*/ 114 h 240"/>
                <a:gd name="T4" fmla="*/ 254 w 255"/>
                <a:gd name="T5" fmla="*/ 40 h 240"/>
                <a:gd name="T6" fmla="*/ 204 w 255"/>
                <a:gd name="T7" fmla="*/ 10 h 240"/>
                <a:gd name="T8" fmla="*/ 130 w 255"/>
                <a:gd name="T9" fmla="*/ 70 h 240"/>
                <a:gd name="T10" fmla="*/ 125 w 255"/>
                <a:gd name="T11" fmla="*/ 89 h 240"/>
                <a:gd name="T12" fmla="*/ 39 w 255"/>
                <a:gd name="T13" fmla="*/ 40 h 240"/>
                <a:gd name="T14" fmla="*/ 25 w 255"/>
                <a:gd name="T15" fmla="*/ 80 h 240"/>
                <a:gd name="T16" fmla="*/ 87 w 255"/>
                <a:gd name="T17" fmla="*/ 148 h 240"/>
                <a:gd name="T18" fmla="*/ 95 w 255"/>
                <a:gd name="T19" fmla="*/ 172 h 240"/>
                <a:gd name="T20" fmla="*/ 157 w 255"/>
                <a:gd name="T21" fmla="*/ 199 h 240"/>
                <a:gd name="T22" fmla="*/ 158 w 255"/>
                <a:gd name="T23" fmla="*/ 180 h 240"/>
                <a:gd name="T24" fmla="*/ 158 w 255"/>
                <a:gd name="T25" fmla="*/ 180 h 240"/>
                <a:gd name="T26" fmla="*/ 158 w 255"/>
                <a:gd name="T27" fmla="*/ 180 h 240"/>
                <a:gd name="T28" fmla="*/ 175 w 255"/>
                <a:gd name="T29" fmla="*/ 194 h 240"/>
                <a:gd name="T30" fmla="*/ 236 w 255"/>
                <a:gd name="T31" fmla="*/ 177 h 240"/>
                <a:gd name="T32" fmla="*/ 240 w 255"/>
                <a:gd name="T33" fmla="*/ 115 h 240"/>
                <a:gd name="T34" fmla="*/ 241 w 255"/>
                <a:gd name="T35" fmla="*/ 114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55" h="240">
                  <a:moveTo>
                    <a:pt x="241" y="114"/>
                  </a:moveTo>
                  <a:cubicBezTo>
                    <a:pt x="240" y="114"/>
                    <a:pt x="240" y="114"/>
                    <a:pt x="240" y="114"/>
                  </a:cubicBezTo>
                  <a:cubicBezTo>
                    <a:pt x="253" y="91"/>
                    <a:pt x="255" y="61"/>
                    <a:pt x="254" y="40"/>
                  </a:cubicBezTo>
                  <a:cubicBezTo>
                    <a:pt x="251" y="0"/>
                    <a:pt x="222" y="6"/>
                    <a:pt x="204" y="10"/>
                  </a:cubicBezTo>
                  <a:cubicBezTo>
                    <a:pt x="174" y="16"/>
                    <a:pt x="140" y="44"/>
                    <a:pt x="130" y="70"/>
                  </a:cubicBezTo>
                  <a:cubicBezTo>
                    <a:pt x="127" y="76"/>
                    <a:pt x="126" y="82"/>
                    <a:pt x="125" y="89"/>
                  </a:cubicBezTo>
                  <a:cubicBezTo>
                    <a:pt x="102" y="67"/>
                    <a:pt x="66" y="45"/>
                    <a:pt x="39" y="40"/>
                  </a:cubicBezTo>
                  <a:cubicBezTo>
                    <a:pt x="0" y="33"/>
                    <a:pt x="13" y="61"/>
                    <a:pt x="25" y="80"/>
                  </a:cubicBezTo>
                  <a:cubicBezTo>
                    <a:pt x="39" y="104"/>
                    <a:pt x="56" y="128"/>
                    <a:pt x="87" y="148"/>
                  </a:cubicBezTo>
                  <a:cubicBezTo>
                    <a:pt x="88" y="156"/>
                    <a:pt x="90" y="164"/>
                    <a:pt x="95" y="172"/>
                  </a:cubicBezTo>
                  <a:cubicBezTo>
                    <a:pt x="113" y="202"/>
                    <a:pt x="152" y="240"/>
                    <a:pt x="157" y="199"/>
                  </a:cubicBezTo>
                  <a:cubicBezTo>
                    <a:pt x="158" y="193"/>
                    <a:pt x="158" y="186"/>
                    <a:pt x="158" y="180"/>
                  </a:cubicBezTo>
                  <a:cubicBezTo>
                    <a:pt x="158" y="180"/>
                    <a:pt x="158" y="180"/>
                    <a:pt x="158" y="180"/>
                  </a:cubicBezTo>
                  <a:cubicBezTo>
                    <a:pt x="158" y="180"/>
                    <a:pt x="158" y="180"/>
                    <a:pt x="158" y="180"/>
                  </a:cubicBezTo>
                  <a:cubicBezTo>
                    <a:pt x="163" y="185"/>
                    <a:pt x="169" y="190"/>
                    <a:pt x="175" y="194"/>
                  </a:cubicBezTo>
                  <a:cubicBezTo>
                    <a:pt x="213" y="218"/>
                    <a:pt x="229" y="195"/>
                    <a:pt x="236" y="177"/>
                  </a:cubicBezTo>
                  <a:cubicBezTo>
                    <a:pt x="243" y="159"/>
                    <a:pt x="247" y="134"/>
                    <a:pt x="240" y="115"/>
                  </a:cubicBezTo>
                  <a:cubicBezTo>
                    <a:pt x="240" y="115"/>
                    <a:pt x="240" y="114"/>
                    <a:pt x="241" y="114"/>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endParaRPr lang="en-US" sz="3264"/>
            </a:p>
          </p:txBody>
        </p:sp>
      </p:grpSp>
      <p:grpSp>
        <p:nvGrpSpPr>
          <p:cNvPr id="68" name="Group 67"/>
          <p:cNvGrpSpPr/>
          <p:nvPr/>
        </p:nvGrpSpPr>
        <p:grpSpPr>
          <a:xfrm>
            <a:off x="542742" y="3944370"/>
            <a:ext cx="1243471" cy="1243471"/>
            <a:chOff x="8858250" y="16009937"/>
            <a:chExt cx="885825" cy="885825"/>
          </a:xfrm>
        </p:grpSpPr>
        <p:sp>
          <p:nvSpPr>
            <p:cNvPr id="69" name="Oval 133"/>
            <p:cNvSpPr>
              <a:spLocks noChangeArrowheads="1"/>
            </p:cNvSpPr>
            <p:nvPr/>
          </p:nvSpPr>
          <p:spPr bwMode="auto">
            <a:xfrm>
              <a:off x="8858250" y="16009937"/>
              <a:ext cx="885825" cy="885825"/>
            </a:xfrm>
            <a:prstGeom prst="ellipse">
              <a:avLst/>
            </a:prstGeom>
            <a:solidFill>
              <a:schemeClr val="accent1"/>
            </a:solidFill>
            <a:ln w="19050">
              <a:noFill/>
              <a:round/>
              <a:headEnd/>
              <a:tailEnd/>
            </a:ln>
          </p:spPr>
          <p:txBody>
            <a:bodyPr vert="horz" wrap="square" lIns="124347" tIns="62174" rIns="124347" bIns="62174" numCol="1" anchor="t" anchorCtr="0" compatLnSpc="1">
              <a:prstTxWarp prst="textNoShape">
                <a:avLst/>
              </a:prstTxWarp>
            </a:bodyPr>
            <a:lstStyle/>
            <a:p>
              <a:endParaRPr lang="en-US" sz="3264"/>
            </a:p>
          </p:txBody>
        </p:sp>
        <p:sp>
          <p:nvSpPr>
            <p:cNvPr id="70" name="Freeform 134"/>
            <p:cNvSpPr>
              <a:spLocks noEditPoints="1"/>
            </p:cNvSpPr>
            <p:nvPr/>
          </p:nvSpPr>
          <p:spPr bwMode="auto">
            <a:xfrm>
              <a:off x="9045575" y="16178212"/>
              <a:ext cx="552450" cy="552450"/>
            </a:xfrm>
            <a:custGeom>
              <a:avLst/>
              <a:gdLst>
                <a:gd name="T0" fmla="*/ 240 w 241"/>
                <a:gd name="T1" fmla="*/ 100 h 241"/>
                <a:gd name="T2" fmla="*/ 238 w 241"/>
                <a:gd name="T3" fmla="*/ 96 h 241"/>
                <a:gd name="T4" fmla="*/ 235 w 241"/>
                <a:gd name="T5" fmla="*/ 93 h 241"/>
                <a:gd name="T6" fmla="*/ 202 w 241"/>
                <a:gd name="T7" fmla="*/ 88 h 241"/>
                <a:gd name="T8" fmla="*/ 196 w 241"/>
                <a:gd name="T9" fmla="*/ 67 h 241"/>
                <a:gd name="T10" fmla="*/ 189 w 241"/>
                <a:gd name="T11" fmla="*/ 41 h 241"/>
                <a:gd name="T12" fmla="*/ 130 w 241"/>
                <a:gd name="T13" fmla="*/ 0 h 241"/>
                <a:gd name="T14" fmla="*/ 76 w 241"/>
                <a:gd name="T15" fmla="*/ 0 h 241"/>
                <a:gd name="T16" fmla="*/ 0 w 241"/>
                <a:gd name="T17" fmla="*/ 76 h 241"/>
                <a:gd name="T18" fmla="*/ 0 w 241"/>
                <a:gd name="T19" fmla="*/ 165 h 241"/>
                <a:gd name="T20" fmla="*/ 76 w 241"/>
                <a:gd name="T21" fmla="*/ 241 h 241"/>
                <a:gd name="T22" fmla="*/ 164 w 241"/>
                <a:gd name="T23" fmla="*/ 241 h 241"/>
                <a:gd name="T24" fmla="*/ 240 w 241"/>
                <a:gd name="T25" fmla="*/ 165 h 241"/>
                <a:gd name="T26" fmla="*/ 241 w 241"/>
                <a:gd name="T27" fmla="*/ 103 h 241"/>
                <a:gd name="T28" fmla="*/ 240 w 241"/>
                <a:gd name="T29" fmla="*/ 100 h 241"/>
                <a:gd name="T30" fmla="*/ 77 w 241"/>
                <a:gd name="T31" fmla="*/ 62 h 241"/>
                <a:gd name="T32" fmla="*/ 120 w 241"/>
                <a:gd name="T33" fmla="*/ 62 h 241"/>
                <a:gd name="T34" fmla="*/ 134 w 241"/>
                <a:gd name="T35" fmla="*/ 76 h 241"/>
                <a:gd name="T36" fmla="*/ 120 w 241"/>
                <a:gd name="T37" fmla="*/ 91 h 241"/>
                <a:gd name="T38" fmla="*/ 77 w 241"/>
                <a:gd name="T39" fmla="*/ 91 h 241"/>
                <a:gd name="T40" fmla="*/ 63 w 241"/>
                <a:gd name="T41" fmla="*/ 76 h 241"/>
                <a:gd name="T42" fmla="*/ 77 w 241"/>
                <a:gd name="T43" fmla="*/ 62 h 241"/>
                <a:gd name="T44" fmla="*/ 163 w 241"/>
                <a:gd name="T45" fmla="*/ 178 h 241"/>
                <a:gd name="T46" fmla="*/ 77 w 241"/>
                <a:gd name="T47" fmla="*/ 178 h 241"/>
                <a:gd name="T48" fmla="*/ 63 w 241"/>
                <a:gd name="T49" fmla="*/ 164 h 241"/>
                <a:gd name="T50" fmla="*/ 77 w 241"/>
                <a:gd name="T51" fmla="*/ 149 h 241"/>
                <a:gd name="T52" fmla="*/ 163 w 241"/>
                <a:gd name="T53" fmla="*/ 149 h 241"/>
                <a:gd name="T54" fmla="*/ 178 w 241"/>
                <a:gd name="T55" fmla="*/ 164 h 241"/>
                <a:gd name="T56" fmla="*/ 163 w 241"/>
                <a:gd name="T57" fmla="*/ 178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41" h="241">
                  <a:moveTo>
                    <a:pt x="240" y="100"/>
                  </a:moveTo>
                  <a:cubicBezTo>
                    <a:pt x="238" y="96"/>
                    <a:pt x="238" y="96"/>
                    <a:pt x="238" y="96"/>
                  </a:cubicBezTo>
                  <a:cubicBezTo>
                    <a:pt x="235" y="93"/>
                    <a:pt x="235" y="93"/>
                    <a:pt x="235" y="93"/>
                  </a:cubicBezTo>
                  <a:cubicBezTo>
                    <a:pt x="230" y="90"/>
                    <a:pt x="208" y="93"/>
                    <a:pt x="202" y="88"/>
                  </a:cubicBezTo>
                  <a:cubicBezTo>
                    <a:pt x="197" y="84"/>
                    <a:pt x="197" y="77"/>
                    <a:pt x="196" y="67"/>
                  </a:cubicBezTo>
                  <a:cubicBezTo>
                    <a:pt x="193" y="48"/>
                    <a:pt x="192" y="48"/>
                    <a:pt x="189" y="41"/>
                  </a:cubicBezTo>
                  <a:cubicBezTo>
                    <a:pt x="178" y="19"/>
                    <a:pt x="149" y="2"/>
                    <a:pt x="130" y="0"/>
                  </a:cubicBezTo>
                  <a:cubicBezTo>
                    <a:pt x="76" y="0"/>
                    <a:pt x="76" y="0"/>
                    <a:pt x="76" y="0"/>
                  </a:cubicBezTo>
                  <a:cubicBezTo>
                    <a:pt x="35" y="0"/>
                    <a:pt x="0" y="34"/>
                    <a:pt x="0" y="76"/>
                  </a:cubicBezTo>
                  <a:cubicBezTo>
                    <a:pt x="0" y="165"/>
                    <a:pt x="0" y="165"/>
                    <a:pt x="0" y="165"/>
                  </a:cubicBezTo>
                  <a:cubicBezTo>
                    <a:pt x="0" y="207"/>
                    <a:pt x="35" y="241"/>
                    <a:pt x="76" y="241"/>
                  </a:cubicBezTo>
                  <a:cubicBezTo>
                    <a:pt x="164" y="241"/>
                    <a:pt x="164" y="241"/>
                    <a:pt x="164" y="241"/>
                  </a:cubicBezTo>
                  <a:cubicBezTo>
                    <a:pt x="206" y="241"/>
                    <a:pt x="240" y="207"/>
                    <a:pt x="240" y="165"/>
                  </a:cubicBezTo>
                  <a:cubicBezTo>
                    <a:pt x="241" y="103"/>
                    <a:pt x="241" y="103"/>
                    <a:pt x="241" y="103"/>
                  </a:cubicBezTo>
                  <a:lnTo>
                    <a:pt x="240" y="100"/>
                  </a:lnTo>
                  <a:close/>
                  <a:moveTo>
                    <a:pt x="77" y="62"/>
                  </a:moveTo>
                  <a:cubicBezTo>
                    <a:pt x="120" y="62"/>
                    <a:pt x="120" y="62"/>
                    <a:pt x="120" y="62"/>
                  </a:cubicBezTo>
                  <a:cubicBezTo>
                    <a:pt x="128" y="62"/>
                    <a:pt x="134" y="68"/>
                    <a:pt x="134" y="76"/>
                  </a:cubicBezTo>
                  <a:cubicBezTo>
                    <a:pt x="134" y="84"/>
                    <a:pt x="128" y="91"/>
                    <a:pt x="120" y="91"/>
                  </a:cubicBezTo>
                  <a:cubicBezTo>
                    <a:pt x="77" y="91"/>
                    <a:pt x="77" y="91"/>
                    <a:pt x="77" y="91"/>
                  </a:cubicBezTo>
                  <a:cubicBezTo>
                    <a:pt x="69" y="91"/>
                    <a:pt x="63" y="84"/>
                    <a:pt x="63" y="76"/>
                  </a:cubicBezTo>
                  <a:cubicBezTo>
                    <a:pt x="63" y="68"/>
                    <a:pt x="69" y="62"/>
                    <a:pt x="77" y="62"/>
                  </a:cubicBezTo>
                  <a:close/>
                  <a:moveTo>
                    <a:pt x="163" y="178"/>
                  </a:moveTo>
                  <a:cubicBezTo>
                    <a:pt x="77" y="178"/>
                    <a:pt x="77" y="178"/>
                    <a:pt x="77" y="178"/>
                  </a:cubicBezTo>
                  <a:cubicBezTo>
                    <a:pt x="69" y="178"/>
                    <a:pt x="63" y="172"/>
                    <a:pt x="63" y="164"/>
                  </a:cubicBezTo>
                  <a:cubicBezTo>
                    <a:pt x="63" y="156"/>
                    <a:pt x="69" y="149"/>
                    <a:pt x="77" y="149"/>
                  </a:cubicBezTo>
                  <a:cubicBezTo>
                    <a:pt x="163" y="149"/>
                    <a:pt x="163" y="149"/>
                    <a:pt x="163" y="149"/>
                  </a:cubicBezTo>
                  <a:cubicBezTo>
                    <a:pt x="171" y="149"/>
                    <a:pt x="178" y="156"/>
                    <a:pt x="178" y="164"/>
                  </a:cubicBezTo>
                  <a:cubicBezTo>
                    <a:pt x="178" y="172"/>
                    <a:pt x="171" y="178"/>
                    <a:pt x="163" y="178"/>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endParaRPr lang="en-US" sz="3264"/>
            </a:p>
          </p:txBody>
        </p:sp>
      </p:grpSp>
      <p:sp>
        <p:nvSpPr>
          <p:cNvPr id="80" name="Title 79"/>
          <p:cNvSpPr>
            <a:spLocks noGrp="1"/>
          </p:cNvSpPr>
          <p:nvPr>
            <p:ph type="title"/>
          </p:nvPr>
        </p:nvSpPr>
        <p:spPr/>
        <p:txBody>
          <a:bodyPr/>
          <a:lstStyle/>
          <a:p>
            <a:r>
              <a:rPr lang="en-US" dirty="0"/>
              <a:t>Vector</a:t>
            </a:r>
          </a:p>
        </p:txBody>
      </p:sp>
      <p:sp>
        <p:nvSpPr>
          <p:cNvPr id="81" name="Text Placeholder 80"/>
          <p:cNvSpPr>
            <a:spLocks noGrp="1"/>
          </p:cNvSpPr>
          <p:nvPr>
            <p:ph type="body" sz="quarter" idx="10"/>
          </p:nvPr>
        </p:nvSpPr>
        <p:spPr/>
        <p:txBody>
          <a:bodyPr>
            <a:normAutofit lnSpcReduction="10000"/>
          </a:bodyPr>
          <a:lstStyle/>
          <a:p>
            <a:r>
              <a:rPr lang="en-US" dirty="0"/>
              <a:t>Digital Icon collection (cont’d)</a:t>
            </a:r>
          </a:p>
        </p:txBody>
      </p:sp>
    </p:spTree>
    <p:extLst>
      <p:ext uri="{BB962C8B-B14F-4D97-AF65-F5344CB8AC3E}">
        <p14:creationId xmlns:p14="http://schemas.microsoft.com/office/powerpoint/2010/main" val="258565820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p:cNvGrpSpPr/>
          <p:nvPr/>
        </p:nvGrpSpPr>
        <p:grpSpPr>
          <a:xfrm>
            <a:off x="2378394" y="1808108"/>
            <a:ext cx="8228780" cy="5067462"/>
            <a:chOff x="971550" y="2152650"/>
            <a:chExt cx="6983413" cy="4300538"/>
          </a:xfrm>
        </p:grpSpPr>
        <p:pic>
          <p:nvPicPr>
            <p:cNvPr id="55300" name="Picture 3" descr="Carlsberg Group world map"/>
            <p:cNvPicPr>
              <a:picLocks noChangeAspect="1" noChangeArrowheads="1"/>
            </p:cNvPicPr>
            <p:nvPr/>
          </p:nvPicPr>
          <p:blipFill>
            <a:blip r:embed="rId6"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971550" y="2152650"/>
              <a:ext cx="6983413" cy="4300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5301" name="Picture 4" descr="ABinbev"/>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2232025" y="4173538"/>
              <a:ext cx="928688" cy="406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5302" name="Picture 5" descr="ABinbev"/>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2578100" y="5119688"/>
              <a:ext cx="1106488" cy="481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5303" name="Picture 6" descr="SABmille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014538" y="4024313"/>
              <a:ext cx="485775"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5304" name="Picture 7" descr="Annual04"/>
            <p:cNvPicPr>
              <a:picLocks noChangeAspect="1" noChangeArrowheads="1"/>
            </p:cNvPicPr>
            <p:nvPr>
              <p:custDataLst>
                <p:tags r:id="rId1"/>
              </p:custDataLst>
            </p:nvPr>
          </p:nvPicPr>
          <p:blipFill>
            <a:blip r:embed="rId10" cstate="print">
              <a:extLst>
                <a:ext uri="{28A0092B-C50C-407E-A947-70E740481C1C}">
                  <a14:useLocalDpi xmlns:a14="http://schemas.microsoft.com/office/drawing/2010/main" val="0"/>
                </a:ext>
              </a:extLst>
            </a:blip>
            <a:srcRect/>
            <a:stretch>
              <a:fillRect/>
            </a:stretch>
          </p:blipFill>
          <p:spPr bwMode="gray">
            <a:xfrm>
              <a:off x="2024063" y="4789488"/>
              <a:ext cx="706437" cy="211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5305" name="Picture 8" descr="Annual04"/>
            <p:cNvPicPr>
              <a:picLocks noChangeAspect="1" noChangeArrowheads="1"/>
            </p:cNvPicPr>
            <p:nvPr>
              <p:custDataLst>
                <p:tags r:id="rId2"/>
              </p:custDataLst>
            </p:nvPr>
          </p:nvPicPr>
          <p:blipFill>
            <a:blip r:embed="rId10" cstate="print">
              <a:lum contrast="16000"/>
              <a:extLst>
                <a:ext uri="{28A0092B-C50C-407E-A947-70E740481C1C}">
                  <a14:useLocalDpi xmlns:a14="http://schemas.microsoft.com/office/drawing/2010/main" val="0"/>
                </a:ext>
              </a:extLst>
            </a:blip>
            <a:srcRect/>
            <a:stretch>
              <a:fillRect/>
            </a:stretch>
          </p:blipFill>
          <p:spPr bwMode="gray">
            <a:xfrm>
              <a:off x="3419475" y="4149725"/>
              <a:ext cx="719138" cy="215900"/>
            </a:xfrm>
            <a:prstGeom prst="rect">
              <a:avLst/>
            </a:prstGeom>
            <a:noFill/>
            <a:ln>
              <a:noFill/>
            </a:ln>
            <a:extLst>
              <a:ext uri="{909E8E84-426E-40DD-AFC4-6F175D3DCCD1}">
                <a14:hiddenFill xmlns:a14="http://schemas.microsoft.com/office/drawing/2010/main">
                  <a:solidFill>
                    <a:srgbClr val="FFFF99"/>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5306" name="Picture 9" descr="SABmille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6197600" y="4587875"/>
              <a:ext cx="306388" cy="214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5307" name="Picture 10" descr="SABmille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4267200" y="4732338"/>
              <a:ext cx="595313" cy="415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5308" name="Picture 11" descr="Carlsberg Group_RGB"/>
            <p:cNvPicPr>
              <a:picLocks noChangeAspect="1" noChangeArrowheads="1"/>
            </p:cNvPicPr>
            <p:nvPr/>
          </p:nvPicPr>
          <p:blipFill>
            <a:blip r:embed="rId13">
              <a:lum bright="-10000"/>
              <a:extLst>
                <a:ext uri="{28A0092B-C50C-407E-A947-70E740481C1C}">
                  <a14:useLocalDpi xmlns:a14="http://schemas.microsoft.com/office/drawing/2010/main" val="0"/>
                </a:ext>
              </a:extLst>
            </a:blip>
            <a:srcRect/>
            <a:stretch>
              <a:fillRect/>
            </a:stretch>
          </p:blipFill>
          <p:spPr bwMode="auto">
            <a:xfrm>
              <a:off x="4054475" y="3471863"/>
              <a:ext cx="779463" cy="438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5309" name="Picture 13" descr="ABinbev"/>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4959350" y="3762375"/>
              <a:ext cx="519113" cy="227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5310" name="Picture 15" descr="Annual04"/>
            <p:cNvPicPr>
              <a:picLocks noChangeAspect="1" noChangeArrowheads="1"/>
            </p:cNvPicPr>
            <p:nvPr>
              <p:custDataLst>
                <p:tags r:id="rId3"/>
              </p:custDataLst>
            </p:nvPr>
          </p:nvPicPr>
          <p:blipFill>
            <a:blip r:embed="rId10" cstate="print">
              <a:extLst>
                <a:ext uri="{28A0092B-C50C-407E-A947-70E740481C1C}">
                  <a14:useLocalDpi xmlns:a14="http://schemas.microsoft.com/office/drawing/2010/main" val="0"/>
                </a:ext>
              </a:extLst>
            </a:blip>
            <a:srcRect/>
            <a:stretch>
              <a:fillRect/>
            </a:stretch>
          </p:blipFill>
          <p:spPr bwMode="gray">
            <a:xfrm>
              <a:off x="6042025" y="5278438"/>
              <a:ext cx="649288" cy="193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5314" name="Picture 22" descr="Carlsberg Group_White"/>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5580063" y="3543300"/>
              <a:ext cx="952500" cy="533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5315" name="Picture 23" descr="Carlsberg Group_White"/>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5635625" y="4432300"/>
              <a:ext cx="520700" cy="292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55298" name="Slide Number Placeholder 4"/>
          <p:cNvSpPr>
            <a:spLocks noGrp="1"/>
          </p:cNvSpPr>
          <p:nvPr>
            <p:ph type="sldNum" sz="quarter" idx="1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Verdana" pitchFamily="34" charset="0"/>
              </a:defRPr>
            </a:lvl1pPr>
            <a:lvl2pPr marL="757735" indent="-291436" eaLnBrk="0" hangingPunct="0">
              <a:defRPr>
                <a:solidFill>
                  <a:schemeClr val="tx1"/>
                </a:solidFill>
                <a:latin typeface="Verdana" pitchFamily="34" charset="0"/>
              </a:defRPr>
            </a:lvl2pPr>
            <a:lvl3pPr marL="1165746" indent="-233149" eaLnBrk="0" hangingPunct="0">
              <a:defRPr>
                <a:solidFill>
                  <a:schemeClr val="tx1"/>
                </a:solidFill>
                <a:latin typeface="Verdana" pitchFamily="34" charset="0"/>
              </a:defRPr>
            </a:lvl3pPr>
            <a:lvl4pPr marL="1632044" indent="-233149" eaLnBrk="0" hangingPunct="0">
              <a:defRPr>
                <a:solidFill>
                  <a:schemeClr val="tx1"/>
                </a:solidFill>
                <a:latin typeface="Verdana" pitchFamily="34" charset="0"/>
              </a:defRPr>
            </a:lvl4pPr>
            <a:lvl5pPr marL="2098342" indent="-233149" eaLnBrk="0" hangingPunct="0">
              <a:defRPr>
                <a:solidFill>
                  <a:schemeClr val="tx1"/>
                </a:solidFill>
                <a:latin typeface="Verdana" pitchFamily="34" charset="0"/>
              </a:defRPr>
            </a:lvl5pPr>
            <a:lvl6pPr marL="2564641" indent="-233149" algn="ctr" eaLnBrk="0" fontAlgn="base" hangingPunct="0">
              <a:spcBef>
                <a:spcPct val="0"/>
              </a:spcBef>
              <a:spcAft>
                <a:spcPct val="0"/>
              </a:spcAft>
              <a:defRPr>
                <a:solidFill>
                  <a:schemeClr val="tx1"/>
                </a:solidFill>
                <a:latin typeface="Verdana" pitchFamily="34" charset="0"/>
              </a:defRPr>
            </a:lvl6pPr>
            <a:lvl7pPr marL="3030939" indent="-233149" algn="ctr" eaLnBrk="0" fontAlgn="base" hangingPunct="0">
              <a:spcBef>
                <a:spcPct val="0"/>
              </a:spcBef>
              <a:spcAft>
                <a:spcPct val="0"/>
              </a:spcAft>
              <a:defRPr>
                <a:solidFill>
                  <a:schemeClr val="tx1"/>
                </a:solidFill>
                <a:latin typeface="Verdana" pitchFamily="34" charset="0"/>
              </a:defRPr>
            </a:lvl7pPr>
            <a:lvl8pPr marL="3497237" indent="-233149" algn="ctr" eaLnBrk="0" fontAlgn="base" hangingPunct="0">
              <a:spcBef>
                <a:spcPct val="0"/>
              </a:spcBef>
              <a:spcAft>
                <a:spcPct val="0"/>
              </a:spcAft>
              <a:defRPr>
                <a:solidFill>
                  <a:schemeClr val="tx1"/>
                </a:solidFill>
                <a:latin typeface="Verdana" pitchFamily="34" charset="0"/>
              </a:defRPr>
            </a:lvl8pPr>
            <a:lvl9pPr marL="3963535" indent="-233149" algn="ctr" eaLnBrk="0" fontAlgn="base" hangingPunct="0">
              <a:spcBef>
                <a:spcPct val="0"/>
              </a:spcBef>
              <a:spcAft>
                <a:spcPct val="0"/>
              </a:spcAft>
              <a:defRPr>
                <a:solidFill>
                  <a:schemeClr val="tx1"/>
                </a:solidFill>
                <a:latin typeface="Verdana" pitchFamily="34" charset="0"/>
              </a:defRPr>
            </a:lvl9pPr>
          </a:lstStyle>
          <a:p>
            <a:fld id="{37744297-9CCD-4A86-A904-AC7093D07EB1}" type="slidenum">
              <a:rPr lang="en-GB">
                <a:solidFill>
                  <a:srgbClr val="BEBEBE"/>
                </a:solidFill>
              </a:rPr>
              <a:pPr/>
              <a:t>7</a:t>
            </a:fld>
            <a:endParaRPr lang="en-GB" dirty="0">
              <a:solidFill>
                <a:srgbClr val="BEBEBE"/>
              </a:solidFill>
            </a:endParaRPr>
          </a:p>
        </p:txBody>
      </p:sp>
      <p:sp>
        <p:nvSpPr>
          <p:cNvPr id="55299" name="Rectangle 2"/>
          <p:cNvSpPr>
            <a:spLocks noGrp="1" noChangeArrowheads="1"/>
          </p:cNvSpPr>
          <p:nvPr>
            <p:ph type="title" idx="4294967295"/>
          </p:nvPr>
        </p:nvSpPr>
        <p:spPr/>
        <p:txBody>
          <a:bodyPr/>
          <a:lstStyle/>
          <a:p>
            <a:r>
              <a:rPr lang="en-GB" dirty="0"/>
              <a:t>Beverage industry at a glance</a:t>
            </a:r>
          </a:p>
        </p:txBody>
      </p:sp>
      <p:sp>
        <p:nvSpPr>
          <p:cNvPr id="55311" name="Text Box 17"/>
          <p:cNvSpPr txBox="1">
            <a:spLocks noChangeArrowheads="1"/>
          </p:cNvSpPr>
          <p:nvPr/>
        </p:nvSpPr>
        <p:spPr bwMode="auto">
          <a:xfrm>
            <a:off x="411394" y="1169563"/>
            <a:ext cx="5730643" cy="2000548"/>
          </a:xfrm>
          <a:prstGeom prst="rect">
            <a:avLst/>
          </a:prstGeom>
          <a:noFill/>
          <a:ln>
            <a:noFill/>
          </a:ln>
          <a:effectLst/>
          <a:extLst>
            <a:ext uri="{909E8E84-426E-40DD-AFC4-6F175D3DCCD1}">
              <a14:hiddenFill xmlns:a14="http://schemas.microsoft.com/office/drawing/2010/main">
                <a:solidFill>
                  <a:srgbClr val="053C14"/>
                </a:solidFill>
              </a14:hiddenFill>
            </a:ext>
            <a:ext uri="{91240B29-F687-4F45-9708-019B960494DF}">
              <a14:hiddenLine xmlns:a14="http://schemas.microsoft.com/office/drawing/2010/main" w="9525" algn="ctr">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marL="266700" indent="-266700" eaLnBrk="0" hangingPunct="0">
              <a:defRPr>
                <a:solidFill>
                  <a:schemeClr val="tx1"/>
                </a:solidFill>
                <a:latin typeface="Verdana" pitchFamily="34" charset="0"/>
              </a:defRPr>
            </a:lvl1pPr>
            <a:lvl2pPr marL="742950" indent="-285750" eaLnBrk="0" hangingPunct="0">
              <a:defRPr>
                <a:solidFill>
                  <a:schemeClr val="tx1"/>
                </a:solidFill>
                <a:latin typeface="Verdana" pitchFamily="34" charset="0"/>
              </a:defRPr>
            </a:lvl2pPr>
            <a:lvl3pPr marL="1143000" indent="-228600" eaLnBrk="0" hangingPunct="0">
              <a:defRPr>
                <a:solidFill>
                  <a:schemeClr val="tx1"/>
                </a:solidFill>
                <a:latin typeface="Verdana" pitchFamily="34" charset="0"/>
              </a:defRPr>
            </a:lvl3pPr>
            <a:lvl4pPr marL="1600200" indent="-228600" eaLnBrk="0" hangingPunct="0">
              <a:defRPr>
                <a:solidFill>
                  <a:schemeClr val="tx1"/>
                </a:solidFill>
                <a:latin typeface="Verdana" pitchFamily="34" charset="0"/>
              </a:defRPr>
            </a:lvl4pPr>
            <a:lvl5pPr marL="2057400" indent="-228600" eaLnBrk="0" hangingPunct="0">
              <a:defRPr>
                <a:solidFill>
                  <a:schemeClr val="tx1"/>
                </a:solidFill>
                <a:latin typeface="Verdana" pitchFamily="34" charset="0"/>
              </a:defRPr>
            </a:lvl5pPr>
            <a:lvl6pPr marL="2514600" indent="-228600" algn="ctr" eaLnBrk="0" fontAlgn="base" hangingPunct="0">
              <a:spcBef>
                <a:spcPct val="0"/>
              </a:spcBef>
              <a:spcAft>
                <a:spcPct val="0"/>
              </a:spcAft>
              <a:defRPr>
                <a:solidFill>
                  <a:schemeClr val="tx1"/>
                </a:solidFill>
                <a:latin typeface="Verdana" pitchFamily="34" charset="0"/>
              </a:defRPr>
            </a:lvl6pPr>
            <a:lvl7pPr marL="2971800" indent="-228600" algn="ctr" eaLnBrk="0" fontAlgn="base" hangingPunct="0">
              <a:spcBef>
                <a:spcPct val="0"/>
              </a:spcBef>
              <a:spcAft>
                <a:spcPct val="0"/>
              </a:spcAft>
              <a:defRPr>
                <a:solidFill>
                  <a:schemeClr val="tx1"/>
                </a:solidFill>
                <a:latin typeface="Verdana" pitchFamily="34" charset="0"/>
              </a:defRPr>
            </a:lvl7pPr>
            <a:lvl8pPr marL="3429000" indent="-228600" algn="ctr" eaLnBrk="0" fontAlgn="base" hangingPunct="0">
              <a:spcBef>
                <a:spcPct val="0"/>
              </a:spcBef>
              <a:spcAft>
                <a:spcPct val="0"/>
              </a:spcAft>
              <a:defRPr>
                <a:solidFill>
                  <a:schemeClr val="tx1"/>
                </a:solidFill>
                <a:latin typeface="Verdana" pitchFamily="34" charset="0"/>
              </a:defRPr>
            </a:lvl8pPr>
            <a:lvl9pPr marL="3886200" indent="-228600" algn="ctr" eaLnBrk="0" fontAlgn="base" hangingPunct="0">
              <a:spcBef>
                <a:spcPct val="0"/>
              </a:spcBef>
              <a:spcAft>
                <a:spcPct val="0"/>
              </a:spcAft>
              <a:defRPr>
                <a:solidFill>
                  <a:schemeClr val="tx1"/>
                </a:solidFill>
                <a:latin typeface="Verdana" pitchFamily="34" charset="0"/>
              </a:defRPr>
            </a:lvl9pPr>
          </a:lstStyle>
          <a:p>
            <a:pPr marL="457200" lvl="1" indent="-457200" eaLnBrk="1" hangingPunct="1">
              <a:lnSpc>
                <a:spcPct val="90000"/>
              </a:lnSpc>
              <a:spcBef>
                <a:spcPct val="20000"/>
              </a:spcBef>
              <a:buSzPct val="90000"/>
              <a:buFont typeface="+mj-lt"/>
              <a:buAutoNum type="arabicPeriod"/>
            </a:pPr>
            <a:r>
              <a:rPr lang="en-GB" sz="2000" dirty="0">
                <a:gradFill>
                  <a:gsLst>
                    <a:gs pos="1250">
                      <a:schemeClr val="tx1"/>
                    </a:gs>
                    <a:gs pos="100000">
                      <a:schemeClr val="tx1"/>
                    </a:gs>
                  </a:gsLst>
                  <a:lin ang="5400000" scaled="0"/>
                </a:gradFill>
                <a:latin typeface="+mn-lt"/>
              </a:rPr>
              <a:t>Mature markets with little growth </a:t>
            </a:r>
          </a:p>
          <a:p>
            <a:pPr marL="457200" lvl="1" indent="-457200" eaLnBrk="1" hangingPunct="1">
              <a:lnSpc>
                <a:spcPct val="90000"/>
              </a:lnSpc>
              <a:spcBef>
                <a:spcPct val="20000"/>
              </a:spcBef>
              <a:buSzPct val="90000"/>
              <a:buFont typeface="+mj-lt"/>
              <a:buAutoNum type="arabicPeriod"/>
            </a:pPr>
            <a:r>
              <a:rPr lang="en-GB" sz="2000" dirty="0">
                <a:gradFill>
                  <a:gsLst>
                    <a:gs pos="1250">
                      <a:schemeClr val="tx1"/>
                    </a:gs>
                    <a:gs pos="100000">
                      <a:schemeClr val="tx1"/>
                    </a:gs>
                  </a:gsLst>
                  <a:lin ang="5400000" scaled="0"/>
                </a:gradFill>
                <a:latin typeface="+mn-lt"/>
              </a:rPr>
              <a:t>Control markets and leverage scale benefits</a:t>
            </a:r>
          </a:p>
          <a:p>
            <a:pPr marL="457200" lvl="1" indent="-457200" eaLnBrk="1" hangingPunct="1">
              <a:lnSpc>
                <a:spcPct val="90000"/>
              </a:lnSpc>
              <a:spcBef>
                <a:spcPct val="20000"/>
              </a:spcBef>
              <a:buSzPct val="90000"/>
              <a:buFont typeface="+mj-lt"/>
              <a:buAutoNum type="arabicPeriod"/>
            </a:pPr>
            <a:r>
              <a:rPr lang="en-GB" sz="2000" dirty="0">
                <a:gradFill>
                  <a:gsLst>
                    <a:gs pos="1250">
                      <a:schemeClr val="tx1"/>
                    </a:gs>
                    <a:gs pos="100000">
                      <a:schemeClr val="tx1"/>
                    </a:gs>
                  </a:gsLst>
                  <a:lin ang="5400000" scaled="0"/>
                </a:gradFill>
                <a:latin typeface="+mn-lt"/>
              </a:rPr>
              <a:t>Most markets are already controlled</a:t>
            </a:r>
          </a:p>
          <a:p>
            <a:pPr marL="457200" lvl="1" indent="-457200" eaLnBrk="1" hangingPunct="1">
              <a:lnSpc>
                <a:spcPct val="90000"/>
              </a:lnSpc>
              <a:spcBef>
                <a:spcPct val="20000"/>
              </a:spcBef>
              <a:buSzPct val="90000"/>
              <a:buFont typeface="+mj-lt"/>
              <a:buAutoNum type="arabicPeriod"/>
            </a:pPr>
            <a:r>
              <a:rPr lang="en-GB" sz="2000" dirty="0">
                <a:gradFill>
                  <a:gsLst>
                    <a:gs pos="1250">
                      <a:schemeClr val="tx1"/>
                    </a:gs>
                    <a:gs pos="100000">
                      <a:schemeClr val="tx1"/>
                    </a:gs>
                  </a:gsLst>
                  <a:lin ang="5400000" scaled="0"/>
                </a:gradFill>
                <a:latin typeface="+mn-lt"/>
              </a:rPr>
              <a:t>Opportunities only in developing economies or urban areas</a:t>
            </a:r>
          </a:p>
          <a:p>
            <a:pPr marL="457200" lvl="1" indent="-457200" eaLnBrk="1" hangingPunct="1">
              <a:lnSpc>
                <a:spcPct val="90000"/>
              </a:lnSpc>
              <a:spcBef>
                <a:spcPct val="20000"/>
              </a:spcBef>
              <a:buSzPct val="90000"/>
              <a:buFont typeface="+mj-lt"/>
              <a:buAutoNum type="arabicPeriod"/>
            </a:pPr>
            <a:r>
              <a:rPr lang="en-GB" sz="2000" dirty="0">
                <a:gradFill>
                  <a:gsLst>
                    <a:gs pos="1250">
                      <a:schemeClr val="tx1"/>
                    </a:gs>
                    <a:gs pos="100000">
                      <a:schemeClr val="tx1"/>
                    </a:gs>
                  </a:gsLst>
                  <a:lin ang="5400000" scaled="0"/>
                </a:gradFill>
                <a:latin typeface="+mn-lt"/>
              </a:rPr>
              <a:t>Act quickly, anywhere</a:t>
            </a:r>
          </a:p>
        </p:txBody>
      </p:sp>
    </p:spTree>
    <p:extLst>
      <p:ext uri="{BB962C8B-B14F-4D97-AF65-F5344CB8AC3E}">
        <p14:creationId xmlns:p14="http://schemas.microsoft.com/office/powerpoint/2010/main" val="2244262929"/>
      </p:ext>
    </p:extLst>
  </p:cSld>
  <p:clrMapOvr>
    <a:masterClrMapping/>
  </p:clrMapOvr>
  <p:transition spd="med"/>
</p:sld>
</file>

<file path=ppt/slides/slide70.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
        <p:cNvGrpSpPr/>
        <p:nvPr/>
      </p:nvGrpSpPr>
      <p:grpSpPr>
        <a:xfrm>
          <a:off x="0" y="0"/>
          <a:ext cx="0" cy="0"/>
          <a:chOff x="0" y="0"/>
          <a:chExt cx="0" cy="0"/>
        </a:xfrm>
      </p:grpSpPr>
      <p:sp>
        <p:nvSpPr>
          <p:cNvPr id="6" name="Title 2"/>
          <p:cNvSpPr txBox="1">
            <a:spLocks/>
          </p:cNvSpPr>
          <p:nvPr/>
        </p:nvSpPr>
        <p:spPr>
          <a:xfrm>
            <a:off x="1463093" y="296863"/>
            <a:ext cx="10698745" cy="914400"/>
          </a:xfrm>
          <a:prstGeom prst="rect">
            <a:avLst/>
          </a:prstGeom>
        </p:spPr>
        <p:txBody>
          <a:bodyPr lIns="182880" tIns="146304" rIns="182880" bIns="146304" anchor="t"/>
          <a:lstStyle>
            <a:lvl1pPr algn="l" defTabSz="914363" rtl="0" eaLnBrk="1" latinLnBrk="0" hangingPunct="1">
              <a:lnSpc>
                <a:spcPct val="90000"/>
              </a:lnSpc>
              <a:spcBef>
                <a:spcPct val="0"/>
              </a:spcBef>
              <a:buNone/>
              <a:defRPr lang="en-US" sz="5400" b="0" kern="1200" cap="none" spc="-100" baseline="0" dirty="0" smtClean="0">
                <a:ln w="3175">
                  <a:noFill/>
                </a:ln>
                <a:gradFill>
                  <a:gsLst>
                    <a:gs pos="1250">
                      <a:schemeClr val="tx1"/>
                    </a:gs>
                    <a:gs pos="100000">
                      <a:schemeClr val="tx1"/>
                    </a:gs>
                  </a:gsLst>
                  <a:lin ang="5400000" scaled="0"/>
                </a:gradFill>
                <a:effectLst/>
                <a:latin typeface="+mj-lt"/>
                <a:ea typeface="+mn-ea"/>
                <a:cs typeface="Arial" charset="0"/>
              </a:defRPr>
            </a:lvl1pPr>
          </a:lstStyle>
          <a:p>
            <a:r>
              <a:rPr lang="en-US" sz="5507" b="1" dirty="0">
                <a:gradFill>
                  <a:gsLst>
                    <a:gs pos="83186">
                      <a:schemeClr val="accent5"/>
                    </a:gs>
                    <a:gs pos="69000">
                      <a:schemeClr val="accent5"/>
                    </a:gs>
                  </a:gsLst>
                  <a:lin ang="5400000" scaled="0"/>
                </a:gradFill>
                <a:latin typeface="+mn-lt"/>
              </a:rPr>
              <a:t>ATTENTION: PLEASE READ</a:t>
            </a:r>
          </a:p>
        </p:txBody>
      </p:sp>
      <p:pic>
        <p:nvPicPr>
          <p:cNvPr id="2" name="Picture 1"/>
          <p:cNvPicPr>
            <a:picLocks noChangeAspect="1"/>
          </p:cNvPicPr>
          <p:nvPr/>
        </p:nvPicPr>
        <p:blipFill>
          <a:blip r:embed="rId3"/>
          <a:stretch>
            <a:fillRect/>
          </a:stretch>
        </p:blipFill>
        <p:spPr>
          <a:xfrm>
            <a:off x="457200" y="479425"/>
            <a:ext cx="1005893" cy="736492"/>
          </a:xfrm>
          <a:prstGeom prst="rect">
            <a:avLst/>
          </a:prstGeom>
        </p:spPr>
      </p:pic>
      <p:sp>
        <p:nvSpPr>
          <p:cNvPr id="7" name="Text Placeholder 3"/>
          <p:cNvSpPr txBox="1">
            <a:spLocks/>
          </p:cNvSpPr>
          <p:nvPr/>
        </p:nvSpPr>
        <p:spPr>
          <a:xfrm>
            <a:off x="274637" y="1394164"/>
            <a:ext cx="11887201" cy="5227297"/>
          </a:xfrm>
          <a:prstGeom prst="rect">
            <a:avLst/>
          </a:prstGeom>
        </p:spPr>
        <p:txBody>
          <a:bodyPr wrap="square" lIns="182880" tIns="146304" rIns="182880" bIns="146304"/>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gradFill>
                  <a:gsLst>
                    <a:gs pos="1250">
                      <a:schemeClr val="tx1"/>
                    </a:gs>
                    <a:gs pos="100000">
                      <a:schemeClr val="tx1"/>
                    </a:gs>
                  </a:gsLst>
                  <a:lin ang="5400000" scaled="0"/>
                </a:gra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gradFill>
                  <a:gsLst>
                    <a:gs pos="1250">
                      <a:schemeClr val="tx1"/>
                    </a:gs>
                    <a:gs pos="100000">
                      <a:schemeClr val="tx1"/>
                    </a:gs>
                  </a:gsLst>
                  <a:lin ang="5400000" scaled="0"/>
                </a:gra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gradFill>
                  <a:gsLst>
                    <a:gs pos="1250">
                      <a:schemeClr val="tx1"/>
                    </a:gs>
                    <a:gs pos="100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856" b="1" dirty="0">
                <a:gradFill>
                  <a:gsLst>
                    <a:gs pos="2655">
                      <a:srgbClr val="FFFFFF"/>
                    </a:gs>
                    <a:gs pos="26000">
                      <a:srgbClr val="FFFFFF"/>
                    </a:gs>
                  </a:gsLst>
                  <a:lin ang="5400000" scaled="0"/>
                </a:gradFill>
                <a:latin typeface="+mn-lt"/>
              </a:rPr>
              <a:t>Photography and copyright infringement.</a:t>
            </a:r>
          </a:p>
          <a:p>
            <a:pPr marL="0" indent="0">
              <a:spcBef>
                <a:spcPts val="1836"/>
              </a:spcBef>
              <a:buNone/>
            </a:pPr>
            <a:r>
              <a:rPr lang="en-US" sz="2400" dirty="0">
                <a:gradFill>
                  <a:gsLst>
                    <a:gs pos="2655">
                      <a:srgbClr val="FFFFFF"/>
                    </a:gs>
                    <a:gs pos="26000">
                      <a:srgbClr val="FFFFFF"/>
                    </a:gs>
                  </a:gsLst>
                  <a:lin ang="5400000" scaled="0"/>
                </a:gradFill>
                <a:latin typeface="+mn-lt"/>
              </a:rPr>
              <a:t>Using imagery from movies, television, music and pop-culture is illegal, unless purchased, licensed or by express written consent from the owner. Please </a:t>
            </a:r>
            <a:r>
              <a:rPr lang="en-US" sz="2400" dirty="0">
                <a:gradFill>
                  <a:gsLst>
                    <a:gs pos="79646">
                      <a:schemeClr val="accent5"/>
                    </a:gs>
                    <a:gs pos="70000">
                      <a:schemeClr val="accent5"/>
                    </a:gs>
                  </a:gsLst>
                  <a:lin ang="5400000" scaled="0"/>
                </a:gradFill>
                <a:latin typeface="+mn-lt"/>
              </a:rPr>
              <a:t>do not include unlicensed imagery </a:t>
            </a:r>
            <a:r>
              <a:rPr lang="en-US" sz="2400" dirty="0">
                <a:gradFill>
                  <a:gsLst>
                    <a:gs pos="2655">
                      <a:srgbClr val="FFFFFF"/>
                    </a:gs>
                    <a:gs pos="26000">
                      <a:srgbClr val="FFFFFF"/>
                    </a:gs>
                  </a:gsLst>
                  <a:lin ang="5400000" scaled="0"/>
                </a:gradFill>
                <a:latin typeface="+mn-lt"/>
              </a:rPr>
              <a:t>in your presentation. </a:t>
            </a:r>
          </a:p>
          <a:p>
            <a:pPr marL="0" indent="0">
              <a:spcBef>
                <a:spcPts val="1836"/>
              </a:spcBef>
              <a:buNone/>
            </a:pPr>
            <a:r>
              <a:rPr lang="en-US" sz="2400" dirty="0">
                <a:gradFill>
                  <a:gsLst>
                    <a:gs pos="2655">
                      <a:srgbClr val="FFFFFF"/>
                    </a:gs>
                    <a:gs pos="26000">
                      <a:srgbClr val="FFFFFF"/>
                    </a:gs>
                  </a:gsLst>
                  <a:lin ang="5400000" scaled="0"/>
                </a:gradFill>
                <a:latin typeface="+mn-lt"/>
              </a:rPr>
              <a:t>Sessions with questionable imagery </a:t>
            </a:r>
            <a:r>
              <a:rPr lang="en-US" sz="2400" u="sng" dirty="0">
                <a:gradFill>
                  <a:gsLst>
                    <a:gs pos="79646">
                      <a:schemeClr val="accent5"/>
                    </a:gs>
                    <a:gs pos="70000">
                      <a:schemeClr val="accent5"/>
                    </a:gs>
                  </a:gsLst>
                  <a:lin ang="5400000" scaled="0"/>
                </a:gradFill>
                <a:latin typeface="+mn-lt"/>
              </a:rPr>
              <a:t>will not be published</a:t>
            </a:r>
            <a:r>
              <a:rPr lang="en-US" sz="2400" dirty="0">
                <a:gradFill>
                  <a:gsLst>
                    <a:gs pos="79646">
                      <a:schemeClr val="accent5"/>
                    </a:gs>
                    <a:gs pos="70000">
                      <a:schemeClr val="accent5"/>
                    </a:gs>
                  </a:gsLst>
                  <a:lin ang="5400000" scaled="0"/>
                </a:gradFill>
                <a:latin typeface="+mn-lt"/>
              </a:rPr>
              <a:t> </a:t>
            </a:r>
            <a:r>
              <a:rPr lang="en-US" sz="2400" dirty="0">
                <a:gradFill>
                  <a:gsLst>
                    <a:gs pos="2655">
                      <a:srgbClr val="FFFFFF"/>
                    </a:gs>
                    <a:gs pos="26000">
                      <a:srgbClr val="FFFFFF"/>
                    </a:gs>
                  </a:gsLst>
                  <a:lin ang="5400000" scaled="0"/>
                </a:gradFill>
                <a:latin typeface="+mn-lt"/>
              </a:rPr>
              <a:t>until resolved. The speaker will be contacted via email for immediate resolution. If additional costs are incurred in editing, an I/O Code will be required. </a:t>
            </a:r>
          </a:p>
          <a:p>
            <a:pPr marL="0" indent="0">
              <a:lnSpc>
                <a:spcPct val="100000"/>
              </a:lnSpc>
              <a:spcBef>
                <a:spcPts val="0"/>
              </a:spcBef>
              <a:buNone/>
            </a:pPr>
            <a:endParaRPr lang="en-US" sz="2400" b="1" u="sng" dirty="0">
              <a:gradFill>
                <a:gsLst>
                  <a:gs pos="2655">
                    <a:srgbClr val="FFFFFF"/>
                  </a:gs>
                  <a:gs pos="26000">
                    <a:srgbClr val="FFFFFF"/>
                  </a:gs>
                </a:gsLst>
                <a:lin ang="5400000" scaled="0"/>
              </a:gradFill>
              <a:latin typeface="+mn-lt"/>
            </a:endParaRPr>
          </a:p>
          <a:p>
            <a:pPr marL="0" indent="0">
              <a:lnSpc>
                <a:spcPct val="100000"/>
              </a:lnSpc>
              <a:spcBef>
                <a:spcPts val="0"/>
              </a:spcBef>
              <a:buNone/>
            </a:pPr>
            <a:r>
              <a:rPr lang="en-US" sz="2400" dirty="0">
                <a:gradFill>
                  <a:gsLst>
                    <a:gs pos="2655">
                      <a:srgbClr val="FFFFFF"/>
                    </a:gs>
                    <a:gs pos="26000">
                      <a:srgbClr val="FFFFFF"/>
                    </a:gs>
                  </a:gsLst>
                  <a:lin ang="5400000" scaled="0"/>
                </a:gradFill>
                <a:latin typeface="+mn-lt"/>
              </a:rPr>
              <a:t>If you have any questions regarding your imagery please contact </a:t>
            </a:r>
          </a:p>
          <a:p>
            <a:pPr marL="0" indent="0">
              <a:lnSpc>
                <a:spcPct val="100000"/>
              </a:lnSpc>
              <a:spcBef>
                <a:spcPts val="0"/>
              </a:spcBef>
              <a:buNone/>
            </a:pPr>
            <a:r>
              <a:rPr lang="en-US" sz="2400" dirty="0">
                <a:gradFill>
                  <a:gsLst>
                    <a:gs pos="2655">
                      <a:srgbClr val="FFFFFF"/>
                    </a:gs>
                    <a:gs pos="26000">
                      <a:srgbClr val="FFFFFF"/>
                    </a:gs>
                  </a:gsLst>
                  <a:lin ang="5400000" scaled="0"/>
                </a:gradFill>
                <a:latin typeface="+mn-lt"/>
              </a:rPr>
              <a:t>Media Acquisitions Inquiries: </a:t>
            </a:r>
            <a:r>
              <a:rPr lang="en-US" sz="2400" dirty="0">
                <a:gradFill>
                  <a:gsLst>
                    <a:gs pos="2655">
                      <a:srgbClr val="FFFFFF"/>
                    </a:gs>
                    <a:gs pos="26000">
                      <a:srgbClr val="FFFFFF"/>
                    </a:gs>
                  </a:gsLst>
                  <a:lin ang="5400000" scaled="0"/>
                </a:gradFill>
                <a:latin typeface="+mn-lt"/>
                <a:hlinkClick r:id="rId4"/>
              </a:rPr>
              <a:t>mediaacq@microsoft.com</a:t>
            </a:r>
            <a:r>
              <a:rPr lang="en-US" sz="2400" dirty="0">
                <a:gradFill>
                  <a:gsLst>
                    <a:gs pos="2655">
                      <a:srgbClr val="FFFFFF"/>
                    </a:gs>
                    <a:gs pos="26000">
                      <a:srgbClr val="FFFFFF"/>
                    </a:gs>
                  </a:gsLst>
                  <a:lin ang="5400000" scaled="0"/>
                </a:gradFill>
                <a:latin typeface="+mn-lt"/>
              </a:rPr>
              <a:t>. </a:t>
            </a:r>
          </a:p>
          <a:p>
            <a:pPr marL="0" indent="0">
              <a:lnSpc>
                <a:spcPct val="100000"/>
              </a:lnSpc>
              <a:spcBef>
                <a:spcPts val="0"/>
              </a:spcBef>
              <a:buNone/>
            </a:pPr>
            <a:r>
              <a:rPr lang="en-US" sz="2400" dirty="0">
                <a:gradFill>
                  <a:gsLst>
                    <a:gs pos="2655">
                      <a:srgbClr val="FFFFFF"/>
                    </a:gs>
                    <a:gs pos="26000">
                      <a:srgbClr val="FFFFFF"/>
                    </a:gs>
                  </a:gsLst>
                  <a:lin ang="5400000" scaled="0"/>
                </a:gradFill>
                <a:latin typeface="+mn-lt"/>
              </a:rPr>
              <a:t>Music Sound Video Acquisitions: </a:t>
            </a:r>
            <a:r>
              <a:rPr lang="en-US" sz="2400" dirty="0">
                <a:gradFill>
                  <a:gsLst>
                    <a:gs pos="2655">
                      <a:srgbClr val="FFFFFF"/>
                    </a:gs>
                    <a:gs pos="26000">
                      <a:srgbClr val="FFFFFF"/>
                    </a:gs>
                  </a:gsLst>
                  <a:lin ang="5400000" scaled="0"/>
                </a:gradFill>
                <a:latin typeface="+mn-lt"/>
                <a:hlinkClick r:id="rId5"/>
              </a:rPr>
              <a:t>musovid@microsoft.com</a:t>
            </a:r>
            <a:r>
              <a:rPr lang="en-US" sz="2400" dirty="0">
                <a:gradFill>
                  <a:gsLst>
                    <a:gs pos="2655">
                      <a:srgbClr val="FFFFFF"/>
                    </a:gs>
                    <a:gs pos="26000">
                      <a:srgbClr val="FFFFFF"/>
                    </a:gs>
                  </a:gsLst>
                  <a:lin ang="5400000" scaled="0"/>
                </a:gradFill>
                <a:latin typeface="+mn-lt"/>
              </a:rPr>
              <a:t>. </a:t>
            </a:r>
          </a:p>
          <a:p>
            <a:pPr marL="0" indent="0">
              <a:lnSpc>
                <a:spcPct val="100000"/>
              </a:lnSpc>
              <a:spcBef>
                <a:spcPts val="0"/>
              </a:spcBef>
              <a:buNone/>
            </a:pPr>
            <a:endParaRPr lang="en-US" sz="2400" b="1" u="sng" dirty="0">
              <a:gradFill>
                <a:gsLst>
                  <a:gs pos="2655">
                    <a:srgbClr val="FFFFFF"/>
                  </a:gs>
                  <a:gs pos="26000">
                    <a:srgbClr val="FFFFFF"/>
                  </a:gs>
                </a:gsLst>
                <a:lin ang="5400000" scaled="0"/>
              </a:gradFill>
              <a:latin typeface="+mn-lt"/>
            </a:endParaRPr>
          </a:p>
          <a:p>
            <a:pPr marL="0" indent="0">
              <a:lnSpc>
                <a:spcPct val="100000"/>
              </a:lnSpc>
              <a:spcBef>
                <a:spcPts val="0"/>
              </a:spcBef>
              <a:buNone/>
            </a:pPr>
            <a:r>
              <a:rPr lang="en-US" sz="2400" b="1" u="sng" dirty="0">
                <a:gradFill>
                  <a:gsLst>
                    <a:gs pos="2655">
                      <a:srgbClr val="FFFFFF"/>
                    </a:gs>
                    <a:gs pos="26000">
                      <a:srgbClr val="FFFFFF"/>
                    </a:gs>
                  </a:gsLst>
                  <a:lin ang="5400000" scaled="0"/>
                </a:gradFill>
                <a:latin typeface="+mn-lt"/>
              </a:rPr>
              <a:t>The PPT deck and Recording </a:t>
            </a:r>
            <a:r>
              <a:rPr lang="en-US" sz="2400" b="1" u="sng" dirty="0">
                <a:gradFill>
                  <a:gsLst>
                    <a:gs pos="79646">
                      <a:schemeClr val="accent5"/>
                    </a:gs>
                    <a:gs pos="70000">
                      <a:schemeClr val="accent5"/>
                    </a:gs>
                  </a:gsLst>
                  <a:lin ang="5400000" scaled="0"/>
                </a:gradFill>
                <a:latin typeface="+mn-lt"/>
              </a:rPr>
              <a:t>will not be published </a:t>
            </a:r>
            <a:r>
              <a:rPr lang="en-US" sz="2400" b="1" u="sng" dirty="0">
                <a:gradFill>
                  <a:gsLst>
                    <a:gs pos="2655">
                      <a:srgbClr val="FFFFFF"/>
                    </a:gs>
                    <a:gs pos="26000">
                      <a:srgbClr val="FFFFFF"/>
                    </a:gs>
                  </a:gsLst>
                  <a:lin ang="5400000" scaled="0"/>
                </a:gradFill>
                <a:latin typeface="+mn-lt"/>
              </a:rPr>
              <a:t>until the editing is complete.</a:t>
            </a:r>
          </a:p>
        </p:txBody>
      </p:sp>
      <p:sp>
        <p:nvSpPr>
          <p:cNvPr id="5" name="Freeform 82"/>
          <p:cNvSpPr>
            <a:spLocks noEditPoints="1"/>
          </p:cNvSpPr>
          <p:nvPr/>
        </p:nvSpPr>
        <p:spPr bwMode="auto">
          <a:xfrm>
            <a:off x="9692919" y="4210790"/>
            <a:ext cx="2276563" cy="1877272"/>
          </a:xfrm>
          <a:custGeom>
            <a:avLst/>
            <a:gdLst>
              <a:gd name="T0" fmla="*/ 873 w 946"/>
              <a:gd name="T1" fmla="*/ 780 h 780"/>
              <a:gd name="T2" fmla="*/ 73 w 946"/>
              <a:gd name="T3" fmla="*/ 780 h 780"/>
              <a:gd name="T4" fmla="*/ 12 w 946"/>
              <a:gd name="T5" fmla="*/ 745 h 780"/>
              <a:gd name="T6" fmla="*/ 16 w 946"/>
              <a:gd name="T7" fmla="*/ 675 h 780"/>
              <a:gd name="T8" fmla="*/ 414 w 946"/>
              <a:gd name="T9" fmla="*/ 33 h 780"/>
              <a:gd name="T10" fmla="*/ 414 w 946"/>
              <a:gd name="T11" fmla="*/ 32 h 780"/>
              <a:gd name="T12" fmla="*/ 473 w 946"/>
              <a:gd name="T13" fmla="*/ 0 h 780"/>
              <a:gd name="T14" fmla="*/ 532 w 946"/>
              <a:gd name="T15" fmla="*/ 32 h 780"/>
              <a:gd name="T16" fmla="*/ 533 w 946"/>
              <a:gd name="T17" fmla="*/ 34 h 780"/>
              <a:gd name="T18" fmla="*/ 930 w 946"/>
              <a:gd name="T19" fmla="*/ 675 h 780"/>
              <a:gd name="T20" fmla="*/ 934 w 946"/>
              <a:gd name="T21" fmla="*/ 745 h 780"/>
              <a:gd name="T22" fmla="*/ 873 w 946"/>
              <a:gd name="T23" fmla="*/ 780 h 780"/>
              <a:gd name="T24" fmla="*/ 154 w 946"/>
              <a:gd name="T25" fmla="*/ 667 h 780"/>
              <a:gd name="T26" fmla="*/ 792 w 946"/>
              <a:gd name="T27" fmla="*/ 667 h 780"/>
              <a:gd name="T28" fmla="*/ 473 w 946"/>
              <a:gd name="T29" fmla="*/ 152 h 780"/>
              <a:gd name="T30" fmla="*/ 154 w 946"/>
              <a:gd name="T31" fmla="*/ 667 h 780"/>
              <a:gd name="T32" fmla="*/ 531 w 946"/>
              <a:gd name="T33" fmla="*/ 347 h 780"/>
              <a:gd name="T34" fmla="*/ 415 w 946"/>
              <a:gd name="T35" fmla="*/ 347 h 780"/>
              <a:gd name="T36" fmla="*/ 437 w 946"/>
              <a:gd name="T37" fmla="*/ 534 h 780"/>
              <a:gd name="T38" fmla="*/ 509 w 946"/>
              <a:gd name="T39" fmla="*/ 534 h 780"/>
              <a:gd name="T40" fmla="*/ 531 w 946"/>
              <a:gd name="T41" fmla="*/ 347 h 780"/>
              <a:gd name="T42" fmla="*/ 509 w 946"/>
              <a:gd name="T43" fmla="*/ 554 h 780"/>
              <a:gd name="T44" fmla="*/ 437 w 946"/>
              <a:gd name="T45" fmla="*/ 554 h 780"/>
              <a:gd name="T46" fmla="*/ 437 w 946"/>
              <a:gd name="T47" fmla="*/ 622 h 780"/>
              <a:gd name="T48" fmla="*/ 509 w 946"/>
              <a:gd name="T49" fmla="*/ 622 h 780"/>
              <a:gd name="T50" fmla="*/ 509 w 946"/>
              <a:gd name="T51" fmla="*/ 554 h 7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46" h="780">
                <a:moveTo>
                  <a:pt x="873" y="780"/>
                </a:moveTo>
                <a:cubicBezTo>
                  <a:pt x="73" y="780"/>
                  <a:pt x="73" y="780"/>
                  <a:pt x="73" y="780"/>
                </a:cubicBezTo>
                <a:cubicBezTo>
                  <a:pt x="46" y="780"/>
                  <a:pt x="24" y="767"/>
                  <a:pt x="12" y="745"/>
                </a:cubicBezTo>
                <a:cubicBezTo>
                  <a:pt x="0" y="723"/>
                  <a:pt x="2" y="697"/>
                  <a:pt x="16" y="675"/>
                </a:cubicBezTo>
                <a:cubicBezTo>
                  <a:pt x="414" y="33"/>
                  <a:pt x="414" y="33"/>
                  <a:pt x="414" y="33"/>
                </a:cubicBezTo>
                <a:cubicBezTo>
                  <a:pt x="414" y="32"/>
                  <a:pt x="414" y="32"/>
                  <a:pt x="414" y="32"/>
                </a:cubicBezTo>
                <a:cubicBezTo>
                  <a:pt x="428" y="12"/>
                  <a:pt x="450" y="0"/>
                  <a:pt x="473" y="0"/>
                </a:cubicBezTo>
                <a:cubicBezTo>
                  <a:pt x="496" y="0"/>
                  <a:pt x="518" y="12"/>
                  <a:pt x="532" y="32"/>
                </a:cubicBezTo>
                <a:cubicBezTo>
                  <a:pt x="533" y="34"/>
                  <a:pt x="533" y="34"/>
                  <a:pt x="533" y="34"/>
                </a:cubicBezTo>
                <a:cubicBezTo>
                  <a:pt x="930" y="675"/>
                  <a:pt x="930" y="675"/>
                  <a:pt x="930" y="675"/>
                </a:cubicBezTo>
                <a:cubicBezTo>
                  <a:pt x="944" y="697"/>
                  <a:pt x="946" y="723"/>
                  <a:pt x="934" y="745"/>
                </a:cubicBezTo>
                <a:cubicBezTo>
                  <a:pt x="922" y="767"/>
                  <a:pt x="900" y="780"/>
                  <a:pt x="873" y="780"/>
                </a:cubicBezTo>
                <a:close/>
                <a:moveTo>
                  <a:pt x="154" y="667"/>
                </a:moveTo>
                <a:cubicBezTo>
                  <a:pt x="792" y="667"/>
                  <a:pt x="792" y="667"/>
                  <a:pt x="792" y="667"/>
                </a:cubicBezTo>
                <a:cubicBezTo>
                  <a:pt x="473" y="152"/>
                  <a:pt x="473" y="152"/>
                  <a:pt x="473" y="152"/>
                </a:cubicBezTo>
                <a:lnTo>
                  <a:pt x="154" y="667"/>
                </a:lnTo>
                <a:close/>
                <a:moveTo>
                  <a:pt x="531" y="347"/>
                </a:moveTo>
                <a:cubicBezTo>
                  <a:pt x="415" y="347"/>
                  <a:pt x="415" y="347"/>
                  <a:pt x="415" y="347"/>
                </a:cubicBezTo>
                <a:cubicBezTo>
                  <a:pt x="437" y="534"/>
                  <a:pt x="437" y="534"/>
                  <a:pt x="437" y="534"/>
                </a:cubicBezTo>
                <a:cubicBezTo>
                  <a:pt x="509" y="534"/>
                  <a:pt x="509" y="534"/>
                  <a:pt x="509" y="534"/>
                </a:cubicBezTo>
                <a:lnTo>
                  <a:pt x="531" y="347"/>
                </a:lnTo>
                <a:close/>
                <a:moveTo>
                  <a:pt x="509" y="554"/>
                </a:moveTo>
                <a:cubicBezTo>
                  <a:pt x="437" y="554"/>
                  <a:pt x="437" y="554"/>
                  <a:pt x="437" y="554"/>
                </a:cubicBezTo>
                <a:cubicBezTo>
                  <a:pt x="437" y="622"/>
                  <a:pt x="437" y="622"/>
                  <a:pt x="437" y="622"/>
                </a:cubicBezTo>
                <a:cubicBezTo>
                  <a:pt x="509" y="622"/>
                  <a:pt x="509" y="622"/>
                  <a:pt x="509" y="622"/>
                </a:cubicBezTo>
                <a:lnTo>
                  <a:pt x="509" y="554"/>
                </a:lnTo>
                <a:close/>
              </a:path>
            </a:pathLst>
          </a:custGeom>
          <a:solidFill>
            <a:schemeClr val="accent5"/>
          </a:solidFill>
          <a:ln>
            <a:noFill/>
          </a:ln>
        </p:spPr>
        <p:txBody>
          <a:bodyPr vert="horz" wrap="square" lIns="93260" tIns="46630" rIns="93260" bIns="46630" numCol="1" anchor="t" anchorCtr="0" compatLnSpc="1">
            <a:prstTxWarp prst="textNoShape">
              <a:avLst/>
            </a:prstTxWarp>
          </a:bodyPr>
          <a:lstStyle/>
          <a:p>
            <a:endParaRPr lang="en-US" sz="1836" dirty="0">
              <a:solidFill>
                <a:schemeClr val="accent5"/>
              </a:solidFill>
            </a:endParaRPr>
          </a:p>
        </p:txBody>
      </p:sp>
    </p:spTree>
    <p:extLst>
      <p:ext uri="{BB962C8B-B14F-4D97-AF65-F5344CB8AC3E}">
        <p14:creationId xmlns:p14="http://schemas.microsoft.com/office/powerpoint/2010/main" val="6234187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Rectangle 3"/>
          <p:cNvSpPr/>
          <p:nvPr/>
        </p:nvSpPr>
        <p:spPr>
          <a:xfrm>
            <a:off x="0" y="0"/>
            <a:ext cx="4198937" cy="6994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688"/>
            <a:endParaRPr lang="en-US" sz="1836">
              <a:solidFill>
                <a:prstClr val="white"/>
              </a:solidFill>
            </a:endParaRPr>
          </a:p>
        </p:txBody>
      </p:sp>
      <p:sp>
        <p:nvSpPr>
          <p:cNvPr id="5" name="Freeform 4"/>
          <p:cNvSpPr>
            <a:spLocks noEditPoints="1"/>
          </p:cNvSpPr>
          <p:nvPr/>
        </p:nvSpPr>
        <p:spPr bwMode="auto">
          <a:xfrm>
            <a:off x="-601663" y="-541338"/>
            <a:ext cx="4234680" cy="4227381"/>
          </a:xfrm>
          <a:custGeom>
            <a:avLst/>
            <a:gdLst>
              <a:gd name="T0" fmla="*/ 122 w 245"/>
              <a:gd name="T1" fmla="*/ 242 h 242"/>
              <a:gd name="T2" fmla="*/ 35 w 245"/>
              <a:gd name="T3" fmla="*/ 207 h 242"/>
              <a:gd name="T4" fmla="*/ 0 w 245"/>
              <a:gd name="T5" fmla="*/ 121 h 242"/>
              <a:gd name="T6" fmla="*/ 35 w 245"/>
              <a:gd name="T7" fmla="*/ 36 h 242"/>
              <a:gd name="T8" fmla="*/ 122 w 245"/>
              <a:gd name="T9" fmla="*/ 0 h 242"/>
              <a:gd name="T10" fmla="*/ 209 w 245"/>
              <a:gd name="T11" fmla="*/ 36 h 242"/>
              <a:gd name="T12" fmla="*/ 245 w 245"/>
              <a:gd name="T13" fmla="*/ 121 h 242"/>
              <a:gd name="T14" fmla="*/ 209 w 245"/>
              <a:gd name="T15" fmla="*/ 207 h 242"/>
              <a:gd name="T16" fmla="*/ 122 w 245"/>
              <a:gd name="T17" fmla="*/ 242 h 242"/>
              <a:gd name="T18" fmla="*/ 122 w 245"/>
              <a:gd name="T19" fmla="*/ 16 h 242"/>
              <a:gd name="T20" fmla="*/ 48 w 245"/>
              <a:gd name="T21" fmla="*/ 47 h 242"/>
              <a:gd name="T22" fmla="*/ 17 w 245"/>
              <a:gd name="T23" fmla="*/ 121 h 242"/>
              <a:gd name="T24" fmla="*/ 48 w 245"/>
              <a:gd name="T25" fmla="*/ 195 h 242"/>
              <a:gd name="T26" fmla="*/ 122 w 245"/>
              <a:gd name="T27" fmla="*/ 226 h 242"/>
              <a:gd name="T28" fmla="*/ 197 w 245"/>
              <a:gd name="T29" fmla="*/ 195 h 242"/>
              <a:gd name="T30" fmla="*/ 227 w 245"/>
              <a:gd name="T31" fmla="*/ 121 h 242"/>
              <a:gd name="T32" fmla="*/ 197 w 245"/>
              <a:gd name="T33" fmla="*/ 47 h 242"/>
              <a:gd name="T34" fmla="*/ 122 w 245"/>
              <a:gd name="T35" fmla="*/ 16 h 242"/>
              <a:gd name="T36" fmla="*/ 171 w 245"/>
              <a:gd name="T37" fmla="*/ 193 h 242"/>
              <a:gd name="T38" fmla="*/ 128 w 245"/>
              <a:gd name="T39" fmla="*/ 203 h 242"/>
              <a:gd name="T40" fmla="*/ 71 w 245"/>
              <a:gd name="T41" fmla="*/ 181 h 242"/>
              <a:gd name="T42" fmla="*/ 48 w 245"/>
              <a:gd name="T43" fmla="*/ 125 h 242"/>
              <a:gd name="T44" fmla="*/ 72 w 245"/>
              <a:gd name="T45" fmla="*/ 63 h 242"/>
              <a:gd name="T46" fmla="*/ 132 w 245"/>
              <a:gd name="T47" fmla="*/ 40 h 242"/>
              <a:gd name="T48" fmla="*/ 170 w 245"/>
              <a:gd name="T49" fmla="*/ 48 h 242"/>
              <a:gd name="T50" fmla="*/ 170 w 245"/>
              <a:gd name="T51" fmla="*/ 79 h 242"/>
              <a:gd name="T52" fmla="*/ 132 w 245"/>
              <a:gd name="T53" fmla="*/ 67 h 242"/>
              <a:gd name="T54" fmla="*/ 94 w 245"/>
              <a:gd name="T55" fmla="*/ 82 h 242"/>
              <a:gd name="T56" fmla="*/ 79 w 245"/>
              <a:gd name="T57" fmla="*/ 122 h 242"/>
              <a:gd name="T58" fmla="*/ 94 w 245"/>
              <a:gd name="T59" fmla="*/ 162 h 242"/>
              <a:gd name="T60" fmla="*/ 134 w 245"/>
              <a:gd name="T61" fmla="*/ 177 h 242"/>
              <a:gd name="T62" fmla="*/ 171 w 245"/>
              <a:gd name="T63" fmla="*/ 164 h 242"/>
              <a:gd name="T64" fmla="*/ 171 w 245"/>
              <a:gd name="T65" fmla="*/ 193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5" h="242">
                <a:moveTo>
                  <a:pt x="122" y="242"/>
                </a:moveTo>
                <a:cubicBezTo>
                  <a:pt x="88" y="242"/>
                  <a:pt x="59" y="230"/>
                  <a:pt x="35" y="207"/>
                </a:cubicBezTo>
                <a:cubicBezTo>
                  <a:pt x="12" y="183"/>
                  <a:pt x="0" y="155"/>
                  <a:pt x="0" y="121"/>
                </a:cubicBezTo>
                <a:cubicBezTo>
                  <a:pt x="0" y="88"/>
                  <a:pt x="12" y="59"/>
                  <a:pt x="35" y="36"/>
                </a:cubicBezTo>
                <a:cubicBezTo>
                  <a:pt x="59" y="12"/>
                  <a:pt x="88" y="0"/>
                  <a:pt x="122" y="0"/>
                </a:cubicBezTo>
                <a:cubicBezTo>
                  <a:pt x="156" y="0"/>
                  <a:pt x="185" y="12"/>
                  <a:pt x="209" y="36"/>
                </a:cubicBezTo>
                <a:cubicBezTo>
                  <a:pt x="233" y="59"/>
                  <a:pt x="245" y="88"/>
                  <a:pt x="245" y="121"/>
                </a:cubicBezTo>
                <a:cubicBezTo>
                  <a:pt x="245" y="155"/>
                  <a:pt x="233" y="183"/>
                  <a:pt x="209" y="207"/>
                </a:cubicBezTo>
                <a:cubicBezTo>
                  <a:pt x="185" y="230"/>
                  <a:pt x="156" y="242"/>
                  <a:pt x="122" y="242"/>
                </a:cubicBezTo>
                <a:close/>
                <a:moveTo>
                  <a:pt x="122" y="16"/>
                </a:moveTo>
                <a:cubicBezTo>
                  <a:pt x="93" y="16"/>
                  <a:pt x="68" y="27"/>
                  <a:pt x="48" y="47"/>
                </a:cubicBezTo>
                <a:cubicBezTo>
                  <a:pt x="27" y="68"/>
                  <a:pt x="17" y="92"/>
                  <a:pt x="17" y="121"/>
                </a:cubicBezTo>
                <a:cubicBezTo>
                  <a:pt x="17" y="150"/>
                  <a:pt x="27" y="175"/>
                  <a:pt x="48" y="195"/>
                </a:cubicBezTo>
                <a:cubicBezTo>
                  <a:pt x="68" y="216"/>
                  <a:pt x="93" y="226"/>
                  <a:pt x="122" y="226"/>
                </a:cubicBezTo>
                <a:cubicBezTo>
                  <a:pt x="151" y="226"/>
                  <a:pt x="176" y="216"/>
                  <a:pt x="197" y="195"/>
                </a:cubicBezTo>
                <a:cubicBezTo>
                  <a:pt x="217" y="175"/>
                  <a:pt x="227" y="150"/>
                  <a:pt x="227" y="121"/>
                </a:cubicBezTo>
                <a:cubicBezTo>
                  <a:pt x="227" y="92"/>
                  <a:pt x="217" y="68"/>
                  <a:pt x="197" y="47"/>
                </a:cubicBezTo>
                <a:cubicBezTo>
                  <a:pt x="176" y="27"/>
                  <a:pt x="151" y="16"/>
                  <a:pt x="122" y="16"/>
                </a:cubicBezTo>
                <a:close/>
                <a:moveTo>
                  <a:pt x="171" y="193"/>
                </a:moveTo>
                <a:cubicBezTo>
                  <a:pt x="159" y="200"/>
                  <a:pt x="144" y="203"/>
                  <a:pt x="128" y="203"/>
                </a:cubicBezTo>
                <a:cubicBezTo>
                  <a:pt x="105" y="203"/>
                  <a:pt x="86" y="196"/>
                  <a:pt x="71" y="181"/>
                </a:cubicBezTo>
                <a:cubicBezTo>
                  <a:pt x="56" y="166"/>
                  <a:pt x="48" y="148"/>
                  <a:pt x="48" y="125"/>
                </a:cubicBezTo>
                <a:cubicBezTo>
                  <a:pt x="48" y="99"/>
                  <a:pt x="56" y="78"/>
                  <a:pt x="72" y="63"/>
                </a:cubicBezTo>
                <a:cubicBezTo>
                  <a:pt x="87" y="47"/>
                  <a:pt x="107" y="40"/>
                  <a:pt x="132" y="40"/>
                </a:cubicBezTo>
                <a:cubicBezTo>
                  <a:pt x="147" y="40"/>
                  <a:pt x="159" y="42"/>
                  <a:pt x="170" y="48"/>
                </a:cubicBezTo>
                <a:cubicBezTo>
                  <a:pt x="170" y="79"/>
                  <a:pt x="170" y="79"/>
                  <a:pt x="170" y="79"/>
                </a:cubicBezTo>
                <a:cubicBezTo>
                  <a:pt x="161" y="71"/>
                  <a:pt x="148" y="67"/>
                  <a:pt x="132" y="67"/>
                </a:cubicBezTo>
                <a:cubicBezTo>
                  <a:pt x="117" y="67"/>
                  <a:pt x="104" y="72"/>
                  <a:pt x="94" y="82"/>
                </a:cubicBezTo>
                <a:cubicBezTo>
                  <a:pt x="84" y="92"/>
                  <a:pt x="79" y="106"/>
                  <a:pt x="79" y="122"/>
                </a:cubicBezTo>
                <a:cubicBezTo>
                  <a:pt x="79" y="139"/>
                  <a:pt x="84" y="152"/>
                  <a:pt x="94" y="162"/>
                </a:cubicBezTo>
                <a:cubicBezTo>
                  <a:pt x="105" y="172"/>
                  <a:pt x="118" y="177"/>
                  <a:pt x="134" y="177"/>
                </a:cubicBezTo>
                <a:cubicBezTo>
                  <a:pt x="148" y="177"/>
                  <a:pt x="161" y="173"/>
                  <a:pt x="171" y="164"/>
                </a:cubicBezTo>
                <a:lnTo>
                  <a:pt x="171" y="193"/>
                </a:lnTo>
                <a:close/>
              </a:path>
            </a:pathLst>
          </a:custGeom>
          <a:solidFill>
            <a:schemeClr val="tx1">
              <a:alpha val="6000"/>
            </a:schemeClr>
          </a:solidFill>
          <a:ln>
            <a:noFill/>
          </a:ln>
        </p:spPr>
        <p:txBody>
          <a:bodyPr vert="horz" wrap="square" lIns="91440" tIns="45720" rIns="91440" bIns="45720" numCol="1" anchor="t" anchorCtr="0" compatLnSpc="1">
            <a:prstTxWarp prst="textNoShape">
              <a:avLst/>
            </a:prstTxWarp>
          </a:bodyPr>
          <a:lstStyle/>
          <a:p>
            <a:pPr defTabSz="932688"/>
            <a:endParaRPr lang="en-US" sz="1836">
              <a:solidFill>
                <a:prstClr val="black"/>
              </a:solidFill>
            </a:endParaRPr>
          </a:p>
        </p:txBody>
      </p:sp>
      <p:sp>
        <p:nvSpPr>
          <p:cNvPr id="16" name="TextBox 15"/>
          <p:cNvSpPr txBox="1"/>
          <p:nvPr/>
        </p:nvSpPr>
        <p:spPr>
          <a:xfrm>
            <a:off x="4118144" y="196358"/>
            <a:ext cx="8043694" cy="6358664"/>
          </a:xfrm>
          <a:prstGeom prst="rect">
            <a:avLst/>
          </a:prstGeom>
          <a:noFill/>
        </p:spPr>
        <p:txBody>
          <a:bodyPr wrap="square" lIns="182880" tIns="146304" rIns="182880" bIns="146304" rtlCol="0">
            <a:spAutoFit/>
          </a:bodyPr>
          <a:lstStyle/>
          <a:p>
            <a:pPr marL="749300" indent="-457200" defTabSz="932688">
              <a:spcBef>
                <a:spcPts val="600"/>
              </a:spcBef>
              <a:buFont typeface="Wingdings" panose="05000000000000000000" pitchFamily="2" charset="2"/>
              <a:buChar char="§"/>
            </a:pPr>
            <a:r>
              <a:rPr lang="en-US" sz="2600" dirty="0">
                <a:gradFill>
                  <a:gsLst>
                    <a:gs pos="9735">
                      <a:schemeClr val="tx1"/>
                    </a:gs>
                    <a:gs pos="52000">
                      <a:schemeClr val="tx1"/>
                    </a:gs>
                  </a:gsLst>
                  <a:lin ang="5400000" scaled="1"/>
                </a:gradFill>
                <a:latin typeface="Segoe UI" panose="020B0502040204020203" pitchFamily="34" charset="0"/>
                <a:cs typeface="Segoe UI" panose="020B0502040204020203" pitchFamily="34" charset="0"/>
              </a:rPr>
              <a:t>If an image is on the Internet/Bing it is in the public domain. </a:t>
            </a:r>
          </a:p>
          <a:p>
            <a:pPr marL="749300" indent="-457200" defTabSz="932688">
              <a:spcBef>
                <a:spcPts val="600"/>
              </a:spcBef>
              <a:buFont typeface="Wingdings" panose="05000000000000000000" pitchFamily="2" charset="2"/>
              <a:buChar char="§"/>
            </a:pPr>
            <a:r>
              <a:rPr lang="en-US" sz="2600" dirty="0">
                <a:gradFill>
                  <a:gsLst>
                    <a:gs pos="9735">
                      <a:schemeClr val="tx1"/>
                    </a:gs>
                    <a:gs pos="52000">
                      <a:schemeClr val="tx1"/>
                    </a:gs>
                  </a:gsLst>
                  <a:lin ang="5400000" scaled="1"/>
                </a:gradFill>
                <a:latin typeface="Segoe UI" panose="020B0502040204020203" pitchFamily="34" charset="0"/>
                <a:cs typeface="Segoe UI" panose="020B0502040204020203" pitchFamily="34" charset="0"/>
              </a:rPr>
              <a:t>If there is no copyright notice on the image, </a:t>
            </a:r>
            <a:br>
              <a:rPr lang="en-US" sz="2600" dirty="0">
                <a:gradFill>
                  <a:gsLst>
                    <a:gs pos="9735">
                      <a:schemeClr val="tx1"/>
                    </a:gs>
                    <a:gs pos="52000">
                      <a:schemeClr val="tx1"/>
                    </a:gs>
                  </a:gsLst>
                  <a:lin ang="5400000" scaled="1"/>
                </a:gradFill>
                <a:latin typeface="Segoe UI" panose="020B0502040204020203" pitchFamily="34" charset="0"/>
                <a:cs typeface="Segoe UI" panose="020B0502040204020203" pitchFamily="34" charset="0"/>
              </a:rPr>
            </a:br>
            <a:r>
              <a:rPr lang="en-US" sz="2600" dirty="0">
                <a:gradFill>
                  <a:gsLst>
                    <a:gs pos="9735">
                      <a:schemeClr val="tx1"/>
                    </a:gs>
                    <a:gs pos="52000">
                      <a:schemeClr val="tx1"/>
                    </a:gs>
                  </a:gsLst>
                  <a:lin ang="5400000" scaled="1"/>
                </a:gradFill>
                <a:latin typeface="Segoe UI" panose="020B0502040204020203" pitchFamily="34" charset="0"/>
                <a:cs typeface="Segoe UI" panose="020B0502040204020203" pitchFamily="34" charset="0"/>
              </a:rPr>
              <a:t>I don’t need permission.</a:t>
            </a:r>
          </a:p>
          <a:p>
            <a:pPr marL="749300" indent="-457200" defTabSz="932688">
              <a:spcBef>
                <a:spcPts val="600"/>
              </a:spcBef>
              <a:buFont typeface="Wingdings" panose="05000000000000000000" pitchFamily="2" charset="2"/>
              <a:buChar char="§"/>
            </a:pPr>
            <a:r>
              <a:rPr lang="en-US" sz="2600" dirty="0">
                <a:gradFill>
                  <a:gsLst>
                    <a:gs pos="9735">
                      <a:schemeClr val="tx1"/>
                    </a:gs>
                    <a:gs pos="52000">
                      <a:schemeClr val="tx1"/>
                    </a:gs>
                  </a:gsLst>
                  <a:lin ang="5400000" scaled="1"/>
                </a:gradFill>
                <a:latin typeface="Segoe UI" panose="020B0502040204020203" pitchFamily="34" charset="0"/>
                <a:cs typeface="Segoe UI" panose="020B0502040204020203" pitchFamily="34" charset="0"/>
              </a:rPr>
              <a:t>If I don’t profit from the use, I don’t need permission.</a:t>
            </a:r>
          </a:p>
          <a:p>
            <a:pPr marL="749300" indent="-457200" defTabSz="932688">
              <a:spcBef>
                <a:spcPts val="600"/>
              </a:spcBef>
              <a:buFont typeface="Wingdings" panose="05000000000000000000" pitchFamily="2" charset="2"/>
              <a:buChar char="§"/>
            </a:pPr>
            <a:r>
              <a:rPr lang="en-US" sz="2600" dirty="0">
                <a:gradFill>
                  <a:gsLst>
                    <a:gs pos="9735">
                      <a:schemeClr val="tx1"/>
                    </a:gs>
                    <a:gs pos="52000">
                      <a:schemeClr val="tx1"/>
                    </a:gs>
                  </a:gsLst>
                  <a:lin ang="5400000" scaled="1"/>
                </a:gradFill>
                <a:latin typeface="Segoe UI" panose="020B0502040204020203" pitchFamily="34" charset="0"/>
                <a:cs typeface="Segoe UI" panose="020B0502040204020203" pitchFamily="34" charset="0"/>
              </a:rPr>
              <a:t>If I remove the image after notice, I don’t owe any money to the copyright.</a:t>
            </a:r>
          </a:p>
          <a:p>
            <a:pPr marL="749300" indent="-457200" defTabSz="932688">
              <a:spcBef>
                <a:spcPts val="600"/>
              </a:spcBef>
              <a:buFont typeface="Wingdings" panose="05000000000000000000" pitchFamily="2" charset="2"/>
              <a:buChar char="§"/>
            </a:pPr>
            <a:r>
              <a:rPr lang="en-US" sz="2600" dirty="0">
                <a:gradFill>
                  <a:gsLst>
                    <a:gs pos="9735">
                      <a:schemeClr val="tx1"/>
                    </a:gs>
                    <a:gs pos="52000">
                      <a:schemeClr val="tx1"/>
                    </a:gs>
                  </a:gsLst>
                  <a:lin ang="5400000" scaled="1"/>
                </a:gradFill>
                <a:latin typeface="Segoe UI" panose="020B0502040204020203" pitchFamily="34" charset="0"/>
                <a:cs typeface="Segoe UI" panose="020B0502040204020203" pitchFamily="34" charset="0"/>
              </a:rPr>
              <a:t>If I alter the image X%, I don’t need permission.</a:t>
            </a:r>
          </a:p>
          <a:p>
            <a:pPr marL="749300" indent="-457200" defTabSz="932688">
              <a:spcBef>
                <a:spcPts val="600"/>
              </a:spcBef>
              <a:buFont typeface="Wingdings" panose="05000000000000000000" pitchFamily="2" charset="2"/>
              <a:buChar char="§"/>
            </a:pPr>
            <a:r>
              <a:rPr lang="en-US" sz="2600" dirty="0">
                <a:gradFill>
                  <a:gsLst>
                    <a:gs pos="9735">
                      <a:schemeClr val="tx1"/>
                    </a:gs>
                    <a:gs pos="52000">
                      <a:schemeClr val="tx1"/>
                    </a:gs>
                  </a:gsLst>
                  <a:lin ang="5400000" scaled="1"/>
                </a:gradFill>
                <a:latin typeface="Segoe UI" panose="020B0502040204020203" pitchFamily="34" charset="0"/>
                <a:cs typeface="Segoe UI" panose="020B0502040204020203" pitchFamily="34" charset="0"/>
              </a:rPr>
              <a:t>If I only use a part of the image, </a:t>
            </a:r>
            <a:br>
              <a:rPr lang="en-US" sz="2600" dirty="0">
                <a:gradFill>
                  <a:gsLst>
                    <a:gs pos="9735">
                      <a:schemeClr val="tx1"/>
                    </a:gs>
                    <a:gs pos="52000">
                      <a:schemeClr val="tx1"/>
                    </a:gs>
                  </a:gsLst>
                  <a:lin ang="5400000" scaled="1"/>
                </a:gradFill>
                <a:latin typeface="Segoe UI" panose="020B0502040204020203" pitchFamily="34" charset="0"/>
                <a:cs typeface="Segoe UI" panose="020B0502040204020203" pitchFamily="34" charset="0"/>
              </a:rPr>
            </a:br>
            <a:r>
              <a:rPr lang="en-US" sz="2600" dirty="0">
                <a:gradFill>
                  <a:gsLst>
                    <a:gs pos="9735">
                      <a:schemeClr val="tx1"/>
                    </a:gs>
                    <a:gs pos="52000">
                      <a:schemeClr val="tx1"/>
                    </a:gs>
                  </a:gsLst>
                  <a:lin ang="5400000" scaled="1"/>
                </a:gradFill>
                <a:latin typeface="Segoe UI" panose="020B0502040204020203" pitchFamily="34" charset="0"/>
                <a:cs typeface="Segoe UI" panose="020B0502040204020203" pitchFamily="34" charset="0"/>
              </a:rPr>
              <a:t>I don’t need permission.</a:t>
            </a:r>
          </a:p>
          <a:p>
            <a:pPr marL="749300" indent="-457200" defTabSz="932688">
              <a:spcBef>
                <a:spcPts val="600"/>
              </a:spcBef>
              <a:buFont typeface="Wingdings" panose="05000000000000000000" pitchFamily="2" charset="2"/>
              <a:buChar char="§"/>
            </a:pPr>
            <a:r>
              <a:rPr lang="en-US" sz="2600" dirty="0">
                <a:gradFill>
                  <a:gsLst>
                    <a:gs pos="9735">
                      <a:schemeClr val="tx1"/>
                    </a:gs>
                    <a:gs pos="52000">
                      <a:schemeClr val="tx1"/>
                    </a:gs>
                  </a:gsLst>
                  <a:lin ang="5400000" scaled="1"/>
                </a:gradFill>
                <a:latin typeface="Segoe UI" panose="020B0502040204020203" pitchFamily="34" charset="0"/>
                <a:cs typeface="Segoe UI" panose="020B0502040204020203" pitchFamily="34" charset="0"/>
              </a:rPr>
              <a:t>If I only include a hyperlink in my presentation and click it to show the image, </a:t>
            </a:r>
            <a:br>
              <a:rPr lang="en-US" sz="2600" dirty="0">
                <a:gradFill>
                  <a:gsLst>
                    <a:gs pos="9735">
                      <a:schemeClr val="tx1"/>
                    </a:gs>
                    <a:gs pos="52000">
                      <a:schemeClr val="tx1"/>
                    </a:gs>
                  </a:gsLst>
                  <a:lin ang="5400000" scaled="1"/>
                </a:gradFill>
                <a:latin typeface="Segoe UI" panose="020B0502040204020203" pitchFamily="34" charset="0"/>
                <a:cs typeface="Segoe UI" panose="020B0502040204020203" pitchFamily="34" charset="0"/>
              </a:rPr>
            </a:br>
            <a:r>
              <a:rPr lang="en-US" sz="2600" dirty="0">
                <a:gradFill>
                  <a:gsLst>
                    <a:gs pos="9735">
                      <a:schemeClr val="tx1"/>
                    </a:gs>
                    <a:gs pos="52000">
                      <a:schemeClr val="tx1"/>
                    </a:gs>
                  </a:gsLst>
                  <a:lin ang="5400000" scaled="1"/>
                </a:gradFill>
                <a:latin typeface="Segoe UI" panose="020B0502040204020203" pitchFamily="34" charset="0"/>
                <a:cs typeface="Segoe UI" panose="020B0502040204020203" pitchFamily="34" charset="0"/>
              </a:rPr>
              <a:t>I don’t need permission.</a:t>
            </a:r>
          </a:p>
        </p:txBody>
      </p:sp>
      <p:sp>
        <p:nvSpPr>
          <p:cNvPr id="17" name="TextBox 16"/>
          <p:cNvSpPr txBox="1"/>
          <p:nvPr/>
        </p:nvSpPr>
        <p:spPr>
          <a:xfrm>
            <a:off x="163713" y="4320213"/>
            <a:ext cx="3790718" cy="424732"/>
          </a:xfrm>
          <a:prstGeom prst="rect">
            <a:avLst/>
          </a:prstGeom>
          <a:noFill/>
        </p:spPr>
        <p:txBody>
          <a:bodyPr wrap="none" rtlCol="0">
            <a:spAutoFit/>
          </a:bodyPr>
          <a:lstStyle/>
          <a:p>
            <a:pPr defTabSz="932688">
              <a:lnSpc>
                <a:spcPct val="90000"/>
              </a:lnSpc>
              <a:spcBef>
                <a:spcPts val="600"/>
              </a:spcBef>
            </a:pPr>
            <a:r>
              <a:rPr lang="en-US" sz="2400" dirty="0">
                <a:gradFill>
                  <a:gsLst>
                    <a:gs pos="2000">
                      <a:prstClr val="white"/>
                    </a:gs>
                    <a:gs pos="100000">
                      <a:prstClr val="white"/>
                    </a:gs>
                  </a:gsLst>
                  <a:lin ang="5400000" scaled="0"/>
                </a:gradFill>
                <a:latin typeface="Segoe UI" panose="020B0502040204020203" pitchFamily="34" charset="0"/>
                <a:cs typeface="Segoe UI" panose="020B0502040204020203" pitchFamily="34" charset="0"/>
              </a:rPr>
              <a:t>Common Copyright Myths</a:t>
            </a:r>
          </a:p>
        </p:txBody>
      </p:sp>
      <p:sp>
        <p:nvSpPr>
          <p:cNvPr id="2" name="Multiply 1"/>
          <p:cNvSpPr/>
          <p:nvPr/>
        </p:nvSpPr>
        <p:spPr>
          <a:xfrm>
            <a:off x="3954431" y="485775"/>
            <a:ext cx="8647144" cy="6029325"/>
          </a:xfrm>
          <a:prstGeom prst="mathMultiply">
            <a:avLst/>
          </a:prstGeom>
          <a:noFill/>
          <a:ln>
            <a:solidFill>
              <a:schemeClr val="accent5"/>
            </a:solidFill>
          </a:ln>
        </p:spPr>
        <p:style>
          <a:lnRef idx="2">
            <a:schemeClr val="accent6"/>
          </a:lnRef>
          <a:fillRef idx="1">
            <a:schemeClr val="lt1"/>
          </a:fillRef>
          <a:effectRef idx="0">
            <a:schemeClr val="accent6"/>
          </a:effectRef>
          <a:fontRef idx="minor">
            <a:schemeClr val="dk1"/>
          </a:fontRef>
        </p:style>
        <p:txBody>
          <a:bodyPr rtlCol="0" anchor="ctr"/>
          <a:lstStyle/>
          <a:p>
            <a:pPr algn="ctr" defTabSz="932688"/>
            <a:endParaRPr lang="en-US" sz="1836">
              <a:solidFill>
                <a:prstClr val="black"/>
              </a:solidFill>
            </a:endParaRPr>
          </a:p>
        </p:txBody>
      </p:sp>
    </p:spTree>
    <p:extLst>
      <p:ext uri="{BB962C8B-B14F-4D97-AF65-F5344CB8AC3E}">
        <p14:creationId xmlns:p14="http://schemas.microsoft.com/office/powerpoint/2010/main" val="376806375"/>
      </p:ext>
    </p:extLst>
  </p:cSld>
  <p:clrMapOvr>
    <a:masterClrMapping/>
  </p:clrMapOvr>
  <p:transition>
    <p:fade/>
  </p:transition>
</p:sld>
</file>

<file path=ppt/slides/slide7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ext Placeholder 1"/>
          <p:cNvSpPr>
            <a:spLocks noGrp="1"/>
          </p:cNvSpPr>
          <p:nvPr>
            <p:ph type="body" sz="quarter" idx="4294967295"/>
          </p:nvPr>
        </p:nvSpPr>
        <p:spPr>
          <a:xfrm>
            <a:off x="274639" y="2473325"/>
            <a:ext cx="7223125" cy="2468563"/>
          </a:xfrm>
        </p:spPr>
        <p:txBody>
          <a:bodyPr anchor="t" anchorCtr="0"/>
          <a:lstStyle/>
          <a:p>
            <a:pPr marL="0" indent="0">
              <a:buNone/>
            </a:pPr>
            <a:r>
              <a:rPr lang="en-US" sz="2800" b="1" dirty="0" err="1">
                <a:gradFill>
                  <a:gsLst>
                    <a:gs pos="2655">
                      <a:srgbClr val="FFFFFF"/>
                    </a:gs>
                    <a:gs pos="26000">
                      <a:srgbClr val="FFFFFF"/>
                    </a:gs>
                  </a:gsLst>
                  <a:lin ang="5400000" scaled="0"/>
                </a:gradFill>
                <a:latin typeface="+mn-lt"/>
                <a:hlinkClick r:id="rId2"/>
              </a:rPr>
              <a:t>Mediaacq</a:t>
            </a:r>
            <a:endParaRPr lang="en-US" sz="2800" b="1" u="sng" dirty="0">
              <a:gradFill>
                <a:gsLst>
                  <a:gs pos="2655">
                    <a:srgbClr val="FFFFFF"/>
                  </a:gs>
                  <a:gs pos="26000">
                    <a:srgbClr val="FFFFFF"/>
                  </a:gs>
                </a:gsLst>
                <a:lin ang="5400000" scaled="0"/>
              </a:gradFill>
              <a:latin typeface="+mn-lt"/>
              <a:hlinkClick r:id="rId2"/>
            </a:endParaRPr>
          </a:p>
          <a:p>
            <a:pPr marL="0" indent="0">
              <a:buNone/>
            </a:pPr>
            <a:r>
              <a:rPr lang="en-US" sz="2800" b="1" dirty="0">
                <a:gradFill>
                  <a:gsLst>
                    <a:gs pos="2655">
                      <a:srgbClr val="FFFFFF"/>
                    </a:gs>
                    <a:gs pos="26000">
                      <a:srgbClr val="FFFFFF"/>
                    </a:gs>
                  </a:gsLst>
                  <a:lin ang="5400000" scaled="0"/>
                </a:gradFill>
                <a:latin typeface="+mn-lt"/>
                <a:hlinkClick r:id="rId2"/>
              </a:rPr>
              <a:t>Microsoft Brand Tools</a:t>
            </a:r>
            <a:endParaRPr lang="en-US" sz="2800" b="1" dirty="0">
              <a:gradFill>
                <a:gsLst>
                  <a:gs pos="2655">
                    <a:srgbClr val="FFFFFF"/>
                  </a:gs>
                  <a:gs pos="26000">
                    <a:srgbClr val="FFFFFF"/>
                  </a:gs>
                </a:gsLst>
                <a:lin ang="5400000" scaled="0"/>
              </a:gradFill>
              <a:latin typeface="+mn-lt"/>
            </a:endParaRPr>
          </a:p>
          <a:p>
            <a:pPr marL="0" indent="0">
              <a:buNone/>
            </a:pPr>
            <a:r>
              <a:rPr lang="en-US" sz="2800" b="1" dirty="0">
                <a:gradFill>
                  <a:gsLst>
                    <a:gs pos="2655">
                      <a:srgbClr val="FFFFFF"/>
                    </a:gs>
                    <a:gs pos="26000">
                      <a:srgbClr val="FFFFFF"/>
                    </a:gs>
                  </a:gsLst>
                  <a:lin ang="5400000" scaled="0"/>
                </a:gradFill>
                <a:latin typeface="+mn-lt"/>
                <a:hlinkClick r:id="rId3"/>
              </a:rPr>
              <a:t>Presentation guidelines</a:t>
            </a:r>
            <a:endParaRPr lang="en-US" sz="2800" b="1" dirty="0">
              <a:gradFill>
                <a:gsLst>
                  <a:gs pos="2655">
                    <a:srgbClr val="FFFFFF"/>
                  </a:gs>
                  <a:gs pos="26000">
                    <a:srgbClr val="FFFFFF"/>
                  </a:gs>
                </a:gsLst>
                <a:lin ang="5400000" scaled="0"/>
              </a:gradFill>
              <a:latin typeface="+mn-lt"/>
            </a:endParaRPr>
          </a:p>
          <a:p>
            <a:pPr marL="0" indent="0">
              <a:buNone/>
            </a:pPr>
            <a:r>
              <a:rPr lang="en-US" sz="2800" b="1" dirty="0">
                <a:gradFill>
                  <a:gsLst>
                    <a:gs pos="2655">
                      <a:srgbClr val="FFFFFF"/>
                    </a:gs>
                    <a:gs pos="26000">
                      <a:srgbClr val="FFFFFF"/>
                    </a:gs>
                  </a:gsLst>
                  <a:lin ang="5400000" scaled="0"/>
                </a:gradFill>
                <a:latin typeface="+mn-lt"/>
                <a:hlinkClick r:id="rId4"/>
              </a:rPr>
              <a:t>Microsoft photography</a:t>
            </a:r>
            <a:endParaRPr lang="en-US" sz="2800" b="1" dirty="0">
              <a:gradFill>
                <a:gsLst>
                  <a:gs pos="2655">
                    <a:srgbClr val="FFFFFF"/>
                  </a:gs>
                  <a:gs pos="26000">
                    <a:srgbClr val="FFFFFF"/>
                  </a:gs>
                </a:gsLst>
                <a:lin ang="5400000" scaled="0"/>
              </a:gradFill>
              <a:latin typeface="+mn-lt"/>
            </a:endParaRPr>
          </a:p>
          <a:p>
            <a:pPr marL="0" indent="0">
              <a:buNone/>
            </a:pPr>
            <a:r>
              <a:rPr lang="en-US" sz="2800" b="1" dirty="0">
                <a:gradFill>
                  <a:gsLst>
                    <a:gs pos="2655">
                      <a:srgbClr val="FFFFFF"/>
                    </a:gs>
                    <a:gs pos="26000">
                      <a:srgbClr val="FFFFFF"/>
                    </a:gs>
                  </a:gsLst>
                  <a:lin ang="5400000" scaled="0"/>
                </a:gradFill>
                <a:latin typeface="+mn-lt"/>
                <a:hlinkClick r:id="rId5"/>
              </a:rPr>
              <a:t>Microsoft illustrations</a:t>
            </a:r>
            <a:endParaRPr lang="en-US" sz="2800" b="1" dirty="0">
              <a:gradFill>
                <a:gsLst>
                  <a:gs pos="2655">
                    <a:srgbClr val="FFFFFF"/>
                  </a:gs>
                  <a:gs pos="26000">
                    <a:srgbClr val="FFFFFF"/>
                  </a:gs>
                </a:gsLst>
                <a:lin ang="5400000" scaled="0"/>
              </a:gradFill>
              <a:latin typeface="+mn-lt"/>
            </a:endParaRPr>
          </a:p>
        </p:txBody>
      </p:sp>
      <p:sp>
        <p:nvSpPr>
          <p:cNvPr id="4" name="Title 3"/>
          <p:cNvSpPr>
            <a:spLocks noGrp="1"/>
          </p:cNvSpPr>
          <p:nvPr>
            <p:ph type="title" idx="4294967295"/>
          </p:nvPr>
        </p:nvSpPr>
        <p:spPr>
          <a:xfrm>
            <a:off x="274639" y="295275"/>
            <a:ext cx="11888787" cy="917575"/>
          </a:xfrm>
        </p:spPr>
        <p:txBody>
          <a:bodyPr/>
          <a:lstStyle/>
          <a:p>
            <a:r>
              <a:rPr lang="en-US" dirty="0"/>
              <a:t>Resources for Microsoft employees</a:t>
            </a:r>
          </a:p>
        </p:txBody>
      </p:sp>
      <p:sp>
        <p:nvSpPr>
          <p:cNvPr id="3" name="TextBox 2"/>
          <p:cNvSpPr txBox="1"/>
          <p:nvPr/>
        </p:nvSpPr>
        <p:spPr>
          <a:xfrm>
            <a:off x="274640" y="1211262"/>
            <a:ext cx="11735114" cy="1292662"/>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655">
                      <a:srgbClr val="FFFFFF"/>
                    </a:gs>
                    <a:gs pos="26000">
                      <a:srgbClr val="FFFFFF"/>
                    </a:gs>
                  </a:gsLst>
                  <a:lin ang="5400000" scaled="0"/>
                </a:gradFill>
                <a:cs typeface="Segoe UI" panose="020B0502040204020203" pitchFamily="34" charset="0"/>
              </a:rPr>
              <a:t>Can’t find the image that you have in mind for your presentation? The Media Acquisitions team can help you find and license imagery through our stock </a:t>
            </a:r>
            <a:br>
              <a:rPr lang="en-US" sz="2400" dirty="0">
                <a:gradFill>
                  <a:gsLst>
                    <a:gs pos="2655">
                      <a:srgbClr val="FFFFFF"/>
                    </a:gs>
                    <a:gs pos="26000">
                      <a:srgbClr val="FFFFFF"/>
                    </a:gs>
                  </a:gsLst>
                  <a:lin ang="5400000" scaled="0"/>
                </a:gradFill>
                <a:cs typeface="Segoe UI" panose="020B0502040204020203" pitchFamily="34" charset="0"/>
              </a:rPr>
            </a:br>
            <a:r>
              <a:rPr lang="en-US" sz="2400" dirty="0">
                <a:gradFill>
                  <a:gsLst>
                    <a:gs pos="2655">
                      <a:srgbClr val="FFFFFF"/>
                    </a:gs>
                    <a:gs pos="26000">
                      <a:srgbClr val="FFFFFF"/>
                    </a:gs>
                  </a:gsLst>
                  <a:lin ang="5400000" scaled="0"/>
                </a:gradFill>
                <a:cs typeface="Segoe UI" panose="020B0502040204020203" pitchFamily="34" charset="0"/>
              </a:rPr>
              <a:t>photography providers. You will also find imagery and information via these links:</a:t>
            </a:r>
          </a:p>
        </p:txBody>
      </p:sp>
      <p:sp>
        <p:nvSpPr>
          <p:cNvPr id="6" name="TextBox 5"/>
          <p:cNvSpPr txBox="1"/>
          <p:nvPr/>
        </p:nvSpPr>
        <p:spPr>
          <a:xfrm>
            <a:off x="274639" y="5641681"/>
            <a:ext cx="12649198" cy="1071062"/>
          </a:xfrm>
          <a:prstGeom prst="rect">
            <a:avLst/>
          </a:prstGeom>
          <a:noFill/>
        </p:spPr>
        <p:txBody>
          <a:bodyPr wrap="square" lIns="182880" tIns="146304" rIns="182880" bIns="146304" rtlCol="0">
            <a:spAutoFit/>
          </a:bodyPr>
          <a:lstStyle/>
          <a:p>
            <a:pPr>
              <a:lnSpc>
                <a:spcPct val="90000"/>
              </a:lnSpc>
              <a:spcAft>
                <a:spcPts val="600"/>
              </a:spcAft>
            </a:pPr>
            <a:r>
              <a:rPr lang="en-US" sz="2800" dirty="0">
                <a:gradFill>
                  <a:gsLst>
                    <a:gs pos="2917">
                      <a:srgbClr val="FFFFFF"/>
                    </a:gs>
                    <a:gs pos="85000">
                      <a:srgbClr val="FFFFFF"/>
                    </a:gs>
                  </a:gsLst>
                  <a:lin ang="5400000" scaled="0"/>
                </a:gradFill>
                <a:cs typeface="Segoe UI" panose="020B0502040204020203" pitchFamily="34" charset="0"/>
              </a:rPr>
              <a:t>For information on the use of third-party copyrighted content</a:t>
            </a:r>
            <a:br>
              <a:rPr lang="en-US" sz="2800" dirty="0">
                <a:gradFill>
                  <a:gsLst>
                    <a:gs pos="2917">
                      <a:srgbClr val="FFFFFF"/>
                    </a:gs>
                    <a:gs pos="85000">
                      <a:srgbClr val="FFFFFF"/>
                    </a:gs>
                  </a:gsLst>
                  <a:lin ang="5400000" scaled="0"/>
                </a:gradFill>
                <a:cs typeface="Segoe UI" panose="020B0502040204020203" pitchFamily="34" charset="0"/>
              </a:rPr>
            </a:br>
            <a:r>
              <a:rPr lang="en-US" sz="2800" dirty="0">
                <a:gradFill>
                  <a:gsLst>
                    <a:gs pos="2917">
                      <a:srgbClr val="FFFFFF"/>
                    </a:gs>
                    <a:gs pos="85000">
                      <a:srgbClr val="FFFFFF"/>
                    </a:gs>
                  </a:gsLst>
                  <a:lin ang="5400000" scaled="0"/>
                </a:gradFill>
                <a:cs typeface="Segoe UI" panose="020B0502040204020203" pitchFamily="34" charset="0"/>
              </a:rPr>
              <a:t>please contact </a:t>
            </a:r>
            <a:r>
              <a:rPr lang="en-US" sz="2800" dirty="0">
                <a:gradFill>
                  <a:gsLst>
                    <a:gs pos="2917">
                      <a:srgbClr val="FFFFFF"/>
                    </a:gs>
                    <a:gs pos="85000">
                      <a:srgbClr val="FFFFFF"/>
                    </a:gs>
                  </a:gsLst>
                  <a:lin ang="5400000" scaled="0"/>
                </a:gradFill>
                <a:cs typeface="Segoe UI" panose="020B0502040204020203" pitchFamily="34" charset="0"/>
                <a:hlinkClick r:id="rId6"/>
              </a:rPr>
              <a:t>CELA</a:t>
            </a:r>
            <a:r>
              <a:rPr lang="en-US" sz="2800" dirty="0">
                <a:gradFill>
                  <a:gsLst>
                    <a:gs pos="2917">
                      <a:srgbClr val="FFFFFF"/>
                    </a:gs>
                    <a:gs pos="85000">
                      <a:srgbClr val="FFFFFF"/>
                    </a:gs>
                  </a:gsLst>
                  <a:lin ang="5400000" scaled="0"/>
                </a:gradFill>
                <a:cs typeface="Segoe UI" panose="020B0502040204020203" pitchFamily="34" charset="0"/>
              </a:rPr>
              <a:t>.</a:t>
            </a:r>
            <a:endParaRPr lang="en-US" sz="2800" dirty="0">
              <a:gradFill>
                <a:gsLst>
                  <a:gs pos="2917">
                    <a:srgbClr val="404040"/>
                  </a:gs>
                  <a:gs pos="30000">
                    <a:srgbClr val="404040"/>
                  </a:gs>
                </a:gsLst>
                <a:lin ang="5400000" scaled="0"/>
              </a:gradFill>
              <a:latin typeface="Segoe UI Light"/>
            </a:endParaRPr>
          </a:p>
        </p:txBody>
      </p:sp>
      <p:sp>
        <p:nvSpPr>
          <p:cNvPr id="7" name="TextBox 6"/>
          <p:cNvSpPr txBox="1"/>
          <p:nvPr/>
        </p:nvSpPr>
        <p:spPr>
          <a:xfrm>
            <a:off x="2012043" y="2459404"/>
            <a:ext cx="3588162" cy="627864"/>
          </a:xfrm>
          <a:prstGeom prst="rect">
            <a:avLst/>
          </a:prstGeom>
          <a:noFill/>
        </p:spPr>
        <p:txBody>
          <a:bodyPr wrap="none" lIns="182880" tIns="146304" rIns="182880" bIns="146304" rtlCol="0">
            <a:spAutoFit/>
          </a:bodyPr>
          <a:lstStyle/>
          <a:p>
            <a:pPr>
              <a:lnSpc>
                <a:spcPct val="90000"/>
              </a:lnSpc>
              <a:spcAft>
                <a:spcPts val="600"/>
              </a:spcAft>
            </a:pPr>
            <a:r>
              <a:rPr lang="en-US" sz="2400" dirty="0">
                <a:gradFill>
                  <a:gsLst>
                    <a:gs pos="2655">
                      <a:srgbClr val="FFFFFF"/>
                    </a:gs>
                    <a:gs pos="26000">
                      <a:srgbClr val="FFFFFF"/>
                    </a:gs>
                  </a:gsLst>
                  <a:lin ang="5400000" scaled="0"/>
                </a:gradFill>
                <a:latin typeface="Segoe UI Light"/>
              </a:rPr>
              <a:t>(Media Acquisitions alias)</a:t>
            </a:r>
          </a:p>
        </p:txBody>
      </p:sp>
      <p:sp>
        <p:nvSpPr>
          <p:cNvPr id="9" name="Text Placeholder 1"/>
          <p:cNvSpPr txBox="1">
            <a:spLocks/>
          </p:cNvSpPr>
          <p:nvPr/>
        </p:nvSpPr>
        <p:spPr>
          <a:xfrm>
            <a:off x="6035895" y="2473655"/>
            <a:ext cx="6217853" cy="914400"/>
          </a:xfrm>
          <a:prstGeom prst="rect">
            <a:avLst/>
          </a:prstGeom>
        </p:spPr>
        <p:txBody>
          <a:bodyPr vert="horz" wrap="square" lIns="182880" tIns="146304" rIns="182880" bIns="146304" rtlCol="0" anchor="t" anchorCtr="0">
            <a:noAutofit/>
          </a:bodyPr>
          <a:lstStyle>
            <a:lvl1pPr marL="0" marR="0" indent="0" algn="l" defTabSz="932742" rtl="0" eaLnBrk="1" fontAlgn="auto" latinLnBrk="0" hangingPunct="1">
              <a:lnSpc>
                <a:spcPct val="90000"/>
              </a:lnSpc>
              <a:spcBef>
                <a:spcPct val="20000"/>
              </a:spcBef>
              <a:spcAft>
                <a:spcPts val="0"/>
              </a:spcAft>
              <a:buClr>
                <a:schemeClr val="tx1"/>
              </a:buClr>
              <a:buSzPct val="90000"/>
              <a:buFont typeface="Arial" panose="020B0604020202020204" pitchFamily="34" charset="0"/>
              <a:buNone/>
              <a:tabLst/>
              <a:defRPr lang="en-US" sz="3600" kern="1200" spc="0" baseline="0" dirty="0" smtClean="0">
                <a:gradFill>
                  <a:gsLst>
                    <a:gs pos="1299">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buClr>
                <a:srgbClr val="404040"/>
              </a:buClr>
            </a:pPr>
            <a:r>
              <a:rPr sz="2400" dirty="0">
                <a:gradFill>
                  <a:gsLst>
                    <a:gs pos="2655">
                      <a:srgbClr val="FFFFFF"/>
                    </a:gs>
                    <a:gs pos="26000">
                      <a:srgbClr val="FFFFFF"/>
                    </a:gs>
                  </a:gsLst>
                  <a:lin ang="5400000" scaled="0"/>
                </a:gradFill>
                <a:latin typeface="+mn-lt"/>
                <a:cs typeface="Segoe UI" panose="020B0502040204020203" pitchFamily="34" charset="0"/>
              </a:rPr>
              <a:t>Stock photography sites are also an option.</a:t>
            </a:r>
            <a:endParaRPr sz="2400" dirty="0">
              <a:gradFill>
                <a:gsLst>
                  <a:gs pos="2655">
                    <a:srgbClr val="FFFFFF"/>
                  </a:gs>
                  <a:gs pos="26000">
                    <a:srgbClr val="FFFFFF"/>
                  </a:gs>
                </a:gsLst>
                <a:lin ang="5400000" scaled="0"/>
              </a:gradFill>
              <a:latin typeface="+mn-lt"/>
              <a:cs typeface="Segoe UI" panose="020B0502040204020203" pitchFamily="34" charset="0"/>
              <a:hlinkClick r:id="rId7"/>
            </a:endParaRPr>
          </a:p>
          <a:p>
            <a:pPr>
              <a:buClr>
                <a:srgbClr val="404040"/>
              </a:buClr>
            </a:pPr>
            <a:r>
              <a:rPr sz="2000" dirty="0">
                <a:gradFill>
                  <a:gsLst>
                    <a:gs pos="2655">
                      <a:srgbClr val="FFFFFF"/>
                    </a:gs>
                    <a:gs pos="26000">
                      <a:srgbClr val="FFFFFF"/>
                    </a:gs>
                  </a:gsLst>
                  <a:lin ang="5400000" scaled="0"/>
                </a:gradFill>
                <a:latin typeface="+mn-lt"/>
                <a:hlinkClick r:id="rId7"/>
              </a:rPr>
              <a:t>www.superstock.com/</a:t>
            </a:r>
            <a:endParaRPr sz="2000" dirty="0">
              <a:gradFill>
                <a:gsLst>
                  <a:gs pos="2655">
                    <a:srgbClr val="FFFFFF"/>
                  </a:gs>
                  <a:gs pos="26000">
                    <a:srgbClr val="FFFFFF"/>
                  </a:gs>
                </a:gsLst>
                <a:lin ang="5400000" scaled="0"/>
              </a:gradFill>
              <a:latin typeface="+mn-lt"/>
            </a:endParaRPr>
          </a:p>
          <a:p>
            <a:pPr>
              <a:buClr>
                <a:srgbClr val="404040"/>
              </a:buClr>
            </a:pPr>
            <a:r>
              <a:rPr sz="2000" dirty="0">
                <a:gradFill>
                  <a:gsLst>
                    <a:gs pos="2655">
                      <a:srgbClr val="FFFFFF"/>
                    </a:gs>
                    <a:gs pos="26000">
                      <a:srgbClr val="FFFFFF"/>
                    </a:gs>
                  </a:gsLst>
                  <a:lin ang="5400000" scaled="0"/>
                </a:gradFill>
                <a:latin typeface="+mn-lt"/>
                <a:hlinkClick r:id="rId8"/>
              </a:rPr>
              <a:t>www.gettyimages.com/creativeimages/royaltyfree</a:t>
            </a:r>
            <a:endParaRPr sz="2000" dirty="0">
              <a:gradFill>
                <a:gsLst>
                  <a:gs pos="2655">
                    <a:srgbClr val="FFFFFF"/>
                  </a:gs>
                  <a:gs pos="26000">
                    <a:srgbClr val="FFFFFF"/>
                  </a:gs>
                </a:gsLst>
                <a:lin ang="5400000" scaled="0"/>
              </a:gradFill>
              <a:latin typeface="+mn-lt"/>
            </a:endParaRPr>
          </a:p>
          <a:p>
            <a:pPr>
              <a:buClr>
                <a:srgbClr val="404040"/>
              </a:buClr>
            </a:pPr>
            <a:r>
              <a:rPr sz="2000" dirty="0">
                <a:gradFill>
                  <a:gsLst>
                    <a:gs pos="2655">
                      <a:srgbClr val="FFFFFF"/>
                    </a:gs>
                    <a:gs pos="26000">
                      <a:srgbClr val="FFFFFF"/>
                    </a:gs>
                  </a:gsLst>
                  <a:lin ang="5400000" scaled="0"/>
                </a:gradFill>
                <a:latin typeface="+mn-lt"/>
                <a:hlinkClick r:id="rId9"/>
              </a:rPr>
              <a:t>www.corbisimages.com/stock-photo/royalty-free</a:t>
            </a:r>
            <a:endParaRPr sz="2000" dirty="0">
              <a:gradFill>
                <a:gsLst>
                  <a:gs pos="2655">
                    <a:srgbClr val="FFFFFF"/>
                  </a:gs>
                  <a:gs pos="26000">
                    <a:srgbClr val="FFFFFF"/>
                  </a:gs>
                </a:gsLst>
                <a:lin ang="5400000" scaled="0"/>
              </a:gradFill>
              <a:latin typeface="+mn-lt"/>
            </a:endParaRPr>
          </a:p>
          <a:p>
            <a:pPr>
              <a:buClr>
                <a:srgbClr val="404040"/>
              </a:buClr>
            </a:pPr>
            <a:endParaRPr sz="2000" dirty="0">
              <a:gradFill>
                <a:gsLst>
                  <a:gs pos="2655">
                    <a:srgbClr val="FFFFFF"/>
                  </a:gs>
                  <a:gs pos="26000">
                    <a:srgbClr val="FFFFFF"/>
                  </a:gs>
                </a:gsLst>
                <a:lin ang="5400000" scaled="0"/>
              </a:gradFill>
              <a:latin typeface="+mn-lt"/>
            </a:endParaRPr>
          </a:p>
          <a:p>
            <a:pPr>
              <a:buClr>
                <a:srgbClr val="404040"/>
              </a:buClr>
            </a:pPr>
            <a:r>
              <a:rPr lang="en-US" sz="2000" dirty="0">
                <a:gradFill>
                  <a:gsLst>
                    <a:gs pos="2655">
                      <a:srgbClr val="FFFFFF"/>
                    </a:gs>
                    <a:gs pos="26000">
                      <a:srgbClr val="FFFFFF"/>
                    </a:gs>
                  </a:gsLst>
                  <a:lin ang="5400000" scaled="0"/>
                </a:gradFill>
                <a:latin typeface="+mn-lt"/>
              </a:rPr>
              <a:t>See latest instructions for licensing at Media Acquisitions. Send your selection to Image Acquisitions: </a:t>
            </a:r>
            <a:r>
              <a:rPr lang="en-US" sz="2000" dirty="0">
                <a:gradFill>
                  <a:gsLst>
                    <a:gs pos="2655">
                      <a:srgbClr val="FFFFFF"/>
                    </a:gs>
                    <a:gs pos="26000">
                      <a:srgbClr val="FFFFFF"/>
                    </a:gs>
                  </a:gsLst>
                  <a:lin ang="5400000" scaled="0"/>
                </a:gradFill>
                <a:latin typeface="+mn-lt"/>
                <a:hlinkClick r:id="rId10"/>
              </a:rPr>
              <a:t>ImageAcq@Microsoft.com</a:t>
            </a:r>
            <a:r>
              <a:rPr lang="en-US" sz="2000" dirty="0">
                <a:gradFill>
                  <a:gsLst>
                    <a:gs pos="2655">
                      <a:srgbClr val="FFFFFF"/>
                    </a:gs>
                    <a:gs pos="26000">
                      <a:srgbClr val="FFFFFF"/>
                    </a:gs>
                  </a:gsLst>
                  <a:lin ang="5400000" scaled="0"/>
                </a:gradFill>
                <a:latin typeface="+mn-lt"/>
              </a:rPr>
              <a:t> </a:t>
            </a:r>
            <a:endParaRPr sz="2000" dirty="0">
              <a:gradFill>
                <a:gsLst>
                  <a:gs pos="2655">
                    <a:srgbClr val="FFFFFF"/>
                  </a:gs>
                  <a:gs pos="26000">
                    <a:srgbClr val="FFFFFF"/>
                  </a:gs>
                </a:gsLst>
                <a:lin ang="5400000" scaled="0"/>
              </a:gradFill>
              <a:latin typeface="+mn-lt"/>
            </a:endParaRPr>
          </a:p>
        </p:txBody>
      </p:sp>
    </p:spTree>
    <p:extLst>
      <p:ext uri="{BB962C8B-B14F-4D97-AF65-F5344CB8AC3E}">
        <p14:creationId xmlns:p14="http://schemas.microsoft.com/office/powerpoint/2010/main" val="3810104333"/>
      </p:ext>
    </p:extLst>
  </p:cSld>
  <p:clrMapOvr>
    <a:masterClrMapping/>
  </p:clrMapOvr>
  <p:transition>
    <p:fade/>
  </p:transition>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a:t>Preferred text layout (no bullets)</a:t>
            </a:r>
            <a:endParaRPr lang="en-US" dirty="0"/>
          </a:p>
        </p:txBody>
      </p:sp>
      <p:sp>
        <p:nvSpPr>
          <p:cNvPr id="6" name="Text Placeholder 5"/>
          <p:cNvSpPr>
            <a:spLocks noGrp="1"/>
          </p:cNvSpPr>
          <p:nvPr>
            <p:ph type="body" sz="quarter" idx="10"/>
          </p:nvPr>
        </p:nvSpPr>
        <p:spPr/>
        <p:txBody>
          <a:bodyPr/>
          <a:lstStyle/>
          <a:p>
            <a:r>
              <a:rPr lang="en-US" dirty="0"/>
              <a:t>Main topic 1: size 40pt</a:t>
            </a:r>
          </a:p>
          <a:p>
            <a:pPr lvl="1"/>
            <a:r>
              <a:rPr lang="en-US" dirty="0"/>
              <a:t>Size 20pt for the subtopics</a:t>
            </a:r>
          </a:p>
          <a:p>
            <a:pPr lvl="1"/>
            <a:r>
              <a:rPr lang="en-US" dirty="0"/>
              <a:t>Size 20pt for the subtopics</a:t>
            </a:r>
          </a:p>
          <a:p>
            <a:r>
              <a:rPr lang="en-US" dirty="0"/>
              <a:t>Main topic 2: size 40pt</a:t>
            </a:r>
          </a:p>
          <a:p>
            <a:pPr lvl="1"/>
            <a:r>
              <a:rPr lang="en-US" dirty="0"/>
              <a:t>Size 20pt for the subtopics</a:t>
            </a:r>
          </a:p>
          <a:p>
            <a:pPr lvl="1"/>
            <a:r>
              <a:rPr lang="en-US" dirty="0"/>
              <a:t>Size 20pt for the subtopics</a:t>
            </a:r>
          </a:p>
          <a:p>
            <a:r>
              <a:rPr lang="en-US" dirty="0"/>
              <a:t>Main topic 3: size 40pt</a:t>
            </a:r>
          </a:p>
          <a:p>
            <a:pPr lvl="1"/>
            <a:r>
              <a:rPr lang="en-US" dirty="0"/>
              <a:t>Size 20pt for the subtopics</a:t>
            </a:r>
          </a:p>
          <a:p>
            <a:pPr lvl="1"/>
            <a:r>
              <a:rPr lang="en-US" dirty="0"/>
              <a:t>Size 20pt for the subtopics</a:t>
            </a:r>
          </a:p>
        </p:txBody>
      </p:sp>
    </p:spTree>
    <p:extLst>
      <p:ext uri="{BB962C8B-B14F-4D97-AF65-F5344CB8AC3E}">
        <p14:creationId xmlns:p14="http://schemas.microsoft.com/office/powerpoint/2010/main" val="36958945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a:t>Preferred text layout (no bullets)</a:t>
            </a:r>
            <a:endParaRPr lang="en-US" dirty="0"/>
          </a:p>
        </p:txBody>
      </p:sp>
      <p:sp>
        <p:nvSpPr>
          <p:cNvPr id="6" name="Text Placeholder 5"/>
          <p:cNvSpPr>
            <a:spLocks noGrp="1"/>
          </p:cNvSpPr>
          <p:nvPr>
            <p:ph type="body" sz="quarter" idx="10"/>
          </p:nvPr>
        </p:nvSpPr>
        <p:spPr/>
        <p:txBody>
          <a:bodyPr/>
          <a:lstStyle/>
          <a:p>
            <a:r>
              <a:rPr lang="en-US" dirty="0"/>
              <a:t>Main topic 1: size 40pt</a:t>
            </a:r>
          </a:p>
          <a:p>
            <a:pPr lvl="1"/>
            <a:r>
              <a:rPr lang="en-US" dirty="0"/>
              <a:t>Size 20pt for the subtopics</a:t>
            </a:r>
          </a:p>
          <a:p>
            <a:pPr lvl="1"/>
            <a:r>
              <a:rPr lang="en-US" dirty="0"/>
              <a:t>Size 20pt for the subtopics</a:t>
            </a:r>
          </a:p>
          <a:p>
            <a:r>
              <a:rPr lang="en-US" dirty="0"/>
              <a:t>Main topic 2: size 40pt</a:t>
            </a:r>
          </a:p>
          <a:p>
            <a:pPr lvl="1"/>
            <a:r>
              <a:rPr lang="en-US" dirty="0"/>
              <a:t>Size 20pt for the subtopics</a:t>
            </a:r>
          </a:p>
          <a:p>
            <a:pPr lvl="1"/>
            <a:r>
              <a:rPr lang="en-US" dirty="0"/>
              <a:t>Size 20pt for the subtopics</a:t>
            </a:r>
          </a:p>
          <a:p>
            <a:r>
              <a:rPr lang="en-US" dirty="0"/>
              <a:t>Main topic 3: size 40pt</a:t>
            </a:r>
          </a:p>
          <a:p>
            <a:pPr lvl="1"/>
            <a:r>
              <a:rPr lang="en-US" dirty="0"/>
              <a:t>Size 20pt for the subtopics</a:t>
            </a:r>
          </a:p>
          <a:p>
            <a:pPr lvl="1"/>
            <a:r>
              <a:rPr lang="en-US" dirty="0"/>
              <a:t>Size 20pt for the subtopics</a:t>
            </a:r>
          </a:p>
        </p:txBody>
      </p:sp>
    </p:spTree>
    <p:extLst>
      <p:ext uri="{BB962C8B-B14F-4D97-AF65-F5344CB8AC3E}">
        <p14:creationId xmlns:p14="http://schemas.microsoft.com/office/powerpoint/2010/main" val="16429139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a:t>Adjusting list levels</a:t>
            </a:r>
            <a:endParaRPr lang="en-US" dirty="0"/>
          </a:p>
        </p:txBody>
      </p:sp>
      <p:sp>
        <p:nvSpPr>
          <p:cNvPr id="6" name="Text Placeholder 5"/>
          <p:cNvSpPr>
            <a:spLocks noGrp="1"/>
          </p:cNvSpPr>
          <p:nvPr>
            <p:ph type="body" sz="quarter" idx="10"/>
          </p:nvPr>
        </p:nvSpPr>
        <p:spPr/>
        <p:txBody>
          <a:bodyPr/>
          <a:lstStyle/>
          <a:p>
            <a:r>
              <a:rPr lang="en-US"/>
              <a:t>Main topic 1: size 40pt</a:t>
            </a:r>
          </a:p>
          <a:p>
            <a:pPr lvl="1"/>
            <a:r>
              <a:rPr lang="en-US"/>
              <a:t>Size 20pt for the subtopics</a:t>
            </a:r>
          </a:p>
          <a:p>
            <a:pPr lvl="1"/>
            <a:r>
              <a:rPr lang="en-US"/>
              <a:t>Size 20pt for the subtopics</a:t>
            </a:r>
          </a:p>
          <a:p>
            <a:r>
              <a:rPr lang="en-US"/>
              <a:t>Main topic 2: size 40pt</a:t>
            </a:r>
          </a:p>
          <a:p>
            <a:pPr lvl="1"/>
            <a:r>
              <a:rPr lang="en-US"/>
              <a:t>Size 20pt for the subtopics</a:t>
            </a:r>
          </a:p>
          <a:p>
            <a:pPr lvl="1"/>
            <a:r>
              <a:rPr lang="en-US"/>
              <a:t>Size 20pt for the subtopics</a:t>
            </a:r>
          </a:p>
          <a:p>
            <a:r>
              <a:rPr lang="en-US"/>
              <a:t>Main topic 3: size 40pt</a:t>
            </a:r>
          </a:p>
          <a:p>
            <a:pPr lvl="1"/>
            <a:r>
              <a:rPr lang="en-US"/>
              <a:t>Size 20pt for the subtopics</a:t>
            </a:r>
          </a:p>
          <a:p>
            <a:pPr lvl="1"/>
            <a:r>
              <a:rPr lang="en-US"/>
              <a:t>Size 20pt for the subtopics</a:t>
            </a:r>
            <a:endParaRPr lang="en-US" dirty="0"/>
          </a:p>
        </p:txBody>
      </p:sp>
      <p:pic>
        <p:nvPicPr>
          <p:cNvPr id="1027" name="Picture 3"/>
          <p:cNvPicPr>
            <a:picLocks noChangeArrowheads="1"/>
          </p:cNvPicPr>
          <p:nvPr/>
        </p:nvPicPr>
        <p:blipFill>
          <a:blip r:embed="rId3">
            <a:extLst>
              <a:ext uri="{28A0092B-C50C-407E-A947-70E740481C1C}">
                <a14:useLocalDpi xmlns:a14="http://schemas.microsoft.com/office/drawing/2010/main"/>
              </a:ext>
            </a:extLst>
          </a:blip>
          <a:stretch>
            <a:fillRect/>
          </a:stretch>
        </p:blipFill>
        <p:spPr bwMode="auto">
          <a:xfrm>
            <a:off x="2012043" y="5310029"/>
            <a:ext cx="6264116" cy="1396294"/>
          </a:xfrm>
          <a:prstGeom prst="rect">
            <a:avLst/>
          </a:prstGeom>
          <a:noFill/>
          <a:ln w="19050">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 name="Rectangle 12"/>
          <p:cNvSpPr/>
          <p:nvPr/>
        </p:nvSpPr>
        <p:spPr bwMode="auto">
          <a:xfrm>
            <a:off x="8501063" y="2765750"/>
            <a:ext cx="3663140" cy="394057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US" sz="1400" dirty="0">
                <a:gradFill>
                  <a:gsLst>
                    <a:gs pos="2929">
                      <a:schemeClr val="bg1"/>
                    </a:gs>
                    <a:gs pos="8000">
                      <a:schemeClr val="bg1"/>
                    </a:gs>
                  </a:gsLst>
                  <a:lin ang="5400000" scaled="0"/>
                </a:gradFill>
                <a:ea typeface="Segoe UI" pitchFamily="34" charset="0"/>
                <a:cs typeface="Segoe UI" pitchFamily="34" charset="0"/>
              </a:rPr>
              <a:t>Use the “Decrease List Level” and “Increase List Level” tools on the Home Menu to change text levels.</a:t>
            </a:r>
          </a:p>
          <a:p>
            <a:pPr defTabSz="932472" fontAlgn="base">
              <a:spcBef>
                <a:spcPts val="612"/>
              </a:spcBef>
              <a:spcAft>
                <a:spcPct val="0"/>
              </a:spcAft>
            </a:pPr>
            <a:r>
              <a:rPr lang="en-US" sz="1400" dirty="0">
                <a:gradFill>
                  <a:gsLst>
                    <a:gs pos="2929">
                      <a:schemeClr val="bg1"/>
                    </a:gs>
                    <a:gs pos="8000">
                      <a:schemeClr val="bg1"/>
                    </a:gs>
                  </a:gsLst>
                  <a:lin ang="5400000" scaled="0"/>
                </a:gradFill>
                <a:ea typeface="Segoe UI" pitchFamily="34" charset="0"/>
                <a:cs typeface="Segoe UI" pitchFamily="34" charset="0"/>
              </a:rPr>
              <a:t>Try this:  </a:t>
            </a:r>
          </a:p>
          <a:p>
            <a:pPr marL="294732" indent="-239672" defTabSz="932472" fontAlgn="base">
              <a:spcBef>
                <a:spcPct val="0"/>
              </a:spcBef>
              <a:spcAft>
                <a:spcPct val="0"/>
              </a:spcAft>
              <a:buFont typeface="+mj-lt"/>
              <a:buAutoNum type="arabicPeriod"/>
            </a:pPr>
            <a:r>
              <a:rPr lang="en-US" sz="1400" dirty="0">
                <a:gradFill>
                  <a:gsLst>
                    <a:gs pos="2929">
                      <a:schemeClr val="bg1"/>
                    </a:gs>
                    <a:gs pos="8000">
                      <a:schemeClr val="bg1"/>
                    </a:gs>
                  </a:gsLst>
                  <a:lin ang="5400000" scaled="0"/>
                </a:gradFill>
                <a:ea typeface="Segoe UI" pitchFamily="34" charset="0"/>
                <a:cs typeface="Segoe UI" pitchFamily="34" charset="0"/>
              </a:rPr>
              <a:t>Place your cursor in any row of text to the left that says “Size 20pt for subtopics”</a:t>
            </a:r>
          </a:p>
          <a:p>
            <a:pPr marL="294732" indent="-239672" defTabSz="932472" fontAlgn="base">
              <a:spcBef>
                <a:spcPct val="0"/>
              </a:spcBef>
              <a:spcAft>
                <a:spcPct val="0"/>
              </a:spcAft>
              <a:buFont typeface="+mj-lt"/>
              <a:buAutoNum type="arabicPeriod"/>
            </a:pPr>
            <a:r>
              <a:rPr lang="en-US" sz="1400" dirty="0">
                <a:gradFill>
                  <a:gsLst>
                    <a:gs pos="2929">
                      <a:schemeClr val="bg1"/>
                    </a:gs>
                    <a:gs pos="8000">
                      <a:schemeClr val="bg1"/>
                    </a:gs>
                  </a:gsLst>
                  <a:lin ang="5400000" scaled="0"/>
                </a:gradFill>
                <a:ea typeface="Segoe UI" pitchFamily="34" charset="0"/>
                <a:cs typeface="Segoe UI" pitchFamily="34" charset="0"/>
              </a:rPr>
              <a:t>Next click the Home tab, and then on the “</a:t>
            </a:r>
            <a:r>
              <a:rPr lang="en-US" sz="1400" u="sng" dirty="0">
                <a:gradFill>
                  <a:gsLst>
                    <a:gs pos="2929">
                      <a:schemeClr val="bg1"/>
                    </a:gs>
                    <a:gs pos="8000">
                      <a:schemeClr val="bg1"/>
                    </a:gs>
                  </a:gsLst>
                  <a:lin ang="5400000" scaled="0"/>
                </a:gradFill>
                <a:ea typeface="Segoe UI" pitchFamily="34" charset="0"/>
                <a:cs typeface="Segoe UI" pitchFamily="34" charset="0"/>
              </a:rPr>
              <a:t>Decrease List level</a:t>
            </a:r>
            <a:r>
              <a:rPr lang="en-US" sz="1400" dirty="0">
                <a:gradFill>
                  <a:gsLst>
                    <a:gs pos="2929">
                      <a:schemeClr val="bg1"/>
                    </a:gs>
                    <a:gs pos="8000">
                      <a:schemeClr val="bg1"/>
                    </a:gs>
                  </a:gsLst>
                  <a:lin ang="5400000" scaled="0"/>
                </a:gradFill>
                <a:ea typeface="Segoe UI" pitchFamily="34" charset="0"/>
                <a:cs typeface="Segoe UI" pitchFamily="34" charset="0"/>
              </a:rPr>
              <a:t>” tool. Notice how the line moves up one level.</a:t>
            </a:r>
          </a:p>
          <a:p>
            <a:pPr marL="294732" indent="-239672" defTabSz="932472" fontAlgn="base">
              <a:spcBef>
                <a:spcPct val="0"/>
              </a:spcBef>
              <a:spcAft>
                <a:spcPct val="0"/>
              </a:spcAft>
              <a:buFont typeface="+mj-lt"/>
              <a:buAutoNum type="arabicPeriod"/>
            </a:pPr>
            <a:r>
              <a:rPr lang="en-US" sz="1400" dirty="0">
                <a:gradFill>
                  <a:gsLst>
                    <a:gs pos="2929">
                      <a:schemeClr val="bg1"/>
                    </a:gs>
                    <a:gs pos="8000">
                      <a:schemeClr val="bg1"/>
                    </a:gs>
                  </a:gsLst>
                  <a:lin ang="5400000" scaled="0"/>
                </a:gradFill>
                <a:ea typeface="Segoe UI" pitchFamily="34" charset="0"/>
                <a:cs typeface="Segoe UI" pitchFamily="34" charset="0"/>
              </a:rPr>
              <a:t>Now try placing your cursor in one of the  “Main topic…” lines of text. Click the “</a:t>
            </a:r>
            <a:r>
              <a:rPr lang="en-US" sz="1400" u="sng" dirty="0">
                <a:gradFill>
                  <a:gsLst>
                    <a:gs pos="2929">
                      <a:schemeClr val="bg1"/>
                    </a:gs>
                    <a:gs pos="8000">
                      <a:schemeClr val="bg1"/>
                    </a:gs>
                  </a:gsLst>
                  <a:lin ang="5400000" scaled="0"/>
                </a:gradFill>
                <a:ea typeface="Segoe UI" pitchFamily="34" charset="0"/>
                <a:cs typeface="Segoe UI" pitchFamily="34" charset="0"/>
              </a:rPr>
              <a:t>Increase List Level</a:t>
            </a:r>
            <a:r>
              <a:rPr lang="en-US" sz="1400" dirty="0">
                <a:gradFill>
                  <a:gsLst>
                    <a:gs pos="2929">
                      <a:schemeClr val="bg1"/>
                    </a:gs>
                    <a:gs pos="8000">
                      <a:schemeClr val="bg1"/>
                    </a:gs>
                  </a:gsLst>
                  <a:lin ang="5400000" scaled="0"/>
                </a:gradFill>
                <a:ea typeface="Segoe UI" pitchFamily="34" charset="0"/>
                <a:cs typeface="Segoe UI" pitchFamily="34" charset="0"/>
              </a:rPr>
              <a:t>” tool and see how the text is pushed in one level</a:t>
            </a:r>
          </a:p>
          <a:p>
            <a:pPr defTabSz="932472" fontAlgn="base">
              <a:spcBef>
                <a:spcPts val="612"/>
              </a:spcBef>
              <a:spcAft>
                <a:spcPct val="0"/>
              </a:spcAft>
            </a:pPr>
            <a:r>
              <a:rPr lang="en-US" sz="1400" dirty="0">
                <a:gradFill>
                  <a:gsLst>
                    <a:gs pos="2929">
                      <a:schemeClr val="bg1"/>
                    </a:gs>
                    <a:gs pos="8000">
                      <a:schemeClr val="bg1"/>
                    </a:gs>
                  </a:gsLst>
                  <a:lin ang="5400000" scaled="0"/>
                </a:gradFill>
                <a:ea typeface="Segoe UI" pitchFamily="34" charset="0"/>
                <a:cs typeface="Segoe UI" pitchFamily="34" charset="0"/>
              </a:rPr>
              <a:t>Use these 2 tools to adjust your text levels as you work</a:t>
            </a:r>
          </a:p>
        </p:txBody>
      </p:sp>
    </p:spTree>
    <p:extLst>
      <p:ext uri="{BB962C8B-B14F-4D97-AF65-F5344CB8AC3E}">
        <p14:creationId xmlns:p14="http://schemas.microsoft.com/office/powerpoint/2010/main" val="25707918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74638" y="1942799"/>
            <a:ext cx="11887200" cy="2025170"/>
          </a:xfrm>
        </p:spPr>
        <p:txBody>
          <a:bodyPr/>
          <a:lstStyle/>
          <a:p>
            <a:r>
              <a:rPr lang="en-US"/>
              <a:t>Example of a bulleted slide with a subhead</a:t>
            </a:r>
          </a:p>
          <a:p>
            <a:pPr lvl="1"/>
            <a:r>
              <a:rPr lang="en-US"/>
              <a:t>Set the slide title to “Sentence case”</a:t>
            </a:r>
          </a:p>
          <a:p>
            <a:pPr lvl="1"/>
            <a:r>
              <a:rPr lang="en-US"/>
              <a:t>Set subheads to “Sentence case”</a:t>
            </a:r>
          </a:p>
          <a:p>
            <a:pPr lvl="0"/>
            <a:r>
              <a:rPr lang="en-US"/>
              <a:t>Hyperlink style</a:t>
            </a:r>
          </a:p>
          <a:p>
            <a:pPr lvl="1"/>
            <a:r>
              <a:rPr lang="en-US">
                <a:hlinkClick r:id="rId3"/>
              </a:rPr>
              <a:t>www.microsoft.com</a:t>
            </a:r>
            <a:r>
              <a:rPr lang="en-US"/>
              <a:t> </a:t>
            </a:r>
            <a:endParaRPr lang="en-US" dirty="0"/>
          </a:p>
        </p:txBody>
      </p:sp>
      <p:sp>
        <p:nvSpPr>
          <p:cNvPr id="2" name="Title 1"/>
          <p:cNvSpPr>
            <a:spLocks noGrp="1"/>
          </p:cNvSpPr>
          <p:nvPr>
            <p:ph type="title"/>
          </p:nvPr>
        </p:nvSpPr>
        <p:spPr/>
        <p:txBody>
          <a:bodyPr/>
          <a:lstStyle/>
          <a:p>
            <a:r>
              <a:rPr lang="en-US"/>
              <a:t>Bullet points layout with subtitle</a:t>
            </a:r>
            <a:br>
              <a:rPr lang="en-US"/>
            </a:br>
            <a:r>
              <a:rPr lang="en-US" sz="4000">
                <a:gradFill>
                  <a:gsLst>
                    <a:gs pos="0">
                      <a:schemeClr val="tx2"/>
                    </a:gs>
                    <a:gs pos="100000">
                      <a:schemeClr val="tx2"/>
                    </a:gs>
                  </a:gsLst>
                  <a:lin ang="5400000" scaled="0"/>
                </a:gradFill>
              </a:rPr>
              <a:t>Subtitle</a:t>
            </a:r>
            <a:endParaRPr lang="en-US" sz="4000" dirty="0">
              <a:gradFill>
                <a:gsLst>
                  <a:gs pos="0">
                    <a:schemeClr val="tx2"/>
                  </a:gs>
                  <a:gs pos="100000">
                    <a:schemeClr val="tx2"/>
                  </a:gs>
                </a:gsLst>
                <a:lin ang="5400000" scaled="0"/>
              </a:gradFill>
            </a:endParaRPr>
          </a:p>
        </p:txBody>
      </p:sp>
    </p:spTree>
    <p:extLst>
      <p:ext uri="{BB962C8B-B14F-4D97-AF65-F5344CB8AC3E}">
        <p14:creationId xmlns:p14="http://schemas.microsoft.com/office/powerpoint/2010/main" val="36128560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Customer evidence slide</a:t>
            </a:r>
          </a:p>
        </p:txBody>
      </p:sp>
      <p:sp>
        <p:nvSpPr>
          <p:cNvPr id="5" name="Picture Placeholder 4"/>
          <p:cNvSpPr>
            <a:spLocks noGrp="1"/>
          </p:cNvSpPr>
          <p:nvPr>
            <p:ph type="pic" sz="quarter" idx="10"/>
          </p:nvPr>
        </p:nvSpPr>
        <p:spPr/>
      </p:sp>
      <p:sp>
        <p:nvSpPr>
          <p:cNvPr id="6" name="Picture Placeholder 5"/>
          <p:cNvSpPr>
            <a:spLocks noGrp="1"/>
          </p:cNvSpPr>
          <p:nvPr>
            <p:ph type="pic" sz="quarter" idx="11"/>
          </p:nvPr>
        </p:nvSpPr>
        <p:spPr/>
      </p:sp>
      <p:sp>
        <p:nvSpPr>
          <p:cNvPr id="7" name="Text Placeholder 6"/>
          <p:cNvSpPr>
            <a:spLocks noGrp="1"/>
          </p:cNvSpPr>
          <p:nvPr>
            <p:ph type="body" sz="quarter" idx="12"/>
          </p:nvPr>
        </p:nvSpPr>
        <p:spPr/>
        <p:txBody>
          <a:bodyPr/>
          <a:lstStyle/>
          <a:p>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a:t>
            </a:r>
          </a:p>
          <a:p>
            <a:r>
              <a:rPr lang="en-US" dirty="0" err="1"/>
              <a:t>Duis</a:t>
            </a:r>
            <a:r>
              <a:rPr lang="en-US" dirty="0"/>
              <a:t> </a:t>
            </a:r>
            <a:r>
              <a:rPr lang="en-US" dirty="0" err="1"/>
              <a:t>aute</a:t>
            </a:r>
            <a:r>
              <a:rPr lang="en-US" dirty="0"/>
              <a:t> </a:t>
            </a:r>
            <a:r>
              <a:rPr lang="en-US" dirty="0" err="1"/>
              <a:t>irure</a:t>
            </a:r>
            <a:r>
              <a:rPr lang="en-US" dirty="0"/>
              <a:t> dolor.</a:t>
            </a:r>
          </a:p>
        </p:txBody>
      </p:sp>
      <p:sp>
        <p:nvSpPr>
          <p:cNvPr id="8" name="Text Placeholder 7"/>
          <p:cNvSpPr>
            <a:spLocks noGrp="1"/>
          </p:cNvSpPr>
          <p:nvPr>
            <p:ph type="body" sz="quarter" idx="13"/>
          </p:nvPr>
        </p:nvSpPr>
        <p:spPr/>
        <p:txBody>
          <a:bodyPr/>
          <a:lstStyle/>
          <a:p>
            <a:r>
              <a:rPr lang="en-US"/>
              <a:t>“You miss 100% of the</a:t>
            </a:r>
          </a:p>
          <a:p>
            <a:r>
              <a:rPr lang="en-US"/>
              <a:t>shots you don’t take”</a:t>
            </a:r>
          </a:p>
          <a:p>
            <a:pPr algn="r"/>
            <a:r>
              <a:rPr lang="en-US" sz="2000">
                <a:latin typeface="+mn-lt"/>
              </a:rPr>
              <a:t>– Jane Doe</a:t>
            </a:r>
            <a:endParaRPr lang="en-US" sz="2000" dirty="0">
              <a:latin typeface="+mn-lt"/>
            </a:endParaRPr>
          </a:p>
        </p:txBody>
      </p:sp>
    </p:spTree>
    <p:extLst>
      <p:ext uri="{BB962C8B-B14F-4D97-AF65-F5344CB8AC3E}">
        <p14:creationId xmlns:p14="http://schemas.microsoft.com/office/powerpoint/2010/main" val="1844454647"/>
      </p:ext>
    </p:extLst>
  </p:cSld>
  <p:clrMapOvr>
    <a:masterClrMapping/>
  </p:clrMapOvr>
  <p:transition>
    <p:fade/>
  </p:transition>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Picture 21"/>
          <p:cNvPicPr>
            <a:picLocks noChangeAspect="1"/>
          </p:cNvPicPr>
          <p:nvPr/>
        </p:nvPicPr>
        <p:blipFill>
          <a:blip r:embed="rId3"/>
          <a:stretch>
            <a:fillRect/>
          </a:stretch>
        </p:blipFill>
        <p:spPr>
          <a:xfrm>
            <a:off x="429178" y="2747826"/>
            <a:ext cx="1657350" cy="3248025"/>
          </a:xfrm>
          <a:prstGeom prst="rect">
            <a:avLst/>
          </a:prstGeom>
        </p:spPr>
      </p:pic>
      <p:pic>
        <p:nvPicPr>
          <p:cNvPr id="21" name="Picture 20" hidden="1"/>
          <p:cNvPicPr>
            <a:picLocks noChangeAspect="1"/>
          </p:cNvPicPr>
          <p:nvPr/>
        </p:nvPicPr>
        <p:blipFill>
          <a:blip r:embed="rId4"/>
          <a:stretch>
            <a:fillRect/>
          </a:stretch>
        </p:blipFill>
        <p:spPr>
          <a:xfrm>
            <a:off x="428810" y="2747826"/>
            <a:ext cx="1657350" cy="3248025"/>
          </a:xfrm>
          <a:prstGeom prst="rect">
            <a:avLst/>
          </a:prstGeom>
        </p:spPr>
      </p:pic>
      <p:sp>
        <p:nvSpPr>
          <p:cNvPr id="2" name="Title 1"/>
          <p:cNvSpPr>
            <a:spLocks noGrp="1"/>
          </p:cNvSpPr>
          <p:nvPr>
            <p:ph type="title"/>
          </p:nvPr>
        </p:nvSpPr>
        <p:spPr/>
        <p:txBody>
          <a:bodyPr/>
          <a:lstStyle/>
          <a:p>
            <a:r>
              <a:rPr lang="en-US" dirty="0"/>
              <a:t>Slide palette info</a:t>
            </a:r>
          </a:p>
        </p:txBody>
      </p:sp>
      <p:sp>
        <p:nvSpPr>
          <p:cNvPr id="4" name="Rectangle 3"/>
          <p:cNvSpPr/>
          <p:nvPr/>
        </p:nvSpPr>
        <p:spPr bwMode="auto">
          <a:xfrm>
            <a:off x="3630747" y="4254353"/>
            <a:ext cx="7127758" cy="1438579"/>
          </a:xfrm>
          <a:custGeom>
            <a:avLst/>
            <a:gdLst/>
            <a:ahLst/>
            <a:cxnLst/>
            <a:rect l="l" t="t" r="r" b="b"/>
            <a:pathLst>
              <a:path w="6985822" h="1410500">
                <a:moveTo>
                  <a:pt x="0" y="0"/>
                </a:moveTo>
                <a:lnTo>
                  <a:pt x="3955278" y="0"/>
                </a:lnTo>
                <a:lnTo>
                  <a:pt x="3955278" y="170496"/>
                </a:lnTo>
                <a:lnTo>
                  <a:pt x="6985822" y="170496"/>
                </a:lnTo>
                <a:lnTo>
                  <a:pt x="6985822" y="1284072"/>
                </a:lnTo>
                <a:lnTo>
                  <a:pt x="3955278" y="1284072"/>
                </a:lnTo>
                <a:lnTo>
                  <a:pt x="3955278" y="1410500"/>
                </a:lnTo>
                <a:lnTo>
                  <a:pt x="0" y="1410500"/>
                </a:lnTo>
                <a:close/>
              </a:path>
            </a:pathLst>
          </a:custGeom>
          <a:noFill/>
          <a:ln w="3175">
            <a:solidFill>
              <a:schemeClr val="tx1">
                <a:alpha val="27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p:nvSpPr>
        <p:spPr bwMode="auto">
          <a:xfrm>
            <a:off x="6361410" y="4393096"/>
            <a:ext cx="1206527" cy="1206042"/>
          </a:xfrm>
          <a:prstGeom prst="rect">
            <a:avLst/>
          </a:prstGeom>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000" dirty="0">
                <a:gradFill>
                  <a:gsLst>
                    <a:gs pos="5439">
                      <a:srgbClr val="F8F8F8"/>
                    </a:gs>
                    <a:gs pos="10000">
                      <a:srgbClr val="F8F8F8"/>
                    </a:gs>
                  </a:gsLst>
                  <a:lin ang="5400000" scaled="0"/>
                </a:gradFill>
              </a:rPr>
              <a:t>Accent 3</a:t>
            </a:r>
          </a:p>
        </p:txBody>
      </p:sp>
      <p:sp>
        <p:nvSpPr>
          <p:cNvPr id="6" name="Rectangle 5"/>
          <p:cNvSpPr/>
          <p:nvPr/>
        </p:nvSpPr>
        <p:spPr bwMode="auto">
          <a:xfrm>
            <a:off x="5056434" y="4393096"/>
            <a:ext cx="1206527" cy="1206042"/>
          </a:xfrm>
          <a:prstGeom prst="rect">
            <a:avLst/>
          </a:prstGeom>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000" dirty="0">
                <a:gradFill>
                  <a:gsLst>
                    <a:gs pos="5439">
                      <a:srgbClr val="F8F8F8"/>
                    </a:gs>
                    <a:gs pos="10000">
                      <a:srgbClr val="F8F8F8"/>
                    </a:gs>
                  </a:gsLst>
                  <a:lin ang="5400000" scaled="0"/>
                </a:gradFill>
              </a:rPr>
              <a:t>Accent 2</a:t>
            </a:r>
          </a:p>
        </p:txBody>
      </p:sp>
      <p:sp>
        <p:nvSpPr>
          <p:cNvPr id="7" name="Rectangle 6"/>
          <p:cNvSpPr/>
          <p:nvPr/>
        </p:nvSpPr>
        <p:spPr bwMode="auto">
          <a:xfrm>
            <a:off x="3751458" y="4393096"/>
            <a:ext cx="1206527" cy="1206042"/>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000" dirty="0">
                <a:gradFill>
                  <a:gsLst>
                    <a:gs pos="5439">
                      <a:srgbClr val="F8F8F8"/>
                    </a:gs>
                    <a:gs pos="10000">
                      <a:srgbClr val="F8F8F8"/>
                    </a:gs>
                  </a:gsLst>
                  <a:lin ang="5400000" scaled="0"/>
                </a:gradFill>
              </a:rPr>
              <a:t>Accent 1</a:t>
            </a:r>
          </a:p>
        </p:txBody>
      </p:sp>
      <p:sp>
        <p:nvSpPr>
          <p:cNvPr id="8" name="Rectangle 7"/>
          <p:cNvSpPr/>
          <p:nvPr/>
        </p:nvSpPr>
        <p:spPr bwMode="auto">
          <a:xfrm>
            <a:off x="9736779" y="4528438"/>
            <a:ext cx="935733" cy="935357"/>
          </a:xfrm>
          <a:prstGeom prst="rect">
            <a:avLst/>
          </a:prstGeom>
          <a:ln>
            <a:noFill/>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200" dirty="0">
                <a:gradFill>
                  <a:gsLst>
                    <a:gs pos="66372">
                      <a:srgbClr val="292929"/>
                    </a:gs>
                    <a:gs pos="53000">
                      <a:srgbClr val="292929"/>
                    </a:gs>
                  </a:gsLst>
                  <a:lin ang="5400000" scaled="0"/>
                </a:gradFill>
              </a:rPr>
              <a:t>Accent 6</a:t>
            </a:r>
          </a:p>
        </p:txBody>
      </p:sp>
      <p:sp>
        <p:nvSpPr>
          <p:cNvPr id="9" name="Rectangle 8"/>
          <p:cNvSpPr/>
          <p:nvPr/>
        </p:nvSpPr>
        <p:spPr bwMode="auto">
          <a:xfrm>
            <a:off x="8705220" y="4528438"/>
            <a:ext cx="935733" cy="935357"/>
          </a:xfrm>
          <a:prstGeom prst="rect">
            <a:avLst/>
          </a:prstGeom>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200" dirty="0">
                <a:gradFill>
                  <a:gsLst>
                    <a:gs pos="66372">
                      <a:srgbClr val="292929"/>
                    </a:gs>
                    <a:gs pos="53000">
                      <a:srgbClr val="292929"/>
                    </a:gs>
                  </a:gsLst>
                  <a:lin ang="5400000" scaled="0"/>
                </a:gradFill>
              </a:rPr>
              <a:t>Accent 5</a:t>
            </a:r>
          </a:p>
        </p:txBody>
      </p:sp>
      <p:sp>
        <p:nvSpPr>
          <p:cNvPr id="10" name="Rectangle 9"/>
          <p:cNvSpPr/>
          <p:nvPr/>
        </p:nvSpPr>
        <p:spPr bwMode="auto">
          <a:xfrm>
            <a:off x="7666388" y="4528438"/>
            <a:ext cx="935733" cy="935357"/>
          </a:xfrm>
          <a:prstGeom prst="rect">
            <a:avLst/>
          </a:prstGeom>
          <a:ln>
            <a:no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200" dirty="0">
                <a:gradFill>
                  <a:gsLst>
                    <a:gs pos="66372">
                      <a:srgbClr val="292929"/>
                    </a:gs>
                    <a:gs pos="53000">
                      <a:srgbClr val="292929"/>
                    </a:gs>
                  </a:gsLst>
                  <a:lin ang="5400000" scaled="0"/>
                </a:gradFill>
              </a:rPr>
              <a:t>Accent 4</a:t>
            </a:r>
          </a:p>
        </p:txBody>
      </p:sp>
      <p:sp>
        <p:nvSpPr>
          <p:cNvPr id="11" name="Rectangle 10"/>
          <p:cNvSpPr/>
          <p:nvPr/>
        </p:nvSpPr>
        <p:spPr bwMode="auto">
          <a:xfrm>
            <a:off x="2322664" y="4393096"/>
            <a:ext cx="1206527" cy="1206042"/>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rtlCol="0" anchor="ctr" anchorCtr="0" compatLnSpc="1">
            <a:prstTxWarp prst="textNoShape">
              <a:avLst/>
            </a:prstTxWarp>
          </a:bodyPr>
          <a:lstStyle/>
          <a:p>
            <a:pPr algn="ctr" defTabSz="932472" fontAlgn="base">
              <a:spcBef>
                <a:spcPct val="0"/>
              </a:spcBef>
              <a:spcAft>
                <a:spcPct val="0"/>
              </a:spcAft>
            </a:pPr>
            <a:r>
              <a:rPr lang="en-US" sz="1400" dirty="0">
                <a:gradFill>
                  <a:gsLst>
                    <a:gs pos="0">
                      <a:schemeClr val="bg1"/>
                    </a:gs>
                    <a:gs pos="100000">
                      <a:schemeClr val="bg1"/>
                    </a:gs>
                  </a:gsLst>
                  <a:lin ang="5400000" scaled="0"/>
                </a:gradFill>
              </a:rPr>
              <a:t>Text</a:t>
            </a:r>
          </a:p>
          <a:p>
            <a:pPr algn="ctr" defTabSz="932472" fontAlgn="base">
              <a:spcBef>
                <a:spcPct val="0"/>
              </a:spcBef>
              <a:spcAft>
                <a:spcPct val="0"/>
              </a:spcAft>
            </a:pPr>
            <a:r>
              <a:rPr lang="en-US" sz="1400" dirty="0">
                <a:gradFill>
                  <a:gsLst>
                    <a:gs pos="0">
                      <a:schemeClr val="bg1"/>
                    </a:gs>
                    <a:gs pos="100000">
                      <a:schemeClr val="bg1"/>
                    </a:gs>
                  </a:gsLst>
                  <a:lin ang="5400000" scaled="0"/>
                </a:gradFill>
              </a:rPr>
              <a:t>Dark 2</a:t>
            </a:r>
          </a:p>
        </p:txBody>
      </p:sp>
      <p:sp>
        <p:nvSpPr>
          <p:cNvPr id="13" name="TextBox 12"/>
          <p:cNvSpPr txBox="1"/>
          <p:nvPr/>
        </p:nvSpPr>
        <p:spPr>
          <a:xfrm>
            <a:off x="2937306" y="2725616"/>
            <a:ext cx="8862008" cy="565027"/>
          </a:xfrm>
          <a:prstGeom prst="rect">
            <a:avLst/>
          </a:prstGeom>
          <a:noFill/>
        </p:spPr>
        <p:txBody>
          <a:bodyPr wrap="square" lIns="182880" tIns="0" rIns="182880" bIns="0" rtlCol="0">
            <a:spAutoFit/>
          </a:bodyPr>
          <a:lstStyle/>
          <a:p>
            <a:r>
              <a:rPr lang="en-US" dirty="0">
                <a:gradFill>
                  <a:gsLst>
                    <a:gs pos="2917">
                      <a:schemeClr val="tx1"/>
                    </a:gs>
                    <a:gs pos="30000">
                      <a:schemeClr val="tx1"/>
                    </a:gs>
                  </a:gsLst>
                  <a:lin ang="5400000" scaled="0"/>
                </a:gradFill>
              </a:rPr>
              <a:t>Select the 4</a:t>
            </a:r>
            <a:r>
              <a:rPr lang="en-US" baseline="30000" dirty="0">
                <a:gradFill>
                  <a:gsLst>
                    <a:gs pos="2917">
                      <a:schemeClr val="tx1"/>
                    </a:gs>
                    <a:gs pos="30000">
                      <a:schemeClr val="tx1"/>
                    </a:gs>
                  </a:gsLst>
                  <a:lin ang="5400000" scaled="0"/>
                </a:gradFill>
              </a:rPr>
              <a:t>th</a:t>
            </a:r>
            <a:r>
              <a:rPr lang="en-US" dirty="0">
                <a:gradFill>
                  <a:gsLst>
                    <a:gs pos="2917">
                      <a:schemeClr val="tx1"/>
                    </a:gs>
                    <a:gs pos="30000">
                      <a:schemeClr val="tx1"/>
                    </a:gs>
                  </a:gsLst>
                  <a:lin ang="5400000" scaled="0"/>
                </a:gradFill>
              </a:rPr>
              <a:t> color from the left for subheads and 1</a:t>
            </a:r>
            <a:r>
              <a:rPr lang="en-US" baseline="30000" dirty="0">
                <a:gradFill>
                  <a:gsLst>
                    <a:gs pos="2917">
                      <a:schemeClr val="tx1"/>
                    </a:gs>
                    <a:gs pos="30000">
                      <a:schemeClr val="tx1"/>
                    </a:gs>
                  </a:gsLst>
                  <a:lin ang="5400000" scaled="0"/>
                </a:gradFill>
              </a:rPr>
              <a:t>st</a:t>
            </a:r>
            <a:r>
              <a:rPr lang="en-US" dirty="0">
                <a:gradFill>
                  <a:gsLst>
                    <a:gs pos="2917">
                      <a:schemeClr val="tx1"/>
                    </a:gs>
                    <a:gs pos="30000">
                      <a:schemeClr val="tx1"/>
                    </a:gs>
                  </a:gsLst>
                  <a:lin ang="5400000" scaled="0"/>
                </a:gradFill>
              </a:rPr>
              <a:t> level non-bulleted text color, or wherever “color” text is preferred over the default black/white text</a:t>
            </a:r>
          </a:p>
        </p:txBody>
      </p:sp>
      <p:sp>
        <p:nvSpPr>
          <p:cNvPr id="14" name="TextBox 13"/>
          <p:cNvSpPr txBox="1"/>
          <p:nvPr/>
        </p:nvSpPr>
        <p:spPr>
          <a:xfrm>
            <a:off x="3757856" y="3737150"/>
            <a:ext cx="7060545" cy="313904"/>
          </a:xfrm>
          <a:prstGeom prst="rect">
            <a:avLst/>
          </a:prstGeom>
          <a:noFill/>
        </p:spPr>
        <p:txBody>
          <a:bodyPr wrap="square" lIns="0" tIns="0" rIns="0" bIns="0" rtlCol="0">
            <a:spAutoFit/>
          </a:bodyPr>
          <a:lstStyle/>
          <a:p>
            <a:pPr algn="ctr"/>
            <a:r>
              <a:rPr lang="en-US" sz="2000" dirty="0">
                <a:gradFill>
                  <a:gsLst>
                    <a:gs pos="2917">
                      <a:schemeClr val="tx1"/>
                    </a:gs>
                    <a:gs pos="30000">
                      <a:schemeClr val="tx1"/>
                    </a:gs>
                  </a:gsLst>
                  <a:lin ang="5400000" scaled="0"/>
                </a:gradFill>
              </a:rPr>
              <a:t>Accent colors 1-6 – (6 Theme Colors to the far right)</a:t>
            </a:r>
          </a:p>
        </p:txBody>
      </p:sp>
      <p:grpSp>
        <p:nvGrpSpPr>
          <p:cNvPr id="15" name="Group 14"/>
          <p:cNvGrpSpPr/>
          <p:nvPr/>
        </p:nvGrpSpPr>
        <p:grpSpPr>
          <a:xfrm>
            <a:off x="3751456" y="3819883"/>
            <a:ext cx="6921056" cy="455867"/>
            <a:chOff x="5099206" y="3872901"/>
            <a:chExt cx="6165897" cy="363048"/>
          </a:xfrm>
        </p:grpSpPr>
        <p:cxnSp>
          <p:nvCxnSpPr>
            <p:cNvPr id="16" name="Straight Connector 15"/>
            <p:cNvCxnSpPr/>
            <p:nvPr/>
          </p:nvCxnSpPr>
          <p:spPr>
            <a:xfrm>
              <a:off x="5104785" y="4099191"/>
              <a:ext cx="6154739" cy="0"/>
            </a:xfrm>
            <a:prstGeom prst="line">
              <a:avLst/>
            </a:prstGeom>
            <a:noFill/>
            <a:ln>
              <a:solidFill>
                <a:schemeClr val="tx1"/>
              </a:solidFill>
              <a:headEnd type="arrow" w="med" len="med"/>
              <a:tailEnd type="arrow" w="med" len="med"/>
            </a:ln>
            <a:effectLst/>
          </p:spPr>
          <p:style>
            <a:lnRef idx="1">
              <a:schemeClr val="accent2"/>
            </a:lnRef>
            <a:fillRef idx="3">
              <a:schemeClr val="accent2"/>
            </a:fillRef>
            <a:effectRef idx="2">
              <a:schemeClr val="accent2"/>
            </a:effectRef>
            <a:fontRef idx="minor">
              <a:schemeClr val="lt1"/>
            </a:fontRef>
          </p:style>
        </p:cxnSp>
        <p:cxnSp>
          <p:nvCxnSpPr>
            <p:cNvPr id="17" name="Straight Connector 16"/>
            <p:cNvCxnSpPr/>
            <p:nvPr/>
          </p:nvCxnSpPr>
          <p:spPr>
            <a:xfrm>
              <a:off x="5099206" y="3872901"/>
              <a:ext cx="0" cy="363047"/>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11265103" y="3872902"/>
              <a:ext cx="0" cy="363047"/>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9" name="Text Placeholder 2"/>
          <p:cNvSpPr txBox="1">
            <a:spLocks/>
          </p:cNvSpPr>
          <p:nvPr/>
        </p:nvSpPr>
        <p:spPr>
          <a:xfrm>
            <a:off x="274638" y="1227844"/>
            <a:ext cx="11887200" cy="1209562"/>
          </a:xfrm>
          <a:prstGeom prst="rect">
            <a:avLst/>
          </a:prstGeom>
        </p:spPr>
        <p:txBody>
          <a:bodyPr vert="horz" wrap="square" lIns="182880" tIns="146304" rIns="182880" bIns="146304" rtlCol="0">
            <a:spAutoFit/>
          </a:bodyPr>
          <a:lstStyle>
            <a:lvl1pPr marL="0" marR="0" indent="0" algn="l" defTabSz="914363" rtl="0" eaLnBrk="1" fontAlgn="auto" latinLnBrk="0" hangingPunct="1">
              <a:lnSpc>
                <a:spcPct val="90000"/>
              </a:lnSpc>
              <a:spcBef>
                <a:spcPts val="2400"/>
              </a:spcBef>
              <a:spcAft>
                <a:spcPts val="0"/>
              </a:spcAft>
              <a:buClrTx/>
              <a:buSzPct val="90000"/>
              <a:buFont typeface="Arial" pitchFamily="34" charset="0"/>
              <a:buNone/>
              <a:tabLst/>
              <a:defRPr sz="4000" kern="1200" spc="-70" baseline="0">
                <a:gradFill>
                  <a:gsLst>
                    <a:gs pos="100000">
                      <a:schemeClr val="tx2"/>
                    </a:gs>
                    <a:gs pos="0">
                      <a:schemeClr val="tx2"/>
                    </a:gs>
                  </a:gsLst>
                  <a:lin ang="5400000" scaled="0"/>
                </a:gradFill>
                <a:latin typeface="+mj-lt"/>
                <a:ea typeface="+mn-ea"/>
                <a:cs typeface="+mn-cs"/>
              </a:defRPr>
            </a:lvl1pPr>
            <a:lvl2pPr marL="0" marR="0" indent="0" algn="l" defTabSz="914363" rtl="0" eaLnBrk="1" fontAlgn="auto" latinLnBrk="0" hangingPunct="1">
              <a:lnSpc>
                <a:spcPct val="90000"/>
              </a:lnSpc>
              <a:spcBef>
                <a:spcPct val="20000"/>
              </a:spcBef>
              <a:spcAft>
                <a:spcPts val="0"/>
              </a:spcAft>
              <a:buClrTx/>
              <a:buSzPct val="90000"/>
              <a:buFont typeface="Wingdings" pitchFamily="2" charset="2"/>
              <a:buNone/>
              <a:tabLst/>
              <a:defRPr sz="2000" kern="1200" spc="0" baseline="0">
                <a:gradFill>
                  <a:gsLst>
                    <a:gs pos="100000">
                      <a:schemeClr val="tx1"/>
                    </a:gs>
                    <a:gs pos="6000">
                      <a:schemeClr val="tx1"/>
                    </a:gs>
                  </a:gsLst>
                  <a:lin ang="5400000" scaled="0"/>
                </a:gradFill>
                <a:latin typeface="+mn-lt"/>
                <a:ea typeface="+mn-ea"/>
                <a:cs typeface="+mn-cs"/>
              </a:defRPr>
            </a:lvl2pPr>
            <a:lvl3pPr marL="231775" marR="0" indent="0" algn="l" defTabSz="914363" rtl="0" eaLnBrk="1" fontAlgn="auto" latinLnBrk="0" hangingPunct="1">
              <a:lnSpc>
                <a:spcPct val="90000"/>
              </a:lnSpc>
              <a:spcBef>
                <a:spcPct val="20000"/>
              </a:spcBef>
              <a:spcAft>
                <a:spcPts val="0"/>
              </a:spcAft>
              <a:buClrTx/>
              <a:buSzPct val="90000"/>
              <a:buFont typeface="Wingdings" pitchFamily="2" charset="2"/>
              <a:buNone/>
              <a:tabLst>
                <a:tab pos="798513" algn="l"/>
              </a:tabLst>
              <a:defRPr sz="2000" kern="1200" spc="0" baseline="0">
                <a:gradFill>
                  <a:gsLst>
                    <a:gs pos="100000">
                      <a:schemeClr val="tx1"/>
                    </a:gs>
                    <a:gs pos="6000">
                      <a:schemeClr val="tx1"/>
                    </a:gs>
                  </a:gsLst>
                  <a:lin ang="5400000" scaled="0"/>
                </a:gradFill>
                <a:latin typeface="+mn-lt"/>
                <a:ea typeface="+mn-ea"/>
                <a:cs typeface="+mn-cs"/>
              </a:defRPr>
            </a:lvl3pPr>
            <a:lvl4pPr marL="457200" marR="0" indent="0" algn="l" defTabSz="914363" rtl="0" eaLnBrk="1" fontAlgn="auto" latinLnBrk="0" hangingPunct="1">
              <a:lnSpc>
                <a:spcPct val="90000"/>
              </a:lnSpc>
              <a:spcBef>
                <a:spcPct val="20000"/>
              </a:spcBef>
              <a:spcAft>
                <a:spcPts val="0"/>
              </a:spcAft>
              <a:buClrTx/>
              <a:buSzPct val="90000"/>
              <a:buFont typeface="Wingdings" pitchFamily="2" charset="2"/>
              <a:buNone/>
              <a:tabLst/>
              <a:defRPr sz="2000" kern="1200" spc="0" baseline="0">
                <a:gradFill>
                  <a:gsLst>
                    <a:gs pos="100000">
                      <a:schemeClr val="tx1"/>
                    </a:gs>
                    <a:gs pos="6000">
                      <a:schemeClr val="tx1"/>
                    </a:gs>
                  </a:gsLst>
                  <a:lin ang="5400000" scaled="0"/>
                </a:gradFill>
                <a:latin typeface="+mn-lt"/>
                <a:ea typeface="+mn-ea"/>
                <a:cs typeface="+mn-cs"/>
              </a:defRPr>
            </a:lvl4pPr>
            <a:lvl5pPr marL="693738" marR="0" indent="0" algn="l" defTabSz="914363" rtl="0" eaLnBrk="1" fontAlgn="auto" latinLnBrk="0" hangingPunct="1">
              <a:lnSpc>
                <a:spcPct val="90000"/>
              </a:lnSpc>
              <a:spcBef>
                <a:spcPct val="20000"/>
              </a:spcBef>
              <a:spcAft>
                <a:spcPts val="0"/>
              </a:spcAft>
              <a:buClrTx/>
              <a:buSzPct val="90000"/>
              <a:buFont typeface="Wingdings" pitchFamily="2" charset="2"/>
              <a:buNone/>
              <a:tabLst>
                <a:tab pos="1255713" algn="l"/>
              </a:tabLst>
              <a:defRPr sz="2000" kern="1200" spc="0" baseline="0">
                <a:gradFill>
                  <a:gsLst>
                    <a:gs pos="100000">
                      <a:schemeClr val="tx1"/>
                    </a:gs>
                    <a:gs pos="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3200" dirty="0">
                <a:gradFill>
                  <a:gsLst>
                    <a:gs pos="2917">
                      <a:schemeClr val="tx2"/>
                    </a:gs>
                    <a:gs pos="30000">
                      <a:schemeClr val="tx2"/>
                    </a:gs>
                  </a:gsLst>
                  <a:lin ang="5400000" scaled="0"/>
                </a:gradFill>
              </a:rPr>
              <a:t>The PowerPoint palette for this template has been built for you and is shown below. Avoid using too many colors in your presentation. </a:t>
            </a:r>
          </a:p>
        </p:txBody>
      </p:sp>
      <p:sp>
        <p:nvSpPr>
          <p:cNvPr id="20" name="Text Placeholder 2"/>
          <p:cNvSpPr txBox="1">
            <a:spLocks/>
          </p:cNvSpPr>
          <p:nvPr/>
        </p:nvSpPr>
        <p:spPr>
          <a:xfrm>
            <a:off x="3751456" y="5843402"/>
            <a:ext cx="3816481" cy="762786"/>
          </a:xfrm>
          <a:prstGeom prst="rect">
            <a:avLst/>
          </a:prstGeom>
        </p:spPr>
        <p:txBody>
          <a:bodyPr vert="horz" wrap="square" lIns="182880" tIns="0" rIns="182880" bIns="0" rtlCol="0">
            <a:spAutoFit/>
          </a:bodyPr>
          <a:lstStyle>
            <a:lvl1pPr marL="0" marR="0" indent="0" algn="l" defTabSz="914363" rtl="0" eaLnBrk="1" fontAlgn="auto" latinLnBrk="0" hangingPunct="1">
              <a:lnSpc>
                <a:spcPct val="90000"/>
              </a:lnSpc>
              <a:spcBef>
                <a:spcPts val="2400"/>
              </a:spcBef>
              <a:spcAft>
                <a:spcPts val="0"/>
              </a:spcAft>
              <a:buClrTx/>
              <a:buSzPct val="90000"/>
              <a:buFont typeface="Arial" pitchFamily="34" charset="0"/>
              <a:buNone/>
              <a:tabLst/>
              <a:defRPr sz="4000" kern="1200" spc="-70" baseline="0">
                <a:gradFill>
                  <a:gsLst>
                    <a:gs pos="100000">
                      <a:schemeClr val="tx2"/>
                    </a:gs>
                    <a:gs pos="0">
                      <a:schemeClr val="tx2"/>
                    </a:gs>
                  </a:gsLst>
                  <a:lin ang="5400000" scaled="0"/>
                </a:gradFill>
                <a:latin typeface="+mj-lt"/>
                <a:ea typeface="+mn-ea"/>
                <a:cs typeface="+mn-cs"/>
              </a:defRPr>
            </a:lvl1pPr>
            <a:lvl2pPr marL="0" marR="0" indent="0" algn="l" defTabSz="914363" rtl="0" eaLnBrk="1" fontAlgn="auto" latinLnBrk="0" hangingPunct="1">
              <a:lnSpc>
                <a:spcPct val="90000"/>
              </a:lnSpc>
              <a:spcBef>
                <a:spcPct val="20000"/>
              </a:spcBef>
              <a:spcAft>
                <a:spcPts val="0"/>
              </a:spcAft>
              <a:buClrTx/>
              <a:buSzPct val="90000"/>
              <a:buFont typeface="Wingdings" pitchFamily="2" charset="2"/>
              <a:buNone/>
              <a:tabLst/>
              <a:defRPr sz="2000" kern="1200" spc="0" baseline="0">
                <a:gradFill>
                  <a:gsLst>
                    <a:gs pos="100000">
                      <a:schemeClr val="tx1"/>
                    </a:gs>
                    <a:gs pos="6000">
                      <a:schemeClr val="tx1"/>
                    </a:gs>
                  </a:gsLst>
                  <a:lin ang="5400000" scaled="0"/>
                </a:gradFill>
                <a:latin typeface="+mn-lt"/>
                <a:ea typeface="+mn-ea"/>
                <a:cs typeface="+mn-cs"/>
              </a:defRPr>
            </a:lvl2pPr>
            <a:lvl3pPr marL="231775" marR="0" indent="0" algn="l" defTabSz="914363" rtl="0" eaLnBrk="1" fontAlgn="auto" latinLnBrk="0" hangingPunct="1">
              <a:lnSpc>
                <a:spcPct val="90000"/>
              </a:lnSpc>
              <a:spcBef>
                <a:spcPct val="20000"/>
              </a:spcBef>
              <a:spcAft>
                <a:spcPts val="0"/>
              </a:spcAft>
              <a:buClrTx/>
              <a:buSzPct val="90000"/>
              <a:buFont typeface="Wingdings" pitchFamily="2" charset="2"/>
              <a:buNone/>
              <a:tabLst>
                <a:tab pos="798513" algn="l"/>
              </a:tabLst>
              <a:defRPr sz="2000" kern="1200" spc="0" baseline="0">
                <a:gradFill>
                  <a:gsLst>
                    <a:gs pos="100000">
                      <a:schemeClr val="tx1"/>
                    </a:gs>
                    <a:gs pos="6000">
                      <a:schemeClr val="tx1"/>
                    </a:gs>
                  </a:gsLst>
                  <a:lin ang="5400000" scaled="0"/>
                </a:gradFill>
                <a:latin typeface="+mn-lt"/>
                <a:ea typeface="+mn-ea"/>
                <a:cs typeface="+mn-cs"/>
              </a:defRPr>
            </a:lvl3pPr>
            <a:lvl4pPr marL="457200" marR="0" indent="0" algn="l" defTabSz="914363" rtl="0" eaLnBrk="1" fontAlgn="auto" latinLnBrk="0" hangingPunct="1">
              <a:lnSpc>
                <a:spcPct val="90000"/>
              </a:lnSpc>
              <a:spcBef>
                <a:spcPct val="20000"/>
              </a:spcBef>
              <a:spcAft>
                <a:spcPts val="0"/>
              </a:spcAft>
              <a:buClrTx/>
              <a:buSzPct val="90000"/>
              <a:buFont typeface="Wingdings" pitchFamily="2" charset="2"/>
              <a:buNone/>
              <a:tabLst/>
              <a:defRPr sz="2000" kern="1200" spc="0" baseline="0">
                <a:gradFill>
                  <a:gsLst>
                    <a:gs pos="100000">
                      <a:schemeClr val="tx1"/>
                    </a:gs>
                    <a:gs pos="6000">
                      <a:schemeClr val="tx1"/>
                    </a:gs>
                  </a:gsLst>
                  <a:lin ang="5400000" scaled="0"/>
                </a:gradFill>
                <a:latin typeface="+mn-lt"/>
                <a:ea typeface="+mn-ea"/>
                <a:cs typeface="+mn-cs"/>
              </a:defRPr>
            </a:lvl4pPr>
            <a:lvl5pPr marL="693738" marR="0" indent="0" algn="l" defTabSz="914363" rtl="0" eaLnBrk="1" fontAlgn="auto" latinLnBrk="0" hangingPunct="1">
              <a:lnSpc>
                <a:spcPct val="90000"/>
              </a:lnSpc>
              <a:spcBef>
                <a:spcPct val="20000"/>
              </a:spcBef>
              <a:spcAft>
                <a:spcPts val="0"/>
              </a:spcAft>
              <a:buClrTx/>
              <a:buSzPct val="90000"/>
              <a:buFont typeface="Wingdings" pitchFamily="2" charset="2"/>
              <a:buNone/>
              <a:tabLst>
                <a:tab pos="1255713" algn="l"/>
              </a:tabLst>
              <a:defRPr sz="2000" kern="1200" spc="0" baseline="0">
                <a:gradFill>
                  <a:gsLst>
                    <a:gs pos="100000">
                      <a:schemeClr val="tx1"/>
                    </a:gs>
                    <a:gs pos="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800" dirty="0">
                <a:gradFill>
                  <a:gsLst>
                    <a:gs pos="2917">
                      <a:schemeClr val="tx1"/>
                    </a:gs>
                    <a:gs pos="30000">
                      <a:schemeClr val="tx1"/>
                    </a:gs>
                  </a:gsLst>
                  <a:lin ang="5400000" scaled="0"/>
                </a:gradFill>
                <a:latin typeface="+mn-lt"/>
              </a:rPr>
              <a:t>Use </a:t>
            </a:r>
            <a:r>
              <a:rPr lang="en-US" sz="1800" b="1" dirty="0">
                <a:gradFill>
                  <a:gsLst>
                    <a:gs pos="2917">
                      <a:schemeClr val="tx1"/>
                    </a:gs>
                    <a:gs pos="30000">
                      <a:schemeClr val="tx1"/>
                    </a:gs>
                  </a:gsLst>
                  <a:lin ang="5400000" scaled="0"/>
                </a:gradFill>
                <a:latin typeface="+mn-lt"/>
              </a:rPr>
              <a:t>Accent 1</a:t>
            </a:r>
            <a:r>
              <a:rPr lang="en-US" sz="1800" dirty="0">
                <a:gradFill>
                  <a:gsLst>
                    <a:gs pos="2917">
                      <a:schemeClr val="tx1"/>
                    </a:gs>
                    <a:gs pos="30000">
                      <a:schemeClr val="tx1"/>
                    </a:gs>
                  </a:gsLst>
                  <a:lin ang="5400000" scaled="0"/>
                </a:gradFill>
                <a:latin typeface="+mn-lt"/>
              </a:rPr>
              <a:t> as the main accent color. Use </a:t>
            </a:r>
            <a:r>
              <a:rPr lang="en-US" sz="1800" b="1" dirty="0">
                <a:gradFill>
                  <a:gsLst>
                    <a:gs pos="2917">
                      <a:schemeClr val="tx1"/>
                    </a:gs>
                    <a:gs pos="30000">
                      <a:schemeClr val="tx1"/>
                    </a:gs>
                  </a:gsLst>
                  <a:lin ang="5400000" scaled="0"/>
                </a:gradFill>
                <a:latin typeface="+mn-lt"/>
              </a:rPr>
              <a:t>Accent 2</a:t>
            </a:r>
            <a:r>
              <a:rPr lang="en-US" sz="1800" dirty="0">
                <a:gradFill>
                  <a:gsLst>
                    <a:gs pos="2917">
                      <a:schemeClr val="tx1"/>
                    </a:gs>
                    <a:gs pos="30000">
                      <a:schemeClr val="tx1"/>
                    </a:gs>
                  </a:gsLst>
                  <a:lin ang="5400000" scaled="0"/>
                </a:gradFill>
                <a:latin typeface="+mn-lt"/>
              </a:rPr>
              <a:t> and </a:t>
            </a:r>
            <a:r>
              <a:rPr lang="en-US" sz="1800" b="1" dirty="0">
                <a:gradFill>
                  <a:gsLst>
                    <a:gs pos="2917">
                      <a:schemeClr val="tx1"/>
                    </a:gs>
                    <a:gs pos="30000">
                      <a:schemeClr val="tx1"/>
                    </a:gs>
                  </a:gsLst>
                  <a:lin ang="5400000" scaled="0"/>
                </a:gradFill>
                <a:latin typeface="+mn-lt"/>
              </a:rPr>
              <a:t>Accent 3</a:t>
            </a:r>
            <a:r>
              <a:rPr lang="en-US" sz="1800" dirty="0">
                <a:gradFill>
                  <a:gsLst>
                    <a:gs pos="2917">
                      <a:schemeClr val="tx1"/>
                    </a:gs>
                    <a:gs pos="30000">
                      <a:schemeClr val="tx1"/>
                    </a:gs>
                  </a:gsLst>
                  <a:lin ang="5400000" scaled="0"/>
                </a:gradFill>
                <a:latin typeface="+mn-lt"/>
              </a:rPr>
              <a:t> when </a:t>
            </a:r>
            <a:r>
              <a:rPr lang="en-US" sz="1800" dirty="0">
                <a:gradFill>
                  <a:gsLst>
                    <a:gs pos="0">
                      <a:schemeClr val="tx1"/>
                    </a:gs>
                    <a:gs pos="86000">
                      <a:schemeClr val="tx1"/>
                    </a:gs>
                  </a:gsLst>
                  <a:lin ang="5400000" scaled="0"/>
                </a:gradFill>
                <a:latin typeface="+mn-lt"/>
              </a:rPr>
              <a:t>additional colors are needed. </a:t>
            </a:r>
          </a:p>
        </p:txBody>
      </p:sp>
      <p:sp>
        <p:nvSpPr>
          <p:cNvPr id="29" name="Rectangle 28"/>
          <p:cNvSpPr/>
          <p:nvPr/>
        </p:nvSpPr>
        <p:spPr bwMode="auto">
          <a:xfrm>
            <a:off x="1088475" y="2983634"/>
            <a:ext cx="980023" cy="155434"/>
          </a:xfrm>
          <a:prstGeom prst="rect">
            <a:avLst/>
          </a:prstGeom>
          <a:noFill/>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24" name="Group 23"/>
          <p:cNvGrpSpPr/>
          <p:nvPr/>
        </p:nvGrpSpPr>
        <p:grpSpPr>
          <a:xfrm>
            <a:off x="1015144" y="2614870"/>
            <a:ext cx="1922161" cy="1980987"/>
            <a:chOff x="994929" y="2188508"/>
            <a:chExt cx="1883885" cy="1942320"/>
          </a:xfrm>
        </p:grpSpPr>
        <p:cxnSp>
          <p:nvCxnSpPr>
            <p:cNvPr id="25" name="Straight Connector 24"/>
            <p:cNvCxnSpPr/>
            <p:nvPr/>
          </p:nvCxnSpPr>
          <p:spPr>
            <a:xfrm>
              <a:off x="2878814" y="2188508"/>
              <a:ext cx="0" cy="1942320"/>
            </a:xfrm>
            <a:prstGeom prst="line">
              <a:avLst/>
            </a:prstGeom>
            <a:noFill/>
            <a:ln>
              <a:solidFill>
                <a:srgbClr val="C00000"/>
              </a:solidFill>
              <a:headEnd type="none" w="med" len="med"/>
              <a:tailEnd type="oval" w="med" len="med"/>
            </a:ln>
            <a:effectLst/>
          </p:spPr>
          <p:style>
            <a:lnRef idx="1">
              <a:schemeClr val="accent2"/>
            </a:lnRef>
            <a:fillRef idx="3">
              <a:schemeClr val="accent2"/>
            </a:fillRef>
            <a:effectRef idx="2">
              <a:schemeClr val="accent2"/>
            </a:effectRef>
            <a:fontRef idx="minor">
              <a:schemeClr val="lt1"/>
            </a:fontRef>
          </p:style>
        </p:cxnSp>
        <p:sp>
          <p:nvSpPr>
            <p:cNvPr id="26" name="Freeform 25"/>
            <p:cNvSpPr/>
            <p:nvPr/>
          </p:nvSpPr>
          <p:spPr bwMode="auto">
            <a:xfrm>
              <a:off x="994929" y="2188508"/>
              <a:ext cx="1883885" cy="264405"/>
            </a:xfrm>
            <a:custGeom>
              <a:avLst/>
              <a:gdLst>
                <a:gd name="connsiteX0" fmla="*/ 0 w 1883885"/>
                <a:gd name="connsiteY0" fmla="*/ 264405 h 264405"/>
                <a:gd name="connsiteX1" fmla="*/ 0 w 1883885"/>
                <a:gd name="connsiteY1" fmla="*/ 0 h 264405"/>
                <a:gd name="connsiteX2" fmla="*/ 1883885 w 1883885"/>
                <a:gd name="connsiteY2" fmla="*/ 0 h 264405"/>
              </a:gdLst>
              <a:ahLst/>
              <a:cxnLst>
                <a:cxn ang="0">
                  <a:pos x="connsiteX0" y="connsiteY0"/>
                </a:cxn>
                <a:cxn ang="0">
                  <a:pos x="connsiteX1" y="connsiteY1"/>
                </a:cxn>
                <a:cxn ang="0">
                  <a:pos x="connsiteX2" y="connsiteY2"/>
                </a:cxn>
              </a:cxnLst>
              <a:rect l="l" t="t" r="r" b="b"/>
              <a:pathLst>
                <a:path w="1883885" h="264405">
                  <a:moveTo>
                    <a:pt x="0" y="264405"/>
                  </a:moveTo>
                  <a:lnTo>
                    <a:pt x="0" y="0"/>
                  </a:lnTo>
                  <a:lnTo>
                    <a:pt x="1883885" y="0"/>
                  </a:lnTo>
                </a:path>
              </a:pathLst>
            </a:custGeom>
            <a:ln>
              <a:solidFill>
                <a:srgbClr val="C00000"/>
              </a:solidFill>
              <a:headEnd type="arrow"/>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sp>
        <p:nvSpPr>
          <p:cNvPr id="28" name="Text Placeholder 2"/>
          <p:cNvSpPr txBox="1">
            <a:spLocks/>
          </p:cNvSpPr>
          <p:nvPr/>
        </p:nvSpPr>
        <p:spPr>
          <a:xfrm>
            <a:off x="7823759" y="5742276"/>
            <a:ext cx="3006124" cy="452021"/>
          </a:xfrm>
          <a:prstGeom prst="rect">
            <a:avLst/>
          </a:prstGeom>
        </p:spPr>
        <p:txBody>
          <a:bodyPr vert="horz" wrap="square" lIns="0" tIns="0" rIns="0" bIns="0" rtlCol="0">
            <a:spAutoFit/>
          </a:bodyPr>
          <a:lstStyle>
            <a:lvl1pPr marL="0" marR="0" indent="0" algn="l" defTabSz="914363" rtl="0" eaLnBrk="1" fontAlgn="auto" latinLnBrk="0" hangingPunct="1">
              <a:lnSpc>
                <a:spcPct val="90000"/>
              </a:lnSpc>
              <a:spcBef>
                <a:spcPts val="2400"/>
              </a:spcBef>
              <a:spcAft>
                <a:spcPts val="0"/>
              </a:spcAft>
              <a:buClrTx/>
              <a:buSzPct val="90000"/>
              <a:buFont typeface="Arial" pitchFamily="34" charset="0"/>
              <a:buNone/>
              <a:tabLst/>
              <a:defRPr sz="4000" kern="1200" spc="-70" baseline="0">
                <a:gradFill>
                  <a:gsLst>
                    <a:gs pos="100000">
                      <a:schemeClr val="tx2"/>
                    </a:gs>
                    <a:gs pos="0">
                      <a:schemeClr val="tx2"/>
                    </a:gs>
                  </a:gsLst>
                  <a:lin ang="5400000" scaled="0"/>
                </a:gradFill>
                <a:latin typeface="+mj-lt"/>
                <a:ea typeface="+mn-ea"/>
                <a:cs typeface="+mn-cs"/>
              </a:defRPr>
            </a:lvl1pPr>
            <a:lvl2pPr marL="0" marR="0" indent="0" algn="l" defTabSz="914363" rtl="0" eaLnBrk="1" fontAlgn="auto" latinLnBrk="0" hangingPunct="1">
              <a:lnSpc>
                <a:spcPct val="90000"/>
              </a:lnSpc>
              <a:spcBef>
                <a:spcPct val="20000"/>
              </a:spcBef>
              <a:spcAft>
                <a:spcPts val="0"/>
              </a:spcAft>
              <a:buClrTx/>
              <a:buSzPct val="90000"/>
              <a:buFont typeface="Wingdings" pitchFamily="2" charset="2"/>
              <a:buNone/>
              <a:tabLst/>
              <a:defRPr sz="2000" kern="1200" spc="0" baseline="0">
                <a:gradFill>
                  <a:gsLst>
                    <a:gs pos="100000">
                      <a:schemeClr val="tx1"/>
                    </a:gs>
                    <a:gs pos="6000">
                      <a:schemeClr val="tx1"/>
                    </a:gs>
                  </a:gsLst>
                  <a:lin ang="5400000" scaled="0"/>
                </a:gradFill>
                <a:latin typeface="+mn-lt"/>
                <a:ea typeface="+mn-ea"/>
                <a:cs typeface="+mn-cs"/>
              </a:defRPr>
            </a:lvl2pPr>
            <a:lvl3pPr marL="231775" marR="0" indent="0" algn="l" defTabSz="914363" rtl="0" eaLnBrk="1" fontAlgn="auto" latinLnBrk="0" hangingPunct="1">
              <a:lnSpc>
                <a:spcPct val="90000"/>
              </a:lnSpc>
              <a:spcBef>
                <a:spcPct val="20000"/>
              </a:spcBef>
              <a:spcAft>
                <a:spcPts val="0"/>
              </a:spcAft>
              <a:buClrTx/>
              <a:buSzPct val="90000"/>
              <a:buFont typeface="Wingdings" pitchFamily="2" charset="2"/>
              <a:buNone/>
              <a:tabLst>
                <a:tab pos="798513" algn="l"/>
              </a:tabLst>
              <a:defRPr sz="2000" kern="1200" spc="0" baseline="0">
                <a:gradFill>
                  <a:gsLst>
                    <a:gs pos="100000">
                      <a:schemeClr val="tx1"/>
                    </a:gs>
                    <a:gs pos="6000">
                      <a:schemeClr val="tx1"/>
                    </a:gs>
                  </a:gsLst>
                  <a:lin ang="5400000" scaled="0"/>
                </a:gradFill>
                <a:latin typeface="+mn-lt"/>
                <a:ea typeface="+mn-ea"/>
                <a:cs typeface="+mn-cs"/>
              </a:defRPr>
            </a:lvl3pPr>
            <a:lvl4pPr marL="457200" marR="0" indent="0" algn="l" defTabSz="914363" rtl="0" eaLnBrk="1" fontAlgn="auto" latinLnBrk="0" hangingPunct="1">
              <a:lnSpc>
                <a:spcPct val="90000"/>
              </a:lnSpc>
              <a:spcBef>
                <a:spcPct val="20000"/>
              </a:spcBef>
              <a:spcAft>
                <a:spcPts val="0"/>
              </a:spcAft>
              <a:buClrTx/>
              <a:buSzPct val="90000"/>
              <a:buFont typeface="Wingdings" pitchFamily="2" charset="2"/>
              <a:buNone/>
              <a:tabLst/>
              <a:defRPr sz="2000" kern="1200" spc="0" baseline="0">
                <a:gradFill>
                  <a:gsLst>
                    <a:gs pos="100000">
                      <a:schemeClr val="tx1"/>
                    </a:gs>
                    <a:gs pos="6000">
                      <a:schemeClr val="tx1"/>
                    </a:gs>
                  </a:gsLst>
                  <a:lin ang="5400000" scaled="0"/>
                </a:gradFill>
                <a:latin typeface="+mn-lt"/>
                <a:ea typeface="+mn-ea"/>
                <a:cs typeface="+mn-cs"/>
              </a:defRPr>
            </a:lvl4pPr>
            <a:lvl5pPr marL="693738" marR="0" indent="0" algn="l" defTabSz="914363" rtl="0" eaLnBrk="1" fontAlgn="auto" latinLnBrk="0" hangingPunct="1">
              <a:lnSpc>
                <a:spcPct val="90000"/>
              </a:lnSpc>
              <a:spcBef>
                <a:spcPct val="20000"/>
              </a:spcBef>
              <a:spcAft>
                <a:spcPts val="0"/>
              </a:spcAft>
              <a:buClrTx/>
              <a:buSzPct val="90000"/>
              <a:buFont typeface="Wingdings" pitchFamily="2" charset="2"/>
              <a:buNone/>
              <a:tabLst>
                <a:tab pos="1255713" algn="l"/>
              </a:tabLst>
              <a:defRPr sz="2000" kern="1200" spc="0" baseline="0">
                <a:gradFill>
                  <a:gsLst>
                    <a:gs pos="100000">
                      <a:schemeClr val="tx1"/>
                    </a:gs>
                    <a:gs pos="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600" dirty="0">
                <a:gradFill>
                  <a:gsLst>
                    <a:gs pos="0">
                      <a:schemeClr val="tx1"/>
                    </a:gs>
                    <a:gs pos="86000">
                      <a:schemeClr val="tx1"/>
                    </a:gs>
                  </a:gsLst>
                  <a:lin ang="5400000" scaled="0"/>
                </a:gradFill>
                <a:latin typeface="+mn-lt"/>
              </a:rPr>
              <a:t>Use </a:t>
            </a:r>
            <a:r>
              <a:rPr lang="en-US" sz="1600" b="1" dirty="0">
                <a:gradFill>
                  <a:gsLst>
                    <a:gs pos="0">
                      <a:schemeClr val="tx1"/>
                    </a:gs>
                    <a:gs pos="86000">
                      <a:schemeClr val="tx1"/>
                    </a:gs>
                  </a:gsLst>
                  <a:lin ang="5400000" scaled="0"/>
                </a:gradFill>
                <a:latin typeface="+mn-lt"/>
              </a:rPr>
              <a:t>Accents 4-6 </a:t>
            </a:r>
            <a:r>
              <a:rPr lang="en-US" sz="1600" dirty="0">
                <a:gradFill>
                  <a:gsLst>
                    <a:gs pos="0">
                      <a:schemeClr val="tx1"/>
                    </a:gs>
                    <a:gs pos="86000">
                      <a:schemeClr val="tx1"/>
                    </a:gs>
                  </a:gsLst>
                  <a:lin ang="5400000" scaled="0"/>
                </a:gradFill>
                <a:latin typeface="+mn-lt"/>
              </a:rPr>
              <a:t>sparingly – only when more colors are necessary. </a:t>
            </a:r>
          </a:p>
        </p:txBody>
      </p:sp>
      <p:cxnSp>
        <p:nvCxnSpPr>
          <p:cNvPr id="12" name="Straight Arrow Connector 11"/>
          <p:cNvCxnSpPr/>
          <p:nvPr/>
        </p:nvCxnSpPr>
        <p:spPr>
          <a:xfrm>
            <a:off x="1015144" y="2308555"/>
            <a:ext cx="0" cy="414394"/>
          </a:xfrm>
          <a:prstGeom prst="straightConnector1">
            <a:avLst/>
          </a:prstGeom>
          <a:ln>
            <a:solidFill>
              <a:srgbClr val="C00000"/>
            </a:solidFill>
            <a:headEnd type="arrow"/>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871717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Video</a:t>
            </a:r>
          </a:p>
        </p:txBody>
      </p:sp>
    </p:spTree>
    <p:extLst>
      <p:ext uri="{BB962C8B-B14F-4D97-AF65-F5344CB8AC3E}">
        <p14:creationId xmlns:p14="http://schemas.microsoft.com/office/powerpoint/2010/main" val="142919920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3868110" y="1820862"/>
            <a:ext cx="6462851" cy="4654652"/>
            <a:chOff x="684027" y="1052513"/>
            <a:chExt cx="7777163" cy="5057775"/>
          </a:xfrm>
        </p:grpSpPr>
        <p:sp>
          <p:nvSpPr>
            <p:cNvPr id="48147" name="Freeform 4"/>
            <p:cNvSpPr>
              <a:spLocks noChangeAspect="1"/>
            </p:cNvSpPr>
            <p:nvPr>
              <p:custDataLst>
                <p:tags r:id="rId1"/>
              </p:custDataLst>
            </p:nvPr>
          </p:nvSpPr>
          <p:spPr bwMode="auto">
            <a:xfrm>
              <a:off x="2136468" y="3825706"/>
              <a:ext cx="732823" cy="277319"/>
            </a:xfrm>
            <a:custGeom>
              <a:avLst/>
              <a:gdLst>
                <a:gd name="T0" fmla="*/ 0 w 283"/>
                <a:gd name="T1" fmla="*/ 0 h 114"/>
                <a:gd name="T2" fmla="*/ 0 w 283"/>
                <a:gd name="T3" fmla="*/ 0 h 114"/>
                <a:gd name="T4" fmla="*/ 0 w 283"/>
                <a:gd name="T5" fmla="*/ 0 h 114"/>
                <a:gd name="T6" fmla="*/ 0 w 283"/>
                <a:gd name="T7" fmla="*/ 0 h 114"/>
                <a:gd name="T8" fmla="*/ 0 w 283"/>
                <a:gd name="T9" fmla="*/ 0 h 114"/>
                <a:gd name="T10" fmla="*/ 0 w 283"/>
                <a:gd name="T11" fmla="*/ 0 h 114"/>
                <a:gd name="T12" fmla="*/ 0 w 283"/>
                <a:gd name="T13" fmla="*/ 0 h 114"/>
                <a:gd name="T14" fmla="*/ 0 w 283"/>
                <a:gd name="T15" fmla="*/ 0 h 114"/>
                <a:gd name="T16" fmla="*/ 0 w 283"/>
                <a:gd name="T17" fmla="*/ 0 h 114"/>
                <a:gd name="T18" fmla="*/ 0 w 283"/>
                <a:gd name="T19" fmla="*/ 0 h 114"/>
                <a:gd name="T20" fmla="*/ 0 w 283"/>
                <a:gd name="T21" fmla="*/ 0 h 114"/>
                <a:gd name="T22" fmla="*/ 0 w 283"/>
                <a:gd name="T23" fmla="*/ 0 h 114"/>
                <a:gd name="T24" fmla="*/ 0 w 283"/>
                <a:gd name="T25" fmla="*/ 0 h 114"/>
                <a:gd name="T26" fmla="*/ 0 w 283"/>
                <a:gd name="T27" fmla="*/ 0 h 114"/>
                <a:gd name="T28" fmla="*/ 0 w 283"/>
                <a:gd name="T29" fmla="*/ 0 h 114"/>
                <a:gd name="T30" fmla="*/ 0 w 283"/>
                <a:gd name="T31" fmla="*/ 0 h 114"/>
                <a:gd name="T32" fmla="*/ 0 w 283"/>
                <a:gd name="T33" fmla="*/ 0 h 114"/>
                <a:gd name="T34" fmla="*/ 0 w 283"/>
                <a:gd name="T35" fmla="*/ 0 h 114"/>
                <a:gd name="T36" fmla="*/ 0 w 283"/>
                <a:gd name="T37" fmla="*/ 0 h 114"/>
                <a:gd name="T38" fmla="*/ 0 w 283"/>
                <a:gd name="T39" fmla="*/ 0 h 114"/>
                <a:gd name="T40" fmla="*/ 0 w 283"/>
                <a:gd name="T41" fmla="*/ 0 h 114"/>
                <a:gd name="T42" fmla="*/ 0 w 283"/>
                <a:gd name="T43" fmla="*/ 0 h 114"/>
                <a:gd name="T44" fmla="*/ 0 w 283"/>
                <a:gd name="T45" fmla="*/ 0 h 114"/>
                <a:gd name="T46" fmla="*/ 0 w 283"/>
                <a:gd name="T47" fmla="*/ 0 h 114"/>
                <a:gd name="T48" fmla="*/ 0 w 283"/>
                <a:gd name="T49" fmla="*/ 0 h 114"/>
                <a:gd name="T50" fmla="*/ 0 w 283"/>
                <a:gd name="T51" fmla="*/ 0 h 114"/>
                <a:gd name="T52" fmla="*/ 0 w 283"/>
                <a:gd name="T53" fmla="*/ 0 h 114"/>
                <a:gd name="T54" fmla="*/ 0 w 283"/>
                <a:gd name="T55" fmla="*/ 0 h 114"/>
                <a:gd name="T56" fmla="*/ 0 w 283"/>
                <a:gd name="T57" fmla="*/ 0 h 114"/>
                <a:gd name="T58" fmla="*/ 0 w 283"/>
                <a:gd name="T59" fmla="*/ 0 h 114"/>
                <a:gd name="T60" fmla="*/ 0 w 283"/>
                <a:gd name="T61" fmla="*/ 0 h 114"/>
                <a:gd name="T62" fmla="*/ 0 w 283"/>
                <a:gd name="T63" fmla="*/ 0 h 114"/>
                <a:gd name="T64" fmla="*/ 0 w 283"/>
                <a:gd name="T65" fmla="*/ 0 h 114"/>
                <a:gd name="T66" fmla="*/ 0 w 283"/>
                <a:gd name="T67" fmla="*/ 0 h 114"/>
                <a:gd name="T68" fmla="*/ 0 w 283"/>
                <a:gd name="T69" fmla="*/ 0 h 114"/>
                <a:gd name="T70" fmla="*/ 0 w 283"/>
                <a:gd name="T71" fmla="*/ 0 h 114"/>
                <a:gd name="T72" fmla="*/ 0 w 283"/>
                <a:gd name="T73" fmla="*/ 0 h 114"/>
                <a:gd name="T74" fmla="*/ 0 w 283"/>
                <a:gd name="T75" fmla="*/ 0 h 114"/>
                <a:gd name="T76" fmla="*/ 0 w 283"/>
                <a:gd name="T77" fmla="*/ 0 h 114"/>
                <a:gd name="T78" fmla="*/ 0 w 283"/>
                <a:gd name="T79" fmla="*/ 0 h 114"/>
                <a:gd name="T80" fmla="*/ 0 w 283"/>
                <a:gd name="T81" fmla="*/ 0 h 114"/>
                <a:gd name="T82" fmla="*/ 0 w 283"/>
                <a:gd name="T83" fmla="*/ 0 h 114"/>
                <a:gd name="T84" fmla="*/ 0 w 283"/>
                <a:gd name="T85" fmla="*/ 0 h 114"/>
                <a:gd name="T86" fmla="*/ 0 w 283"/>
                <a:gd name="T87" fmla="*/ 0 h 114"/>
                <a:gd name="T88" fmla="*/ 0 w 283"/>
                <a:gd name="T89" fmla="*/ 0 h 114"/>
                <a:gd name="T90" fmla="*/ 0 w 283"/>
                <a:gd name="T91" fmla="*/ 0 h 114"/>
                <a:gd name="T92" fmla="*/ 0 w 283"/>
                <a:gd name="T93" fmla="*/ 0 h 114"/>
                <a:gd name="T94" fmla="*/ 0 w 283"/>
                <a:gd name="T95" fmla="*/ 0 h 114"/>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283" h="114">
                  <a:moveTo>
                    <a:pt x="282" y="45"/>
                  </a:moveTo>
                  <a:lnTo>
                    <a:pt x="271" y="45"/>
                  </a:lnTo>
                  <a:lnTo>
                    <a:pt x="271" y="11"/>
                  </a:lnTo>
                  <a:lnTo>
                    <a:pt x="237" y="11"/>
                  </a:lnTo>
                  <a:lnTo>
                    <a:pt x="215" y="23"/>
                  </a:lnTo>
                  <a:lnTo>
                    <a:pt x="169" y="23"/>
                  </a:lnTo>
                  <a:lnTo>
                    <a:pt x="147" y="0"/>
                  </a:lnTo>
                  <a:lnTo>
                    <a:pt x="113" y="0"/>
                  </a:lnTo>
                  <a:lnTo>
                    <a:pt x="90" y="23"/>
                  </a:lnTo>
                  <a:lnTo>
                    <a:pt x="68" y="23"/>
                  </a:lnTo>
                  <a:lnTo>
                    <a:pt x="45" y="23"/>
                  </a:lnTo>
                  <a:lnTo>
                    <a:pt x="45" y="0"/>
                  </a:lnTo>
                  <a:lnTo>
                    <a:pt x="23" y="0"/>
                  </a:lnTo>
                  <a:lnTo>
                    <a:pt x="11" y="11"/>
                  </a:lnTo>
                  <a:lnTo>
                    <a:pt x="0" y="34"/>
                  </a:lnTo>
                  <a:lnTo>
                    <a:pt x="11" y="34"/>
                  </a:lnTo>
                  <a:lnTo>
                    <a:pt x="11" y="45"/>
                  </a:lnTo>
                  <a:lnTo>
                    <a:pt x="34" y="23"/>
                  </a:lnTo>
                  <a:lnTo>
                    <a:pt x="45" y="23"/>
                  </a:lnTo>
                  <a:lnTo>
                    <a:pt x="56" y="34"/>
                  </a:lnTo>
                  <a:lnTo>
                    <a:pt x="45" y="34"/>
                  </a:lnTo>
                  <a:lnTo>
                    <a:pt x="45" y="45"/>
                  </a:lnTo>
                  <a:lnTo>
                    <a:pt x="23" y="45"/>
                  </a:lnTo>
                  <a:lnTo>
                    <a:pt x="11" y="45"/>
                  </a:lnTo>
                  <a:lnTo>
                    <a:pt x="11" y="56"/>
                  </a:lnTo>
                  <a:lnTo>
                    <a:pt x="23" y="45"/>
                  </a:lnTo>
                  <a:lnTo>
                    <a:pt x="23" y="56"/>
                  </a:lnTo>
                  <a:lnTo>
                    <a:pt x="11" y="68"/>
                  </a:lnTo>
                  <a:lnTo>
                    <a:pt x="11" y="79"/>
                  </a:lnTo>
                  <a:lnTo>
                    <a:pt x="23" y="90"/>
                  </a:lnTo>
                  <a:lnTo>
                    <a:pt x="34" y="101"/>
                  </a:lnTo>
                  <a:lnTo>
                    <a:pt x="45" y="101"/>
                  </a:lnTo>
                  <a:lnTo>
                    <a:pt x="45" y="113"/>
                  </a:lnTo>
                  <a:lnTo>
                    <a:pt x="56" y="113"/>
                  </a:lnTo>
                  <a:lnTo>
                    <a:pt x="79" y="113"/>
                  </a:lnTo>
                  <a:lnTo>
                    <a:pt x="90" y="113"/>
                  </a:lnTo>
                  <a:lnTo>
                    <a:pt x="102" y="113"/>
                  </a:lnTo>
                  <a:lnTo>
                    <a:pt x="113" y="113"/>
                  </a:lnTo>
                  <a:lnTo>
                    <a:pt x="136" y="113"/>
                  </a:lnTo>
                  <a:lnTo>
                    <a:pt x="158" y="113"/>
                  </a:lnTo>
                  <a:lnTo>
                    <a:pt x="192" y="101"/>
                  </a:lnTo>
                  <a:lnTo>
                    <a:pt x="203" y="113"/>
                  </a:lnTo>
                  <a:lnTo>
                    <a:pt x="226" y="101"/>
                  </a:lnTo>
                  <a:lnTo>
                    <a:pt x="260" y="101"/>
                  </a:lnTo>
                  <a:lnTo>
                    <a:pt x="260" y="90"/>
                  </a:lnTo>
                  <a:lnTo>
                    <a:pt x="282" y="101"/>
                  </a:lnTo>
                  <a:lnTo>
                    <a:pt x="271" y="45"/>
                  </a:lnTo>
                  <a:lnTo>
                    <a:pt x="282" y="45"/>
                  </a:lnTo>
                </a:path>
              </a:pathLst>
            </a:custGeom>
            <a:solidFill>
              <a:srgbClr val="FFFFFF"/>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836"/>
            </a:p>
          </p:txBody>
        </p:sp>
        <p:sp>
          <p:nvSpPr>
            <p:cNvPr id="48148" name="Freeform 5"/>
            <p:cNvSpPr>
              <a:spLocks noChangeAspect="1"/>
            </p:cNvSpPr>
            <p:nvPr>
              <p:custDataLst>
                <p:tags r:id="rId2"/>
              </p:custDataLst>
            </p:nvPr>
          </p:nvSpPr>
          <p:spPr bwMode="auto">
            <a:xfrm>
              <a:off x="2129866" y="1052513"/>
              <a:ext cx="6331324" cy="3037306"/>
            </a:xfrm>
            <a:custGeom>
              <a:avLst/>
              <a:gdLst>
                <a:gd name="T0" fmla="*/ 0 w 2428"/>
                <a:gd name="T1" fmla="*/ 0 h 1241"/>
                <a:gd name="T2" fmla="*/ 0 w 2428"/>
                <a:gd name="T3" fmla="*/ 0 h 1241"/>
                <a:gd name="T4" fmla="*/ 0 w 2428"/>
                <a:gd name="T5" fmla="*/ 0 h 1241"/>
                <a:gd name="T6" fmla="*/ 0 w 2428"/>
                <a:gd name="T7" fmla="*/ 0 h 1241"/>
                <a:gd name="T8" fmla="*/ 0 w 2428"/>
                <a:gd name="T9" fmla="*/ 0 h 1241"/>
                <a:gd name="T10" fmla="*/ 0 w 2428"/>
                <a:gd name="T11" fmla="*/ 0 h 1241"/>
                <a:gd name="T12" fmla="*/ 0 w 2428"/>
                <a:gd name="T13" fmla="*/ 0 h 1241"/>
                <a:gd name="T14" fmla="*/ 0 w 2428"/>
                <a:gd name="T15" fmla="*/ 0 h 1241"/>
                <a:gd name="T16" fmla="*/ 0 w 2428"/>
                <a:gd name="T17" fmla="*/ 0 h 1241"/>
                <a:gd name="T18" fmla="*/ 0 w 2428"/>
                <a:gd name="T19" fmla="*/ 0 h 1241"/>
                <a:gd name="T20" fmla="*/ 0 w 2428"/>
                <a:gd name="T21" fmla="*/ 0 h 1241"/>
                <a:gd name="T22" fmla="*/ 0 w 2428"/>
                <a:gd name="T23" fmla="*/ 0 h 1241"/>
                <a:gd name="T24" fmla="*/ 0 w 2428"/>
                <a:gd name="T25" fmla="*/ 0 h 1241"/>
                <a:gd name="T26" fmla="*/ 0 w 2428"/>
                <a:gd name="T27" fmla="*/ 0 h 1241"/>
                <a:gd name="T28" fmla="*/ 0 w 2428"/>
                <a:gd name="T29" fmla="*/ 0 h 1241"/>
                <a:gd name="T30" fmla="*/ 0 w 2428"/>
                <a:gd name="T31" fmla="*/ 0 h 1241"/>
                <a:gd name="T32" fmla="*/ 0 w 2428"/>
                <a:gd name="T33" fmla="*/ 0 h 1241"/>
                <a:gd name="T34" fmla="*/ 0 w 2428"/>
                <a:gd name="T35" fmla="*/ 0 h 1241"/>
                <a:gd name="T36" fmla="*/ 0 w 2428"/>
                <a:gd name="T37" fmla="*/ 0 h 1241"/>
                <a:gd name="T38" fmla="*/ 0 w 2428"/>
                <a:gd name="T39" fmla="*/ 0 h 1241"/>
                <a:gd name="T40" fmla="*/ 0 w 2428"/>
                <a:gd name="T41" fmla="*/ 0 h 1241"/>
                <a:gd name="T42" fmla="*/ 0 w 2428"/>
                <a:gd name="T43" fmla="*/ 0 h 1241"/>
                <a:gd name="T44" fmla="*/ 0 w 2428"/>
                <a:gd name="T45" fmla="*/ 0 h 1241"/>
                <a:gd name="T46" fmla="*/ 0 w 2428"/>
                <a:gd name="T47" fmla="*/ 0 h 1241"/>
                <a:gd name="T48" fmla="*/ 0 w 2428"/>
                <a:gd name="T49" fmla="*/ 0 h 1241"/>
                <a:gd name="T50" fmla="*/ 0 w 2428"/>
                <a:gd name="T51" fmla="*/ 0 h 1241"/>
                <a:gd name="T52" fmla="*/ 0 w 2428"/>
                <a:gd name="T53" fmla="*/ 0 h 1241"/>
                <a:gd name="T54" fmla="*/ 0 w 2428"/>
                <a:gd name="T55" fmla="*/ 0 h 1241"/>
                <a:gd name="T56" fmla="*/ 0 w 2428"/>
                <a:gd name="T57" fmla="*/ 0 h 1241"/>
                <a:gd name="T58" fmla="*/ 0 w 2428"/>
                <a:gd name="T59" fmla="*/ 0 h 1241"/>
                <a:gd name="T60" fmla="*/ 0 w 2428"/>
                <a:gd name="T61" fmla="*/ 0 h 1241"/>
                <a:gd name="T62" fmla="*/ 0 w 2428"/>
                <a:gd name="T63" fmla="*/ 0 h 1241"/>
                <a:gd name="T64" fmla="*/ 0 w 2428"/>
                <a:gd name="T65" fmla="*/ 0 h 1241"/>
                <a:gd name="T66" fmla="*/ 0 w 2428"/>
                <a:gd name="T67" fmla="*/ 0 h 1241"/>
                <a:gd name="T68" fmla="*/ 0 w 2428"/>
                <a:gd name="T69" fmla="*/ 0 h 1241"/>
                <a:gd name="T70" fmla="*/ 0 w 2428"/>
                <a:gd name="T71" fmla="*/ 0 h 1241"/>
                <a:gd name="T72" fmla="*/ 0 w 2428"/>
                <a:gd name="T73" fmla="*/ 0 h 1241"/>
                <a:gd name="T74" fmla="*/ 0 w 2428"/>
                <a:gd name="T75" fmla="*/ 0 h 1241"/>
                <a:gd name="T76" fmla="*/ 0 w 2428"/>
                <a:gd name="T77" fmla="*/ 0 h 1241"/>
                <a:gd name="T78" fmla="*/ 0 w 2428"/>
                <a:gd name="T79" fmla="*/ 0 h 1241"/>
                <a:gd name="T80" fmla="*/ 0 w 2428"/>
                <a:gd name="T81" fmla="*/ 0 h 1241"/>
                <a:gd name="T82" fmla="*/ 0 w 2428"/>
                <a:gd name="T83" fmla="*/ 0 h 1241"/>
                <a:gd name="T84" fmla="*/ 0 w 2428"/>
                <a:gd name="T85" fmla="*/ 0 h 1241"/>
                <a:gd name="T86" fmla="*/ 0 w 2428"/>
                <a:gd name="T87" fmla="*/ 0 h 1241"/>
                <a:gd name="T88" fmla="*/ 0 w 2428"/>
                <a:gd name="T89" fmla="*/ 0 h 1241"/>
                <a:gd name="T90" fmla="*/ 0 w 2428"/>
                <a:gd name="T91" fmla="*/ 0 h 1241"/>
                <a:gd name="T92" fmla="*/ 0 w 2428"/>
                <a:gd name="T93" fmla="*/ 0 h 1241"/>
                <a:gd name="T94" fmla="*/ 0 w 2428"/>
                <a:gd name="T95" fmla="*/ 0 h 1241"/>
                <a:gd name="T96" fmla="*/ 0 w 2428"/>
                <a:gd name="T97" fmla="*/ 0 h 1241"/>
                <a:gd name="T98" fmla="*/ 0 w 2428"/>
                <a:gd name="T99" fmla="*/ 0 h 1241"/>
                <a:gd name="T100" fmla="*/ 0 w 2428"/>
                <a:gd name="T101" fmla="*/ 0 h 1241"/>
                <a:gd name="T102" fmla="*/ 0 w 2428"/>
                <a:gd name="T103" fmla="*/ 0 h 1241"/>
                <a:gd name="T104" fmla="*/ 0 w 2428"/>
                <a:gd name="T105" fmla="*/ 0 h 1241"/>
                <a:gd name="T106" fmla="*/ 0 w 2428"/>
                <a:gd name="T107" fmla="*/ 0 h 1241"/>
                <a:gd name="T108" fmla="*/ 0 w 2428"/>
                <a:gd name="T109" fmla="*/ 0 h 1241"/>
                <a:gd name="T110" fmla="*/ 0 w 2428"/>
                <a:gd name="T111" fmla="*/ 0 h 1241"/>
                <a:gd name="T112" fmla="*/ 0 w 2428"/>
                <a:gd name="T113" fmla="*/ 0 h 1241"/>
                <a:gd name="T114" fmla="*/ 0 w 2428"/>
                <a:gd name="T115" fmla="*/ 0 h 1241"/>
                <a:gd name="T116" fmla="*/ 0 w 2428"/>
                <a:gd name="T117" fmla="*/ 0 h 1241"/>
                <a:gd name="T118" fmla="*/ 0 w 2428"/>
                <a:gd name="T119" fmla="*/ 0 h 1241"/>
                <a:gd name="T120" fmla="*/ 0 w 2428"/>
                <a:gd name="T121" fmla="*/ 0 h 1241"/>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2428" h="1241">
                  <a:moveTo>
                    <a:pt x="1230" y="237"/>
                  </a:moveTo>
                  <a:lnTo>
                    <a:pt x="1219" y="237"/>
                  </a:lnTo>
                  <a:lnTo>
                    <a:pt x="1230" y="259"/>
                  </a:lnTo>
                  <a:lnTo>
                    <a:pt x="1196" y="282"/>
                  </a:lnTo>
                  <a:lnTo>
                    <a:pt x="1185" y="282"/>
                  </a:lnTo>
                  <a:lnTo>
                    <a:pt x="1196" y="248"/>
                  </a:lnTo>
                  <a:lnTo>
                    <a:pt x="1287" y="169"/>
                  </a:lnTo>
                  <a:lnTo>
                    <a:pt x="1287" y="101"/>
                  </a:lnTo>
                  <a:lnTo>
                    <a:pt x="1253" y="68"/>
                  </a:lnTo>
                  <a:lnTo>
                    <a:pt x="1196" y="68"/>
                  </a:lnTo>
                  <a:lnTo>
                    <a:pt x="1196" y="90"/>
                  </a:lnTo>
                  <a:lnTo>
                    <a:pt x="1174" y="90"/>
                  </a:lnTo>
                  <a:lnTo>
                    <a:pt x="1196" y="45"/>
                  </a:lnTo>
                  <a:lnTo>
                    <a:pt x="1140" y="34"/>
                  </a:lnTo>
                  <a:lnTo>
                    <a:pt x="1174" y="23"/>
                  </a:lnTo>
                  <a:lnTo>
                    <a:pt x="1140" y="0"/>
                  </a:lnTo>
                  <a:lnTo>
                    <a:pt x="1095" y="45"/>
                  </a:lnTo>
                  <a:lnTo>
                    <a:pt x="1095" y="90"/>
                  </a:lnTo>
                  <a:lnTo>
                    <a:pt x="1072" y="90"/>
                  </a:lnTo>
                  <a:lnTo>
                    <a:pt x="982" y="101"/>
                  </a:lnTo>
                  <a:lnTo>
                    <a:pt x="914" y="158"/>
                  </a:lnTo>
                  <a:lnTo>
                    <a:pt x="880" y="192"/>
                  </a:lnTo>
                  <a:lnTo>
                    <a:pt x="891" y="237"/>
                  </a:lnTo>
                  <a:lnTo>
                    <a:pt x="790" y="259"/>
                  </a:lnTo>
                  <a:lnTo>
                    <a:pt x="801" y="316"/>
                  </a:lnTo>
                  <a:lnTo>
                    <a:pt x="824" y="350"/>
                  </a:lnTo>
                  <a:lnTo>
                    <a:pt x="812" y="361"/>
                  </a:lnTo>
                  <a:lnTo>
                    <a:pt x="779" y="316"/>
                  </a:lnTo>
                  <a:lnTo>
                    <a:pt x="756" y="304"/>
                  </a:lnTo>
                  <a:lnTo>
                    <a:pt x="745" y="316"/>
                  </a:lnTo>
                  <a:lnTo>
                    <a:pt x="722" y="293"/>
                  </a:lnTo>
                  <a:lnTo>
                    <a:pt x="700" y="282"/>
                  </a:lnTo>
                  <a:lnTo>
                    <a:pt x="700" y="293"/>
                  </a:lnTo>
                  <a:lnTo>
                    <a:pt x="711" y="316"/>
                  </a:lnTo>
                  <a:lnTo>
                    <a:pt x="688" y="361"/>
                  </a:lnTo>
                  <a:lnTo>
                    <a:pt x="700" y="406"/>
                  </a:lnTo>
                  <a:lnTo>
                    <a:pt x="700" y="440"/>
                  </a:lnTo>
                  <a:lnTo>
                    <a:pt x="700" y="474"/>
                  </a:lnTo>
                  <a:lnTo>
                    <a:pt x="700" y="485"/>
                  </a:lnTo>
                  <a:lnTo>
                    <a:pt x="711" y="530"/>
                  </a:lnTo>
                  <a:lnTo>
                    <a:pt x="654" y="575"/>
                  </a:lnTo>
                  <a:lnTo>
                    <a:pt x="643" y="564"/>
                  </a:lnTo>
                  <a:lnTo>
                    <a:pt x="688" y="519"/>
                  </a:lnTo>
                  <a:lnTo>
                    <a:pt x="700" y="496"/>
                  </a:lnTo>
                  <a:lnTo>
                    <a:pt x="677" y="474"/>
                  </a:lnTo>
                  <a:lnTo>
                    <a:pt x="677" y="372"/>
                  </a:lnTo>
                  <a:lnTo>
                    <a:pt x="666" y="361"/>
                  </a:lnTo>
                  <a:lnTo>
                    <a:pt x="677" y="293"/>
                  </a:lnTo>
                  <a:lnTo>
                    <a:pt x="654" y="293"/>
                  </a:lnTo>
                  <a:lnTo>
                    <a:pt x="666" y="282"/>
                  </a:lnTo>
                  <a:lnTo>
                    <a:pt x="654" y="259"/>
                  </a:lnTo>
                  <a:lnTo>
                    <a:pt x="643" y="271"/>
                  </a:lnTo>
                  <a:lnTo>
                    <a:pt x="587" y="395"/>
                  </a:lnTo>
                  <a:lnTo>
                    <a:pt x="587" y="440"/>
                  </a:lnTo>
                  <a:lnTo>
                    <a:pt x="621" y="485"/>
                  </a:lnTo>
                  <a:lnTo>
                    <a:pt x="621" y="496"/>
                  </a:lnTo>
                  <a:lnTo>
                    <a:pt x="587" y="485"/>
                  </a:lnTo>
                  <a:lnTo>
                    <a:pt x="474" y="406"/>
                  </a:lnTo>
                  <a:lnTo>
                    <a:pt x="474" y="428"/>
                  </a:lnTo>
                  <a:lnTo>
                    <a:pt x="508" y="474"/>
                  </a:lnTo>
                  <a:lnTo>
                    <a:pt x="485" y="485"/>
                  </a:lnTo>
                  <a:lnTo>
                    <a:pt x="474" y="474"/>
                  </a:lnTo>
                  <a:lnTo>
                    <a:pt x="417" y="496"/>
                  </a:lnTo>
                  <a:lnTo>
                    <a:pt x="417" y="507"/>
                  </a:lnTo>
                  <a:lnTo>
                    <a:pt x="406" y="496"/>
                  </a:lnTo>
                  <a:lnTo>
                    <a:pt x="406" y="474"/>
                  </a:lnTo>
                  <a:lnTo>
                    <a:pt x="304" y="530"/>
                  </a:lnTo>
                  <a:lnTo>
                    <a:pt x="304" y="552"/>
                  </a:lnTo>
                  <a:lnTo>
                    <a:pt x="293" y="564"/>
                  </a:lnTo>
                  <a:lnTo>
                    <a:pt x="259" y="541"/>
                  </a:lnTo>
                  <a:lnTo>
                    <a:pt x="293" y="519"/>
                  </a:lnTo>
                  <a:lnTo>
                    <a:pt x="282" y="496"/>
                  </a:lnTo>
                  <a:lnTo>
                    <a:pt x="248" y="485"/>
                  </a:lnTo>
                  <a:lnTo>
                    <a:pt x="248" y="496"/>
                  </a:lnTo>
                  <a:lnTo>
                    <a:pt x="248" y="552"/>
                  </a:lnTo>
                  <a:lnTo>
                    <a:pt x="259" y="564"/>
                  </a:lnTo>
                  <a:lnTo>
                    <a:pt x="248" y="586"/>
                  </a:lnTo>
                  <a:lnTo>
                    <a:pt x="225" y="575"/>
                  </a:lnTo>
                  <a:lnTo>
                    <a:pt x="192" y="609"/>
                  </a:lnTo>
                  <a:lnTo>
                    <a:pt x="203" y="643"/>
                  </a:lnTo>
                  <a:lnTo>
                    <a:pt x="146" y="620"/>
                  </a:lnTo>
                  <a:lnTo>
                    <a:pt x="135" y="631"/>
                  </a:lnTo>
                  <a:lnTo>
                    <a:pt x="158" y="665"/>
                  </a:lnTo>
                  <a:lnTo>
                    <a:pt x="135" y="665"/>
                  </a:lnTo>
                  <a:lnTo>
                    <a:pt x="113" y="643"/>
                  </a:lnTo>
                  <a:lnTo>
                    <a:pt x="113" y="586"/>
                  </a:lnTo>
                  <a:lnTo>
                    <a:pt x="79" y="564"/>
                  </a:lnTo>
                  <a:lnTo>
                    <a:pt x="79" y="552"/>
                  </a:lnTo>
                  <a:lnTo>
                    <a:pt x="90" y="564"/>
                  </a:lnTo>
                  <a:lnTo>
                    <a:pt x="169" y="586"/>
                  </a:lnTo>
                  <a:lnTo>
                    <a:pt x="214" y="564"/>
                  </a:lnTo>
                  <a:lnTo>
                    <a:pt x="203" y="530"/>
                  </a:lnTo>
                  <a:lnTo>
                    <a:pt x="146" y="474"/>
                  </a:lnTo>
                  <a:lnTo>
                    <a:pt x="90" y="451"/>
                  </a:lnTo>
                  <a:lnTo>
                    <a:pt x="90" y="440"/>
                  </a:lnTo>
                  <a:lnTo>
                    <a:pt x="79" y="428"/>
                  </a:lnTo>
                  <a:lnTo>
                    <a:pt x="56" y="440"/>
                  </a:lnTo>
                  <a:lnTo>
                    <a:pt x="22" y="474"/>
                  </a:lnTo>
                  <a:lnTo>
                    <a:pt x="22" y="496"/>
                  </a:lnTo>
                  <a:lnTo>
                    <a:pt x="45" y="519"/>
                  </a:lnTo>
                  <a:lnTo>
                    <a:pt x="33" y="552"/>
                  </a:lnTo>
                  <a:lnTo>
                    <a:pt x="45" y="598"/>
                  </a:lnTo>
                  <a:lnTo>
                    <a:pt x="33" y="620"/>
                  </a:lnTo>
                  <a:lnTo>
                    <a:pt x="56" y="654"/>
                  </a:lnTo>
                  <a:lnTo>
                    <a:pt x="45" y="676"/>
                  </a:lnTo>
                  <a:lnTo>
                    <a:pt x="67" y="688"/>
                  </a:lnTo>
                  <a:lnTo>
                    <a:pt x="67" y="699"/>
                  </a:lnTo>
                  <a:lnTo>
                    <a:pt x="33" y="755"/>
                  </a:lnTo>
                  <a:lnTo>
                    <a:pt x="11" y="767"/>
                  </a:lnTo>
                  <a:lnTo>
                    <a:pt x="22" y="767"/>
                  </a:lnTo>
                  <a:lnTo>
                    <a:pt x="33" y="789"/>
                  </a:lnTo>
                  <a:lnTo>
                    <a:pt x="22" y="812"/>
                  </a:lnTo>
                  <a:lnTo>
                    <a:pt x="11" y="823"/>
                  </a:lnTo>
                  <a:lnTo>
                    <a:pt x="0" y="823"/>
                  </a:lnTo>
                  <a:lnTo>
                    <a:pt x="11" y="846"/>
                  </a:lnTo>
                  <a:lnTo>
                    <a:pt x="11" y="857"/>
                  </a:lnTo>
                  <a:lnTo>
                    <a:pt x="11" y="879"/>
                  </a:lnTo>
                  <a:lnTo>
                    <a:pt x="22" y="891"/>
                  </a:lnTo>
                  <a:lnTo>
                    <a:pt x="45" y="902"/>
                  </a:lnTo>
                  <a:lnTo>
                    <a:pt x="56" y="913"/>
                  </a:lnTo>
                  <a:lnTo>
                    <a:pt x="56" y="936"/>
                  </a:lnTo>
                  <a:lnTo>
                    <a:pt x="79" y="958"/>
                  </a:lnTo>
                  <a:lnTo>
                    <a:pt x="79" y="981"/>
                  </a:lnTo>
                  <a:lnTo>
                    <a:pt x="67" y="970"/>
                  </a:lnTo>
                  <a:lnTo>
                    <a:pt x="67" y="981"/>
                  </a:lnTo>
                  <a:lnTo>
                    <a:pt x="79" y="1003"/>
                  </a:lnTo>
                  <a:lnTo>
                    <a:pt x="101" y="1003"/>
                  </a:lnTo>
                  <a:lnTo>
                    <a:pt x="113" y="1015"/>
                  </a:lnTo>
                  <a:lnTo>
                    <a:pt x="101" y="1015"/>
                  </a:lnTo>
                  <a:lnTo>
                    <a:pt x="113" y="1015"/>
                  </a:lnTo>
                  <a:lnTo>
                    <a:pt x="124" y="1015"/>
                  </a:lnTo>
                  <a:lnTo>
                    <a:pt x="135" y="1037"/>
                  </a:lnTo>
                  <a:lnTo>
                    <a:pt x="135" y="1049"/>
                  </a:lnTo>
                  <a:lnTo>
                    <a:pt x="146" y="1037"/>
                  </a:lnTo>
                  <a:lnTo>
                    <a:pt x="192" y="1071"/>
                  </a:lnTo>
                  <a:lnTo>
                    <a:pt x="192" y="1105"/>
                  </a:lnTo>
                  <a:lnTo>
                    <a:pt x="180" y="1094"/>
                  </a:lnTo>
                  <a:lnTo>
                    <a:pt x="169" y="1105"/>
                  </a:lnTo>
                  <a:lnTo>
                    <a:pt x="169" y="1127"/>
                  </a:lnTo>
                  <a:lnTo>
                    <a:pt x="180" y="1116"/>
                  </a:lnTo>
                  <a:lnTo>
                    <a:pt x="192" y="1127"/>
                  </a:lnTo>
                  <a:lnTo>
                    <a:pt x="158" y="1139"/>
                  </a:lnTo>
                  <a:lnTo>
                    <a:pt x="169" y="1150"/>
                  </a:lnTo>
                  <a:lnTo>
                    <a:pt x="146" y="1161"/>
                  </a:lnTo>
                  <a:lnTo>
                    <a:pt x="135" y="1161"/>
                  </a:lnTo>
                  <a:lnTo>
                    <a:pt x="146" y="1161"/>
                  </a:lnTo>
                  <a:lnTo>
                    <a:pt x="192" y="1206"/>
                  </a:lnTo>
                  <a:lnTo>
                    <a:pt x="237" y="1206"/>
                  </a:lnTo>
                  <a:lnTo>
                    <a:pt x="248" y="1218"/>
                  </a:lnTo>
                  <a:lnTo>
                    <a:pt x="271" y="1218"/>
                  </a:lnTo>
                  <a:lnTo>
                    <a:pt x="293" y="1229"/>
                  </a:lnTo>
                  <a:lnTo>
                    <a:pt x="304" y="1240"/>
                  </a:lnTo>
                  <a:lnTo>
                    <a:pt x="316" y="1229"/>
                  </a:lnTo>
                  <a:lnTo>
                    <a:pt x="304" y="1218"/>
                  </a:lnTo>
                  <a:lnTo>
                    <a:pt x="304" y="1195"/>
                  </a:lnTo>
                  <a:lnTo>
                    <a:pt x="293" y="1173"/>
                  </a:lnTo>
                  <a:lnTo>
                    <a:pt x="304" y="1150"/>
                  </a:lnTo>
                  <a:lnTo>
                    <a:pt x="316" y="1150"/>
                  </a:lnTo>
                  <a:lnTo>
                    <a:pt x="327" y="1150"/>
                  </a:lnTo>
                  <a:lnTo>
                    <a:pt x="327" y="1139"/>
                  </a:lnTo>
                  <a:lnTo>
                    <a:pt x="316" y="1139"/>
                  </a:lnTo>
                  <a:lnTo>
                    <a:pt x="327" y="1127"/>
                  </a:lnTo>
                  <a:lnTo>
                    <a:pt x="316" y="1105"/>
                  </a:lnTo>
                  <a:lnTo>
                    <a:pt x="304" y="1105"/>
                  </a:lnTo>
                  <a:lnTo>
                    <a:pt x="293" y="1082"/>
                  </a:lnTo>
                  <a:lnTo>
                    <a:pt x="304" y="1037"/>
                  </a:lnTo>
                  <a:lnTo>
                    <a:pt x="316" y="1060"/>
                  </a:lnTo>
                  <a:lnTo>
                    <a:pt x="327" y="1060"/>
                  </a:lnTo>
                  <a:lnTo>
                    <a:pt x="316" y="1037"/>
                  </a:lnTo>
                  <a:lnTo>
                    <a:pt x="350" y="1015"/>
                  </a:lnTo>
                  <a:lnTo>
                    <a:pt x="361" y="1015"/>
                  </a:lnTo>
                  <a:lnTo>
                    <a:pt x="372" y="1015"/>
                  </a:lnTo>
                  <a:lnTo>
                    <a:pt x="395" y="1015"/>
                  </a:lnTo>
                  <a:lnTo>
                    <a:pt x="417" y="1037"/>
                  </a:lnTo>
                  <a:lnTo>
                    <a:pt x="440" y="1026"/>
                  </a:lnTo>
                  <a:lnTo>
                    <a:pt x="462" y="1026"/>
                  </a:lnTo>
                  <a:lnTo>
                    <a:pt x="474" y="1037"/>
                  </a:lnTo>
                  <a:lnTo>
                    <a:pt x="508" y="1037"/>
                  </a:lnTo>
                  <a:lnTo>
                    <a:pt x="519" y="1015"/>
                  </a:lnTo>
                  <a:lnTo>
                    <a:pt x="485" y="1015"/>
                  </a:lnTo>
                  <a:lnTo>
                    <a:pt x="508" y="1003"/>
                  </a:lnTo>
                  <a:lnTo>
                    <a:pt x="496" y="992"/>
                  </a:lnTo>
                  <a:lnTo>
                    <a:pt x="508" y="981"/>
                  </a:lnTo>
                  <a:lnTo>
                    <a:pt x="508" y="947"/>
                  </a:lnTo>
                  <a:lnTo>
                    <a:pt x="530" y="958"/>
                  </a:lnTo>
                  <a:lnTo>
                    <a:pt x="609" y="936"/>
                  </a:lnTo>
                  <a:lnTo>
                    <a:pt x="609" y="925"/>
                  </a:lnTo>
                  <a:lnTo>
                    <a:pt x="621" y="925"/>
                  </a:lnTo>
                  <a:lnTo>
                    <a:pt x="643" y="925"/>
                  </a:lnTo>
                  <a:lnTo>
                    <a:pt x="654" y="947"/>
                  </a:lnTo>
                  <a:lnTo>
                    <a:pt x="666" y="947"/>
                  </a:lnTo>
                  <a:lnTo>
                    <a:pt x="688" y="958"/>
                  </a:lnTo>
                  <a:lnTo>
                    <a:pt x="688" y="970"/>
                  </a:lnTo>
                  <a:lnTo>
                    <a:pt x="700" y="970"/>
                  </a:lnTo>
                  <a:lnTo>
                    <a:pt x="722" y="947"/>
                  </a:lnTo>
                  <a:lnTo>
                    <a:pt x="745" y="947"/>
                  </a:lnTo>
                  <a:lnTo>
                    <a:pt x="756" y="970"/>
                  </a:lnTo>
                  <a:lnTo>
                    <a:pt x="790" y="1037"/>
                  </a:lnTo>
                  <a:lnTo>
                    <a:pt x="801" y="1015"/>
                  </a:lnTo>
                  <a:lnTo>
                    <a:pt x="812" y="1037"/>
                  </a:lnTo>
                  <a:lnTo>
                    <a:pt x="835" y="1026"/>
                  </a:lnTo>
                  <a:lnTo>
                    <a:pt x="869" y="1060"/>
                  </a:lnTo>
                  <a:lnTo>
                    <a:pt x="880" y="1071"/>
                  </a:lnTo>
                  <a:lnTo>
                    <a:pt x="880" y="1060"/>
                  </a:lnTo>
                  <a:lnTo>
                    <a:pt x="903" y="1082"/>
                  </a:lnTo>
                  <a:lnTo>
                    <a:pt x="914" y="1071"/>
                  </a:lnTo>
                  <a:lnTo>
                    <a:pt x="959" y="1037"/>
                  </a:lnTo>
                  <a:lnTo>
                    <a:pt x="993" y="1049"/>
                  </a:lnTo>
                  <a:lnTo>
                    <a:pt x="1016" y="1060"/>
                  </a:lnTo>
                  <a:lnTo>
                    <a:pt x="1049" y="1060"/>
                  </a:lnTo>
                  <a:lnTo>
                    <a:pt x="1049" y="1015"/>
                  </a:lnTo>
                  <a:lnTo>
                    <a:pt x="1072" y="1015"/>
                  </a:lnTo>
                  <a:lnTo>
                    <a:pt x="1106" y="1015"/>
                  </a:lnTo>
                  <a:lnTo>
                    <a:pt x="1129" y="1049"/>
                  </a:lnTo>
                  <a:lnTo>
                    <a:pt x="1140" y="1049"/>
                  </a:lnTo>
                  <a:lnTo>
                    <a:pt x="1151" y="1037"/>
                  </a:lnTo>
                  <a:lnTo>
                    <a:pt x="1208" y="1071"/>
                  </a:lnTo>
                  <a:lnTo>
                    <a:pt x="1241" y="1082"/>
                  </a:lnTo>
                  <a:lnTo>
                    <a:pt x="1275" y="1071"/>
                  </a:lnTo>
                  <a:lnTo>
                    <a:pt x="1298" y="1049"/>
                  </a:lnTo>
                  <a:lnTo>
                    <a:pt x="1320" y="1060"/>
                  </a:lnTo>
                  <a:lnTo>
                    <a:pt x="1343" y="1071"/>
                  </a:lnTo>
                  <a:lnTo>
                    <a:pt x="1366" y="1060"/>
                  </a:lnTo>
                  <a:lnTo>
                    <a:pt x="1377" y="1015"/>
                  </a:lnTo>
                  <a:lnTo>
                    <a:pt x="1388" y="1015"/>
                  </a:lnTo>
                  <a:lnTo>
                    <a:pt x="1388" y="1003"/>
                  </a:lnTo>
                  <a:lnTo>
                    <a:pt x="1377" y="1003"/>
                  </a:lnTo>
                  <a:lnTo>
                    <a:pt x="1388" y="981"/>
                  </a:lnTo>
                  <a:lnTo>
                    <a:pt x="1422" y="970"/>
                  </a:lnTo>
                  <a:lnTo>
                    <a:pt x="1456" y="981"/>
                  </a:lnTo>
                  <a:lnTo>
                    <a:pt x="1478" y="1003"/>
                  </a:lnTo>
                  <a:lnTo>
                    <a:pt x="1490" y="1071"/>
                  </a:lnTo>
                  <a:lnTo>
                    <a:pt x="1512" y="1071"/>
                  </a:lnTo>
                  <a:lnTo>
                    <a:pt x="1535" y="1082"/>
                  </a:lnTo>
                  <a:lnTo>
                    <a:pt x="1535" y="1105"/>
                  </a:lnTo>
                  <a:lnTo>
                    <a:pt x="1557" y="1105"/>
                  </a:lnTo>
                  <a:lnTo>
                    <a:pt x="1591" y="1094"/>
                  </a:lnTo>
                  <a:lnTo>
                    <a:pt x="1591" y="1116"/>
                  </a:lnTo>
                  <a:lnTo>
                    <a:pt x="1569" y="1173"/>
                  </a:lnTo>
                  <a:lnTo>
                    <a:pt x="1557" y="1161"/>
                  </a:lnTo>
                  <a:lnTo>
                    <a:pt x="1535" y="1173"/>
                  </a:lnTo>
                  <a:lnTo>
                    <a:pt x="1535" y="1218"/>
                  </a:lnTo>
                  <a:lnTo>
                    <a:pt x="1546" y="1206"/>
                  </a:lnTo>
                  <a:lnTo>
                    <a:pt x="1557" y="1206"/>
                  </a:lnTo>
                  <a:lnTo>
                    <a:pt x="1557" y="1218"/>
                  </a:lnTo>
                  <a:lnTo>
                    <a:pt x="1569" y="1218"/>
                  </a:lnTo>
                  <a:lnTo>
                    <a:pt x="1591" y="1206"/>
                  </a:lnTo>
                  <a:lnTo>
                    <a:pt x="1682" y="1094"/>
                  </a:lnTo>
                  <a:lnTo>
                    <a:pt x="1682" y="1026"/>
                  </a:lnTo>
                  <a:lnTo>
                    <a:pt x="1693" y="1015"/>
                  </a:lnTo>
                  <a:lnTo>
                    <a:pt x="1693" y="981"/>
                  </a:lnTo>
                  <a:lnTo>
                    <a:pt x="1670" y="947"/>
                  </a:lnTo>
                  <a:lnTo>
                    <a:pt x="1659" y="947"/>
                  </a:lnTo>
                  <a:lnTo>
                    <a:pt x="1648" y="970"/>
                  </a:lnTo>
                  <a:lnTo>
                    <a:pt x="1636" y="970"/>
                  </a:lnTo>
                  <a:lnTo>
                    <a:pt x="1648" y="947"/>
                  </a:lnTo>
                  <a:lnTo>
                    <a:pt x="1636" y="947"/>
                  </a:lnTo>
                  <a:lnTo>
                    <a:pt x="1625" y="947"/>
                  </a:lnTo>
                  <a:lnTo>
                    <a:pt x="1603" y="947"/>
                  </a:lnTo>
                  <a:lnTo>
                    <a:pt x="1603" y="936"/>
                  </a:lnTo>
                  <a:lnTo>
                    <a:pt x="1716" y="823"/>
                  </a:lnTo>
                  <a:lnTo>
                    <a:pt x="1761" y="812"/>
                  </a:lnTo>
                  <a:lnTo>
                    <a:pt x="1761" y="823"/>
                  </a:lnTo>
                  <a:lnTo>
                    <a:pt x="1772" y="812"/>
                  </a:lnTo>
                  <a:lnTo>
                    <a:pt x="1806" y="823"/>
                  </a:lnTo>
                  <a:lnTo>
                    <a:pt x="1817" y="801"/>
                  </a:lnTo>
                  <a:lnTo>
                    <a:pt x="1840" y="812"/>
                  </a:lnTo>
                  <a:lnTo>
                    <a:pt x="1851" y="812"/>
                  </a:lnTo>
                  <a:lnTo>
                    <a:pt x="1840" y="823"/>
                  </a:lnTo>
                  <a:lnTo>
                    <a:pt x="1896" y="823"/>
                  </a:lnTo>
                  <a:lnTo>
                    <a:pt x="1885" y="812"/>
                  </a:lnTo>
                  <a:lnTo>
                    <a:pt x="1930" y="744"/>
                  </a:lnTo>
                  <a:lnTo>
                    <a:pt x="1975" y="733"/>
                  </a:lnTo>
                  <a:lnTo>
                    <a:pt x="1975" y="755"/>
                  </a:lnTo>
                  <a:lnTo>
                    <a:pt x="1975" y="767"/>
                  </a:lnTo>
                  <a:lnTo>
                    <a:pt x="2020" y="744"/>
                  </a:lnTo>
                  <a:lnTo>
                    <a:pt x="2020" y="710"/>
                  </a:lnTo>
                  <a:lnTo>
                    <a:pt x="2032" y="710"/>
                  </a:lnTo>
                  <a:lnTo>
                    <a:pt x="2032" y="722"/>
                  </a:lnTo>
                  <a:lnTo>
                    <a:pt x="2020" y="767"/>
                  </a:lnTo>
                  <a:lnTo>
                    <a:pt x="1998" y="778"/>
                  </a:lnTo>
                  <a:lnTo>
                    <a:pt x="1941" y="846"/>
                  </a:lnTo>
                  <a:lnTo>
                    <a:pt x="1930" y="857"/>
                  </a:lnTo>
                  <a:lnTo>
                    <a:pt x="1907" y="925"/>
                  </a:lnTo>
                  <a:lnTo>
                    <a:pt x="1930" y="1037"/>
                  </a:lnTo>
                  <a:lnTo>
                    <a:pt x="1941" y="1015"/>
                  </a:lnTo>
                  <a:lnTo>
                    <a:pt x="1975" y="981"/>
                  </a:lnTo>
                  <a:lnTo>
                    <a:pt x="1975" y="947"/>
                  </a:lnTo>
                  <a:lnTo>
                    <a:pt x="1998" y="947"/>
                  </a:lnTo>
                  <a:lnTo>
                    <a:pt x="1998" y="913"/>
                  </a:lnTo>
                  <a:lnTo>
                    <a:pt x="2009" y="902"/>
                  </a:lnTo>
                  <a:lnTo>
                    <a:pt x="2020" y="902"/>
                  </a:lnTo>
                  <a:lnTo>
                    <a:pt x="2020" y="891"/>
                  </a:lnTo>
                  <a:lnTo>
                    <a:pt x="2020" y="868"/>
                  </a:lnTo>
                  <a:lnTo>
                    <a:pt x="1998" y="846"/>
                  </a:lnTo>
                  <a:lnTo>
                    <a:pt x="2020" y="823"/>
                  </a:lnTo>
                  <a:lnTo>
                    <a:pt x="2020" y="801"/>
                  </a:lnTo>
                  <a:lnTo>
                    <a:pt x="2032" y="801"/>
                  </a:lnTo>
                  <a:lnTo>
                    <a:pt x="2065" y="778"/>
                  </a:lnTo>
                  <a:lnTo>
                    <a:pt x="2065" y="801"/>
                  </a:lnTo>
                  <a:lnTo>
                    <a:pt x="2077" y="789"/>
                  </a:lnTo>
                  <a:lnTo>
                    <a:pt x="2099" y="778"/>
                  </a:lnTo>
                  <a:lnTo>
                    <a:pt x="2122" y="801"/>
                  </a:lnTo>
                  <a:lnTo>
                    <a:pt x="2133" y="778"/>
                  </a:lnTo>
                  <a:lnTo>
                    <a:pt x="2224" y="710"/>
                  </a:lnTo>
                  <a:lnTo>
                    <a:pt x="2257" y="722"/>
                  </a:lnTo>
                  <a:lnTo>
                    <a:pt x="2257" y="710"/>
                  </a:lnTo>
                  <a:lnTo>
                    <a:pt x="2246" y="654"/>
                  </a:lnTo>
                  <a:lnTo>
                    <a:pt x="2235" y="654"/>
                  </a:lnTo>
                  <a:lnTo>
                    <a:pt x="2235" y="631"/>
                  </a:lnTo>
                  <a:lnTo>
                    <a:pt x="2246" y="631"/>
                  </a:lnTo>
                  <a:lnTo>
                    <a:pt x="2257" y="620"/>
                  </a:lnTo>
                  <a:lnTo>
                    <a:pt x="2280" y="609"/>
                  </a:lnTo>
                  <a:lnTo>
                    <a:pt x="2269" y="586"/>
                  </a:lnTo>
                  <a:lnTo>
                    <a:pt x="2280" y="575"/>
                  </a:lnTo>
                  <a:lnTo>
                    <a:pt x="2291" y="609"/>
                  </a:lnTo>
                  <a:lnTo>
                    <a:pt x="2314" y="609"/>
                  </a:lnTo>
                  <a:lnTo>
                    <a:pt x="2325" y="620"/>
                  </a:lnTo>
                  <a:lnTo>
                    <a:pt x="2370" y="654"/>
                  </a:lnTo>
                  <a:lnTo>
                    <a:pt x="2382" y="620"/>
                  </a:lnTo>
                  <a:lnTo>
                    <a:pt x="2382" y="609"/>
                  </a:lnTo>
                  <a:lnTo>
                    <a:pt x="2404" y="609"/>
                  </a:lnTo>
                  <a:lnTo>
                    <a:pt x="2427" y="586"/>
                  </a:lnTo>
                  <a:lnTo>
                    <a:pt x="2393" y="564"/>
                  </a:lnTo>
                  <a:lnTo>
                    <a:pt x="2348" y="552"/>
                  </a:lnTo>
                  <a:lnTo>
                    <a:pt x="2257" y="474"/>
                  </a:lnTo>
                  <a:lnTo>
                    <a:pt x="2201" y="428"/>
                  </a:lnTo>
                  <a:lnTo>
                    <a:pt x="2133" y="428"/>
                  </a:lnTo>
                  <a:lnTo>
                    <a:pt x="2133" y="474"/>
                  </a:lnTo>
                  <a:lnTo>
                    <a:pt x="2111" y="485"/>
                  </a:lnTo>
                  <a:lnTo>
                    <a:pt x="2088" y="462"/>
                  </a:lnTo>
                  <a:lnTo>
                    <a:pt x="2088" y="440"/>
                  </a:lnTo>
                  <a:lnTo>
                    <a:pt x="2099" y="440"/>
                  </a:lnTo>
                  <a:lnTo>
                    <a:pt x="2111" y="428"/>
                  </a:lnTo>
                  <a:lnTo>
                    <a:pt x="2088" y="428"/>
                  </a:lnTo>
                  <a:lnTo>
                    <a:pt x="2077" y="451"/>
                  </a:lnTo>
                  <a:lnTo>
                    <a:pt x="2032" y="440"/>
                  </a:lnTo>
                  <a:lnTo>
                    <a:pt x="1975" y="440"/>
                  </a:lnTo>
                  <a:lnTo>
                    <a:pt x="1964" y="428"/>
                  </a:lnTo>
                  <a:lnTo>
                    <a:pt x="1975" y="417"/>
                  </a:lnTo>
                  <a:lnTo>
                    <a:pt x="1953" y="383"/>
                  </a:lnTo>
                  <a:lnTo>
                    <a:pt x="1919" y="372"/>
                  </a:lnTo>
                  <a:lnTo>
                    <a:pt x="1862" y="395"/>
                  </a:lnTo>
                  <a:lnTo>
                    <a:pt x="1851" y="361"/>
                  </a:lnTo>
                  <a:lnTo>
                    <a:pt x="1828" y="361"/>
                  </a:lnTo>
                  <a:lnTo>
                    <a:pt x="1817" y="361"/>
                  </a:lnTo>
                  <a:lnTo>
                    <a:pt x="1817" y="327"/>
                  </a:lnTo>
                  <a:lnTo>
                    <a:pt x="1761" y="304"/>
                  </a:lnTo>
                  <a:lnTo>
                    <a:pt x="1682" y="293"/>
                  </a:lnTo>
                  <a:lnTo>
                    <a:pt x="1659" y="327"/>
                  </a:lnTo>
                  <a:lnTo>
                    <a:pt x="1682" y="361"/>
                  </a:lnTo>
                  <a:lnTo>
                    <a:pt x="1614" y="361"/>
                  </a:lnTo>
                  <a:lnTo>
                    <a:pt x="1591" y="361"/>
                  </a:lnTo>
                  <a:lnTo>
                    <a:pt x="1569" y="338"/>
                  </a:lnTo>
                  <a:lnTo>
                    <a:pt x="1546" y="395"/>
                  </a:lnTo>
                  <a:lnTo>
                    <a:pt x="1535" y="383"/>
                  </a:lnTo>
                  <a:lnTo>
                    <a:pt x="1512" y="350"/>
                  </a:lnTo>
                  <a:lnTo>
                    <a:pt x="1524" y="293"/>
                  </a:lnTo>
                  <a:lnTo>
                    <a:pt x="1501" y="271"/>
                  </a:lnTo>
                  <a:lnTo>
                    <a:pt x="1445" y="248"/>
                  </a:lnTo>
                  <a:lnTo>
                    <a:pt x="1422" y="248"/>
                  </a:lnTo>
                  <a:lnTo>
                    <a:pt x="1422" y="271"/>
                  </a:lnTo>
                  <a:lnTo>
                    <a:pt x="1422" y="293"/>
                  </a:lnTo>
                  <a:lnTo>
                    <a:pt x="1354" y="282"/>
                  </a:lnTo>
                  <a:lnTo>
                    <a:pt x="1366" y="248"/>
                  </a:lnTo>
                  <a:lnTo>
                    <a:pt x="1309" y="237"/>
                  </a:lnTo>
                  <a:lnTo>
                    <a:pt x="1287" y="259"/>
                  </a:lnTo>
                  <a:lnTo>
                    <a:pt x="1230" y="237"/>
                  </a:lnTo>
                </a:path>
              </a:pathLst>
            </a:custGeom>
            <a:solidFill>
              <a:srgbClr val="FFFFFF"/>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836"/>
            </a:p>
          </p:txBody>
        </p:sp>
        <p:sp>
          <p:nvSpPr>
            <p:cNvPr id="48149" name="Freeform 6"/>
            <p:cNvSpPr>
              <a:spLocks noChangeAspect="1"/>
            </p:cNvSpPr>
            <p:nvPr>
              <p:custDataLst>
                <p:tags r:id="rId3"/>
              </p:custDataLst>
            </p:nvPr>
          </p:nvSpPr>
          <p:spPr bwMode="auto">
            <a:xfrm>
              <a:off x="1265004" y="1963705"/>
              <a:ext cx="1036515" cy="1162100"/>
            </a:xfrm>
            <a:custGeom>
              <a:avLst/>
              <a:gdLst>
                <a:gd name="T0" fmla="*/ 0 w 396"/>
                <a:gd name="T1" fmla="*/ 0 h 475"/>
                <a:gd name="T2" fmla="*/ 0 w 396"/>
                <a:gd name="T3" fmla="*/ 0 h 475"/>
                <a:gd name="T4" fmla="*/ 0 w 396"/>
                <a:gd name="T5" fmla="*/ 0 h 475"/>
                <a:gd name="T6" fmla="*/ 0 w 396"/>
                <a:gd name="T7" fmla="*/ 0 h 475"/>
                <a:gd name="T8" fmla="*/ 0 w 396"/>
                <a:gd name="T9" fmla="*/ 0 h 475"/>
                <a:gd name="T10" fmla="*/ 0 w 396"/>
                <a:gd name="T11" fmla="*/ 0 h 475"/>
                <a:gd name="T12" fmla="*/ 0 w 396"/>
                <a:gd name="T13" fmla="*/ 0 h 475"/>
                <a:gd name="T14" fmla="*/ 0 w 396"/>
                <a:gd name="T15" fmla="*/ 0 h 475"/>
                <a:gd name="T16" fmla="*/ 0 w 396"/>
                <a:gd name="T17" fmla="*/ 0 h 475"/>
                <a:gd name="T18" fmla="*/ 0 w 396"/>
                <a:gd name="T19" fmla="*/ 0 h 475"/>
                <a:gd name="T20" fmla="*/ 0 w 396"/>
                <a:gd name="T21" fmla="*/ 0 h 475"/>
                <a:gd name="T22" fmla="*/ 0 w 396"/>
                <a:gd name="T23" fmla="*/ 0 h 475"/>
                <a:gd name="T24" fmla="*/ 0 w 396"/>
                <a:gd name="T25" fmla="*/ 0 h 475"/>
                <a:gd name="T26" fmla="*/ 0 w 396"/>
                <a:gd name="T27" fmla="*/ 0 h 475"/>
                <a:gd name="T28" fmla="*/ 0 w 396"/>
                <a:gd name="T29" fmla="*/ 0 h 475"/>
                <a:gd name="T30" fmla="*/ 0 w 396"/>
                <a:gd name="T31" fmla="*/ 0 h 475"/>
                <a:gd name="T32" fmla="*/ 0 w 396"/>
                <a:gd name="T33" fmla="*/ 0 h 475"/>
                <a:gd name="T34" fmla="*/ 0 w 396"/>
                <a:gd name="T35" fmla="*/ 0 h 475"/>
                <a:gd name="T36" fmla="*/ 0 w 396"/>
                <a:gd name="T37" fmla="*/ 0 h 475"/>
                <a:gd name="T38" fmla="*/ 0 w 396"/>
                <a:gd name="T39" fmla="*/ 0 h 475"/>
                <a:gd name="T40" fmla="*/ 0 w 396"/>
                <a:gd name="T41" fmla="*/ 0 h 475"/>
                <a:gd name="T42" fmla="*/ 0 w 396"/>
                <a:gd name="T43" fmla="*/ 0 h 475"/>
                <a:gd name="T44" fmla="*/ 0 w 396"/>
                <a:gd name="T45" fmla="*/ 0 h 475"/>
                <a:gd name="T46" fmla="*/ 0 w 396"/>
                <a:gd name="T47" fmla="*/ 0 h 475"/>
                <a:gd name="T48" fmla="*/ 0 w 396"/>
                <a:gd name="T49" fmla="*/ 0 h 475"/>
                <a:gd name="T50" fmla="*/ 0 w 396"/>
                <a:gd name="T51" fmla="*/ 0 h 475"/>
                <a:gd name="T52" fmla="*/ 0 w 396"/>
                <a:gd name="T53" fmla="*/ 0 h 475"/>
                <a:gd name="T54" fmla="*/ 0 w 396"/>
                <a:gd name="T55" fmla="*/ 0 h 475"/>
                <a:gd name="T56" fmla="*/ 0 w 396"/>
                <a:gd name="T57" fmla="*/ 0 h 475"/>
                <a:gd name="T58" fmla="*/ 0 w 396"/>
                <a:gd name="T59" fmla="*/ 0 h 475"/>
                <a:gd name="T60" fmla="*/ 0 w 396"/>
                <a:gd name="T61" fmla="*/ 0 h 475"/>
                <a:gd name="T62" fmla="*/ 0 w 396"/>
                <a:gd name="T63" fmla="*/ 0 h 475"/>
                <a:gd name="T64" fmla="*/ 0 w 396"/>
                <a:gd name="T65" fmla="*/ 0 h 475"/>
                <a:gd name="T66" fmla="*/ 0 w 396"/>
                <a:gd name="T67" fmla="*/ 0 h 475"/>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396" h="475">
                  <a:moveTo>
                    <a:pt x="91" y="451"/>
                  </a:moveTo>
                  <a:lnTo>
                    <a:pt x="79" y="440"/>
                  </a:lnTo>
                  <a:lnTo>
                    <a:pt x="79" y="451"/>
                  </a:lnTo>
                  <a:lnTo>
                    <a:pt x="45" y="474"/>
                  </a:lnTo>
                  <a:lnTo>
                    <a:pt x="23" y="474"/>
                  </a:lnTo>
                  <a:lnTo>
                    <a:pt x="12" y="462"/>
                  </a:lnTo>
                  <a:lnTo>
                    <a:pt x="12" y="406"/>
                  </a:lnTo>
                  <a:lnTo>
                    <a:pt x="0" y="383"/>
                  </a:lnTo>
                  <a:lnTo>
                    <a:pt x="12" y="372"/>
                  </a:lnTo>
                  <a:lnTo>
                    <a:pt x="0" y="361"/>
                  </a:lnTo>
                  <a:lnTo>
                    <a:pt x="34" y="327"/>
                  </a:lnTo>
                  <a:lnTo>
                    <a:pt x="45" y="316"/>
                  </a:lnTo>
                  <a:lnTo>
                    <a:pt x="68" y="316"/>
                  </a:lnTo>
                  <a:lnTo>
                    <a:pt x="91" y="259"/>
                  </a:lnTo>
                  <a:lnTo>
                    <a:pt x="113" y="248"/>
                  </a:lnTo>
                  <a:lnTo>
                    <a:pt x="136" y="192"/>
                  </a:lnTo>
                  <a:lnTo>
                    <a:pt x="147" y="147"/>
                  </a:lnTo>
                  <a:lnTo>
                    <a:pt x="170" y="124"/>
                  </a:lnTo>
                  <a:lnTo>
                    <a:pt x="136" y="135"/>
                  </a:lnTo>
                  <a:lnTo>
                    <a:pt x="124" y="147"/>
                  </a:lnTo>
                  <a:lnTo>
                    <a:pt x="136" y="124"/>
                  </a:lnTo>
                  <a:lnTo>
                    <a:pt x="136" y="113"/>
                  </a:lnTo>
                  <a:lnTo>
                    <a:pt x="170" y="90"/>
                  </a:lnTo>
                  <a:lnTo>
                    <a:pt x="170" y="113"/>
                  </a:lnTo>
                  <a:lnTo>
                    <a:pt x="181" y="102"/>
                  </a:lnTo>
                  <a:lnTo>
                    <a:pt x="181" y="79"/>
                  </a:lnTo>
                  <a:lnTo>
                    <a:pt x="192" y="68"/>
                  </a:lnTo>
                  <a:lnTo>
                    <a:pt x="203" y="56"/>
                  </a:lnTo>
                  <a:lnTo>
                    <a:pt x="226" y="56"/>
                  </a:lnTo>
                  <a:lnTo>
                    <a:pt x="249" y="45"/>
                  </a:lnTo>
                  <a:lnTo>
                    <a:pt x="271" y="11"/>
                  </a:lnTo>
                  <a:lnTo>
                    <a:pt x="294" y="23"/>
                  </a:lnTo>
                  <a:lnTo>
                    <a:pt x="305" y="0"/>
                  </a:lnTo>
                  <a:lnTo>
                    <a:pt x="339" y="0"/>
                  </a:lnTo>
                  <a:lnTo>
                    <a:pt x="350" y="11"/>
                  </a:lnTo>
                  <a:lnTo>
                    <a:pt x="395" y="45"/>
                  </a:lnTo>
                  <a:lnTo>
                    <a:pt x="373" y="56"/>
                  </a:lnTo>
                  <a:lnTo>
                    <a:pt x="350" y="56"/>
                  </a:lnTo>
                  <a:lnTo>
                    <a:pt x="373" y="56"/>
                  </a:lnTo>
                  <a:lnTo>
                    <a:pt x="384" y="68"/>
                  </a:lnTo>
                  <a:lnTo>
                    <a:pt x="350" y="102"/>
                  </a:lnTo>
                  <a:lnTo>
                    <a:pt x="361" y="68"/>
                  </a:lnTo>
                  <a:lnTo>
                    <a:pt x="339" y="56"/>
                  </a:lnTo>
                  <a:lnTo>
                    <a:pt x="316" y="56"/>
                  </a:lnTo>
                  <a:lnTo>
                    <a:pt x="305" y="102"/>
                  </a:lnTo>
                  <a:lnTo>
                    <a:pt x="294" y="113"/>
                  </a:lnTo>
                  <a:lnTo>
                    <a:pt x="260" y="113"/>
                  </a:lnTo>
                  <a:lnTo>
                    <a:pt x="249" y="90"/>
                  </a:lnTo>
                  <a:lnTo>
                    <a:pt x="237" y="102"/>
                  </a:lnTo>
                  <a:lnTo>
                    <a:pt x="226" y="102"/>
                  </a:lnTo>
                  <a:lnTo>
                    <a:pt x="226" y="124"/>
                  </a:lnTo>
                  <a:lnTo>
                    <a:pt x="203" y="124"/>
                  </a:lnTo>
                  <a:lnTo>
                    <a:pt x="192" y="124"/>
                  </a:lnTo>
                  <a:lnTo>
                    <a:pt x="192" y="135"/>
                  </a:lnTo>
                  <a:lnTo>
                    <a:pt x="181" y="147"/>
                  </a:lnTo>
                  <a:lnTo>
                    <a:pt x="170" y="169"/>
                  </a:lnTo>
                  <a:lnTo>
                    <a:pt x="170" y="192"/>
                  </a:lnTo>
                  <a:lnTo>
                    <a:pt x="147" y="214"/>
                  </a:lnTo>
                  <a:lnTo>
                    <a:pt x="136" y="248"/>
                  </a:lnTo>
                  <a:lnTo>
                    <a:pt x="136" y="259"/>
                  </a:lnTo>
                  <a:lnTo>
                    <a:pt x="136" y="282"/>
                  </a:lnTo>
                  <a:lnTo>
                    <a:pt x="124" y="293"/>
                  </a:lnTo>
                  <a:lnTo>
                    <a:pt x="113" y="304"/>
                  </a:lnTo>
                  <a:lnTo>
                    <a:pt x="102" y="338"/>
                  </a:lnTo>
                  <a:lnTo>
                    <a:pt x="113" y="383"/>
                  </a:lnTo>
                  <a:lnTo>
                    <a:pt x="113" y="417"/>
                  </a:lnTo>
                  <a:lnTo>
                    <a:pt x="102" y="429"/>
                  </a:lnTo>
                  <a:lnTo>
                    <a:pt x="102" y="451"/>
                  </a:lnTo>
                  <a:lnTo>
                    <a:pt x="91" y="451"/>
                  </a:lnTo>
                </a:path>
              </a:pathLst>
            </a:custGeom>
            <a:solidFill>
              <a:srgbClr val="FFFFFF"/>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836"/>
            </a:p>
          </p:txBody>
        </p:sp>
        <p:sp>
          <p:nvSpPr>
            <p:cNvPr id="48150" name="Freeform 7"/>
            <p:cNvSpPr>
              <a:spLocks noChangeAspect="1"/>
            </p:cNvSpPr>
            <p:nvPr>
              <p:custDataLst>
                <p:tags r:id="rId4"/>
              </p:custDataLst>
            </p:nvPr>
          </p:nvSpPr>
          <p:spPr bwMode="auto">
            <a:xfrm>
              <a:off x="2070448" y="4063408"/>
              <a:ext cx="732823" cy="277319"/>
            </a:xfrm>
            <a:custGeom>
              <a:avLst/>
              <a:gdLst>
                <a:gd name="T0" fmla="*/ 0 w 283"/>
                <a:gd name="T1" fmla="*/ 0 h 114"/>
                <a:gd name="T2" fmla="*/ 0 w 283"/>
                <a:gd name="T3" fmla="*/ 0 h 114"/>
                <a:gd name="T4" fmla="*/ 0 w 283"/>
                <a:gd name="T5" fmla="*/ 0 h 114"/>
                <a:gd name="T6" fmla="*/ 0 w 283"/>
                <a:gd name="T7" fmla="*/ 0 h 114"/>
                <a:gd name="T8" fmla="*/ 0 w 283"/>
                <a:gd name="T9" fmla="*/ 0 h 114"/>
                <a:gd name="T10" fmla="*/ 0 w 283"/>
                <a:gd name="T11" fmla="*/ 0 h 114"/>
                <a:gd name="T12" fmla="*/ 0 w 283"/>
                <a:gd name="T13" fmla="*/ 0 h 114"/>
                <a:gd name="T14" fmla="*/ 0 w 283"/>
                <a:gd name="T15" fmla="*/ 0 h 114"/>
                <a:gd name="T16" fmla="*/ 0 w 283"/>
                <a:gd name="T17" fmla="*/ 0 h 114"/>
                <a:gd name="T18" fmla="*/ 0 w 283"/>
                <a:gd name="T19" fmla="*/ 0 h 114"/>
                <a:gd name="T20" fmla="*/ 0 w 283"/>
                <a:gd name="T21" fmla="*/ 0 h 114"/>
                <a:gd name="T22" fmla="*/ 0 w 283"/>
                <a:gd name="T23" fmla="*/ 0 h 114"/>
                <a:gd name="T24" fmla="*/ 0 w 283"/>
                <a:gd name="T25" fmla="*/ 0 h 114"/>
                <a:gd name="T26" fmla="*/ 0 w 283"/>
                <a:gd name="T27" fmla="*/ 0 h 114"/>
                <a:gd name="T28" fmla="*/ 0 w 283"/>
                <a:gd name="T29" fmla="*/ 0 h 114"/>
                <a:gd name="T30" fmla="*/ 0 w 283"/>
                <a:gd name="T31" fmla="*/ 0 h 114"/>
                <a:gd name="T32" fmla="*/ 0 w 283"/>
                <a:gd name="T33" fmla="*/ 0 h 114"/>
                <a:gd name="T34" fmla="*/ 0 w 283"/>
                <a:gd name="T35" fmla="*/ 0 h 114"/>
                <a:gd name="T36" fmla="*/ 0 w 283"/>
                <a:gd name="T37" fmla="*/ 0 h 114"/>
                <a:gd name="T38" fmla="*/ 0 w 283"/>
                <a:gd name="T39" fmla="*/ 0 h 114"/>
                <a:gd name="T40" fmla="*/ 0 w 283"/>
                <a:gd name="T41" fmla="*/ 0 h 114"/>
                <a:gd name="T42" fmla="*/ 0 w 283"/>
                <a:gd name="T43" fmla="*/ 0 h 114"/>
                <a:gd name="T44" fmla="*/ 0 w 283"/>
                <a:gd name="T45" fmla="*/ 0 h 114"/>
                <a:gd name="T46" fmla="*/ 0 w 283"/>
                <a:gd name="T47" fmla="*/ 0 h 114"/>
                <a:gd name="T48" fmla="*/ 0 w 283"/>
                <a:gd name="T49" fmla="*/ 0 h 114"/>
                <a:gd name="T50" fmla="*/ 0 w 283"/>
                <a:gd name="T51" fmla="*/ 0 h 114"/>
                <a:gd name="T52" fmla="*/ 0 w 283"/>
                <a:gd name="T53" fmla="*/ 0 h 114"/>
                <a:gd name="T54" fmla="*/ 0 w 283"/>
                <a:gd name="T55" fmla="*/ 0 h 114"/>
                <a:gd name="T56" fmla="*/ 0 w 283"/>
                <a:gd name="T57" fmla="*/ 0 h 114"/>
                <a:gd name="T58" fmla="*/ 0 w 283"/>
                <a:gd name="T59" fmla="*/ 0 h 114"/>
                <a:gd name="T60" fmla="*/ 0 w 283"/>
                <a:gd name="T61" fmla="*/ 0 h 114"/>
                <a:gd name="T62" fmla="*/ 0 w 283"/>
                <a:gd name="T63" fmla="*/ 0 h 114"/>
                <a:gd name="T64" fmla="*/ 0 w 283"/>
                <a:gd name="T65" fmla="*/ 0 h 114"/>
                <a:gd name="T66" fmla="*/ 0 w 283"/>
                <a:gd name="T67" fmla="*/ 0 h 114"/>
                <a:gd name="T68" fmla="*/ 0 w 283"/>
                <a:gd name="T69" fmla="*/ 0 h 114"/>
                <a:gd name="T70" fmla="*/ 0 w 283"/>
                <a:gd name="T71" fmla="*/ 0 h 114"/>
                <a:gd name="T72" fmla="*/ 0 w 283"/>
                <a:gd name="T73" fmla="*/ 0 h 114"/>
                <a:gd name="T74" fmla="*/ 0 w 283"/>
                <a:gd name="T75" fmla="*/ 0 h 114"/>
                <a:gd name="T76" fmla="*/ 0 w 283"/>
                <a:gd name="T77" fmla="*/ 0 h 114"/>
                <a:gd name="T78" fmla="*/ 0 w 283"/>
                <a:gd name="T79" fmla="*/ 0 h 114"/>
                <a:gd name="T80" fmla="*/ 0 w 283"/>
                <a:gd name="T81" fmla="*/ 0 h 114"/>
                <a:gd name="T82" fmla="*/ 0 w 283"/>
                <a:gd name="T83" fmla="*/ 0 h 114"/>
                <a:gd name="T84" fmla="*/ 0 w 283"/>
                <a:gd name="T85" fmla="*/ 0 h 114"/>
                <a:gd name="T86" fmla="*/ 0 w 283"/>
                <a:gd name="T87" fmla="*/ 0 h 114"/>
                <a:gd name="T88" fmla="*/ 0 w 283"/>
                <a:gd name="T89" fmla="*/ 0 h 114"/>
                <a:gd name="T90" fmla="*/ 0 w 283"/>
                <a:gd name="T91" fmla="*/ 0 h 114"/>
                <a:gd name="T92" fmla="*/ 0 w 283"/>
                <a:gd name="T93" fmla="*/ 0 h 114"/>
                <a:gd name="T94" fmla="*/ 0 w 283"/>
                <a:gd name="T95" fmla="*/ 0 h 114"/>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283" h="114">
                  <a:moveTo>
                    <a:pt x="282" y="45"/>
                  </a:moveTo>
                  <a:lnTo>
                    <a:pt x="271" y="45"/>
                  </a:lnTo>
                  <a:lnTo>
                    <a:pt x="271" y="11"/>
                  </a:lnTo>
                  <a:lnTo>
                    <a:pt x="237" y="11"/>
                  </a:lnTo>
                  <a:lnTo>
                    <a:pt x="215" y="23"/>
                  </a:lnTo>
                  <a:lnTo>
                    <a:pt x="169" y="23"/>
                  </a:lnTo>
                  <a:lnTo>
                    <a:pt x="147" y="0"/>
                  </a:lnTo>
                  <a:lnTo>
                    <a:pt x="113" y="0"/>
                  </a:lnTo>
                  <a:lnTo>
                    <a:pt x="90" y="23"/>
                  </a:lnTo>
                  <a:lnTo>
                    <a:pt x="68" y="23"/>
                  </a:lnTo>
                  <a:lnTo>
                    <a:pt x="45" y="23"/>
                  </a:lnTo>
                  <a:lnTo>
                    <a:pt x="45" y="0"/>
                  </a:lnTo>
                  <a:lnTo>
                    <a:pt x="23" y="0"/>
                  </a:lnTo>
                  <a:lnTo>
                    <a:pt x="11" y="11"/>
                  </a:lnTo>
                  <a:lnTo>
                    <a:pt x="0" y="34"/>
                  </a:lnTo>
                  <a:lnTo>
                    <a:pt x="11" y="34"/>
                  </a:lnTo>
                  <a:lnTo>
                    <a:pt x="11" y="45"/>
                  </a:lnTo>
                  <a:lnTo>
                    <a:pt x="34" y="23"/>
                  </a:lnTo>
                  <a:lnTo>
                    <a:pt x="45" y="23"/>
                  </a:lnTo>
                  <a:lnTo>
                    <a:pt x="56" y="34"/>
                  </a:lnTo>
                  <a:lnTo>
                    <a:pt x="45" y="34"/>
                  </a:lnTo>
                  <a:lnTo>
                    <a:pt x="45" y="45"/>
                  </a:lnTo>
                  <a:lnTo>
                    <a:pt x="23" y="45"/>
                  </a:lnTo>
                  <a:lnTo>
                    <a:pt x="11" y="45"/>
                  </a:lnTo>
                  <a:lnTo>
                    <a:pt x="11" y="56"/>
                  </a:lnTo>
                  <a:lnTo>
                    <a:pt x="23" y="45"/>
                  </a:lnTo>
                  <a:lnTo>
                    <a:pt x="23" y="56"/>
                  </a:lnTo>
                  <a:lnTo>
                    <a:pt x="11" y="68"/>
                  </a:lnTo>
                  <a:lnTo>
                    <a:pt x="11" y="79"/>
                  </a:lnTo>
                  <a:lnTo>
                    <a:pt x="23" y="90"/>
                  </a:lnTo>
                  <a:lnTo>
                    <a:pt x="34" y="101"/>
                  </a:lnTo>
                  <a:lnTo>
                    <a:pt x="45" y="101"/>
                  </a:lnTo>
                  <a:lnTo>
                    <a:pt x="45" y="113"/>
                  </a:lnTo>
                  <a:lnTo>
                    <a:pt x="56" y="113"/>
                  </a:lnTo>
                  <a:lnTo>
                    <a:pt x="79" y="113"/>
                  </a:lnTo>
                  <a:lnTo>
                    <a:pt x="90" y="113"/>
                  </a:lnTo>
                  <a:lnTo>
                    <a:pt x="102" y="113"/>
                  </a:lnTo>
                  <a:lnTo>
                    <a:pt x="113" y="113"/>
                  </a:lnTo>
                  <a:lnTo>
                    <a:pt x="136" y="113"/>
                  </a:lnTo>
                  <a:lnTo>
                    <a:pt x="158" y="113"/>
                  </a:lnTo>
                  <a:lnTo>
                    <a:pt x="192" y="101"/>
                  </a:lnTo>
                  <a:lnTo>
                    <a:pt x="203" y="113"/>
                  </a:lnTo>
                  <a:lnTo>
                    <a:pt x="226" y="101"/>
                  </a:lnTo>
                  <a:lnTo>
                    <a:pt x="260" y="101"/>
                  </a:lnTo>
                  <a:lnTo>
                    <a:pt x="260" y="90"/>
                  </a:lnTo>
                  <a:lnTo>
                    <a:pt x="282" y="101"/>
                  </a:lnTo>
                  <a:lnTo>
                    <a:pt x="271" y="45"/>
                  </a:lnTo>
                  <a:lnTo>
                    <a:pt x="282" y="45"/>
                  </a:lnTo>
                </a:path>
              </a:pathLst>
            </a:custGeom>
            <a:solidFill>
              <a:schemeClr val="bg1"/>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836"/>
            </a:p>
          </p:txBody>
        </p:sp>
        <p:sp>
          <p:nvSpPr>
            <p:cNvPr id="48151" name="Freeform 8"/>
            <p:cNvSpPr>
              <a:spLocks noChangeAspect="1"/>
            </p:cNvSpPr>
            <p:nvPr>
              <p:custDataLst>
                <p:tags r:id="rId5"/>
              </p:custDataLst>
            </p:nvPr>
          </p:nvSpPr>
          <p:spPr bwMode="auto">
            <a:xfrm>
              <a:off x="4539598" y="4697280"/>
              <a:ext cx="118836" cy="59426"/>
            </a:xfrm>
            <a:custGeom>
              <a:avLst/>
              <a:gdLst>
                <a:gd name="T0" fmla="*/ 0 w 46"/>
                <a:gd name="T1" fmla="*/ 0 h 24"/>
                <a:gd name="T2" fmla="*/ 0 w 46"/>
                <a:gd name="T3" fmla="*/ 0 h 24"/>
                <a:gd name="T4" fmla="*/ 0 w 46"/>
                <a:gd name="T5" fmla="*/ 0 h 24"/>
                <a:gd name="T6" fmla="*/ 0 w 46"/>
                <a:gd name="T7" fmla="*/ 0 h 24"/>
                <a:gd name="T8" fmla="*/ 0 w 46"/>
                <a:gd name="T9" fmla="*/ 0 h 24"/>
                <a:gd name="T10" fmla="*/ 0 w 46"/>
                <a:gd name="T11" fmla="*/ 0 h 24"/>
                <a:gd name="T12" fmla="*/ 0 w 46"/>
                <a:gd name="T13" fmla="*/ 0 h 2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6" h="24">
                  <a:moveTo>
                    <a:pt x="34" y="0"/>
                  </a:moveTo>
                  <a:lnTo>
                    <a:pt x="0" y="0"/>
                  </a:lnTo>
                  <a:lnTo>
                    <a:pt x="0" y="12"/>
                  </a:lnTo>
                  <a:lnTo>
                    <a:pt x="0" y="23"/>
                  </a:lnTo>
                  <a:lnTo>
                    <a:pt x="34" y="23"/>
                  </a:lnTo>
                  <a:lnTo>
                    <a:pt x="45" y="23"/>
                  </a:lnTo>
                  <a:lnTo>
                    <a:pt x="34" y="0"/>
                  </a:lnTo>
                </a:path>
              </a:pathLst>
            </a:custGeom>
            <a:solidFill>
              <a:srgbClr val="FFFFFF"/>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836"/>
            </a:p>
          </p:txBody>
        </p:sp>
        <p:sp>
          <p:nvSpPr>
            <p:cNvPr id="48152" name="Freeform 9"/>
            <p:cNvSpPr>
              <a:spLocks noChangeAspect="1"/>
            </p:cNvSpPr>
            <p:nvPr>
              <p:custDataLst>
                <p:tags r:id="rId6"/>
              </p:custDataLst>
            </p:nvPr>
          </p:nvSpPr>
          <p:spPr bwMode="auto">
            <a:xfrm>
              <a:off x="3952020" y="3429535"/>
              <a:ext cx="2330508" cy="1571476"/>
            </a:xfrm>
            <a:custGeom>
              <a:avLst/>
              <a:gdLst>
                <a:gd name="T0" fmla="*/ 0 w 892"/>
                <a:gd name="T1" fmla="*/ 0 h 643"/>
                <a:gd name="T2" fmla="*/ 0 w 892"/>
                <a:gd name="T3" fmla="*/ 0 h 643"/>
                <a:gd name="T4" fmla="*/ 0 w 892"/>
                <a:gd name="T5" fmla="*/ 0 h 643"/>
                <a:gd name="T6" fmla="*/ 0 w 892"/>
                <a:gd name="T7" fmla="*/ 0 h 643"/>
                <a:gd name="T8" fmla="*/ 0 w 892"/>
                <a:gd name="T9" fmla="*/ 0 h 643"/>
                <a:gd name="T10" fmla="*/ 0 w 892"/>
                <a:gd name="T11" fmla="*/ 0 h 643"/>
                <a:gd name="T12" fmla="*/ 0 w 892"/>
                <a:gd name="T13" fmla="*/ 0 h 643"/>
                <a:gd name="T14" fmla="*/ 0 w 892"/>
                <a:gd name="T15" fmla="*/ 0 h 643"/>
                <a:gd name="T16" fmla="*/ 0 w 892"/>
                <a:gd name="T17" fmla="*/ 0 h 643"/>
                <a:gd name="T18" fmla="*/ 0 w 892"/>
                <a:gd name="T19" fmla="*/ 0 h 643"/>
                <a:gd name="T20" fmla="*/ 0 w 892"/>
                <a:gd name="T21" fmla="*/ 0 h 643"/>
                <a:gd name="T22" fmla="*/ 0 w 892"/>
                <a:gd name="T23" fmla="*/ 0 h 643"/>
                <a:gd name="T24" fmla="*/ 0 w 892"/>
                <a:gd name="T25" fmla="*/ 0 h 643"/>
                <a:gd name="T26" fmla="*/ 0 w 892"/>
                <a:gd name="T27" fmla="*/ 0 h 643"/>
                <a:gd name="T28" fmla="*/ 0 w 892"/>
                <a:gd name="T29" fmla="*/ 0 h 643"/>
                <a:gd name="T30" fmla="*/ 0 w 892"/>
                <a:gd name="T31" fmla="*/ 0 h 643"/>
                <a:gd name="T32" fmla="*/ 0 w 892"/>
                <a:gd name="T33" fmla="*/ 0 h 643"/>
                <a:gd name="T34" fmla="*/ 0 w 892"/>
                <a:gd name="T35" fmla="*/ 0 h 643"/>
                <a:gd name="T36" fmla="*/ 0 w 892"/>
                <a:gd name="T37" fmla="*/ 0 h 643"/>
                <a:gd name="T38" fmla="*/ 0 w 892"/>
                <a:gd name="T39" fmla="*/ 0 h 643"/>
                <a:gd name="T40" fmla="*/ 0 w 892"/>
                <a:gd name="T41" fmla="*/ 0 h 643"/>
                <a:gd name="T42" fmla="*/ 0 w 892"/>
                <a:gd name="T43" fmla="*/ 0 h 643"/>
                <a:gd name="T44" fmla="*/ 0 w 892"/>
                <a:gd name="T45" fmla="*/ 0 h 643"/>
                <a:gd name="T46" fmla="*/ 0 w 892"/>
                <a:gd name="T47" fmla="*/ 0 h 643"/>
                <a:gd name="T48" fmla="*/ 0 w 892"/>
                <a:gd name="T49" fmla="*/ 0 h 643"/>
                <a:gd name="T50" fmla="*/ 0 w 892"/>
                <a:gd name="T51" fmla="*/ 0 h 643"/>
                <a:gd name="T52" fmla="*/ 0 w 892"/>
                <a:gd name="T53" fmla="*/ 0 h 643"/>
                <a:gd name="T54" fmla="*/ 0 w 892"/>
                <a:gd name="T55" fmla="*/ 0 h 643"/>
                <a:gd name="T56" fmla="*/ 0 w 892"/>
                <a:gd name="T57" fmla="*/ 0 h 643"/>
                <a:gd name="T58" fmla="*/ 0 w 892"/>
                <a:gd name="T59" fmla="*/ 0 h 643"/>
                <a:gd name="T60" fmla="*/ 0 w 892"/>
                <a:gd name="T61" fmla="*/ 0 h 643"/>
                <a:gd name="T62" fmla="*/ 0 w 892"/>
                <a:gd name="T63" fmla="*/ 0 h 643"/>
                <a:gd name="T64" fmla="*/ 0 w 892"/>
                <a:gd name="T65" fmla="*/ 0 h 643"/>
                <a:gd name="T66" fmla="*/ 0 w 892"/>
                <a:gd name="T67" fmla="*/ 0 h 643"/>
                <a:gd name="T68" fmla="*/ 0 w 892"/>
                <a:gd name="T69" fmla="*/ 0 h 643"/>
                <a:gd name="T70" fmla="*/ 0 w 892"/>
                <a:gd name="T71" fmla="*/ 0 h 643"/>
                <a:gd name="T72" fmla="*/ 0 w 892"/>
                <a:gd name="T73" fmla="*/ 0 h 643"/>
                <a:gd name="T74" fmla="*/ 0 w 892"/>
                <a:gd name="T75" fmla="*/ 0 h 643"/>
                <a:gd name="T76" fmla="*/ 0 w 892"/>
                <a:gd name="T77" fmla="*/ 0 h 643"/>
                <a:gd name="T78" fmla="*/ 0 w 892"/>
                <a:gd name="T79" fmla="*/ 0 h 643"/>
                <a:gd name="T80" fmla="*/ 0 w 892"/>
                <a:gd name="T81" fmla="*/ 0 h 643"/>
                <a:gd name="T82" fmla="*/ 0 w 892"/>
                <a:gd name="T83" fmla="*/ 0 h 643"/>
                <a:gd name="T84" fmla="*/ 0 w 892"/>
                <a:gd name="T85" fmla="*/ 0 h 643"/>
                <a:gd name="T86" fmla="*/ 0 w 892"/>
                <a:gd name="T87" fmla="*/ 0 h 643"/>
                <a:gd name="T88" fmla="*/ 0 w 892"/>
                <a:gd name="T89" fmla="*/ 0 h 643"/>
                <a:gd name="T90" fmla="*/ 0 w 892"/>
                <a:gd name="T91" fmla="*/ 0 h 643"/>
                <a:gd name="T92" fmla="*/ 0 w 892"/>
                <a:gd name="T93" fmla="*/ 0 h 643"/>
                <a:gd name="T94" fmla="*/ 0 w 892"/>
                <a:gd name="T95" fmla="*/ 0 h 643"/>
                <a:gd name="T96" fmla="*/ 0 w 892"/>
                <a:gd name="T97" fmla="*/ 0 h 643"/>
                <a:gd name="T98" fmla="*/ 0 w 892"/>
                <a:gd name="T99" fmla="*/ 0 h 643"/>
                <a:gd name="T100" fmla="*/ 0 w 892"/>
                <a:gd name="T101" fmla="*/ 0 h 643"/>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892" h="643">
                  <a:moveTo>
                    <a:pt x="180" y="112"/>
                  </a:moveTo>
                  <a:lnTo>
                    <a:pt x="203" y="112"/>
                  </a:lnTo>
                  <a:lnTo>
                    <a:pt x="225" y="135"/>
                  </a:lnTo>
                  <a:lnTo>
                    <a:pt x="237" y="135"/>
                  </a:lnTo>
                  <a:lnTo>
                    <a:pt x="248" y="157"/>
                  </a:lnTo>
                  <a:lnTo>
                    <a:pt x="248" y="191"/>
                  </a:lnTo>
                  <a:lnTo>
                    <a:pt x="304" y="214"/>
                  </a:lnTo>
                  <a:lnTo>
                    <a:pt x="327" y="248"/>
                  </a:lnTo>
                  <a:lnTo>
                    <a:pt x="383" y="248"/>
                  </a:lnTo>
                  <a:lnTo>
                    <a:pt x="417" y="259"/>
                  </a:lnTo>
                  <a:lnTo>
                    <a:pt x="451" y="270"/>
                  </a:lnTo>
                  <a:lnTo>
                    <a:pt x="496" y="248"/>
                  </a:lnTo>
                  <a:lnTo>
                    <a:pt x="530" y="248"/>
                  </a:lnTo>
                  <a:lnTo>
                    <a:pt x="553" y="225"/>
                  </a:lnTo>
                  <a:lnTo>
                    <a:pt x="553" y="214"/>
                  </a:lnTo>
                  <a:lnTo>
                    <a:pt x="564" y="191"/>
                  </a:lnTo>
                  <a:lnTo>
                    <a:pt x="587" y="203"/>
                  </a:lnTo>
                  <a:lnTo>
                    <a:pt x="609" y="180"/>
                  </a:lnTo>
                  <a:lnTo>
                    <a:pt x="632" y="169"/>
                  </a:lnTo>
                  <a:lnTo>
                    <a:pt x="666" y="169"/>
                  </a:lnTo>
                  <a:lnTo>
                    <a:pt x="666" y="146"/>
                  </a:lnTo>
                  <a:lnTo>
                    <a:pt x="654" y="135"/>
                  </a:lnTo>
                  <a:lnTo>
                    <a:pt x="632" y="146"/>
                  </a:lnTo>
                  <a:lnTo>
                    <a:pt x="609" y="146"/>
                  </a:lnTo>
                  <a:lnTo>
                    <a:pt x="609" y="112"/>
                  </a:lnTo>
                  <a:lnTo>
                    <a:pt x="620" y="90"/>
                  </a:lnTo>
                  <a:lnTo>
                    <a:pt x="643" y="101"/>
                  </a:lnTo>
                  <a:lnTo>
                    <a:pt x="666" y="90"/>
                  </a:lnTo>
                  <a:lnTo>
                    <a:pt x="677" y="45"/>
                  </a:lnTo>
                  <a:lnTo>
                    <a:pt x="688" y="45"/>
                  </a:lnTo>
                  <a:lnTo>
                    <a:pt x="688" y="33"/>
                  </a:lnTo>
                  <a:lnTo>
                    <a:pt x="677" y="33"/>
                  </a:lnTo>
                  <a:lnTo>
                    <a:pt x="688" y="11"/>
                  </a:lnTo>
                  <a:lnTo>
                    <a:pt x="722" y="0"/>
                  </a:lnTo>
                  <a:lnTo>
                    <a:pt x="756" y="11"/>
                  </a:lnTo>
                  <a:lnTo>
                    <a:pt x="778" y="33"/>
                  </a:lnTo>
                  <a:lnTo>
                    <a:pt x="790" y="101"/>
                  </a:lnTo>
                  <a:lnTo>
                    <a:pt x="812" y="101"/>
                  </a:lnTo>
                  <a:lnTo>
                    <a:pt x="835" y="112"/>
                  </a:lnTo>
                  <a:lnTo>
                    <a:pt x="835" y="135"/>
                  </a:lnTo>
                  <a:lnTo>
                    <a:pt x="857" y="135"/>
                  </a:lnTo>
                  <a:lnTo>
                    <a:pt x="891" y="124"/>
                  </a:lnTo>
                  <a:lnTo>
                    <a:pt x="891" y="146"/>
                  </a:lnTo>
                  <a:lnTo>
                    <a:pt x="869" y="203"/>
                  </a:lnTo>
                  <a:lnTo>
                    <a:pt x="857" y="191"/>
                  </a:lnTo>
                  <a:lnTo>
                    <a:pt x="835" y="203"/>
                  </a:lnTo>
                  <a:lnTo>
                    <a:pt x="846" y="236"/>
                  </a:lnTo>
                  <a:lnTo>
                    <a:pt x="835" y="248"/>
                  </a:lnTo>
                  <a:lnTo>
                    <a:pt x="812" y="259"/>
                  </a:lnTo>
                  <a:lnTo>
                    <a:pt x="801" y="259"/>
                  </a:lnTo>
                  <a:lnTo>
                    <a:pt x="790" y="270"/>
                  </a:lnTo>
                  <a:lnTo>
                    <a:pt x="778" y="270"/>
                  </a:lnTo>
                  <a:lnTo>
                    <a:pt x="745" y="304"/>
                  </a:lnTo>
                  <a:lnTo>
                    <a:pt x="722" y="304"/>
                  </a:lnTo>
                  <a:lnTo>
                    <a:pt x="699" y="327"/>
                  </a:lnTo>
                  <a:lnTo>
                    <a:pt x="699" y="315"/>
                  </a:lnTo>
                  <a:lnTo>
                    <a:pt x="699" y="304"/>
                  </a:lnTo>
                  <a:lnTo>
                    <a:pt x="711" y="293"/>
                  </a:lnTo>
                  <a:lnTo>
                    <a:pt x="699" y="282"/>
                  </a:lnTo>
                  <a:lnTo>
                    <a:pt x="666" y="304"/>
                  </a:lnTo>
                  <a:lnTo>
                    <a:pt x="666" y="315"/>
                  </a:lnTo>
                  <a:lnTo>
                    <a:pt x="654" y="315"/>
                  </a:lnTo>
                  <a:lnTo>
                    <a:pt x="643" y="327"/>
                  </a:lnTo>
                  <a:lnTo>
                    <a:pt x="666" y="360"/>
                  </a:lnTo>
                  <a:lnTo>
                    <a:pt x="688" y="349"/>
                  </a:lnTo>
                  <a:lnTo>
                    <a:pt x="722" y="360"/>
                  </a:lnTo>
                  <a:lnTo>
                    <a:pt x="722" y="372"/>
                  </a:lnTo>
                  <a:lnTo>
                    <a:pt x="711" y="360"/>
                  </a:lnTo>
                  <a:lnTo>
                    <a:pt x="688" y="372"/>
                  </a:lnTo>
                  <a:lnTo>
                    <a:pt x="666" y="394"/>
                  </a:lnTo>
                  <a:lnTo>
                    <a:pt x="677" y="406"/>
                  </a:lnTo>
                  <a:lnTo>
                    <a:pt x="688" y="439"/>
                  </a:lnTo>
                  <a:lnTo>
                    <a:pt x="711" y="451"/>
                  </a:lnTo>
                  <a:lnTo>
                    <a:pt x="699" y="451"/>
                  </a:lnTo>
                  <a:lnTo>
                    <a:pt x="711" y="473"/>
                  </a:lnTo>
                  <a:lnTo>
                    <a:pt x="677" y="484"/>
                  </a:lnTo>
                  <a:lnTo>
                    <a:pt x="711" y="484"/>
                  </a:lnTo>
                  <a:lnTo>
                    <a:pt x="699" y="518"/>
                  </a:lnTo>
                  <a:lnTo>
                    <a:pt x="677" y="541"/>
                  </a:lnTo>
                  <a:lnTo>
                    <a:pt x="666" y="541"/>
                  </a:lnTo>
                  <a:lnTo>
                    <a:pt x="666" y="563"/>
                  </a:lnTo>
                  <a:lnTo>
                    <a:pt x="666" y="575"/>
                  </a:lnTo>
                  <a:lnTo>
                    <a:pt x="654" y="575"/>
                  </a:lnTo>
                  <a:lnTo>
                    <a:pt x="654" y="586"/>
                  </a:lnTo>
                  <a:lnTo>
                    <a:pt x="620" y="608"/>
                  </a:lnTo>
                  <a:lnTo>
                    <a:pt x="598" y="608"/>
                  </a:lnTo>
                  <a:lnTo>
                    <a:pt x="598" y="620"/>
                  </a:lnTo>
                  <a:lnTo>
                    <a:pt x="587" y="608"/>
                  </a:lnTo>
                  <a:lnTo>
                    <a:pt x="587" y="620"/>
                  </a:lnTo>
                  <a:lnTo>
                    <a:pt x="575" y="620"/>
                  </a:lnTo>
                  <a:lnTo>
                    <a:pt x="541" y="631"/>
                  </a:lnTo>
                  <a:lnTo>
                    <a:pt x="530" y="642"/>
                  </a:lnTo>
                  <a:lnTo>
                    <a:pt x="530" y="631"/>
                  </a:lnTo>
                  <a:lnTo>
                    <a:pt x="508" y="631"/>
                  </a:lnTo>
                  <a:lnTo>
                    <a:pt x="496" y="631"/>
                  </a:lnTo>
                  <a:lnTo>
                    <a:pt x="485" y="631"/>
                  </a:lnTo>
                  <a:lnTo>
                    <a:pt x="485" y="608"/>
                  </a:lnTo>
                  <a:lnTo>
                    <a:pt x="462" y="608"/>
                  </a:lnTo>
                  <a:lnTo>
                    <a:pt x="429" y="620"/>
                  </a:lnTo>
                  <a:lnTo>
                    <a:pt x="417" y="608"/>
                  </a:lnTo>
                  <a:lnTo>
                    <a:pt x="417" y="620"/>
                  </a:lnTo>
                  <a:lnTo>
                    <a:pt x="406" y="620"/>
                  </a:lnTo>
                  <a:lnTo>
                    <a:pt x="406" y="631"/>
                  </a:lnTo>
                  <a:lnTo>
                    <a:pt x="395" y="631"/>
                  </a:lnTo>
                  <a:lnTo>
                    <a:pt x="383" y="631"/>
                  </a:lnTo>
                  <a:lnTo>
                    <a:pt x="372" y="620"/>
                  </a:lnTo>
                  <a:lnTo>
                    <a:pt x="372" y="608"/>
                  </a:lnTo>
                  <a:lnTo>
                    <a:pt x="372" y="597"/>
                  </a:lnTo>
                  <a:lnTo>
                    <a:pt x="361" y="586"/>
                  </a:lnTo>
                  <a:lnTo>
                    <a:pt x="349" y="586"/>
                  </a:lnTo>
                  <a:lnTo>
                    <a:pt x="361" y="541"/>
                  </a:lnTo>
                  <a:lnTo>
                    <a:pt x="349" y="518"/>
                  </a:lnTo>
                  <a:lnTo>
                    <a:pt x="338" y="518"/>
                  </a:lnTo>
                  <a:lnTo>
                    <a:pt x="327" y="507"/>
                  </a:lnTo>
                  <a:lnTo>
                    <a:pt x="304" y="507"/>
                  </a:lnTo>
                  <a:lnTo>
                    <a:pt x="259" y="518"/>
                  </a:lnTo>
                  <a:lnTo>
                    <a:pt x="225" y="518"/>
                  </a:lnTo>
                  <a:lnTo>
                    <a:pt x="225" y="530"/>
                  </a:lnTo>
                  <a:lnTo>
                    <a:pt x="214" y="518"/>
                  </a:lnTo>
                  <a:lnTo>
                    <a:pt x="203" y="518"/>
                  </a:lnTo>
                  <a:lnTo>
                    <a:pt x="169" y="518"/>
                  </a:lnTo>
                  <a:lnTo>
                    <a:pt x="158" y="507"/>
                  </a:lnTo>
                  <a:lnTo>
                    <a:pt x="146" y="507"/>
                  </a:lnTo>
                  <a:lnTo>
                    <a:pt x="135" y="507"/>
                  </a:lnTo>
                  <a:lnTo>
                    <a:pt x="112" y="484"/>
                  </a:lnTo>
                  <a:lnTo>
                    <a:pt x="101" y="484"/>
                  </a:lnTo>
                  <a:lnTo>
                    <a:pt x="67" y="473"/>
                  </a:lnTo>
                  <a:lnTo>
                    <a:pt x="56" y="439"/>
                  </a:lnTo>
                  <a:lnTo>
                    <a:pt x="79" y="439"/>
                  </a:lnTo>
                  <a:lnTo>
                    <a:pt x="67" y="428"/>
                  </a:lnTo>
                  <a:lnTo>
                    <a:pt x="90" y="406"/>
                  </a:lnTo>
                  <a:lnTo>
                    <a:pt x="90" y="383"/>
                  </a:lnTo>
                  <a:lnTo>
                    <a:pt x="79" y="372"/>
                  </a:lnTo>
                  <a:lnTo>
                    <a:pt x="56" y="383"/>
                  </a:lnTo>
                  <a:lnTo>
                    <a:pt x="33" y="372"/>
                  </a:lnTo>
                  <a:lnTo>
                    <a:pt x="22" y="372"/>
                  </a:lnTo>
                  <a:lnTo>
                    <a:pt x="0" y="360"/>
                  </a:lnTo>
                  <a:lnTo>
                    <a:pt x="11" y="360"/>
                  </a:lnTo>
                  <a:lnTo>
                    <a:pt x="11" y="327"/>
                  </a:lnTo>
                  <a:lnTo>
                    <a:pt x="0" y="327"/>
                  </a:lnTo>
                  <a:lnTo>
                    <a:pt x="0" y="304"/>
                  </a:lnTo>
                  <a:lnTo>
                    <a:pt x="11" y="293"/>
                  </a:lnTo>
                  <a:lnTo>
                    <a:pt x="33" y="293"/>
                  </a:lnTo>
                  <a:lnTo>
                    <a:pt x="45" y="282"/>
                  </a:lnTo>
                  <a:lnTo>
                    <a:pt x="56" y="282"/>
                  </a:lnTo>
                  <a:lnTo>
                    <a:pt x="90" y="259"/>
                  </a:lnTo>
                  <a:lnTo>
                    <a:pt x="101" y="248"/>
                  </a:lnTo>
                  <a:lnTo>
                    <a:pt x="90" y="203"/>
                  </a:lnTo>
                  <a:lnTo>
                    <a:pt x="90" y="191"/>
                  </a:lnTo>
                  <a:lnTo>
                    <a:pt x="112" y="191"/>
                  </a:lnTo>
                  <a:lnTo>
                    <a:pt x="124" y="157"/>
                  </a:lnTo>
                  <a:lnTo>
                    <a:pt x="158" y="157"/>
                  </a:lnTo>
                  <a:lnTo>
                    <a:pt x="169" y="157"/>
                  </a:lnTo>
                  <a:lnTo>
                    <a:pt x="169" y="124"/>
                  </a:lnTo>
                  <a:lnTo>
                    <a:pt x="180" y="112"/>
                  </a:lnTo>
                </a:path>
              </a:pathLst>
            </a:custGeom>
            <a:solidFill>
              <a:srgbClr val="FFFFFF"/>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836"/>
            </a:p>
          </p:txBody>
        </p:sp>
        <p:sp>
          <p:nvSpPr>
            <p:cNvPr id="48153" name="Freeform 10"/>
            <p:cNvSpPr>
              <a:spLocks noChangeAspect="1"/>
            </p:cNvSpPr>
            <p:nvPr>
              <p:custDataLst>
                <p:tags r:id="rId7"/>
              </p:custDataLst>
            </p:nvPr>
          </p:nvSpPr>
          <p:spPr bwMode="auto">
            <a:xfrm>
              <a:off x="3714348" y="4340727"/>
              <a:ext cx="1122341" cy="1129086"/>
            </a:xfrm>
            <a:custGeom>
              <a:avLst/>
              <a:gdLst>
                <a:gd name="T0" fmla="*/ 0 w 430"/>
                <a:gd name="T1" fmla="*/ 0 h 463"/>
                <a:gd name="T2" fmla="*/ 0 w 430"/>
                <a:gd name="T3" fmla="*/ 0 h 463"/>
                <a:gd name="T4" fmla="*/ 0 w 430"/>
                <a:gd name="T5" fmla="*/ 0 h 463"/>
                <a:gd name="T6" fmla="*/ 0 w 430"/>
                <a:gd name="T7" fmla="*/ 0 h 463"/>
                <a:gd name="T8" fmla="*/ 0 w 430"/>
                <a:gd name="T9" fmla="*/ 0 h 463"/>
                <a:gd name="T10" fmla="*/ 0 w 430"/>
                <a:gd name="T11" fmla="*/ 0 h 463"/>
                <a:gd name="T12" fmla="*/ 0 w 430"/>
                <a:gd name="T13" fmla="*/ 0 h 463"/>
                <a:gd name="T14" fmla="*/ 0 w 430"/>
                <a:gd name="T15" fmla="*/ 0 h 463"/>
                <a:gd name="T16" fmla="*/ 0 w 430"/>
                <a:gd name="T17" fmla="*/ 0 h 463"/>
                <a:gd name="T18" fmla="*/ 0 w 430"/>
                <a:gd name="T19" fmla="*/ 0 h 463"/>
                <a:gd name="T20" fmla="*/ 0 w 430"/>
                <a:gd name="T21" fmla="*/ 0 h 463"/>
                <a:gd name="T22" fmla="*/ 0 w 430"/>
                <a:gd name="T23" fmla="*/ 0 h 463"/>
                <a:gd name="T24" fmla="*/ 0 w 430"/>
                <a:gd name="T25" fmla="*/ 0 h 463"/>
                <a:gd name="T26" fmla="*/ 0 w 430"/>
                <a:gd name="T27" fmla="*/ 0 h 463"/>
                <a:gd name="T28" fmla="*/ 0 w 430"/>
                <a:gd name="T29" fmla="*/ 0 h 463"/>
                <a:gd name="T30" fmla="*/ 0 w 430"/>
                <a:gd name="T31" fmla="*/ 0 h 463"/>
                <a:gd name="T32" fmla="*/ 0 w 430"/>
                <a:gd name="T33" fmla="*/ 0 h 463"/>
                <a:gd name="T34" fmla="*/ 0 w 430"/>
                <a:gd name="T35" fmla="*/ 0 h 463"/>
                <a:gd name="T36" fmla="*/ 0 w 430"/>
                <a:gd name="T37" fmla="*/ 0 h 463"/>
                <a:gd name="T38" fmla="*/ 0 w 430"/>
                <a:gd name="T39" fmla="*/ 0 h 463"/>
                <a:gd name="T40" fmla="*/ 0 w 430"/>
                <a:gd name="T41" fmla="*/ 0 h 463"/>
                <a:gd name="T42" fmla="*/ 0 w 430"/>
                <a:gd name="T43" fmla="*/ 0 h 463"/>
                <a:gd name="T44" fmla="*/ 0 w 430"/>
                <a:gd name="T45" fmla="*/ 0 h 463"/>
                <a:gd name="T46" fmla="*/ 0 w 430"/>
                <a:gd name="T47" fmla="*/ 0 h 463"/>
                <a:gd name="T48" fmla="*/ 0 w 430"/>
                <a:gd name="T49" fmla="*/ 0 h 463"/>
                <a:gd name="T50" fmla="*/ 0 w 430"/>
                <a:gd name="T51" fmla="*/ 0 h 463"/>
                <a:gd name="T52" fmla="*/ 0 w 430"/>
                <a:gd name="T53" fmla="*/ 0 h 463"/>
                <a:gd name="T54" fmla="*/ 0 w 430"/>
                <a:gd name="T55" fmla="*/ 0 h 463"/>
                <a:gd name="T56" fmla="*/ 0 w 430"/>
                <a:gd name="T57" fmla="*/ 0 h 463"/>
                <a:gd name="T58" fmla="*/ 0 w 430"/>
                <a:gd name="T59" fmla="*/ 0 h 463"/>
                <a:gd name="T60" fmla="*/ 0 w 430"/>
                <a:gd name="T61" fmla="*/ 0 h 463"/>
                <a:gd name="T62" fmla="*/ 0 w 430"/>
                <a:gd name="T63" fmla="*/ 0 h 463"/>
                <a:gd name="T64" fmla="*/ 0 w 430"/>
                <a:gd name="T65" fmla="*/ 0 h 463"/>
                <a:gd name="T66" fmla="*/ 0 w 430"/>
                <a:gd name="T67" fmla="*/ 0 h 463"/>
                <a:gd name="T68" fmla="*/ 0 w 430"/>
                <a:gd name="T69" fmla="*/ 0 h 463"/>
                <a:gd name="T70" fmla="*/ 0 w 430"/>
                <a:gd name="T71" fmla="*/ 0 h 463"/>
                <a:gd name="T72" fmla="*/ 0 w 430"/>
                <a:gd name="T73" fmla="*/ 0 h 463"/>
                <a:gd name="T74" fmla="*/ 0 w 430"/>
                <a:gd name="T75" fmla="*/ 0 h 463"/>
                <a:gd name="T76" fmla="*/ 0 w 430"/>
                <a:gd name="T77" fmla="*/ 0 h 463"/>
                <a:gd name="T78" fmla="*/ 0 w 430"/>
                <a:gd name="T79" fmla="*/ 0 h 463"/>
                <a:gd name="T80" fmla="*/ 0 w 430"/>
                <a:gd name="T81" fmla="*/ 0 h 463"/>
                <a:gd name="T82" fmla="*/ 0 w 430"/>
                <a:gd name="T83" fmla="*/ 0 h 463"/>
                <a:gd name="T84" fmla="*/ 0 w 430"/>
                <a:gd name="T85" fmla="*/ 0 h 463"/>
                <a:gd name="T86" fmla="*/ 0 w 430"/>
                <a:gd name="T87" fmla="*/ 0 h 463"/>
                <a:gd name="T88" fmla="*/ 0 w 430"/>
                <a:gd name="T89" fmla="*/ 0 h 463"/>
                <a:gd name="T90" fmla="*/ 0 w 430"/>
                <a:gd name="T91" fmla="*/ 0 h 463"/>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430" h="463">
                  <a:moveTo>
                    <a:pt x="395" y="135"/>
                  </a:moveTo>
                  <a:lnTo>
                    <a:pt x="418" y="135"/>
                  </a:lnTo>
                  <a:lnTo>
                    <a:pt x="429" y="146"/>
                  </a:lnTo>
                  <a:lnTo>
                    <a:pt x="429" y="169"/>
                  </a:lnTo>
                  <a:lnTo>
                    <a:pt x="418" y="169"/>
                  </a:lnTo>
                  <a:lnTo>
                    <a:pt x="407" y="180"/>
                  </a:lnTo>
                  <a:lnTo>
                    <a:pt x="384" y="214"/>
                  </a:lnTo>
                  <a:lnTo>
                    <a:pt x="373" y="225"/>
                  </a:lnTo>
                  <a:lnTo>
                    <a:pt x="361" y="248"/>
                  </a:lnTo>
                  <a:lnTo>
                    <a:pt x="361" y="259"/>
                  </a:lnTo>
                  <a:lnTo>
                    <a:pt x="361" y="225"/>
                  </a:lnTo>
                  <a:lnTo>
                    <a:pt x="361" y="214"/>
                  </a:lnTo>
                  <a:lnTo>
                    <a:pt x="350" y="225"/>
                  </a:lnTo>
                  <a:lnTo>
                    <a:pt x="339" y="225"/>
                  </a:lnTo>
                  <a:lnTo>
                    <a:pt x="339" y="214"/>
                  </a:lnTo>
                  <a:lnTo>
                    <a:pt x="361" y="203"/>
                  </a:lnTo>
                  <a:lnTo>
                    <a:pt x="316" y="203"/>
                  </a:lnTo>
                  <a:lnTo>
                    <a:pt x="316" y="180"/>
                  </a:lnTo>
                  <a:lnTo>
                    <a:pt x="305" y="180"/>
                  </a:lnTo>
                  <a:lnTo>
                    <a:pt x="305" y="191"/>
                  </a:lnTo>
                  <a:lnTo>
                    <a:pt x="294" y="203"/>
                  </a:lnTo>
                  <a:lnTo>
                    <a:pt x="305" y="203"/>
                  </a:lnTo>
                  <a:lnTo>
                    <a:pt x="316" y="259"/>
                  </a:lnTo>
                  <a:lnTo>
                    <a:pt x="305" y="259"/>
                  </a:lnTo>
                  <a:lnTo>
                    <a:pt x="305" y="248"/>
                  </a:lnTo>
                  <a:lnTo>
                    <a:pt x="282" y="259"/>
                  </a:lnTo>
                  <a:lnTo>
                    <a:pt x="271" y="282"/>
                  </a:lnTo>
                  <a:lnTo>
                    <a:pt x="260" y="293"/>
                  </a:lnTo>
                  <a:lnTo>
                    <a:pt x="203" y="327"/>
                  </a:lnTo>
                  <a:lnTo>
                    <a:pt x="203" y="338"/>
                  </a:lnTo>
                  <a:lnTo>
                    <a:pt x="192" y="349"/>
                  </a:lnTo>
                  <a:lnTo>
                    <a:pt x="181" y="349"/>
                  </a:lnTo>
                  <a:lnTo>
                    <a:pt x="181" y="361"/>
                  </a:lnTo>
                  <a:lnTo>
                    <a:pt x="181" y="394"/>
                  </a:lnTo>
                  <a:lnTo>
                    <a:pt x="170" y="406"/>
                  </a:lnTo>
                  <a:lnTo>
                    <a:pt x="170" y="439"/>
                  </a:lnTo>
                  <a:lnTo>
                    <a:pt x="158" y="451"/>
                  </a:lnTo>
                  <a:lnTo>
                    <a:pt x="147" y="462"/>
                  </a:lnTo>
                  <a:lnTo>
                    <a:pt x="124" y="462"/>
                  </a:lnTo>
                  <a:lnTo>
                    <a:pt x="91" y="372"/>
                  </a:lnTo>
                  <a:lnTo>
                    <a:pt x="79" y="338"/>
                  </a:lnTo>
                  <a:lnTo>
                    <a:pt x="68" y="282"/>
                  </a:lnTo>
                  <a:lnTo>
                    <a:pt x="68" y="248"/>
                  </a:lnTo>
                  <a:lnTo>
                    <a:pt x="57" y="259"/>
                  </a:lnTo>
                  <a:lnTo>
                    <a:pt x="34" y="270"/>
                  </a:lnTo>
                  <a:lnTo>
                    <a:pt x="12" y="248"/>
                  </a:lnTo>
                  <a:lnTo>
                    <a:pt x="34" y="248"/>
                  </a:lnTo>
                  <a:lnTo>
                    <a:pt x="34" y="236"/>
                  </a:lnTo>
                  <a:lnTo>
                    <a:pt x="23" y="236"/>
                  </a:lnTo>
                  <a:lnTo>
                    <a:pt x="0" y="225"/>
                  </a:lnTo>
                  <a:lnTo>
                    <a:pt x="12" y="214"/>
                  </a:lnTo>
                  <a:lnTo>
                    <a:pt x="34" y="214"/>
                  </a:lnTo>
                  <a:lnTo>
                    <a:pt x="34" y="203"/>
                  </a:lnTo>
                  <a:lnTo>
                    <a:pt x="34" y="191"/>
                  </a:lnTo>
                  <a:lnTo>
                    <a:pt x="34" y="180"/>
                  </a:lnTo>
                  <a:lnTo>
                    <a:pt x="23" y="180"/>
                  </a:lnTo>
                  <a:lnTo>
                    <a:pt x="23" y="158"/>
                  </a:lnTo>
                  <a:lnTo>
                    <a:pt x="34" y="146"/>
                  </a:lnTo>
                  <a:lnTo>
                    <a:pt x="34" y="158"/>
                  </a:lnTo>
                  <a:lnTo>
                    <a:pt x="57" y="146"/>
                  </a:lnTo>
                  <a:lnTo>
                    <a:pt x="102" y="90"/>
                  </a:lnTo>
                  <a:lnTo>
                    <a:pt x="91" y="79"/>
                  </a:lnTo>
                  <a:lnTo>
                    <a:pt x="102" y="79"/>
                  </a:lnTo>
                  <a:lnTo>
                    <a:pt x="102" y="67"/>
                  </a:lnTo>
                  <a:lnTo>
                    <a:pt x="91" y="67"/>
                  </a:lnTo>
                  <a:lnTo>
                    <a:pt x="91" y="45"/>
                  </a:lnTo>
                  <a:lnTo>
                    <a:pt x="91" y="34"/>
                  </a:lnTo>
                  <a:lnTo>
                    <a:pt x="91" y="22"/>
                  </a:lnTo>
                  <a:lnTo>
                    <a:pt x="113" y="34"/>
                  </a:lnTo>
                  <a:lnTo>
                    <a:pt x="136" y="22"/>
                  </a:lnTo>
                  <a:lnTo>
                    <a:pt x="147" y="11"/>
                  </a:lnTo>
                  <a:lnTo>
                    <a:pt x="170" y="0"/>
                  </a:lnTo>
                  <a:lnTo>
                    <a:pt x="181" y="11"/>
                  </a:lnTo>
                  <a:lnTo>
                    <a:pt x="181" y="34"/>
                  </a:lnTo>
                  <a:lnTo>
                    <a:pt x="158" y="56"/>
                  </a:lnTo>
                  <a:lnTo>
                    <a:pt x="170" y="67"/>
                  </a:lnTo>
                  <a:lnTo>
                    <a:pt x="147" y="67"/>
                  </a:lnTo>
                  <a:lnTo>
                    <a:pt x="158" y="101"/>
                  </a:lnTo>
                  <a:lnTo>
                    <a:pt x="192" y="112"/>
                  </a:lnTo>
                  <a:lnTo>
                    <a:pt x="181" y="135"/>
                  </a:lnTo>
                  <a:lnTo>
                    <a:pt x="203" y="146"/>
                  </a:lnTo>
                  <a:lnTo>
                    <a:pt x="282" y="180"/>
                  </a:lnTo>
                  <a:lnTo>
                    <a:pt x="294" y="180"/>
                  </a:lnTo>
                  <a:lnTo>
                    <a:pt x="294" y="169"/>
                  </a:lnTo>
                  <a:lnTo>
                    <a:pt x="294" y="146"/>
                  </a:lnTo>
                  <a:lnTo>
                    <a:pt x="305" y="146"/>
                  </a:lnTo>
                  <a:lnTo>
                    <a:pt x="316" y="158"/>
                  </a:lnTo>
                  <a:lnTo>
                    <a:pt x="316" y="169"/>
                  </a:lnTo>
                  <a:lnTo>
                    <a:pt x="350" y="169"/>
                  </a:lnTo>
                  <a:lnTo>
                    <a:pt x="361" y="169"/>
                  </a:lnTo>
                  <a:lnTo>
                    <a:pt x="350" y="146"/>
                  </a:lnTo>
                  <a:lnTo>
                    <a:pt x="395" y="135"/>
                  </a:lnTo>
                </a:path>
              </a:pathLst>
            </a:custGeom>
            <a:solidFill>
              <a:srgbClr val="FFFFFF"/>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836"/>
            </a:p>
          </p:txBody>
        </p:sp>
        <p:sp>
          <p:nvSpPr>
            <p:cNvPr id="48154" name="Freeform 11"/>
            <p:cNvSpPr>
              <a:spLocks noChangeAspect="1"/>
            </p:cNvSpPr>
            <p:nvPr>
              <p:custDataLst>
                <p:tags r:id="rId8"/>
              </p:custDataLst>
            </p:nvPr>
          </p:nvSpPr>
          <p:spPr bwMode="auto">
            <a:xfrm>
              <a:off x="4480180" y="3541783"/>
              <a:ext cx="1214769" cy="548036"/>
            </a:xfrm>
            <a:custGeom>
              <a:avLst/>
              <a:gdLst>
                <a:gd name="T0" fmla="*/ 0 w 464"/>
                <a:gd name="T1" fmla="*/ 0 h 226"/>
                <a:gd name="T2" fmla="*/ 0 w 464"/>
                <a:gd name="T3" fmla="*/ 0 h 226"/>
                <a:gd name="T4" fmla="*/ 0 w 464"/>
                <a:gd name="T5" fmla="*/ 0 h 226"/>
                <a:gd name="T6" fmla="*/ 0 w 464"/>
                <a:gd name="T7" fmla="*/ 0 h 226"/>
                <a:gd name="T8" fmla="*/ 0 w 464"/>
                <a:gd name="T9" fmla="*/ 0 h 226"/>
                <a:gd name="T10" fmla="*/ 0 w 464"/>
                <a:gd name="T11" fmla="*/ 0 h 226"/>
                <a:gd name="T12" fmla="*/ 0 w 464"/>
                <a:gd name="T13" fmla="*/ 0 h 226"/>
                <a:gd name="T14" fmla="*/ 0 w 464"/>
                <a:gd name="T15" fmla="*/ 0 h 226"/>
                <a:gd name="T16" fmla="*/ 0 w 464"/>
                <a:gd name="T17" fmla="*/ 0 h 226"/>
                <a:gd name="T18" fmla="*/ 0 w 464"/>
                <a:gd name="T19" fmla="*/ 0 h 226"/>
                <a:gd name="T20" fmla="*/ 0 w 464"/>
                <a:gd name="T21" fmla="*/ 0 h 226"/>
                <a:gd name="T22" fmla="*/ 0 w 464"/>
                <a:gd name="T23" fmla="*/ 0 h 226"/>
                <a:gd name="T24" fmla="*/ 0 w 464"/>
                <a:gd name="T25" fmla="*/ 0 h 226"/>
                <a:gd name="T26" fmla="*/ 0 w 464"/>
                <a:gd name="T27" fmla="*/ 0 h 226"/>
                <a:gd name="T28" fmla="*/ 0 w 464"/>
                <a:gd name="T29" fmla="*/ 0 h 226"/>
                <a:gd name="T30" fmla="*/ 0 w 464"/>
                <a:gd name="T31" fmla="*/ 0 h 226"/>
                <a:gd name="T32" fmla="*/ 0 w 464"/>
                <a:gd name="T33" fmla="*/ 0 h 226"/>
                <a:gd name="T34" fmla="*/ 0 w 464"/>
                <a:gd name="T35" fmla="*/ 0 h 226"/>
                <a:gd name="T36" fmla="*/ 0 w 464"/>
                <a:gd name="T37" fmla="*/ 0 h 226"/>
                <a:gd name="T38" fmla="*/ 0 w 464"/>
                <a:gd name="T39" fmla="*/ 0 h 226"/>
                <a:gd name="T40" fmla="*/ 0 w 464"/>
                <a:gd name="T41" fmla="*/ 0 h 226"/>
                <a:gd name="T42" fmla="*/ 0 w 464"/>
                <a:gd name="T43" fmla="*/ 0 h 226"/>
                <a:gd name="T44" fmla="*/ 0 w 464"/>
                <a:gd name="T45" fmla="*/ 0 h 226"/>
                <a:gd name="T46" fmla="*/ 0 w 464"/>
                <a:gd name="T47" fmla="*/ 0 h 226"/>
                <a:gd name="T48" fmla="*/ 0 w 464"/>
                <a:gd name="T49" fmla="*/ 0 h 226"/>
                <a:gd name="T50" fmla="*/ 0 w 464"/>
                <a:gd name="T51" fmla="*/ 0 h 226"/>
                <a:gd name="T52" fmla="*/ 0 w 464"/>
                <a:gd name="T53" fmla="*/ 0 h 226"/>
                <a:gd name="T54" fmla="*/ 0 w 464"/>
                <a:gd name="T55" fmla="*/ 0 h 226"/>
                <a:gd name="T56" fmla="*/ 0 w 464"/>
                <a:gd name="T57" fmla="*/ 0 h 226"/>
                <a:gd name="T58" fmla="*/ 0 w 464"/>
                <a:gd name="T59" fmla="*/ 0 h 226"/>
                <a:gd name="T60" fmla="*/ 0 w 464"/>
                <a:gd name="T61" fmla="*/ 0 h 226"/>
                <a:gd name="T62" fmla="*/ 0 w 464"/>
                <a:gd name="T63" fmla="*/ 0 h 226"/>
                <a:gd name="T64" fmla="*/ 0 w 464"/>
                <a:gd name="T65" fmla="*/ 0 h 226"/>
                <a:gd name="T66" fmla="*/ 0 w 464"/>
                <a:gd name="T67" fmla="*/ 0 h 226"/>
                <a:gd name="T68" fmla="*/ 0 w 464"/>
                <a:gd name="T69" fmla="*/ 0 h 226"/>
                <a:gd name="T70" fmla="*/ 0 w 464"/>
                <a:gd name="T71" fmla="*/ 0 h 226"/>
                <a:gd name="T72" fmla="*/ 0 w 464"/>
                <a:gd name="T73" fmla="*/ 0 h 226"/>
                <a:gd name="T74" fmla="*/ 0 w 464"/>
                <a:gd name="T75" fmla="*/ 0 h 226"/>
                <a:gd name="T76" fmla="*/ 0 w 464"/>
                <a:gd name="T77" fmla="*/ 0 h 226"/>
                <a:gd name="T78" fmla="*/ 0 w 464"/>
                <a:gd name="T79" fmla="*/ 0 h 226"/>
                <a:gd name="T80" fmla="*/ 0 w 464"/>
                <a:gd name="T81" fmla="*/ 0 h 226"/>
                <a:gd name="T82" fmla="*/ 0 w 464"/>
                <a:gd name="T83" fmla="*/ 0 h 22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464" h="226">
                  <a:moveTo>
                    <a:pt x="305" y="56"/>
                  </a:moveTo>
                  <a:lnTo>
                    <a:pt x="248" y="22"/>
                  </a:lnTo>
                  <a:lnTo>
                    <a:pt x="237" y="34"/>
                  </a:lnTo>
                  <a:lnTo>
                    <a:pt x="226" y="34"/>
                  </a:lnTo>
                  <a:lnTo>
                    <a:pt x="203" y="0"/>
                  </a:lnTo>
                  <a:lnTo>
                    <a:pt x="169" y="0"/>
                  </a:lnTo>
                  <a:lnTo>
                    <a:pt x="146" y="0"/>
                  </a:lnTo>
                  <a:lnTo>
                    <a:pt x="146" y="22"/>
                  </a:lnTo>
                  <a:lnTo>
                    <a:pt x="146" y="45"/>
                  </a:lnTo>
                  <a:lnTo>
                    <a:pt x="113" y="45"/>
                  </a:lnTo>
                  <a:lnTo>
                    <a:pt x="90" y="34"/>
                  </a:lnTo>
                  <a:lnTo>
                    <a:pt x="56" y="22"/>
                  </a:lnTo>
                  <a:lnTo>
                    <a:pt x="11" y="56"/>
                  </a:lnTo>
                  <a:lnTo>
                    <a:pt x="0" y="67"/>
                  </a:lnTo>
                  <a:lnTo>
                    <a:pt x="22" y="90"/>
                  </a:lnTo>
                  <a:lnTo>
                    <a:pt x="34" y="90"/>
                  </a:lnTo>
                  <a:lnTo>
                    <a:pt x="45" y="112"/>
                  </a:lnTo>
                  <a:lnTo>
                    <a:pt x="45" y="146"/>
                  </a:lnTo>
                  <a:lnTo>
                    <a:pt x="101" y="169"/>
                  </a:lnTo>
                  <a:lnTo>
                    <a:pt x="124" y="203"/>
                  </a:lnTo>
                  <a:lnTo>
                    <a:pt x="180" y="203"/>
                  </a:lnTo>
                  <a:lnTo>
                    <a:pt x="214" y="214"/>
                  </a:lnTo>
                  <a:lnTo>
                    <a:pt x="248" y="225"/>
                  </a:lnTo>
                  <a:lnTo>
                    <a:pt x="293" y="203"/>
                  </a:lnTo>
                  <a:lnTo>
                    <a:pt x="327" y="203"/>
                  </a:lnTo>
                  <a:lnTo>
                    <a:pt x="350" y="180"/>
                  </a:lnTo>
                  <a:lnTo>
                    <a:pt x="350" y="169"/>
                  </a:lnTo>
                  <a:lnTo>
                    <a:pt x="361" y="146"/>
                  </a:lnTo>
                  <a:lnTo>
                    <a:pt x="384" y="158"/>
                  </a:lnTo>
                  <a:lnTo>
                    <a:pt x="406" y="135"/>
                  </a:lnTo>
                  <a:lnTo>
                    <a:pt x="429" y="124"/>
                  </a:lnTo>
                  <a:lnTo>
                    <a:pt x="463" y="124"/>
                  </a:lnTo>
                  <a:lnTo>
                    <a:pt x="463" y="101"/>
                  </a:lnTo>
                  <a:lnTo>
                    <a:pt x="451" y="90"/>
                  </a:lnTo>
                  <a:lnTo>
                    <a:pt x="429" y="101"/>
                  </a:lnTo>
                  <a:lnTo>
                    <a:pt x="406" y="101"/>
                  </a:lnTo>
                  <a:lnTo>
                    <a:pt x="406" y="67"/>
                  </a:lnTo>
                  <a:lnTo>
                    <a:pt x="417" y="45"/>
                  </a:lnTo>
                  <a:lnTo>
                    <a:pt x="395" y="34"/>
                  </a:lnTo>
                  <a:lnTo>
                    <a:pt x="372" y="56"/>
                  </a:lnTo>
                  <a:lnTo>
                    <a:pt x="338" y="67"/>
                  </a:lnTo>
                  <a:lnTo>
                    <a:pt x="305" y="56"/>
                  </a:lnTo>
                </a:path>
              </a:pathLst>
            </a:custGeom>
            <a:solidFill>
              <a:srgbClr val="FFFFFF"/>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836"/>
            </a:p>
          </p:txBody>
        </p:sp>
        <p:sp>
          <p:nvSpPr>
            <p:cNvPr id="48155" name="Freeform 12"/>
            <p:cNvSpPr>
              <a:spLocks noChangeAspect="1"/>
            </p:cNvSpPr>
            <p:nvPr>
              <p:custDataLst>
                <p:tags r:id="rId9"/>
              </p:custDataLst>
            </p:nvPr>
          </p:nvSpPr>
          <p:spPr bwMode="auto">
            <a:xfrm>
              <a:off x="1892194" y="2102364"/>
              <a:ext cx="409324" cy="884780"/>
            </a:xfrm>
            <a:custGeom>
              <a:avLst/>
              <a:gdLst>
                <a:gd name="T0" fmla="*/ 0 w 159"/>
                <a:gd name="T1" fmla="*/ 0 h 362"/>
                <a:gd name="T2" fmla="*/ 0 w 159"/>
                <a:gd name="T3" fmla="*/ 0 h 362"/>
                <a:gd name="T4" fmla="*/ 0 w 159"/>
                <a:gd name="T5" fmla="*/ 0 h 362"/>
                <a:gd name="T6" fmla="*/ 0 w 159"/>
                <a:gd name="T7" fmla="*/ 0 h 362"/>
                <a:gd name="T8" fmla="*/ 0 w 159"/>
                <a:gd name="T9" fmla="*/ 0 h 362"/>
                <a:gd name="T10" fmla="*/ 0 w 159"/>
                <a:gd name="T11" fmla="*/ 0 h 362"/>
                <a:gd name="T12" fmla="*/ 0 w 159"/>
                <a:gd name="T13" fmla="*/ 0 h 362"/>
                <a:gd name="T14" fmla="*/ 0 w 159"/>
                <a:gd name="T15" fmla="*/ 0 h 362"/>
                <a:gd name="T16" fmla="*/ 0 w 159"/>
                <a:gd name="T17" fmla="*/ 0 h 362"/>
                <a:gd name="T18" fmla="*/ 0 w 159"/>
                <a:gd name="T19" fmla="*/ 0 h 362"/>
                <a:gd name="T20" fmla="*/ 0 w 159"/>
                <a:gd name="T21" fmla="*/ 0 h 362"/>
                <a:gd name="T22" fmla="*/ 0 w 159"/>
                <a:gd name="T23" fmla="*/ 0 h 362"/>
                <a:gd name="T24" fmla="*/ 0 w 159"/>
                <a:gd name="T25" fmla="*/ 0 h 362"/>
                <a:gd name="T26" fmla="*/ 0 w 159"/>
                <a:gd name="T27" fmla="*/ 0 h 362"/>
                <a:gd name="T28" fmla="*/ 0 w 159"/>
                <a:gd name="T29" fmla="*/ 0 h 362"/>
                <a:gd name="T30" fmla="*/ 0 w 159"/>
                <a:gd name="T31" fmla="*/ 0 h 362"/>
                <a:gd name="T32" fmla="*/ 0 w 159"/>
                <a:gd name="T33" fmla="*/ 0 h 362"/>
                <a:gd name="T34" fmla="*/ 0 w 159"/>
                <a:gd name="T35" fmla="*/ 0 h 362"/>
                <a:gd name="T36" fmla="*/ 0 w 159"/>
                <a:gd name="T37" fmla="*/ 0 h 362"/>
                <a:gd name="T38" fmla="*/ 0 w 159"/>
                <a:gd name="T39" fmla="*/ 0 h 362"/>
                <a:gd name="T40" fmla="*/ 0 w 159"/>
                <a:gd name="T41" fmla="*/ 0 h 362"/>
                <a:gd name="T42" fmla="*/ 0 w 159"/>
                <a:gd name="T43" fmla="*/ 0 h 362"/>
                <a:gd name="T44" fmla="*/ 0 w 159"/>
                <a:gd name="T45" fmla="*/ 0 h 362"/>
                <a:gd name="T46" fmla="*/ 0 w 159"/>
                <a:gd name="T47" fmla="*/ 0 h 362"/>
                <a:gd name="T48" fmla="*/ 0 w 159"/>
                <a:gd name="T49" fmla="*/ 0 h 362"/>
                <a:gd name="T50" fmla="*/ 0 w 159"/>
                <a:gd name="T51" fmla="*/ 0 h 362"/>
                <a:gd name="T52" fmla="*/ 0 w 159"/>
                <a:gd name="T53" fmla="*/ 0 h 362"/>
                <a:gd name="T54" fmla="*/ 0 w 159"/>
                <a:gd name="T55" fmla="*/ 0 h 362"/>
                <a:gd name="T56" fmla="*/ 0 w 159"/>
                <a:gd name="T57" fmla="*/ 0 h 362"/>
                <a:gd name="T58" fmla="*/ 0 w 159"/>
                <a:gd name="T59" fmla="*/ 0 h 362"/>
                <a:gd name="T60" fmla="*/ 0 w 159"/>
                <a:gd name="T61" fmla="*/ 0 h 362"/>
                <a:gd name="T62" fmla="*/ 0 w 159"/>
                <a:gd name="T63" fmla="*/ 0 h 362"/>
                <a:gd name="T64" fmla="*/ 0 w 159"/>
                <a:gd name="T65" fmla="*/ 0 h 362"/>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59" h="362">
                  <a:moveTo>
                    <a:pt x="113" y="46"/>
                  </a:moveTo>
                  <a:lnTo>
                    <a:pt x="113" y="68"/>
                  </a:lnTo>
                  <a:lnTo>
                    <a:pt x="136" y="91"/>
                  </a:lnTo>
                  <a:lnTo>
                    <a:pt x="124" y="124"/>
                  </a:lnTo>
                  <a:lnTo>
                    <a:pt x="136" y="170"/>
                  </a:lnTo>
                  <a:lnTo>
                    <a:pt x="124" y="192"/>
                  </a:lnTo>
                  <a:lnTo>
                    <a:pt x="147" y="226"/>
                  </a:lnTo>
                  <a:lnTo>
                    <a:pt x="136" y="248"/>
                  </a:lnTo>
                  <a:lnTo>
                    <a:pt x="158" y="260"/>
                  </a:lnTo>
                  <a:lnTo>
                    <a:pt x="158" y="271"/>
                  </a:lnTo>
                  <a:lnTo>
                    <a:pt x="124" y="327"/>
                  </a:lnTo>
                  <a:lnTo>
                    <a:pt x="102" y="339"/>
                  </a:lnTo>
                  <a:lnTo>
                    <a:pt x="91" y="339"/>
                  </a:lnTo>
                  <a:lnTo>
                    <a:pt x="45" y="361"/>
                  </a:lnTo>
                  <a:lnTo>
                    <a:pt x="12" y="339"/>
                  </a:lnTo>
                  <a:lnTo>
                    <a:pt x="12" y="316"/>
                  </a:lnTo>
                  <a:lnTo>
                    <a:pt x="12" y="282"/>
                  </a:lnTo>
                  <a:lnTo>
                    <a:pt x="12" y="260"/>
                  </a:lnTo>
                  <a:lnTo>
                    <a:pt x="57" y="203"/>
                  </a:lnTo>
                  <a:lnTo>
                    <a:pt x="57" y="192"/>
                  </a:lnTo>
                  <a:lnTo>
                    <a:pt x="57" y="181"/>
                  </a:lnTo>
                  <a:lnTo>
                    <a:pt x="57" y="170"/>
                  </a:lnTo>
                  <a:lnTo>
                    <a:pt x="45" y="170"/>
                  </a:lnTo>
                  <a:lnTo>
                    <a:pt x="34" y="79"/>
                  </a:lnTo>
                  <a:lnTo>
                    <a:pt x="0" y="46"/>
                  </a:lnTo>
                  <a:lnTo>
                    <a:pt x="12" y="34"/>
                  </a:lnTo>
                  <a:lnTo>
                    <a:pt x="23" y="57"/>
                  </a:lnTo>
                  <a:lnTo>
                    <a:pt x="57" y="57"/>
                  </a:lnTo>
                  <a:lnTo>
                    <a:pt x="68" y="46"/>
                  </a:lnTo>
                  <a:lnTo>
                    <a:pt x="79" y="0"/>
                  </a:lnTo>
                  <a:lnTo>
                    <a:pt x="102" y="0"/>
                  </a:lnTo>
                  <a:lnTo>
                    <a:pt x="124" y="12"/>
                  </a:lnTo>
                  <a:lnTo>
                    <a:pt x="113" y="46"/>
                  </a:lnTo>
                </a:path>
              </a:pathLst>
            </a:custGeom>
            <a:solidFill>
              <a:schemeClr val="accent1"/>
            </a:solidFill>
            <a:ln w="12700" cap="rnd" cmpd="sng">
              <a:solidFill>
                <a:srgbClr val="000000"/>
              </a:solidFill>
              <a:prstDash val="solid"/>
              <a:round/>
              <a:headEnd type="none" w="med" len="med"/>
              <a:tailEnd type="none" w="med" len="med"/>
            </a:ln>
            <a:effectLst/>
            <a:extLst/>
          </p:spPr>
          <p:txBody>
            <a:bodyPr/>
            <a:lstStyle/>
            <a:p>
              <a:endParaRPr lang="en-GB" sz="1836"/>
            </a:p>
          </p:txBody>
        </p:sp>
        <p:sp>
          <p:nvSpPr>
            <p:cNvPr id="48156" name="Freeform 13"/>
            <p:cNvSpPr>
              <a:spLocks noChangeAspect="1"/>
            </p:cNvSpPr>
            <p:nvPr>
              <p:custDataLst>
                <p:tags r:id="rId10"/>
              </p:custDataLst>
            </p:nvPr>
          </p:nvSpPr>
          <p:spPr bwMode="auto">
            <a:xfrm>
              <a:off x="1978020" y="3231450"/>
              <a:ext cx="356508" cy="310333"/>
            </a:xfrm>
            <a:custGeom>
              <a:avLst/>
              <a:gdLst>
                <a:gd name="T0" fmla="*/ 0 w 137"/>
                <a:gd name="T1" fmla="*/ 0 h 125"/>
                <a:gd name="T2" fmla="*/ 0 w 137"/>
                <a:gd name="T3" fmla="*/ 0 h 125"/>
                <a:gd name="T4" fmla="*/ 0 w 137"/>
                <a:gd name="T5" fmla="*/ 0 h 125"/>
                <a:gd name="T6" fmla="*/ 0 w 137"/>
                <a:gd name="T7" fmla="*/ 0 h 125"/>
                <a:gd name="T8" fmla="*/ 0 w 137"/>
                <a:gd name="T9" fmla="*/ 0 h 125"/>
                <a:gd name="T10" fmla="*/ 0 w 137"/>
                <a:gd name="T11" fmla="*/ 0 h 125"/>
                <a:gd name="T12" fmla="*/ 0 w 137"/>
                <a:gd name="T13" fmla="*/ 0 h 125"/>
                <a:gd name="T14" fmla="*/ 0 w 137"/>
                <a:gd name="T15" fmla="*/ 0 h 125"/>
                <a:gd name="T16" fmla="*/ 0 w 137"/>
                <a:gd name="T17" fmla="*/ 0 h 125"/>
                <a:gd name="T18" fmla="*/ 0 w 137"/>
                <a:gd name="T19" fmla="*/ 0 h 125"/>
                <a:gd name="T20" fmla="*/ 0 w 137"/>
                <a:gd name="T21" fmla="*/ 0 h 125"/>
                <a:gd name="T22" fmla="*/ 0 w 137"/>
                <a:gd name="T23" fmla="*/ 0 h 125"/>
                <a:gd name="T24" fmla="*/ 0 w 137"/>
                <a:gd name="T25" fmla="*/ 0 h 125"/>
                <a:gd name="T26" fmla="*/ 0 w 137"/>
                <a:gd name="T27" fmla="*/ 0 h 125"/>
                <a:gd name="T28" fmla="*/ 0 w 137"/>
                <a:gd name="T29" fmla="*/ 0 h 125"/>
                <a:gd name="T30" fmla="*/ 0 w 137"/>
                <a:gd name="T31" fmla="*/ 0 h 125"/>
                <a:gd name="T32" fmla="*/ 0 w 137"/>
                <a:gd name="T33" fmla="*/ 0 h 125"/>
                <a:gd name="T34" fmla="*/ 0 w 137"/>
                <a:gd name="T35" fmla="*/ 0 h 125"/>
                <a:gd name="T36" fmla="*/ 0 w 137"/>
                <a:gd name="T37" fmla="*/ 0 h 125"/>
                <a:gd name="T38" fmla="*/ 0 w 137"/>
                <a:gd name="T39" fmla="*/ 0 h 125"/>
                <a:gd name="T40" fmla="*/ 0 w 137"/>
                <a:gd name="T41" fmla="*/ 0 h 125"/>
                <a:gd name="T42" fmla="*/ 0 w 137"/>
                <a:gd name="T43" fmla="*/ 0 h 125"/>
                <a:gd name="T44" fmla="*/ 0 w 137"/>
                <a:gd name="T45" fmla="*/ 0 h 125"/>
                <a:gd name="T46" fmla="*/ 0 w 137"/>
                <a:gd name="T47" fmla="*/ 0 h 125"/>
                <a:gd name="T48" fmla="*/ 0 w 137"/>
                <a:gd name="T49" fmla="*/ 0 h 125"/>
                <a:gd name="T50" fmla="*/ 0 w 137"/>
                <a:gd name="T51" fmla="*/ 0 h 125"/>
                <a:gd name="T52" fmla="*/ 0 w 137"/>
                <a:gd name="T53" fmla="*/ 0 h 125"/>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137" h="125">
                  <a:moveTo>
                    <a:pt x="136" y="112"/>
                  </a:moveTo>
                  <a:lnTo>
                    <a:pt x="124" y="90"/>
                  </a:lnTo>
                  <a:lnTo>
                    <a:pt x="124" y="79"/>
                  </a:lnTo>
                  <a:lnTo>
                    <a:pt x="136" y="90"/>
                  </a:lnTo>
                  <a:lnTo>
                    <a:pt x="136" y="67"/>
                  </a:lnTo>
                  <a:lnTo>
                    <a:pt x="113" y="45"/>
                  </a:lnTo>
                  <a:lnTo>
                    <a:pt x="113" y="22"/>
                  </a:lnTo>
                  <a:lnTo>
                    <a:pt x="102" y="11"/>
                  </a:lnTo>
                  <a:lnTo>
                    <a:pt x="79" y="0"/>
                  </a:lnTo>
                  <a:lnTo>
                    <a:pt x="57" y="22"/>
                  </a:lnTo>
                  <a:lnTo>
                    <a:pt x="57" y="34"/>
                  </a:lnTo>
                  <a:lnTo>
                    <a:pt x="34" y="45"/>
                  </a:lnTo>
                  <a:lnTo>
                    <a:pt x="34" y="56"/>
                  </a:lnTo>
                  <a:lnTo>
                    <a:pt x="23" y="56"/>
                  </a:lnTo>
                  <a:lnTo>
                    <a:pt x="11" y="67"/>
                  </a:lnTo>
                  <a:lnTo>
                    <a:pt x="0" y="67"/>
                  </a:lnTo>
                  <a:lnTo>
                    <a:pt x="11" y="90"/>
                  </a:lnTo>
                  <a:lnTo>
                    <a:pt x="0" y="112"/>
                  </a:lnTo>
                  <a:lnTo>
                    <a:pt x="0" y="124"/>
                  </a:lnTo>
                  <a:lnTo>
                    <a:pt x="23" y="124"/>
                  </a:lnTo>
                  <a:lnTo>
                    <a:pt x="34" y="124"/>
                  </a:lnTo>
                  <a:lnTo>
                    <a:pt x="68" y="124"/>
                  </a:lnTo>
                  <a:lnTo>
                    <a:pt x="79" y="124"/>
                  </a:lnTo>
                  <a:lnTo>
                    <a:pt x="90" y="124"/>
                  </a:lnTo>
                  <a:lnTo>
                    <a:pt x="113" y="124"/>
                  </a:lnTo>
                  <a:lnTo>
                    <a:pt x="124" y="112"/>
                  </a:lnTo>
                  <a:lnTo>
                    <a:pt x="136" y="112"/>
                  </a:lnTo>
                </a:path>
              </a:pathLst>
            </a:custGeom>
            <a:solidFill>
              <a:srgbClr val="FFFFFF"/>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836"/>
            </a:p>
          </p:txBody>
        </p:sp>
        <p:sp>
          <p:nvSpPr>
            <p:cNvPr id="48157" name="Freeform 14"/>
            <p:cNvSpPr>
              <a:spLocks noChangeAspect="1"/>
            </p:cNvSpPr>
            <p:nvPr>
              <p:custDataLst>
                <p:tags r:id="rId11"/>
              </p:custDataLst>
            </p:nvPr>
          </p:nvSpPr>
          <p:spPr bwMode="auto">
            <a:xfrm>
              <a:off x="1925204" y="3508769"/>
              <a:ext cx="706415" cy="442390"/>
            </a:xfrm>
            <a:custGeom>
              <a:avLst/>
              <a:gdLst>
                <a:gd name="T0" fmla="*/ 0 w 272"/>
                <a:gd name="T1" fmla="*/ 0 h 182"/>
                <a:gd name="T2" fmla="*/ 0 w 272"/>
                <a:gd name="T3" fmla="*/ 0 h 182"/>
                <a:gd name="T4" fmla="*/ 0 w 272"/>
                <a:gd name="T5" fmla="*/ 0 h 182"/>
                <a:gd name="T6" fmla="*/ 0 w 272"/>
                <a:gd name="T7" fmla="*/ 0 h 182"/>
                <a:gd name="T8" fmla="*/ 0 w 272"/>
                <a:gd name="T9" fmla="*/ 0 h 182"/>
                <a:gd name="T10" fmla="*/ 0 w 272"/>
                <a:gd name="T11" fmla="*/ 0 h 182"/>
                <a:gd name="T12" fmla="*/ 0 w 272"/>
                <a:gd name="T13" fmla="*/ 0 h 182"/>
                <a:gd name="T14" fmla="*/ 0 w 272"/>
                <a:gd name="T15" fmla="*/ 0 h 182"/>
                <a:gd name="T16" fmla="*/ 0 w 272"/>
                <a:gd name="T17" fmla="*/ 0 h 182"/>
                <a:gd name="T18" fmla="*/ 0 w 272"/>
                <a:gd name="T19" fmla="*/ 0 h 182"/>
                <a:gd name="T20" fmla="*/ 0 w 272"/>
                <a:gd name="T21" fmla="*/ 0 h 182"/>
                <a:gd name="T22" fmla="*/ 0 w 272"/>
                <a:gd name="T23" fmla="*/ 0 h 182"/>
                <a:gd name="T24" fmla="*/ 0 w 272"/>
                <a:gd name="T25" fmla="*/ 0 h 182"/>
                <a:gd name="T26" fmla="*/ 0 w 272"/>
                <a:gd name="T27" fmla="*/ 0 h 182"/>
                <a:gd name="T28" fmla="*/ 0 w 272"/>
                <a:gd name="T29" fmla="*/ 0 h 182"/>
                <a:gd name="T30" fmla="*/ 0 w 272"/>
                <a:gd name="T31" fmla="*/ 0 h 182"/>
                <a:gd name="T32" fmla="*/ 0 w 272"/>
                <a:gd name="T33" fmla="*/ 0 h 182"/>
                <a:gd name="T34" fmla="*/ 0 w 272"/>
                <a:gd name="T35" fmla="*/ 0 h 182"/>
                <a:gd name="T36" fmla="*/ 0 w 272"/>
                <a:gd name="T37" fmla="*/ 0 h 182"/>
                <a:gd name="T38" fmla="*/ 0 w 272"/>
                <a:gd name="T39" fmla="*/ 0 h 182"/>
                <a:gd name="T40" fmla="*/ 0 w 272"/>
                <a:gd name="T41" fmla="*/ 0 h 182"/>
                <a:gd name="T42" fmla="*/ 0 w 272"/>
                <a:gd name="T43" fmla="*/ 0 h 182"/>
                <a:gd name="T44" fmla="*/ 0 w 272"/>
                <a:gd name="T45" fmla="*/ 0 h 182"/>
                <a:gd name="T46" fmla="*/ 0 w 272"/>
                <a:gd name="T47" fmla="*/ 0 h 182"/>
                <a:gd name="T48" fmla="*/ 0 w 272"/>
                <a:gd name="T49" fmla="*/ 0 h 182"/>
                <a:gd name="T50" fmla="*/ 0 w 272"/>
                <a:gd name="T51" fmla="*/ 0 h 182"/>
                <a:gd name="T52" fmla="*/ 0 w 272"/>
                <a:gd name="T53" fmla="*/ 0 h 182"/>
                <a:gd name="T54" fmla="*/ 0 w 272"/>
                <a:gd name="T55" fmla="*/ 0 h 182"/>
                <a:gd name="T56" fmla="*/ 0 w 272"/>
                <a:gd name="T57" fmla="*/ 0 h 182"/>
                <a:gd name="T58" fmla="*/ 0 w 272"/>
                <a:gd name="T59" fmla="*/ 0 h 182"/>
                <a:gd name="T60" fmla="*/ 0 w 272"/>
                <a:gd name="T61" fmla="*/ 0 h 182"/>
                <a:gd name="T62" fmla="*/ 0 w 272"/>
                <a:gd name="T63" fmla="*/ 0 h 182"/>
                <a:gd name="T64" fmla="*/ 0 w 272"/>
                <a:gd name="T65" fmla="*/ 0 h 182"/>
                <a:gd name="T66" fmla="*/ 0 w 272"/>
                <a:gd name="T67" fmla="*/ 0 h 182"/>
                <a:gd name="T68" fmla="*/ 0 w 272"/>
                <a:gd name="T69" fmla="*/ 0 h 182"/>
                <a:gd name="T70" fmla="*/ 0 w 272"/>
                <a:gd name="T71" fmla="*/ 0 h 182"/>
                <a:gd name="T72" fmla="*/ 0 w 272"/>
                <a:gd name="T73" fmla="*/ 0 h 182"/>
                <a:gd name="T74" fmla="*/ 0 w 272"/>
                <a:gd name="T75" fmla="*/ 0 h 182"/>
                <a:gd name="T76" fmla="*/ 0 w 272"/>
                <a:gd name="T77" fmla="*/ 0 h 182"/>
                <a:gd name="T78" fmla="*/ 0 w 272"/>
                <a:gd name="T79" fmla="*/ 0 h 182"/>
                <a:gd name="T80" fmla="*/ 0 w 272"/>
                <a:gd name="T81" fmla="*/ 0 h 182"/>
                <a:gd name="T82" fmla="*/ 0 w 272"/>
                <a:gd name="T83" fmla="*/ 0 h 182"/>
                <a:gd name="T84" fmla="*/ 0 w 272"/>
                <a:gd name="T85" fmla="*/ 0 h 182"/>
                <a:gd name="T86" fmla="*/ 0 w 272"/>
                <a:gd name="T87" fmla="*/ 0 h 182"/>
                <a:gd name="T88" fmla="*/ 0 w 272"/>
                <a:gd name="T89" fmla="*/ 0 h 182"/>
                <a:gd name="T90" fmla="*/ 0 w 272"/>
                <a:gd name="T91" fmla="*/ 0 h 182"/>
                <a:gd name="T92" fmla="*/ 0 w 272"/>
                <a:gd name="T93" fmla="*/ 0 h 182"/>
                <a:gd name="T94" fmla="*/ 0 w 272"/>
                <a:gd name="T95" fmla="*/ 0 h 182"/>
                <a:gd name="T96" fmla="*/ 0 w 272"/>
                <a:gd name="T97" fmla="*/ 0 h 182"/>
                <a:gd name="T98" fmla="*/ 0 w 272"/>
                <a:gd name="T99" fmla="*/ 0 h 182"/>
                <a:gd name="T100" fmla="*/ 0 w 272"/>
                <a:gd name="T101" fmla="*/ 0 h 182"/>
                <a:gd name="T102" fmla="*/ 0 w 272"/>
                <a:gd name="T103" fmla="*/ 0 h 18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272" h="182">
                  <a:moveTo>
                    <a:pt x="112" y="158"/>
                  </a:moveTo>
                  <a:lnTo>
                    <a:pt x="101" y="158"/>
                  </a:lnTo>
                  <a:lnTo>
                    <a:pt x="101" y="147"/>
                  </a:lnTo>
                  <a:lnTo>
                    <a:pt x="101" y="136"/>
                  </a:lnTo>
                  <a:lnTo>
                    <a:pt x="124" y="136"/>
                  </a:lnTo>
                  <a:lnTo>
                    <a:pt x="124" y="124"/>
                  </a:lnTo>
                  <a:lnTo>
                    <a:pt x="112" y="102"/>
                  </a:lnTo>
                  <a:lnTo>
                    <a:pt x="112" y="91"/>
                  </a:lnTo>
                  <a:lnTo>
                    <a:pt x="90" y="79"/>
                  </a:lnTo>
                  <a:lnTo>
                    <a:pt x="67" y="91"/>
                  </a:lnTo>
                  <a:lnTo>
                    <a:pt x="45" y="102"/>
                  </a:lnTo>
                  <a:lnTo>
                    <a:pt x="11" y="102"/>
                  </a:lnTo>
                  <a:lnTo>
                    <a:pt x="0" y="91"/>
                  </a:lnTo>
                  <a:lnTo>
                    <a:pt x="11" y="79"/>
                  </a:lnTo>
                  <a:lnTo>
                    <a:pt x="22" y="57"/>
                  </a:lnTo>
                  <a:lnTo>
                    <a:pt x="33" y="46"/>
                  </a:lnTo>
                  <a:lnTo>
                    <a:pt x="22" y="12"/>
                  </a:lnTo>
                  <a:lnTo>
                    <a:pt x="45" y="12"/>
                  </a:lnTo>
                  <a:lnTo>
                    <a:pt x="56" y="12"/>
                  </a:lnTo>
                  <a:lnTo>
                    <a:pt x="90" y="12"/>
                  </a:lnTo>
                  <a:lnTo>
                    <a:pt x="101" y="12"/>
                  </a:lnTo>
                  <a:lnTo>
                    <a:pt x="112" y="12"/>
                  </a:lnTo>
                  <a:lnTo>
                    <a:pt x="135" y="12"/>
                  </a:lnTo>
                  <a:lnTo>
                    <a:pt x="146" y="0"/>
                  </a:lnTo>
                  <a:lnTo>
                    <a:pt x="158" y="0"/>
                  </a:lnTo>
                  <a:lnTo>
                    <a:pt x="180" y="0"/>
                  </a:lnTo>
                  <a:lnTo>
                    <a:pt x="192" y="12"/>
                  </a:lnTo>
                  <a:lnTo>
                    <a:pt x="180" y="12"/>
                  </a:lnTo>
                  <a:lnTo>
                    <a:pt x="192" y="12"/>
                  </a:lnTo>
                  <a:lnTo>
                    <a:pt x="203" y="12"/>
                  </a:lnTo>
                  <a:lnTo>
                    <a:pt x="214" y="34"/>
                  </a:lnTo>
                  <a:lnTo>
                    <a:pt x="214" y="46"/>
                  </a:lnTo>
                  <a:lnTo>
                    <a:pt x="225" y="34"/>
                  </a:lnTo>
                  <a:lnTo>
                    <a:pt x="271" y="68"/>
                  </a:lnTo>
                  <a:lnTo>
                    <a:pt x="271" y="102"/>
                  </a:lnTo>
                  <a:lnTo>
                    <a:pt x="259" y="91"/>
                  </a:lnTo>
                  <a:lnTo>
                    <a:pt x="248" y="102"/>
                  </a:lnTo>
                  <a:lnTo>
                    <a:pt x="248" y="124"/>
                  </a:lnTo>
                  <a:lnTo>
                    <a:pt x="237" y="124"/>
                  </a:lnTo>
                  <a:lnTo>
                    <a:pt x="192" y="147"/>
                  </a:lnTo>
                  <a:lnTo>
                    <a:pt x="214" y="158"/>
                  </a:lnTo>
                  <a:lnTo>
                    <a:pt x="180" y="181"/>
                  </a:lnTo>
                  <a:lnTo>
                    <a:pt x="169" y="181"/>
                  </a:lnTo>
                  <a:lnTo>
                    <a:pt x="169" y="170"/>
                  </a:lnTo>
                  <a:lnTo>
                    <a:pt x="158" y="158"/>
                  </a:lnTo>
                  <a:lnTo>
                    <a:pt x="180" y="147"/>
                  </a:lnTo>
                  <a:lnTo>
                    <a:pt x="158" y="147"/>
                  </a:lnTo>
                  <a:lnTo>
                    <a:pt x="158" y="136"/>
                  </a:lnTo>
                  <a:lnTo>
                    <a:pt x="135" y="136"/>
                  </a:lnTo>
                  <a:lnTo>
                    <a:pt x="124" y="147"/>
                  </a:lnTo>
                  <a:lnTo>
                    <a:pt x="112" y="147"/>
                  </a:lnTo>
                  <a:lnTo>
                    <a:pt x="112" y="158"/>
                  </a:lnTo>
                </a:path>
              </a:pathLst>
            </a:custGeom>
            <a:solidFill>
              <a:srgbClr val="FFFFFF"/>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836"/>
            </a:p>
          </p:txBody>
        </p:sp>
        <p:sp>
          <p:nvSpPr>
            <p:cNvPr id="48158" name="Freeform 15"/>
            <p:cNvSpPr>
              <a:spLocks noChangeAspect="1"/>
            </p:cNvSpPr>
            <p:nvPr>
              <p:custDataLst>
                <p:tags r:id="rId12"/>
              </p:custDataLst>
            </p:nvPr>
          </p:nvSpPr>
          <p:spPr bwMode="auto">
            <a:xfrm>
              <a:off x="2889097" y="3317287"/>
              <a:ext cx="1597685" cy="805546"/>
            </a:xfrm>
            <a:custGeom>
              <a:avLst/>
              <a:gdLst>
                <a:gd name="T0" fmla="*/ 0 w 611"/>
                <a:gd name="T1" fmla="*/ 0 h 328"/>
                <a:gd name="T2" fmla="*/ 0 w 611"/>
                <a:gd name="T3" fmla="*/ 0 h 328"/>
                <a:gd name="T4" fmla="*/ 0 w 611"/>
                <a:gd name="T5" fmla="*/ 0 h 328"/>
                <a:gd name="T6" fmla="*/ 0 w 611"/>
                <a:gd name="T7" fmla="*/ 0 h 328"/>
                <a:gd name="T8" fmla="*/ 0 w 611"/>
                <a:gd name="T9" fmla="*/ 0 h 328"/>
                <a:gd name="T10" fmla="*/ 0 w 611"/>
                <a:gd name="T11" fmla="*/ 0 h 328"/>
                <a:gd name="T12" fmla="*/ 0 w 611"/>
                <a:gd name="T13" fmla="*/ 0 h 328"/>
                <a:gd name="T14" fmla="*/ 0 w 611"/>
                <a:gd name="T15" fmla="*/ 0 h 328"/>
                <a:gd name="T16" fmla="*/ 0 w 611"/>
                <a:gd name="T17" fmla="*/ 0 h 328"/>
                <a:gd name="T18" fmla="*/ 0 w 611"/>
                <a:gd name="T19" fmla="*/ 0 h 328"/>
                <a:gd name="T20" fmla="*/ 0 w 611"/>
                <a:gd name="T21" fmla="*/ 0 h 328"/>
                <a:gd name="T22" fmla="*/ 0 w 611"/>
                <a:gd name="T23" fmla="*/ 0 h 328"/>
                <a:gd name="T24" fmla="*/ 0 w 611"/>
                <a:gd name="T25" fmla="*/ 0 h 328"/>
                <a:gd name="T26" fmla="*/ 0 w 611"/>
                <a:gd name="T27" fmla="*/ 0 h 328"/>
                <a:gd name="T28" fmla="*/ 0 w 611"/>
                <a:gd name="T29" fmla="*/ 0 h 328"/>
                <a:gd name="T30" fmla="*/ 0 w 611"/>
                <a:gd name="T31" fmla="*/ 0 h 328"/>
                <a:gd name="T32" fmla="*/ 0 w 611"/>
                <a:gd name="T33" fmla="*/ 0 h 328"/>
                <a:gd name="T34" fmla="*/ 0 w 611"/>
                <a:gd name="T35" fmla="*/ 0 h 328"/>
                <a:gd name="T36" fmla="*/ 0 w 611"/>
                <a:gd name="T37" fmla="*/ 0 h 328"/>
                <a:gd name="T38" fmla="*/ 0 w 611"/>
                <a:gd name="T39" fmla="*/ 0 h 328"/>
                <a:gd name="T40" fmla="*/ 0 w 611"/>
                <a:gd name="T41" fmla="*/ 0 h 328"/>
                <a:gd name="T42" fmla="*/ 0 w 611"/>
                <a:gd name="T43" fmla="*/ 0 h 328"/>
                <a:gd name="T44" fmla="*/ 0 w 611"/>
                <a:gd name="T45" fmla="*/ 0 h 328"/>
                <a:gd name="T46" fmla="*/ 0 w 611"/>
                <a:gd name="T47" fmla="*/ 0 h 328"/>
                <a:gd name="T48" fmla="*/ 0 w 611"/>
                <a:gd name="T49" fmla="*/ 0 h 328"/>
                <a:gd name="T50" fmla="*/ 0 w 611"/>
                <a:gd name="T51" fmla="*/ 0 h 328"/>
                <a:gd name="T52" fmla="*/ 0 w 611"/>
                <a:gd name="T53" fmla="*/ 0 h 328"/>
                <a:gd name="T54" fmla="*/ 0 w 611"/>
                <a:gd name="T55" fmla="*/ 0 h 328"/>
                <a:gd name="T56" fmla="*/ 0 w 611"/>
                <a:gd name="T57" fmla="*/ 0 h 328"/>
                <a:gd name="T58" fmla="*/ 0 w 611"/>
                <a:gd name="T59" fmla="*/ 0 h 328"/>
                <a:gd name="T60" fmla="*/ 0 w 611"/>
                <a:gd name="T61" fmla="*/ 0 h 328"/>
                <a:gd name="T62" fmla="*/ 0 w 611"/>
                <a:gd name="T63" fmla="*/ 0 h 328"/>
                <a:gd name="T64" fmla="*/ 0 w 611"/>
                <a:gd name="T65" fmla="*/ 0 h 328"/>
                <a:gd name="T66" fmla="*/ 0 w 611"/>
                <a:gd name="T67" fmla="*/ 0 h 328"/>
                <a:gd name="T68" fmla="*/ 0 w 611"/>
                <a:gd name="T69" fmla="*/ 0 h 328"/>
                <a:gd name="T70" fmla="*/ 0 w 611"/>
                <a:gd name="T71" fmla="*/ 0 h 328"/>
                <a:gd name="T72" fmla="*/ 0 w 611"/>
                <a:gd name="T73" fmla="*/ 0 h 328"/>
                <a:gd name="T74" fmla="*/ 0 w 611"/>
                <a:gd name="T75" fmla="*/ 0 h 328"/>
                <a:gd name="T76" fmla="*/ 0 w 611"/>
                <a:gd name="T77" fmla="*/ 0 h 328"/>
                <a:gd name="T78" fmla="*/ 0 w 611"/>
                <a:gd name="T79" fmla="*/ 0 h 328"/>
                <a:gd name="T80" fmla="*/ 0 w 611"/>
                <a:gd name="T81" fmla="*/ 0 h 328"/>
                <a:gd name="T82" fmla="*/ 0 w 611"/>
                <a:gd name="T83" fmla="*/ 0 h 328"/>
                <a:gd name="T84" fmla="*/ 0 w 611"/>
                <a:gd name="T85" fmla="*/ 0 h 328"/>
                <a:gd name="T86" fmla="*/ 0 w 611"/>
                <a:gd name="T87" fmla="*/ 0 h 32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611" h="328">
                  <a:moveTo>
                    <a:pt x="587" y="157"/>
                  </a:moveTo>
                  <a:lnTo>
                    <a:pt x="576" y="169"/>
                  </a:lnTo>
                  <a:lnTo>
                    <a:pt x="576" y="202"/>
                  </a:lnTo>
                  <a:lnTo>
                    <a:pt x="565" y="202"/>
                  </a:lnTo>
                  <a:lnTo>
                    <a:pt x="531" y="202"/>
                  </a:lnTo>
                  <a:lnTo>
                    <a:pt x="519" y="236"/>
                  </a:lnTo>
                  <a:lnTo>
                    <a:pt x="497" y="236"/>
                  </a:lnTo>
                  <a:lnTo>
                    <a:pt x="497" y="248"/>
                  </a:lnTo>
                  <a:lnTo>
                    <a:pt x="508" y="293"/>
                  </a:lnTo>
                  <a:lnTo>
                    <a:pt x="497" y="293"/>
                  </a:lnTo>
                  <a:lnTo>
                    <a:pt x="474" y="293"/>
                  </a:lnTo>
                  <a:lnTo>
                    <a:pt x="418" y="293"/>
                  </a:lnTo>
                  <a:lnTo>
                    <a:pt x="407" y="281"/>
                  </a:lnTo>
                  <a:lnTo>
                    <a:pt x="395" y="293"/>
                  </a:lnTo>
                  <a:lnTo>
                    <a:pt x="361" y="293"/>
                  </a:lnTo>
                  <a:lnTo>
                    <a:pt x="350" y="293"/>
                  </a:lnTo>
                  <a:lnTo>
                    <a:pt x="328" y="327"/>
                  </a:lnTo>
                  <a:lnTo>
                    <a:pt x="316" y="315"/>
                  </a:lnTo>
                  <a:lnTo>
                    <a:pt x="294" y="315"/>
                  </a:lnTo>
                  <a:lnTo>
                    <a:pt x="294" y="304"/>
                  </a:lnTo>
                  <a:lnTo>
                    <a:pt x="294" y="293"/>
                  </a:lnTo>
                  <a:lnTo>
                    <a:pt x="271" y="270"/>
                  </a:lnTo>
                  <a:lnTo>
                    <a:pt x="226" y="270"/>
                  </a:lnTo>
                  <a:lnTo>
                    <a:pt x="192" y="236"/>
                  </a:lnTo>
                  <a:lnTo>
                    <a:pt x="181" y="225"/>
                  </a:lnTo>
                  <a:lnTo>
                    <a:pt x="136" y="236"/>
                  </a:lnTo>
                  <a:lnTo>
                    <a:pt x="136" y="315"/>
                  </a:lnTo>
                  <a:lnTo>
                    <a:pt x="124" y="315"/>
                  </a:lnTo>
                  <a:lnTo>
                    <a:pt x="113" y="293"/>
                  </a:lnTo>
                  <a:lnTo>
                    <a:pt x="79" y="304"/>
                  </a:lnTo>
                  <a:lnTo>
                    <a:pt x="79" y="293"/>
                  </a:lnTo>
                  <a:lnTo>
                    <a:pt x="68" y="293"/>
                  </a:lnTo>
                  <a:lnTo>
                    <a:pt x="68" y="259"/>
                  </a:lnTo>
                  <a:lnTo>
                    <a:pt x="57" y="259"/>
                  </a:lnTo>
                  <a:lnTo>
                    <a:pt x="68" y="259"/>
                  </a:lnTo>
                  <a:lnTo>
                    <a:pt x="68" y="248"/>
                  </a:lnTo>
                  <a:lnTo>
                    <a:pt x="68" y="236"/>
                  </a:lnTo>
                  <a:lnTo>
                    <a:pt x="113" y="236"/>
                  </a:lnTo>
                  <a:lnTo>
                    <a:pt x="102" y="214"/>
                  </a:lnTo>
                  <a:lnTo>
                    <a:pt x="79" y="202"/>
                  </a:lnTo>
                  <a:lnTo>
                    <a:pt x="68" y="191"/>
                  </a:lnTo>
                  <a:lnTo>
                    <a:pt x="34" y="214"/>
                  </a:lnTo>
                  <a:lnTo>
                    <a:pt x="23" y="214"/>
                  </a:lnTo>
                  <a:lnTo>
                    <a:pt x="34" y="202"/>
                  </a:lnTo>
                  <a:lnTo>
                    <a:pt x="23" y="180"/>
                  </a:lnTo>
                  <a:lnTo>
                    <a:pt x="11" y="180"/>
                  </a:lnTo>
                  <a:lnTo>
                    <a:pt x="0" y="157"/>
                  </a:lnTo>
                  <a:lnTo>
                    <a:pt x="11" y="112"/>
                  </a:lnTo>
                  <a:lnTo>
                    <a:pt x="23" y="135"/>
                  </a:lnTo>
                  <a:lnTo>
                    <a:pt x="34" y="135"/>
                  </a:lnTo>
                  <a:lnTo>
                    <a:pt x="23" y="112"/>
                  </a:lnTo>
                  <a:lnTo>
                    <a:pt x="57" y="90"/>
                  </a:lnTo>
                  <a:lnTo>
                    <a:pt x="68" y="90"/>
                  </a:lnTo>
                  <a:lnTo>
                    <a:pt x="79" y="90"/>
                  </a:lnTo>
                  <a:lnTo>
                    <a:pt x="102" y="90"/>
                  </a:lnTo>
                  <a:lnTo>
                    <a:pt x="124" y="112"/>
                  </a:lnTo>
                  <a:lnTo>
                    <a:pt x="147" y="101"/>
                  </a:lnTo>
                  <a:lnTo>
                    <a:pt x="169" y="101"/>
                  </a:lnTo>
                  <a:lnTo>
                    <a:pt x="181" y="112"/>
                  </a:lnTo>
                  <a:lnTo>
                    <a:pt x="215" y="112"/>
                  </a:lnTo>
                  <a:lnTo>
                    <a:pt x="226" y="90"/>
                  </a:lnTo>
                  <a:lnTo>
                    <a:pt x="192" y="90"/>
                  </a:lnTo>
                  <a:lnTo>
                    <a:pt x="215" y="78"/>
                  </a:lnTo>
                  <a:lnTo>
                    <a:pt x="203" y="67"/>
                  </a:lnTo>
                  <a:lnTo>
                    <a:pt x="215" y="56"/>
                  </a:lnTo>
                  <a:lnTo>
                    <a:pt x="215" y="22"/>
                  </a:lnTo>
                  <a:lnTo>
                    <a:pt x="237" y="33"/>
                  </a:lnTo>
                  <a:lnTo>
                    <a:pt x="316" y="11"/>
                  </a:lnTo>
                  <a:lnTo>
                    <a:pt x="316" y="0"/>
                  </a:lnTo>
                  <a:lnTo>
                    <a:pt x="328" y="0"/>
                  </a:lnTo>
                  <a:lnTo>
                    <a:pt x="350" y="0"/>
                  </a:lnTo>
                  <a:lnTo>
                    <a:pt x="361" y="22"/>
                  </a:lnTo>
                  <a:lnTo>
                    <a:pt x="373" y="22"/>
                  </a:lnTo>
                  <a:lnTo>
                    <a:pt x="395" y="33"/>
                  </a:lnTo>
                  <a:lnTo>
                    <a:pt x="395" y="45"/>
                  </a:lnTo>
                  <a:lnTo>
                    <a:pt x="407" y="45"/>
                  </a:lnTo>
                  <a:lnTo>
                    <a:pt x="429" y="22"/>
                  </a:lnTo>
                  <a:lnTo>
                    <a:pt x="452" y="22"/>
                  </a:lnTo>
                  <a:lnTo>
                    <a:pt x="463" y="45"/>
                  </a:lnTo>
                  <a:lnTo>
                    <a:pt x="497" y="112"/>
                  </a:lnTo>
                  <a:lnTo>
                    <a:pt x="508" y="90"/>
                  </a:lnTo>
                  <a:lnTo>
                    <a:pt x="519" y="112"/>
                  </a:lnTo>
                  <a:lnTo>
                    <a:pt x="542" y="101"/>
                  </a:lnTo>
                  <a:lnTo>
                    <a:pt x="576" y="135"/>
                  </a:lnTo>
                  <a:lnTo>
                    <a:pt x="587" y="146"/>
                  </a:lnTo>
                  <a:lnTo>
                    <a:pt x="587" y="135"/>
                  </a:lnTo>
                  <a:lnTo>
                    <a:pt x="610" y="157"/>
                  </a:lnTo>
                  <a:lnTo>
                    <a:pt x="587" y="157"/>
                  </a:lnTo>
                </a:path>
              </a:pathLst>
            </a:custGeom>
            <a:solidFill>
              <a:srgbClr val="FFFFFF"/>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836"/>
            </a:p>
          </p:txBody>
        </p:sp>
        <p:sp>
          <p:nvSpPr>
            <p:cNvPr id="48159" name="Freeform 16"/>
            <p:cNvSpPr>
              <a:spLocks noChangeAspect="1"/>
            </p:cNvSpPr>
            <p:nvPr>
              <p:custDataLst>
                <p:tags r:id="rId13"/>
              </p:custDataLst>
            </p:nvPr>
          </p:nvSpPr>
          <p:spPr bwMode="auto">
            <a:xfrm>
              <a:off x="1925204" y="3125805"/>
              <a:ext cx="264080" cy="165071"/>
            </a:xfrm>
            <a:custGeom>
              <a:avLst/>
              <a:gdLst>
                <a:gd name="T0" fmla="*/ 0 w 102"/>
                <a:gd name="T1" fmla="*/ 0 h 68"/>
                <a:gd name="T2" fmla="*/ 0 w 102"/>
                <a:gd name="T3" fmla="*/ 0 h 68"/>
                <a:gd name="T4" fmla="*/ 0 w 102"/>
                <a:gd name="T5" fmla="*/ 0 h 68"/>
                <a:gd name="T6" fmla="*/ 0 w 102"/>
                <a:gd name="T7" fmla="*/ 0 h 68"/>
                <a:gd name="T8" fmla="*/ 0 w 102"/>
                <a:gd name="T9" fmla="*/ 0 h 68"/>
                <a:gd name="T10" fmla="*/ 0 w 102"/>
                <a:gd name="T11" fmla="*/ 0 h 68"/>
                <a:gd name="T12" fmla="*/ 0 w 102"/>
                <a:gd name="T13" fmla="*/ 0 h 68"/>
                <a:gd name="T14" fmla="*/ 0 w 102"/>
                <a:gd name="T15" fmla="*/ 0 h 68"/>
                <a:gd name="T16" fmla="*/ 0 w 102"/>
                <a:gd name="T17" fmla="*/ 0 h 68"/>
                <a:gd name="T18" fmla="*/ 0 w 102"/>
                <a:gd name="T19" fmla="*/ 0 h 68"/>
                <a:gd name="T20" fmla="*/ 0 w 102"/>
                <a:gd name="T21" fmla="*/ 0 h 68"/>
                <a:gd name="T22" fmla="*/ 0 w 102"/>
                <a:gd name="T23" fmla="*/ 0 h 68"/>
                <a:gd name="T24" fmla="*/ 0 w 102"/>
                <a:gd name="T25" fmla="*/ 0 h 68"/>
                <a:gd name="T26" fmla="*/ 0 w 102"/>
                <a:gd name="T27" fmla="*/ 0 h 68"/>
                <a:gd name="T28" fmla="*/ 0 w 102"/>
                <a:gd name="T29" fmla="*/ 0 h 6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02" h="68">
                  <a:moveTo>
                    <a:pt x="45" y="0"/>
                  </a:moveTo>
                  <a:lnTo>
                    <a:pt x="45" y="33"/>
                  </a:lnTo>
                  <a:lnTo>
                    <a:pt x="22" y="33"/>
                  </a:lnTo>
                  <a:lnTo>
                    <a:pt x="11" y="11"/>
                  </a:lnTo>
                  <a:lnTo>
                    <a:pt x="0" y="22"/>
                  </a:lnTo>
                  <a:lnTo>
                    <a:pt x="0" y="45"/>
                  </a:lnTo>
                  <a:lnTo>
                    <a:pt x="0" y="56"/>
                  </a:lnTo>
                  <a:lnTo>
                    <a:pt x="0" y="45"/>
                  </a:lnTo>
                  <a:lnTo>
                    <a:pt x="45" y="45"/>
                  </a:lnTo>
                  <a:lnTo>
                    <a:pt x="79" y="67"/>
                  </a:lnTo>
                  <a:lnTo>
                    <a:pt x="101" y="45"/>
                  </a:lnTo>
                  <a:lnTo>
                    <a:pt x="90" y="33"/>
                  </a:lnTo>
                  <a:lnTo>
                    <a:pt x="90" y="11"/>
                  </a:lnTo>
                  <a:lnTo>
                    <a:pt x="67" y="11"/>
                  </a:lnTo>
                  <a:lnTo>
                    <a:pt x="45" y="0"/>
                  </a:lnTo>
                </a:path>
              </a:pathLst>
            </a:custGeom>
            <a:solidFill>
              <a:srgbClr val="FFFFFF"/>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836"/>
            </a:p>
          </p:txBody>
        </p:sp>
        <p:sp>
          <p:nvSpPr>
            <p:cNvPr id="48160" name="Freeform 17"/>
            <p:cNvSpPr>
              <a:spLocks noChangeAspect="1"/>
            </p:cNvSpPr>
            <p:nvPr>
              <p:custDataLst>
                <p:tags r:id="rId14"/>
              </p:custDataLst>
            </p:nvPr>
          </p:nvSpPr>
          <p:spPr bwMode="auto">
            <a:xfrm>
              <a:off x="1925204" y="3231450"/>
              <a:ext cx="204662" cy="165071"/>
            </a:xfrm>
            <a:custGeom>
              <a:avLst/>
              <a:gdLst>
                <a:gd name="T0" fmla="*/ 0 w 80"/>
                <a:gd name="T1" fmla="*/ 0 h 68"/>
                <a:gd name="T2" fmla="*/ 0 w 80"/>
                <a:gd name="T3" fmla="*/ 0 h 68"/>
                <a:gd name="T4" fmla="*/ 0 w 80"/>
                <a:gd name="T5" fmla="*/ 0 h 68"/>
                <a:gd name="T6" fmla="*/ 0 w 80"/>
                <a:gd name="T7" fmla="*/ 0 h 68"/>
                <a:gd name="T8" fmla="*/ 0 w 80"/>
                <a:gd name="T9" fmla="*/ 0 h 68"/>
                <a:gd name="T10" fmla="*/ 0 w 80"/>
                <a:gd name="T11" fmla="*/ 0 h 68"/>
                <a:gd name="T12" fmla="*/ 0 w 80"/>
                <a:gd name="T13" fmla="*/ 0 h 68"/>
                <a:gd name="T14" fmla="*/ 0 w 80"/>
                <a:gd name="T15" fmla="*/ 0 h 68"/>
                <a:gd name="T16" fmla="*/ 0 w 80"/>
                <a:gd name="T17" fmla="*/ 0 h 68"/>
                <a:gd name="T18" fmla="*/ 0 w 80"/>
                <a:gd name="T19" fmla="*/ 0 h 68"/>
                <a:gd name="T20" fmla="*/ 0 w 80"/>
                <a:gd name="T21" fmla="*/ 0 h 68"/>
                <a:gd name="T22" fmla="*/ 0 w 80"/>
                <a:gd name="T23" fmla="*/ 0 h 68"/>
                <a:gd name="T24" fmla="*/ 0 w 80"/>
                <a:gd name="T25" fmla="*/ 0 h 68"/>
                <a:gd name="T26" fmla="*/ 0 w 80"/>
                <a:gd name="T27" fmla="*/ 0 h 68"/>
                <a:gd name="T28" fmla="*/ 0 w 80"/>
                <a:gd name="T29" fmla="*/ 0 h 6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80" h="68">
                  <a:moveTo>
                    <a:pt x="0" y="34"/>
                  </a:moveTo>
                  <a:lnTo>
                    <a:pt x="0" y="22"/>
                  </a:lnTo>
                  <a:lnTo>
                    <a:pt x="0" y="11"/>
                  </a:lnTo>
                  <a:lnTo>
                    <a:pt x="0" y="0"/>
                  </a:lnTo>
                  <a:lnTo>
                    <a:pt x="45" y="0"/>
                  </a:lnTo>
                  <a:lnTo>
                    <a:pt x="79" y="22"/>
                  </a:lnTo>
                  <a:lnTo>
                    <a:pt x="79" y="34"/>
                  </a:lnTo>
                  <a:lnTo>
                    <a:pt x="56" y="45"/>
                  </a:lnTo>
                  <a:lnTo>
                    <a:pt x="56" y="56"/>
                  </a:lnTo>
                  <a:lnTo>
                    <a:pt x="45" y="56"/>
                  </a:lnTo>
                  <a:lnTo>
                    <a:pt x="33" y="67"/>
                  </a:lnTo>
                  <a:lnTo>
                    <a:pt x="22" y="67"/>
                  </a:lnTo>
                  <a:lnTo>
                    <a:pt x="11" y="56"/>
                  </a:lnTo>
                  <a:lnTo>
                    <a:pt x="11" y="34"/>
                  </a:lnTo>
                  <a:lnTo>
                    <a:pt x="0" y="34"/>
                  </a:lnTo>
                </a:path>
              </a:pathLst>
            </a:custGeom>
            <a:solidFill>
              <a:schemeClr val="bg1"/>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836"/>
            </a:p>
          </p:txBody>
        </p:sp>
        <p:sp>
          <p:nvSpPr>
            <p:cNvPr id="48161" name="Freeform 18"/>
            <p:cNvSpPr>
              <a:spLocks noChangeAspect="1"/>
            </p:cNvSpPr>
            <p:nvPr>
              <p:custDataLst>
                <p:tags r:id="rId15"/>
              </p:custDataLst>
            </p:nvPr>
          </p:nvSpPr>
          <p:spPr bwMode="auto">
            <a:xfrm>
              <a:off x="2004428" y="3039968"/>
              <a:ext cx="184856" cy="112248"/>
            </a:xfrm>
            <a:custGeom>
              <a:avLst/>
              <a:gdLst>
                <a:gd name="T0" fmla="*/ 0 w 69"/>
                <a:gd name="T1" fmla="*/ 0 h 46"/>
                <a:gd name="T2" fmla="*/ 0 w 69"/>
                <a:gd name="T3" fmla="*/ 0 h 46"/>
                <a:gd name="T4" fmla="*/ 0 w 69"/>
                <a:gd name="T5" fmla="*/ 0 h 46"/>
                <a:gd name="T6" fmla="*/ 0 w 69"/>
                <a:gd name="T7" fmla="*/ 0 h 46"/>
                <a:gd name="T8" fmla="*/ 0 w 69"/>
                <a:gd name="T9" fmla="*/ 0 h 46"/>
                <a:gd name="T10" fmla="*/ 0 w 69"/>
                <a:gd name="T11" fmla="*/ 0 h 46"/>
                <a:gd name="T12" fmla="*/ 0 w 69"/>
                <a:gd name="T13" fmla="*/ 0 h 46"/>
                <a:gd name="T14" fmla="*/ 0 w 69"/>
                <a:gd name="T15" fmla="*/ 0 h 46"/>
                <a:gd name="T16" fmla="*/ 0 w 69"/>
                <a:gd name="T17" fmla="*/ 0 h 46"/>
                <a:gd name="T18" fmla="*/ 0 w 69"/>
                <a:gd name="T19" fmla="*/ 0 h 46"/>
                <a:gd name="T20" fmla="*/ 0 w 69"/>
                <a:gd name="T21" fmla="*/ 0 h 4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69" h="46">
                  <a:moveTo>
                    <a:pt x="12" y="34"/>
                  </a:moveTo>
                  <a:lnTo>
                    <a:pt x="0" y="22"/>
                  </a:lnTo>
                  <a:lnTo>
                    <a:pt x="0" y="11"/>
                  </a:lnTo>
                  <a:lnTo>
                    <a:pt x="12" y="0"/>
                  </a:lnTo>
                  <a:lnTo>
                    <a:pt x="68" y="0"/>
                  </a:lnTo>
                  <a:lnTo>
                    <a:pt x="57" y="11"/>
                  </a:lnTo>
                  <a:lnTo>
                    <a:pt x="46" y="11"/>
                  </a:lnTo>
                  <a:lnTo>
                    <a:pt x="57" y="34"/>
                  </a:lnTo>
                  <a:lnTo>
                    <a:pt x="57" y="45"/>
                  </a:lnTo>
                  <a:lnTo>
                    <a:pt x="34" y="45"/>
                  </a:lnTo>
                  <a:lnTo>
                    <a:pt x="12" y="34"/>
                  </a:lnTo>
                </a:path>
              </a:pathLst>
            </a:custGeom>
            <a:solidFill>
              <a:srgbClr val="FFFFFF"/>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836"/>
            </a:p>
          </p:txBody>
        </p:sp>
        <p:sp>
          <p:nvSpPr>
            <p:cNvPr id="48162" name="Freeform 19"/>
            <p:cNvSpPr>
              <a:spLocks noChangeAspect="1"/>
            </p:cNvSpPr>
            <p:nvPr>
              <p:custDataLst>
                <p:tags r:id="rId16"/>
              </p:custDataLst>
            </p:nvPr>
          </p:nvSpPr>
          <p:spPr bwMode="auto">
            <a:xfrm>
              <a:off x="1826174" y="3317287"/>
              <a:ext cx="125438" cy="59426"/>
            </a:xfrm>
            <a:custGeom>
              <a:avLst/>
              <a:gdLst>
                <a:gd name="T0" fmla="*/ 0 w 46"/>
                <a:gd name="T1" fmla="*/ 0 h 23"/>
                <a:gd name="T2" fmla="*/ 0 w 46"/>
                <a:gd name="T3" fmla="*/ 0 h 23"/>
                <a:gd name="T4" fmla="*/ 0 w 46"/>
                <a:gd name="T5" fmla="*/ 0 h 23"/>
                <a:gd name="T6" fmla="*/ 0 w 46"/>
                <a:gd name="T7" fmla="*/ 0 h 23"/>
                <a:gd name="T8" fmla="*/ 0 w 46"/>
                <a:gd name="T9" fmla="*/ 0 h 23"/>
                <a:gd name="T10" fmla="*/ 0 w 46"/>
                <a:gd name="T11" fmla="*/ 0 h 23"/>
                <a:gd name="T12" fmla="*/ 0 w 46"/>
                <a:gd name="T13" fmla="*/ 0 h 23"/>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6" h="23">
                  <a:moveTo>
                    <a:pt x="45" y="0"/>
                  </a:moveTo>
                  <a:lnTo>
                    <a:pt x="45" y="22"/>
                  </a:lnTo>
                  <a:lnTo>
                    <a:pt x="34" y="22"/>
                  </a:lnTo>
                  <a:lnTo>
                    <a:pt x="0" y="22"/>
                  </a:lnTo>
                  <a:lnTo>
                    <a:pt x="22" y="11"/>
                  </a:lnTo>
                  <a:lnTo>
                    <a:pt x="34" y="0"/>
                  </a:lnTo>
                  <a:lnTo>
                    <a:pt x="45" y="0"/>
                  </a:lnTo>
                </a:path>
              </a:pathLst>
            </a:custGeom>
            <a:solidFill>
              <a:srgbClr val="FFFFFF"/>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836"/>
            </a:p>
          </p:txBody>
        </p:sp>
        <p:sp>
          <p:nvSpPr>
            <p:cNvPr id="48163" name="Freeform 20"/>
            <p:cNvSpPr>
              <a:spLocks noChangeAspect="1"/>
            </p:cNvSpPr>
            <p:nvPr>
              <p:custDataLst>
                <p:tags r:id="rId17"/>
              </p:custDataLst>
            </p:nvPr>
          </p:nvSpPr>
          <p:spPr bwMode="auto">
            <a:xfrm>
              <a:off x="2631619" y="4010585"/>
              <a:ext cx="264080" cy="79234"/>
            </a:xfrm>
            <a:custGeom>
              <a:avLst/>
              <a:gdLst>
                <a:gd name="T0" fmla="*/ 0 w 102"/>
                <a:gd name="T1" fmla="*/ 0 h 35"/>
                <a:gd name="T2" fmla="*/ 0 w 102"/>
                <a:gd name="T3" fmla="*/ 0 h 35"/>
                <a:gd name="T4" fmla="*/ 0 w 102"/>
                <a:gd name="T5" fmla="*/ 0 h 35"/>
                <a:gd name="T6" fmla="*/ 0 w 102"/>
                <a:gd name="T7" fmla="*/ 0 h 35"/>
                <a:gd name="T8" fmla="*/ 0 w 102"/>
                <a:gd name="T9" fmla="*/ 0 h 35"/>
                <a:gd name="T10" fmla="*/ 0 w 102"/>
                <a:gd name="T11" fmla="*/ 0 h 35"/>
                <a:gd name="T12" fmla="*/ 0 w 102"/>
                <a:gd name="T13" fmla="*/ 0 h 35"/>
                <a:gd name="T14" fmla="*/ 0 w 102"/>
                <a:gd name="T15" fmla="*/ 0 h 35"/>
                <a:gd name="T16" fmla="*/ 0 w 102"/>
                <a:gd name="T17" fmla="*/ 0 h 35"/>
                <a:gd name="T18" fmla="*/ 0 w 102"/>
                <a:gd name="T19" fmla="*/ 0 h 35"/>
                <a:gd name="T20" fmla="*/ 0 w 102"/>
                <a:gd name="T21" fmla="*/ 0 h 35"/>
                <a:gd name="T22" fmla="*/ 0 w 102"/>
                <a:gd name="T23" fmla="*/ 0 h 35"/>
                <a:gd name="T24" fmla="*/ 0 w 102"/>
                <a:gd name="T25" fmla="*/ 0 h 35"/>
                <a:gd name="T26" fmla="*/ 0 w 102"/>
                <a:gd name="T27" fmla="*/ 0 h 3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02" h="35">
                  <a:moveTo>
                    <a:pt x="22" y="34"/>
                  </a:moveTo>
                  <a:lnTo>
                    <a:pt x="22" y="23"/>
                  </a:lnTo>
                  <a:lnTo>
                    <a:pt x="22" y="12"/>
                  </a:lnTo>
                  <a:lnTo>
                    <a:pt x="0" y="0"/>
                  </a:lnTo>
                  <a:lnTo>
                    <a:pt x="45" y="0"/>
                  </a:lnTo>
                  <a:lnTo>
                    <a:pt x="56" y="12"/>
                  </a:lnTo>
                  <a:lnTo>
                    <a:pt x="79" y="12"/>
                  </a:lnTo>
                  <a:lnTo>
                    <a:pt x="101" y="23"/>
                  </a:lnTo>
                  <a:lnTo>
                    <a:pt x="90" y="23"/>
                  </a:lnTo>
                  <a:lnTo>
                    <a:pt x="101" y="34"/>
                  </a:lnTo>
                  <a:lnTo>
                    <a:pt x="79" y="34"/>
                  </a:lnTo>
                  <a:lnTo>
                    <a:pt x="67" y="34"/>
                  </a:lnTo>
                  <a:lnTo>
                    <a:pt x="56" y="34"/>
                  </a:lnTo>
                  <a:lnTo>
                    <a:pt x="22" y="34"/>
                  </a:lnTo>
                </a:path>
              </a:pathLst>
            </a:custGeom>
            <a:solidFill>
              <a:srgbClr val="FFFFFF"/>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836"/>
            </a:p>
          </p:txBody>
        </p:sp>
        <p:sp>
          <p:nvSpPr>
            <p:cNvPr id="48164" name="Freeform 21"/>
            <p:cNvSpPr>
              <a:spLocks noChangeAspect="1"/>
            </p:cNvSpPr>
            <p:nvPr>
              <p:custDataLst>
                <p:tags r:id="rId18"/>
              </p:custDataLst>
            </p:nvPr>
          </p:nvSpPr>
          <p:spPr bwMode="auto">
            <a:xfrm>
              <a:off x="2096856" y="3700252"/>
              <a:ext cx="151846" cy="171674"/>
            </a:xfrm>
            <a:custGeom>
              <a:avLst/>
              <a:gdLst>
                <a:gd name="T0" fmla="*/ 0 w 58"/>
                <a:gd name="T1" fmla="*/ 0 h 69"/>
                <a:gd name="T2" fmla="*/ 0 w 58"/>
                <a:gd name="T3" fmla="*/ 0 h 69"/>
                <a:gd name="T4" fmla="*/ 0 w 58"/>
                <a:gd name="T5" fmla="*/ 0 h 69"/>
                <a:gd name="T6" fmla="*/ 0 w 58"/>
                <a:gd name="T7" fmla="*/ 0 h 69"/>
                <a:gd name="T8" fmla="*/ 0 w 58"/>
                <a:gd name="T9" fmla="*/ 0 h 69"/>
                <a:gd name="T10" fmla="*/ 0 w 58"/>
                <a:gd name="T11" fmla="*/ 0 h 69"/>
                <a:gd name="T12" fmla="*/ 0 w 58"/>
                <a:gd name="T13" fmla="*/ 0 h 69"/>
                <a:gd name="T14" fmla="*/ 0 w 58"/>
                <a:gd name="T15" fmla="*/ 0 h 69"/>
                <a:gd name="T16" fmla="*/ 0 w 58"/>
                <a:gd name="T17" fmla="*/ 0 h 69"/>
                <a:gd name="T18" fmla="*/ 0 w 58"/>
                <a:gd name="T19" fmla="*/ 0 h 69"/>
                <a:gd name="T20" fmla="*/ 0 w 58"/>
                <a:gd name="T21" fmla="*/ 0 h 6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58" h="69">
                  <a:moveTo>
                    <a:pt x="0" y="12"/>
                  </a:moveTo>
                  <a:lnTo>
                    <a:pt x="12" y="12"/>
                  </a:lnTo>
                  <a:lnTo>
                    <a:pt x="34" y="45"/>
                  </a:lnTo>
                  <a:lnTo>
                    <a:pt x="34" y="68"/>
                  </a:lnTo>
                  <a:lnTo>
                    <a:pt x="34" y="57"/>
                  </a:lnTo>
                  <a:lnTo>
                    <a:pt x="57" y="57"/>
                  </a:lnTo>
                  <a:lnTo>
                    <a:pt x="57" y="45"/>
                  </a:lnTo>
                  <a:lnTo>
                    <a:pt x="45" y="23"/>
                  </a:lnTo>
                  <a:lnTo>
                    <a:pt x="45" y="12"/>
                  </a:lnTo>
                  <a:lnTo>
                    <a:pt x="23" y="0"/>
                  </a:lnTo>
                  <a:lnTo>
                    <a:pt x="0" y="12"/>
                  </a:lnTo>
                </a:path>
              </a:pathLst>
            </a:custGeom>
            <a:solidFill>
              <a:srgbClr val="FFFFFF"/>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836"/>
            </a:p>
          </p:txBody>
        </p:sp>
        <p:sp>
          <p:nvSpPr>
            <p:cNvPr id="48165" name="Freeform 22"/>
            <p:cNvSpPr>
              <a:spLocks noChangeAspect="1"/>
            </p:cNvSpPr>
            <p:nvPr>
              <p:custDataLst>
                <p:tags r:id="rId19"/>
              </p:custDataLst>
            </p:nvPr>
          </p:nvSpPr>
          <p:spPr bwMode="auto">
            <a:xfrm>
              <a:off x="2776863" y="4089819"/>
              <a:ext cx="118836" cy="112248"/>
            </a:xfrm>
            <a:custGeom>
              <a:avLst/>
              <a:gdLst>
                <a:gd name="T0" fmla="*/ 0 w 46"/>
                <a:gd name="T1" fmla="*/ 0 h 46"/>
                <a:gd name="T2" fmla="*/ 0 w 46"/>
                <a:gd name="T3" fmla="*/ 0 h 46"/>
                <a:gd name="T4" fmla="*/ 0 w 46"/>
                <a:gd name="T5" fmla="*/ 0 h 46"/>
                <a:gd name="T6" fmla="*/ 0 w 46"/>
                <a:gd name="T7" fmla="*/ 0 h 46"/>
                <a:gd name="T8" fmla="*/ 0 w 46"/>
                <a:gd name="T9" fmla="*/ 0 h 46"/>
                <a:gd name="T10" fmla="*/ 0 w 46"/>
                <a:gd name="T11" fmla="*/ 0 h 46"/>
                <a:gd name="T12" fmla="*/ 0 w 46"/>
                <a:gd name="T13" fmla="*/ 0 h 46"/>
                <a:gd name="T14" fmla="*/ 0 w 46"/>
                <a:gd name="T15" fmla="*/ 0 h 46"/>
                <a:gd name="T16" fmla="*/ 0 w 46"/>
                <a:gd name="T17" fmla="*/ 0 h 46"/>
                <a:gd name="T18" fmla="*/ 0 w 46"/>
                <a:gd name="T19" fmla="*/ 0 h 46"/>
                <a:gd name="T20" fmla="*/ 0 w 46"/>
                <a:gd name="T21" fmla="*/ 0 h 4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6" h="46">
                  <a:moveTo>
                    <a:pt x="45" y="45"/>
                  </a:moveTo>
                  <a:lnTo>
                    <a:pt x="45" y="34"/>
                  </a:lnTo>
                  <a:lnTo>
                    <a:pt x="34" y="34"/>
                  </a:lnTo>
                  <a:lnTo>
                    <a:pt x="34" y="23"/>
                  </a:lnTo>
                  <a:lnTo>
                    <a:pt x="11" y="0"/>
                  </a:lnTo>
                  <a:lnTo>
                    <a:pt x="0" y="0"/>
                  </a:lnTo>
                  <a:lnTo>
                    <a:pt x="0" y="34"/>
                  </a:lnTo>
                  <a:lnTo>
                    <a:pt x="11" y="34"/>
                  </a:lnTo>
                  <a:lnTo>
                    <a:pt x="34" y="34"/>
                  </a:lnTo>
                  <a:lnTo>
                    <a:pt x="34" y="45"/>
                  </a:lnTo>
                  <a:lnTo>
                    <a:pt x="45" y="45"/>
                  </a:lnTo>
                </a:path>
              </a:pathLst>
            </a:custGeom>
            <a:solidFill>
              <a:srgbClr val="FFFFFF"/>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836"/>
            </a:p>
          </p:txBody>
        </p:sp>
        <p:sp>
          <p:nvSpPr>
            <p:cNvPr id="48166" name="Freeform 23"/>
            <p:cNvSpPr>
              <a:spLocks noChangeAspect="1"/>
            </p:cNvSpPr>
            <p:nvPr>
              <p:custDataLst>
                <p:tags r:id="rId20"/>
              </p:custDataLst>
            </p:nvPr>
          </p:nvSpPr>
          <p:spPr bwMode="auto">
            <a:xfrm>
              <a:off x="2803271" y="4175656"/>
              <a:ext cx="59418" cy="26411"/>
            </a:xfrm>
            <a:custGeom>
              <a:avLst/>
              <a:gdLst>
                <a:gd name="T0" fmla="*/ 0 w 24"/>
                <a:gd name="T1" fmla="*/ 0 h 12"/>
                <a:gd name="T2" fmla="*/ 0 w 24"/>
                <a:gd name="T3" fmla="*/ 0 h 12"/>
                <a:gd name="T4" fmla="*/ 0 w 24"/>
                <a:gd name="T5" fmla="*/ 0 h 12"/>
                <a:gd name="T6" fmla="*/ 0 w 24"/>
                <a:gd name="T7" fmla="*/ 0 h 12"/>
                <a:gd name="T8" fmla="*/ 0 w 24"/>
                <a:gd name="T9" fmla="*/ 0 h 1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4" h="12">
                  <a:moveTo>
                    <a:pt x="23" y="11"/>
                  </a:moveTo>
                  <a:lnTo>
                    <a:pt x="12" y="11"/>
                  </a:lnTo>
                  <a:lnTo>
                    <a:pt x="0" y="0"/>
                  </a:lnTo>
                  <a:lnTo>
                    <a:pt x="23" y="0"/>
                  </a:lnTo>
                  <a:lnTo>
                    <a:pt x="23" y="11"/>
                  </a:lnTo>
                </a:path>
              </a:pathLst>
            </a:custGeom>
            <a:solidFill>
              <a:srgbClr val="FFFFFF"/>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836"/>
            </a:p>
          </p:txBody>
        </p:sp>
        <p:sp>
          <p:nvSpPr>
            <p:cNvPr id="48167" name="Freeform 24"/>
            <p:cNvSpPr>
              <a:spLocks noChangeAspect="1"/>
            </p:cNvSpPr>
            <p:nvPr>
              <p:custDataLst>
                <p:tags r:id="rId21"/>
              </p:custDataLst>
            </p:nvPr>
          </p:nvSpPr>
          <p:spPr bwMode="auto">
            <a:xfrm>
              <a:off x="2803271" y="4063408"/>
              <a:ext cx="237672" cy="165071"/>
            </a:xfrm>
            <a:custGeom>
              <a:avLst/>
              <a:gdLst>
                <a:gd name="T0" fmla="*/ 0 w 92"/>
                <a:gd name="T1" fmla="*/ 0 h 69"/>
                <a:gd name="T2" fmla="*/ 0 w 92"/>
                <a:gd name="T3" fmla="*/ 0 h 69"/>
                <a:gd name="T4" fmla="*/ 0 w 92"/>
                <a:gd name="T5" fmla="*/ 0 h 69"/>
                <a:gd name="T6" fmla="*/ 0 w 92"/>
                <a:gd name="T7" fmla="*/ 0 h 69"/>
                <a:gd name="T8" fmla="*/ 0 w 92"/>
                <a:gd name="T9" fmla="*/ 0 h 69"/>
                <a:gd name="T10" fmla="*/ 0 w 92"/>
                <a:gd name="T11" fmla="*/ 0 h 69"/>
                <a:gd name="T12" fmla="*/ 0 w 92"/>
                <a:gd name="T13" fmla="*/ 0 h 69"/>
                <a:gd name="T14" fmla="*/ 0 w 92"/>
                <a:gd name="T15" fmla="*/ 0 h 69"/>
                <a:gd name="T16" fmla="*/ 0 w 92"/>
                <a:gd name="T17" fmla="*/ 0 h 69"/>
                <a:gd name="T18" fmla="*/ 0 w 92"/>
                <a:gd name="T19" fmla="*/ 0 h 69"/>
                <a:gd name="T20" fmla="*/ 0 w 92"/>
                <a:gd name="T21" fmla="*/ 0 h 69"/>
                <a:gd name="T22" fmla="*/ 0 w 92"/>
                <a:gd name="T23" fmla="*/ 0 h 69"/>
                <a:gd name="T24" fmla="*/ 0 w 92"/>
                <a:gd name="T25" fmla="*/ 0 h 69"/>
                <a:gd name="T26" fmla="*/ 0 w 92"/>
                <a:gd name="T27" fmla="*/ 0 h 69"/>
                <a:gd name="T28" fmla="*/ 0 w 92"/>
                <a:gd name="T29" fmla="*/ 0 h 69"/>
                <a:gd name="T30" fmla="*/ 0 w 92"/>
                <a:gd name="T31" fmla="*/ 0 h 69"/>
                <a:gd name="T32" fmla="*/ 0 w 92"/>
                <a:gd name="T33" fmla="*/ 0 h 69"/>
                <a:gd name="T34" fmla="*/ 0 w 92"/>
                <a:gd name="T35" fmla="*/ 0 h 69"/>
                <a:gd name="T36" fmla="*/ 0 w 92"/>
                <a:gd name="T37" fmla="*/ 0 h 69"/>
                <a:gd name="T38" fmla="*/ 0 w 92"/>
                <a:gd name="T39" fmla="*/ 0 h 69"/>
                <a:gd name="T40" fmla="*/ 0 w 92"/>
                <a:gd name="T41" fmla="*/ 0 h 69"/>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92" h="69">
                  <a:moveTo>
                    <a:pt x="34" y="56"/>
                  </a:moveTo>
                  <a:lnTo>
                    <a:pt x="45" y="45"/>
                  </a:lnTo>
                  <a:lnTo>
                    <a:pt x="57" y="45"/>
                  </a:lnTo>
                  <a:lnTo>
                    <a:pt x="45" y="56"/>
                  </a:lnTo>
                  <a:lnTo>
                    <a:pt x="68" y="68"/>
                  </a:lnTo>
                  <a:lnTo>
                    <a:pt x="57" y="56"/>
                  </a:lnTo>
                  <a:lnTo>
                    <a:pt x="68" y="56"/>
                  </a:lnTo>
                  <a:lnTo>
                    <a:pt x="68" y="45"/>
                  </a:lnTo>
                  <a:lnTo>
                    <a:pt x="91" y="34"/>
                  </a:lnTo>
                  <a:lnTo>
                    <a:pt x="68" y="23"/>
                  </a:lnTo>
                  <a:lnTo>
                    <a:pt x="57" y="0"/>
                  </a:lnTo>
                  <a:lnTo>
                    <a:pt x="45" y="11"/>
                  </a:lnTo>
                  <a:lnTo>
                    <a:pt x="34" y="0"/>
                  </a:lnTo>
                  <a:lnTo>
                    <a:pt x="23" y="0"/>
                  </a:lnTo>
                  <a:lnTo>
                    <a:pt x="34" y="11"/>
                  </a:lnTo>
                  <a:lnTo>
                    <a:pt x="12" y="11"/>
                  </a:lnTo>
                  <a:lnTo>
                    <a:pt x="0" y="11"/>
                  </a:lnTo>
                  <a:lnTo>
                    <a:pt x="23" y="34"/>
                  </a:lnTo>
                  <a:lnTo>
                    <a:pt x="23" y="45"/>
                  </a:lnTo>
                  <a:lnTo>
                    <a:pt x="34" y="45"/>
                  </a:lnTo>
                  <a:lnTo>
                    <a:pt x="34" y="56"/>
                  </a:lnTo>
                </a:path>
              </a:pathLst>
            </a:custGeom>
            <a:solidFill>
              <a:srgbClr val="FFFFFF"/>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836"/>
            </a:p>
          </p:txBody>
        </p:sp>
        <p:sp>
          <p:nvSpPr>
            <p:cNvPr id="48168" name="Freeform 25"/>
            <p:cNvSpPr>
              <a:spLocks noChangeAspect="1"/>
            </p:cNvSpPr>
            <p:nvPr>
              <p:custDataLst>
                <p:tags r:id="rId22"/>
              </p:custDataLst>
            </p:nvPr>
          </p:nvSpPr>
          <p:spPr bwMode="auto">
            <a:xfrm>
              <a:off x="3100361" y="4030394"/>
              <a:ext cx="561171" cy="336745"/>
            </a:xfrm>
            <a:custGeom>
              <a:avLst/>
              <a:gdLst>
                <a:gd name="T0" fmla="*/ 0 w 216"/>
                <a:gd name="T1" fmla="*/ 0 h 136"/>
                <a:gd name="T2" fmla="*/ 0 w 216"/>
                <a:gd name="T3" fmla="*/ 0 h 136"/>
                <a:gd name="T4" fmla="*/ 0 w 216"/>
                <a:gd name="T5" fmla="*/ 0 h 136"/>
                <a:gd name="T6" fmla="*/ 0 w 216"/>
                <a:gd name="T7" fmla="*/ 0 h 136"/>
                <a:gd name="T8" fmla="*/ 0 w 216"/>
                <a:gd name="T9" fmla="*/ 0 h 136"/>
                <a:gd name="T10" fmla="*/ 0 w 216"/>
                <a:gd name="T11" fmla="*/ 0 h 136"/>
                <a:gd name="T12" fmla="*/ 0 w 216"/>
                <a:gd name="T13" fmla="*/ 0 h 136"/>
                <a:gd name="T14" fmla="*/ 0 w 216"/>
                <a:gd name="T15" fmla="*/ 0 h 136"/>
                <a:gd name="T16" fmla="*/ 0 w 216"/>
                <a:gd name="T17" fmla="*/ 0 h 136"/>
                <a:gd name="T18" fmla="*/ 0 w 216"/>
                <a:gd name="T19" fmla="*/ 0 h 136"/>
                <a:gd name="T20" fmla="*/ 0 w 216"/>
                <a:gd name="T21" fmla="*/ 0 h 136"/>
                <a:gd name="T22" fmla="*/ 0 w 216"/>
                <a:gd name="T23" fmla="*/ 0 h 136"/>
                <a:gd name="T24" fmla="*/ 0 w 216"/>
                <a:gd name="T25" fmla="*/ 0 h 136"/>
                <a:gd name="T26" fmla="*/ 0 w 216"/>
                <a:gd name="T27" fmla="*/ 0 h 136"/>
                <a:gd name="T28" fmla="*/ 0 w 216"/>
                <a:gd name="T29" fmla="*/ 0 h 136"/>
                <a:gd name="T30" fmla="*/ 0 w 216"/>
                <a:gd name="T31" fmla="*/ 0 h 136"/>
                <a:gd name="T32" fmla="*/ 0 w 216"/>
                <a:gd name="T33" fmla="*/ 0 h 136"/>
                <a:gd name="T34" fmla="*/ 0 w 216"/>
                <a:gd name="T35" fmla="*/ 0 h 136"/>
                <a:gd name="T36" fmla="*/ 0 w 216"/>
                <a:gd name="T37" fmla="*/ 0 h 136"/>
                <a:gd name="T38" fmla="*/ 0 w 216"/>
                <a:gd name="T39" fmla="*/ 0 h 136"/>
                <a:gd name="T40" fmla="*/ 0 w 216"/>
                <a:gd name="T41" fmla="*/ 0 h 136"/>
                <a:gd name="T42" fmla="*/ 0 w 216"/>
                <a:gd name="T43" fmla="*/ 0 h 136"/>
                <a:gd name="T44" fmla="*/ 0 w 216"/>
                <a:gd name="T45" fmla="*/ 0 h 136"/>
                <a:gd name="T46" fmla="*/ 0 w 216"/>
                <a:gd name="T47" fmla="*/ 0 h 136"/>
                <a:gd name="T48" fmla="*/ 0 w 216"/>
                <a:gd name="T49" fmla="*/ 0 h 136"/>
                <a:gd name="T50" fmla="*/ 0 w 216"/>
                <a:gd name="T51" fmla="*/ 0 h 136"/>
                <a:gd name="T52" fmla="*/ 0 w 216"/>
                <a:gd name="T53" fmla="*/ 0 h 136"/>
                <a:gd name="T54" fmla="*/ 0 w 216"/>
                <a:gd name="T55" fmla="*/ 0 h 136"/>
                <a:gd name="T56" fmla="*/ 0 w 216"/>
                <a:gd name="T57" fmla="*/ 0 h 136"/>
                <a:gd name="T58" fmla="*/ 0 w 216"/>
                <a:gd name="T59" fmla="*/ 0 h 136"/>
                <a:gd name="T60" fmla="*/ 0 w 216"/>
                <a:gd name="T61" fmla="*/ 0 h 136"/>
                <a:gd name="T62" fmla="*/ 0 w 216"/>
                <a:gd name="T63" fmla="*/ 0 h 136"/>
                <a:gd name="T64" fmla="*/ 0 w 216"/>
                <a:gd name="T65" fmla="*/ 0 h 136"/>
                <a:gd name="T66" fmla="*/ 0 w 216"/>
                <a:gd name="T67" fmla="*/ 0 h 136"/>
                <a:gd name="T68" fmla="*/ 0 w 216"/>
                <a:gd name="T69" fmla="*/ 0 h 136"/>
                <a:gd name="T70" fmla="*/ 0 w 216"/>
                <a:gd name="T71" fmla="*/ 0 h 136"/>
                <a:gd name="T72" fmla="*/ 0 w 216"/>
                <a:gd name="T73" fmla="*/ 0 h 136"/>
                <a:gd name="T74" fmla="*/ 0 w 216"/>
                <a:gd name="T75" fmla="*/ 0 h 136"/>
                <a:gd name="T76" fmla="*/ 0 w 216"/>
                <a:gd name="T77" fmla="*/ 0 h 1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216" h="136">
                  <a:moveTo>
                    <a:pt x="215" y="112"/>
                  </a:moveTo>
                  <a:lnTo>
                    <a:pt x="203" y="101"/>
                  </a:lnTo>
                  <a:lnTo>
                    <a:pt x="203" y="112"/>
                  </a:lnTo>
                  <a:lnTo>
                    <a:pt x="192" y="112"/>
                  </a:lnTo>
                  <a:lnTo>
                    <a:pt x="181" y="124"/>
                  </a:lnTo>
                  <a:lnTo>
                    <a:pt x="158" y="124"/>
                  </a:lnTo>
                  <a:lnTo>
                    <a:pt x="158" y="135"/>
                  </a:lnTo>
                  <a:lnTo>
                    <a:pt x="136" y="135"/>
                  </a:lnTo>
                  <a:lnTo>
                    <a:pt x="136" y="124"/>
                  </a:lnTo>
                  <a:lnTo>
                    <a:pt x="79" y="90"/>
                  </a:lnTo>
                  <a:lnTo>
                    <a:pt x="45" y="90"/>
                  </a:lnTo>
                  <a:lnTo>
                    <a:pt x="34" y="101"/>
                  </a:lnTo>
                  <a:lnTo>
                    <a:pt x="34" y="67"/>
                  </a:lnTo>
                  <a:lnTo>
                    <a:pt x="23" y="67"/>
                  </a:lnTo>
                  <a:lnTo>
                    <a:pt x="23" y="56"/>
                  </a:lnTo>
                  <a:lnTo>
                    <a:pt x="11" y="56"/>
                  </a:lnTo>
                  <a:lnTo>
                    <a:pt x="11" y="45"/>
                  </a:lnTo>
                  <a:lnTo>
                    <a:pt x="34" y="45"/>
                  </a:lnTo>
                  <a:lnTo>
                    <a:pt x="45" y="34"/>
                  </a:lnTo>
                  <a:lnTo>
                    <a:pt x="23" y="11"/>
                  </a:lnTo>
                  <a:lnTo>
                    <a:pt x="11" y="11"/>
                  </a:lnTo>
                  <a:lnTo>
                    <a:pt x="11" y="34"/>
                  </a:lnTo>
                  <a:lnTo>
                    <a:pt x="0" y="11"/>
                  </a:lnTo>
                  <a:lnTo>
                    <a:pt x="34" y="0"/>
                  </a:lnTo>
                  <a:lnTo>
                    <a:pt x="45" y="22"/>
                  </a:lnTo>
                  <a:lnTo>
                    <a:pt x="57" y="22"/>
                  </a:lnTo>
                  <a:lnTo>
                    <a:pt x="68" y="22"/>
                  </a:lnTo>
                  <a:lnTo>
                    <a:pt x="68" y="11"/>
                  </a:lnTo>
                  <a:lnTo>
                    <a:pt x="90" y="0"/>
                  </a:lnTo>
                  <a:lnTo>
                    <a:pt x="102" y="0"/>
                  </a:lnTo>
                  <a:lnTo>
                    <a:pt x="90" y="0"/>
                  </a:lnTo>
                  <a:lnTo>
                    <a:pt x="102" y="0"/>
                  </a:lnTo>
                  <a:lnTo>
                    <a:pt x="113" y="0"/>
                  </a:lnTo>
                  <a:lnTo>
                    <a:pt x="113" y="22"/>
                  </a:lnTo>
                  <a:lnTo>
                    <a:pt x="147" y="22"/>
                  </a:lnTo>
                  <a:lnTo>
                    <a:pt x="158" y="56"/>
                  </a:lnTo>
                  <a:lnTo>
                    <a:pt x="203" y="79"/>
                  </a:lnTo>
                  <a:lnTo>
                    <a:pt x="215" y="90"/>
                  </a:lnTo>
                  <a:lnTo>
                    <a:pt x="215" y="112"/>
                  </a:lnTo>
                </a:path>
              </a:pathLst>
            </a:custGeom>
            <a:solidFill>
              <a:srgbClr val="FFFFFF"/>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836"/>
            </a:p>
          </p:txBody>
        </p:sp>
        <p:sp>
          <p:nvSpPr>
            <p:cNvPr id="48169" name="Freeform 26"/>
            <p:cNvSpPr>
              <a:spLocks noChangeAspect="1"/>
            </p:cNvSpPr>
            <p:nvPr>
              <p:custDataLst>
                <p:tags r:id="rId23"/>
              </p:custDataLst>
            </p:nvPr>
          </p:nvSpPr>
          <p:spPr bwMode="auto">
            <a:xfrm>
              <a:off x="3245605" y="3871925"/>
              <a:ext cx="680007" cy="435787"/>
            </a:xfrm>
            <a:custGeom>
              <a:avLst/>
              <a:gdLst>
                <a:gd name="T0" fmla="*/ 0 w 260"/>
                <a:gd name="T1" fmla="*/ 0 h 181"/>
                <a:gd name="T2" fmla="*/ 0 w 260"/>
                <a:gd name="T3" fmla="*/ 0 h 181"/>
                <a:gd name="T4" fmla="*/ 0 w 260"/>
                <a:gd name="T5" fmla="*/ 0 h 181"/>
                <a:gd name="T6" fmla="*/ 0 w 260"/>
                <a:gd name="T7" fmla="*/ 0 h 181"/>
                <a:gd name="T8" fmla="*/ 0 w 260"/>
                <a:gd name="T9" fmla="*/ 0 h 181"/>
                <a:gd name="T10" fmla="*/ 0 w 260"/>
                <a:gd name="T11" fmla="*/ 0 h 181"/>
                <a:gd name="T12" fmla="*/ 0 w 260"/>
                <a:gd name="T13" fmla="*/ 0 h 181"/>
                <a:gd name="T14" fmla="*/ 0 w 260"/>
                <a:gd name="T15" fmla="*/ 0 h 181"/>
                <a:gd name="T16" fmla="*/ 0 w 260"/>
                <a:gd name="T17" fmla="*/ 0 h 181"/>
                <a:gd name="T18" fmla="*/ 0 w 260"/>
                <a:gd name="T19" fmla="*/ 0 h 181"/>
                <a:gd name="T20" fmla="*/ 0 w 260"/>
                <a:gd name="T21" fmla="*/ 0 h 181"/>
                <a:gd name="T22" fmla="*/ 0 w 260"/>
                <a:gd name="T23" fmla="*/ 0 h 181"/>
                <a:gd name="T24" fmla="*/ 0 w 260"/>
                <a:gd name="T25" fmla="*/ 0 h 181"/>
                <a:gd name="T26" fmla="*/ 0 w 260"/>
                <a:gd name="T27" fmla="*/ 0 h 181"/>
                <a:gd name="T28" fmla="*/ 0 w 260"/>
                <a:gd name="T29" fmla="*/ 0 h 181"/>
                <a:gd name="T30" fmla="*/ 0 w 260"/>
                <a:gd name="T31" fmla="*/ 0 h 181"/>
                <a:gd name="T32" fmla="*/ 0 w 260"/>
                <a:gd name="T33" fmla="*/ 0 h 181"/>
                <a:gd name="T34" fmla="*/ 0 w 260"/>
                <a:gd name="T35" fmla="*/ 0 h 181"/>
                <a:gd name="T36" fmla="*/ 0 w 260"/>
                <a:gd name="T37" fmla="*/ 0 h 181"/>
                <a:gd name="T38" fmla="*/ 0 w 260"/>
                <a:gd name="T39" fmla="*/ 0 h 181"/>
                <a:gd name="T40" fmla="*/ 0 w 260"/>
                <a:gd name="T41" fmla="*/ 0 h 181"/>
                <a:gd name="T42" fmla="*/ 0 w 260"/>
                <a:gd name="T43" fmla="*/ 0 h 181"/>
                <a:gd name="T44" fmla="*/ 0 w 260"/>
                <a:gd name="T45" fmla="*/ 0 h 181"/>
                <a:gd name="T46" fmla="*/ 0 w 260"/>
                <a:gd name="T47" fmla="*/ 0 h 181"/>
                <a:gd name="T48" fmla="*/ 0 w 260"/>
                <a:gd name="T49" fmla="*/ 0 h 181"/>
                <a:gd name="T50" fmla="*/ 0 w 260"/>
                <a:gd name="T51" fmla="*/ 0 h 181"/>
                <a:gd name="T52" fmla="*/ 0 w 260"/>
                <a:gd name="T53" fmla="*/ 0 h 181"/>
                <a:gd name="T54" fmla="*/ 0 w 260"/>
                <a:gd name="T55" fmla="*/ 0 h 181"/>
                <a:gd name="T56" fmla="*/ 0 w 260"/>
                <a:gd name="T57" fmla="*/ 0 h 181"/>
                <a:gd name="T58" fmla="*/ 0 w 260"/>
                <a:gd name="T59" fmla="*/ 0 h 181"/>
                <a:gd name="T60" fmla="*/ 0 w 260"/>
                <a:gd name="T61" fmla="*/ 0 h 181"/>
                <a:gd name="T62" fmla="*/ 0 w 260"/>
                <a:gd name="T63" fmla="*/ 0 h 181"/>
                <a:gd name="T64" fmla="*/ 0 w 260"/>
                <a:gd name="T65" fmla="*/ 0 h 181"/>
                <a:gd name="T66" fmla="*/ 0 w 260"/>
                <a:gd name="T67" fmla="*/ 0 h 181"/>
                <a:gd name="T68" fmla="*/ 0 w 260"/>
                <a:gd name="T69" fmla="*/ 0 h 181"/>
                <a:gd name="T70" fmla="*/ 0 w 260"/>
                <a:gd name="T71" fmla="*/ 0 h 181"/>
                <a:gd name="T72" fmla="*/ 0 w 260"/>
                <a:gd name="T73" fmla="*/ 0 h 181"/>
                <a:gd name="T74" fmla="*/ 0 w 260"/>
                <a:gd name="T75" fmla="*/ 0 h 181"/>
                <a:gd name="T76" fmla="*/ 0 w 260"/>
                <a:gd name="T77" fmla="*/ 0 h 181"/>
                <a:gd name="T78" fmla="*/ 0 w 260"/>
                <a:gd name="T79" fmla="*/ 0 h 181"/>
                <a:gd name="T80" fmla="*/ 0 w 260"/>
                <a:gd name="T81" fmla="*/ 0 h 181"/>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260" h="181">
                  <a:moveTo>
                    <a:pt x="158" y="180"/>
                  </a:moveTo>
                  <a:lnTo>
                    <a:pt x="169" y="180"/>
                  </a:lnTo>
                  <a:lnTo>
                    <a:pt x="180" y="158"/>
                  </a:lnTo>
                  <a:lnTo>
                    <a:pt x="180" y="135"/>
                  </a:lnTo>
                  <a:lnTo>
                    <a:pt x="169" y="124"/>
                  </a:lnTo>
                  <a:lnTo>
                    <a:pt x="192" y="124"/>
                  </a:lnTo>
                  <a:lnTo>
                    <a:pt x="203" y="113"/>
                  </a:lnTo>
                  <a:lnTo>
                    <a:pt x="203" y="102"/>
                  </a:lnTo>
                  <a:lnTo>
                    <a:pt x="214" y="102"/>
                  </a:lnTo>
                  <a:lnTo>
                    <a:pt x="214" y="113"/>
                  </a:lnTo>
                  <a:lnTo>
                    <a:pt x="237" y="113"/>
                  </a:lnTo>
                  <a:lnTo>
                    <a:pt x="259" y="102"/>
                  </a:lnTo>
                  <a:lnTo>
                    <a:pt x="237" y="90"/>
                  </a:lnTo>
                  <a:lnTo>
                    <a:pt x="225" y="90"/>
                  </a:lnTo>
                  <a:lnTo>
                    <a:pt x="214" y="90"/>
                  </a:lnTo>
                  <a:lnTo>
                    <a:pt x="225" y="68"/>
                  </a:lnTo>
                  <a:lnTo>
                    <a:pt x="214" y="68"/>
                  </a:lnTo>
                  <a:lnTo>
                    <a:pt x="192" y="102"/>
                  </a:lnTo>
                  <a:lnTo>
                    <a:pt x="180" y="90"/>
                  </a:lnTo>
                  <a:lnTo>
                    <a:pt x="158" y="90"/>
                  </a:lnTo>
                  <a:lnTo>
                    <a:pt x="158" y="79"/>
                  </a:lnTo>
                  <a:lnTo>
                    <a:pt x="158" y="68"/>
                  </a:lnTo>
                  <a:lnTo>
                    <a:pt x="135" y="45"/>
                  </a:lnTo>
                  <a:lnTo>
                    <a:pt x="90" y="45"/>
                  </a:lnTo>
                  <a:lnTo>
                    <a:pt x="56" y="11"/>
                  </a:lnTo>
                  <a:lnTo>
                    <a:pt x="45" y="0"/>
                  </a:lnTo>
                  <a:lnTo>
                    <a:pt x="0" y="11"/>
                  </a:lnTo>
                  <a:lnTo>
                    <a:pt x="0" y="90"/>
                  </a:lnTo>
                  <a:lnTo>
                    <a:pt x="11" y="90"/>
                  </a:lnTo>
                  <a:lnTo>
                    <a:pt x="11" y="79"/>
                  </a:lnTo>
                  <a:lnTo>
                    <a:pt x="33" y="68"/>
                  </a:lnTo>
                  <a:lnTo>
                    <a:pt x="45" y="68"/>
                  </a:lnTo>
                  <a:lnTo>
                    <a:pt x="33" y="68"/>
                  </a:lnTo>
                  <a:lnTo>
                    <a:pt x="45" y="68"/>
                  </a:lnTo>
                  <a:lnTo>
                    <a:pt x="56" y="68"/>
                  </a:lnTo>
                  <a:lnTo>
                    <a:pt x="56" y="90"/>
                  </a:lnTo>
                  <a:lnTo>
                    <a:pt x="90" y="90"/>
                  </a:lnTo>
                  <a:lnTo>
                    <a:pt x="101" y="124"/>
                  </a:lnTo>
                  <a:lnTo>
                    <a:pt x="146" y="147"/>
                  </a:lnTo>
                  <a:lnTo>
                    <a:pt x="158" y="158"/>
                  </a:lnTo>
                  <a:lnTo>
                    <a:pt x="158" y="180"/>
                  </a:lnTo>
                </a:path>
              </a:pathLst>
            </a:custGeom>
            <a:solidFill>
              <a:srgbClr val="FFFFFF"/>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836"/>
            </a:p>
          </p:txBody>
        </p:sp>
        <p:sp>
          <p:nvSpPr>
            <p:cNvPr id="48170" name="Freeform 27"/>
            <p:cNvSpPr>
              <a:spLocks noChangeAspect="1"/>
            </p:cNvSpPr>
            <p:nvPr>
              <p:custDataLst>
                <p:tags r:id="rId24"/>
              </p:custDataLst>
            </p:nvPr>
          </p:nvSpPr>
          <p:spPr bwMode="auto">
            <a:xfrm>
              <a:off x="3687940" y="4116230"/>
              <a:ext cx="297090" cy="224497"/>
            </a:xfrm>
            <a:custGeom>
              <a:avLst/>
              <a:gdLst>
                <a:gd name="T0" fmla="*/ 0 w 114"/>
                <a:gd name="T1" fmla="*/ 0 h 91"/>
                <a:gd name="T2" fmla="*/ 0 w 114"/>
                <a:gd name="T3" fmla="*/ 0 h 91"/>
                <a:gd name="T4" fmla="*/ 0 w 114"/>
                <a:gd name="T5" fmla="*/ 0 h 91"/>
                <a:gd name="T6" fmla="*/ 0 w 114"/>
                <a:gd name="T7" fmla="*/ 0 h 91"/>
                <a:gd name="T8" fmla="*/ 0 w 114"/>
                <a:gd name="T9" fmla="*/ 0 h 91"/>
                <a:gd name="T10" fmla="*/ 0 w 114"/>
                <a:gd name="T11" fmla="*/ 0 h 91"/>
                <a:gd name="T12" fmla="*/ 0 w 114"/>
                <a:gd name="T13" fmla="*/ 0 h 91"/>
                <a:gd name="T14" fmla="*/ 0 w 114"/>
                <a:gd name="T15" fmla="*/ 0 h 91"/>
                <a:gd name="T16" fmla="*/ 0 w 114"/>
                <a:gd name="T17" fmla="*/ 0 h 91"/>
                <a:gd name="T18" fmla="*/ 0 w 114"/>
                <a:gd name="T19" fmla="*/ 0 h 91"/>
                <a:gd name="T20" fmla="*/ 0 w 114"/>
                <a:gd name="T21" fmla="*/ 0 h 91"/>
                <a:gd name="T22" fmla="*/ 0 w 114"/>
                <a:gd name="T23" fmla="*/ 0 h 91"/>
                <a:gd name="T24" fmla="*/ 0 w 114"/>
                <a:gd name="T25" fmla="*/ 0 h 91"/>
                <a:gd name="T26" fmla="*/ 0 w 114"/>
                <a:gd name="T27" fmla="*/ 0 h 91"/>
                <a:gd name="T28" fmla="*/ 0 w 114"/>
                <a:gd name="T29" fmla="*/ 0 h 91"/>
                <a:gd name="T30" fmla="*/ 0 w 114"/>
                <a:gd name="T31" fmla="*/ 0 h 91"/>
                <a:gd name="T32" fmla="*/ 0 w 114"/>
                <a:gd name="T33" fmla="*/ 0 h 91"/>
                <a:gd name="T34" fmla="*/ 0 w 114"/>
                <a:gd name="T35" fmla="*/ 0 h 91"/>
                <a:gd name="T36" fmla="*/ 0 w 114"/>
                <a:gd name="T37" fmla="*/ 0 h 91"/>
                <a:gd name="T38" fmla="*/ 0 w 114"/>
                <a:gd name="T39" fmla="*/ 0 h 91"/>
                <a:gd name="T40" fmla="*/ 0 w 114"/>
                <a:gd name="T41" fmla="*/ 0 h 91"/>
                <a:gd name="T42" fmla="*/ 0 w 114"/>
                <a:gd name="T43" fmla="*/ 0 h 91"/>
                <a:gd name="T44" fmla="*/ 0 w 114"/>
                <a:gd name="T45" fmla="*/ 0 h 91"/>
                <a:gd name="T46" fmla="*/ 0 w 114"/>
                <a:gd name="T47" fmla="*/ 0 h 91"/>
                <a:gd name="T48" fmla="*/ 0 w 114"/>
                <a:gd name="T49" fmla="*/ 0 h 91"/>
                <a:gd name="T50" fmla="*/ 0 w 114"/>
                <a:gd name="T51" fmla="*/ 0 h 9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14" h="91">
                  <a:moveTo>
                    <a:pt x="102" y="22"/>
                  </a:moveTo>
                  <a:lnTo>
                    <a:pt x="102" y="45"/>
                  </a:lnTo>
                  <a:lnTo>
                    <a:pt x="113" y="45"/>
                  </a:lnTo>
                  <a:lnTo>
                    <a:pt x="113" y="78"/>
                  </a:lnTo>
                  <a:lnTo>
                    <a:pt x="90" y="67"/>
                  </a:lnTo>
                  <a:lnTo>
                    <a:pt x="68" y="90"/>
                  </a:lnTo>
                  <a:lnTo>
                    <a:pt x="56" y="56"/>
                  </a:lnTo>
                  <a:lnTo>
                    <a:pt x="45" y="45"/>
                  </a:lnTo>
                  <a:lnTo>
                    <a:pt x="45" y="67"/>
                  </a:lnTo>
                  <a:lnTo>
                    <a:pt x="34" y="67"/>
                  </a:lnTo>
                  <a:lnTo>
                    <a:pt x="34" y="78"/>
                  </a:lnTo>
                  <a:lnTo>
                    <a:pt x="11" y="78"/>
                  </a:lnTo>
                  <a:lnTo>
                    <a:pt x="0" y="78"/>
                  </a:lnTo>
                  <a:lnTo>
                    <a:pt x="11" y="56"/>
                  </a:lnTo>
                  <a:lnTo>
                    <a:pt x="11" y="33"/>
                  </a:lnTo>
                  <a:lnTo>
                    <a:pt x="0" y="22"/>
                  </a:lnTo>
                  <a:lnTo>
                    <a:pt x="23" y="22"/>
                  </a:lnTo>
                  <a:lnTo>
                    <a:pt x="34" y="11"/>
                  </a:lnTo>
                  <a:lnTo>
                    <a:pt x="34" y="0"/>
                  </a:lnTo>
                  <a:lnTo>
                    <a:pt x="45" y="0"/>
                  </a:lnTo>
                  <a:lnTo>
                    <a:pt x="45" y="11"/>
                  </a:lnTo>
                  <a:lnTo>
                    <a:pt x="45" y="22"/>
                  </a:lnTo>
                  <a:lnTo>
                    <a:pt x="34" y="22"/>
                  </a:lnTo>
                  <a:lnTo>
                    <a:pt x="56" y="22"/>
                  </a:lnTo>
                  <a:lnTo>
                    <a:pt x="68" y="22"/>
                  </a:lnTo>
                  <a:lnTo>
                    <a:pt x="102" y="22"/>
                  </a:lnTo>
                </a:path>
              </a:pathLst>
            </a:custGeom>
            <a:solidFill>
              <a:srgbClr val="FFFFFF"/>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836"/>
            </a:p>
          </p:txBody>
        </p:sp>
        <p:sp>
          <p:nvSpPr>
            <p:cNvPr id="48171" name="Freeform 28"/>
            <p:cNvSpPr>
              <a:spLocks noChangeAspect="1"/>
            </p:cNvSpPr>
            <p:nvPr>
              <p:custDataLst>
                <p:tags r:id="rId25"/>
              </p:custDataLst>
            </p:nvPr>
          </p:nvSpPr>
          <p:spPr bwMode="auto">
            <a:xfrm>
              <a:off x="3773766" y="4010585"/>
              <a:ext cx="415926" cy="165071"/>
            </a:xfrm>
            <a:custGeom>
              <a:avLst/>
              <a:gdLst>
                <a:gd name="T0" fmla="*/ 0 w 159"/>
                <a:gd name="T1" fmla="*/ 0 h 69"/>
                <a:gd name="T2" fmla="*/ 0 w 159"/>
                <a:gd name="T3" fmla="*/ 0 h 69"/>
                <a:gd name="T4" fmla="*/ 0 w 159"/>
                <a:gd name="T5" fmla="*/ 0 h 69"/>
                <a:gd name="T6" fmla="*/ 0 w 159"/>
                <a:gd name="T7" fmla="*/ 0 h 69"/>
                <a:gd name="T8" fmla="*/ 0 w 159"/>
                <a:gd name="T9" fmla="*/ 0 h 69"/>
                <a:gd name="T10" fmla="*/ 0 w 159"/>
                <a:gd name="T11" fmla="*/ 0 h 69"/>
                <a:gd name="T12" fmla="*/ 0 w 159"/>
                <a:gd name="T13" fmla="*/ 0 h 69"/>
                <a:gd name="T14" fmla="*/ 0 w 159"/>
                <a:gd name="T15" fmla="*/ 0 h 69"/>
                <a:gd name="T16" fmla="*/ 0 w 159"/>
                <a:gd name="T17" fmla="*/ 0 h 69"/>
                <a:gd name="T18" fmla="*/ 0 w 159"/>
                <a:gd name="T19" fmla="*/ 0 h 69"/>
                <a:gd name="T20" fmla="*/ 0 w 159"/>
                <a:gd name="T21" fmla="*/ 0 h 69"/>
                <a:gd name="T22" fmla="*/ 0 w 159"/>
                <a:gd name="T23" fmla="*/ 0 h 69"/>
                <a:gd name="T24" fmla="*/ 0 w 159"/>
                <a:gd name="T25" fmla="*/ 0 h 69"/>
                <a:gd name="T26" fmla="*/ 0 w 159"/>
                <a:gd name="T27" fmla="*/ 0 h 69"/>
                <a:gd name="T28" fmla="*/ 0 w 159"/>
                <a:gd name="T29" fmla="*/ 0 h 69"/>
                <a:gd name="T30" fmla="*/ 0 w 159"/>
                <a:gd name="T31" fmla="*/ 0 h 69"/>
                <a:gd name="T32" fmla="*/ 0 w 159"/>
                <a:gd name="T33" fmla="*/ 0 h 69"/>
                <a:gd name="T34" fmla="*/ 0 w 159"/>
                <a:gd name="T35" fmla="*/ 0 h 69"/>
                <a:gd name="T36" fmla="*/ 0 w 159"/>
                <a:gd name="T37" fmla="*/ 0 h 69"/>
                <a:gd name="T38" fmla="*/ 0 w 159"/>
                <a:gd name="T39" fmla="*/ 0 h 69"/>
                <a:gd name="T40" fmla="*/ 0 w 159"/>
                <a:gd name="T41" fmla="*/ 0 h 69"/>
                <a:gd name="T42" fmla="*/ 0 w 159"/>
                <a:gd name="T43" fmla="*/ 0 h 69"/>
                <a:gd name="T44" fmla="*/ 0 w 159"/>
                <a:gd name="T45" fmla="*/ 0 h 69"/>
                <a:gd name="T46" fmla="*/ 0 w 159"/>
                <a:gd name="T47" fmla="*/ 0 h 69"/>
                <a:gd name="T48" fmla="*/ 0 w 159"/>
                <a:gd name="T49" fmla="*/ 0 h 69"/>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159" h="69">
                  <a:moveTo>
                    <a:pt x="158" y="12"/>
                  </a:moveTo>
                  <a:lnTo>
                    <a:pt x="158" y="23"/>
                  </a:lnTo>
                  <a:lnTo>
                    <a:pt x="124" y="46"/>
                  </a:lnTo>
                  <a:lnTo>
                    <a:pt x="113" y="46"/>
                  </a:lnTo>
                  <a:lnTo>
                    <a:pt x="101" y="57"/>
                  </a:lnTo>
                  <a:lnTo>
                    <a:pt x="79" y="57"/>
                  </a:lnTo>
                  <a:lnTo>
                    <a:pt x="68" y="68"/>
                  </a:lnTo>
                  <a:lnTo>
                    <a:pt x="34" y="68"/>
                  </a:lnTo>
                  <a:lnTo>
                    <a:pt x="22" y="68"/>
                  </a:lnTo>
                  <a:lnTo>
                    <a:pt x="0" y="68"/>
                  </a:lnTo>
                  <a:lnTo>
                    <a:pt x="11" y="68"/>
                  </a:lnTo>
                  <a:lnTo>
                    <a:pt x="11" y="57"/>
                  </a:lnTo>
                  <a:lnTo>
                    <a:pt x="34" y="57"/>
                  </a:lnTo>
                  <a:lnTo>
                    <a:pt x="56" y="46"/>
                  </a:lnTo>
                  <a:lnTo>
                    <a:pt x="34" y="34"/>
                  </a:lnTo>
                  <a:lnTo>
                    <a:pt x="22" y="34"/>
                  </a:lnTo>
                  <a:lnTo>
                    <a:pt x="11" y="34"/>
                  </a:lnTo>
                  <a:lnTo>
                    <a:pt x="22" y="12"/>
                  </a:lnTo>
                  <a:lnTo>
                    <a:pt x="11" y="12"/>
                  </a:lnTo>
                  <a:lnTo>
                    <a:pt x="22" y="12"/>
                  </a:lnTo>
                  <a:lnTo>
                    <a:pt x="56" y="12"/>
                  </a:lnTo>
                  <a:lnTo>
                    <a:pt x="68" y="0"/>
                  </a:lnTo>
                  <a:lnTo>
                    <a:pt x="79" y="12"/>
                  </a:lnTo>
                  <a:lnTo>
                    <a:pt x="135" y="12"/>
                  </a:lnTo>
                  <a:lnTo>
                    <a:pt x="158" y="12"/>
                  </a:lnTo>
                </a:path>
              </a:pathLst>
            </a:custGeom>
            <a:solidFill>
              <a:srgbClr val="FFFFFF"/>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836"/>
            </a:p>
          </p:txBody>
        </p:sp>
        <p:sp>
          <p:nvSpPr>
            <p:cNvPr id="48172" name="Freeform 29"/>
            <p:cNvSpPr>
              <a:spLocks noChangeAspect="1"/>
            </p:cNvSpPr>
            <p:nvPr>
              <p:custDataLst>
                <p:tags r:id="rId26"/>
              </p:custDataLst>
            </p:nvPr>
          </p:nvSpPr>
          <p:spPr bwMode="auto">
            <a:xfrm>
              <a:off x="1509278" y="2214613"/>
              <a:ext cx="501752" cy="1102674"/>
            </a:xfrm>
            <a:custGeom>
              <a:avLst/>
              <a:gdLst>
                <a:gd name="T0" fmla="*/ 0 w 192"/>
                <a:gd name="T1" fmla="*/ 0 h 452"/>
                <a:gd name="T2" fmla="*/ 0 w 192"/>
                <a:gd name="T3" fmla="*/ 0 h 452"/>
                <a:gd name="T4" fmla="*/ 0 w 192"/>
                <a:gd name="T5" fmla="*/ 0 h 452"/>
                <a:gd name="T6" fmla="*/ 0 w 192"/>
                <a:gd name="T7" fmla="*/ 0 h 452"/>
                <a:gd name="T8" fmla="*/ 0 w 192"/>
                <a:gd name="T9" fmla="*/ 0 h 452"/>
                <a:gd name="T10" fmla="*/ 0 w 192"/>
                <a:gd name="T11" fmla="*/ 0 h 452"/>
                <a:gd name="T12" fmla="*/ 0 w 192"/>
                <a:gd name="T13" fmla="*/ 0 h 452"/>
                <a:gd name="T14" fmla="*/ 0 w 192"/>
                <a:gd name="T15" fmla="*/ 0 h 452"/>
                <a:gd name="T16" fmla="*/ 0 w 192"/>
                <a:gd name="T17" fmla="*/ 0 h 452"/>
                <a:gd name="T18" fmla="*/ 0 w 192"/>
                <a:gd name="T19" fmla="*/ 0 h 452"/>
                <a:gd name="T20" fmla="*/ 0 w 192"/>
                <a:gd name="T21" fmla="*/ 0 h 452"/>
                <a:gd name="T22" fmla="*/ 0 w 192"/>
                <a:gd name="T23" fmla="*/ 0 h 452"/>
                <a:gd name="T24" fmla="*/ 0 w 192"/>
                <a:gd name="T25" fmla="*/ 0 h 452"/>
                <a:gd name="T26" fmla="*/ 0 w 192"/>
                <a:gd name="T27" fmla="*/ 0 h 452"/>
                <a:gd name="T28" fmla="*/ 0 w 192"/>
                <a:gd name="T29" fmla="*/ 0 h 452"/>
                <a:gd name="T30" fmla="*/ 0 w 192"/>
                <a:gd name="T31" fmla="*/ 0 h 452"/>
                <a:gd name="T32" fmla="*/ 0 w 192"/>
                <a:gd name="T33" fmla="*/ 0 h 452"/>
                <a:gd name="T34" fmla="*/ 0 w 192"/>
                <a:gd name="T35" fmla="*/ 0 h 452"/>
                <a:gd name="T36" fmla="*/ 0 w 192"/>
                <a:gd name="T37" fmla="*/ 0 h 452"/>
                <a:gd name="T38" fmla="*/ 0 w 192"/>
                <a:gd name="T39" fmla="*/ 0 h 452"/>
                <a:gd name="T40" fmla="*/ 0 w 192"/>
                <a:gd name="T41" fmla="*/ 0 h 452"/>
                <a:gd name="T42" fmla="*/ 0 w 192"/>
                <a:gd name="T43" fmla="*/ 0 h 452"/>
                <a:gd name="T44" fmla="*/ 0 w 192"/>
                <a:gd name="T45" fmla="*/ 0 h 452"/>
                <a:gd name="T46" fmla="*/ 0 w 192"/>
                <a:gd name="T47" fmla="*/ 0 h 452"/>
                <a:gd name="T48" fmla="*/ 0 w 192"/>
                <a:gd name="T49" fmla="*/ 0 h 452"/>
                <a:gd name="T50" fmla="*/ 0 w 192"/>
                <a:gd name="T51" fmla="*/ 0 h 452"/>
                <a:gd name="T52" fmla="*/ 0 w 192"/>
                <a:gd name="T53" fmla="*/ 0 h 452"/>
                <a:gd name="T54" fmla="*/ 0 w 192"/>
                <a:gd name="T55" fmla="*/ 0 h 452"/>
                <a:gd name="T56" fmla="*/ 0 w 192"/>
                <a:gd name="T57" fmla="*/ 0 h 452"/>
                <a:gd name="T58" fmla="*/ 0 w 192"/>
                <a:gd name="T59" fmla="*/ 0 h 452"/>
                <a:gd name="T60" fmla="*/ 0 w 192"/>
                <a:gd name="T61" fmla="*/ 0 h 452"/>
                <a:gd name="T62" fmla="*/ 0 w 192"/>
                <a:gd name="T63" fmla="*/ 0 h 452"/>
                <a:gd name="T64" fmla="*/ 0 w 192"/>
                <a:gd name="T65" fmla="*/ 0 h 452"/>
                <a:gd name="T66" fmla="*/ 0 w 192"/>
                <a:gd name="T67" fmla="*/ 0 h 452"/>
                <a:gd name="T68" fmla="*/ 0 w 192"/>
                <a:gd name="T69" fmla="*/ 0 h 452"/>
                <a:gd name="T70" fmla="*/ 0 w 192"/>
                <a:gd name="T71" fmla="*/ 0 h 452"/>
                <a:gd name="T72" fmla="*/ 0 w 192"/>
                <a:gd name="T73" fmla="*/ 0 h 452"/>
                <a:gd name="T74" fmla="*/ 0 w 192"/>
                <a:gd name="T75" fmla="*/ 0 h 452"/>
                <a:gd name="T76" fmla="*/ 0 w 192"/>
                <a:gd name="T77" fmla="*/ 0 h 452"/>
                <a:gd name="T78" fmla="*/ 0 w 192"/>
                <a:gd name="T79" fmla="*/ 0 h 452"/>
                <a:gd name="T80" fmla="*/ 0 w 192"/>
                <a:gd name="T81" fmla="*/ 0 h 452"/>
                <a:gd name="T82" fmla="*/ 0 w 192"/>
                <a:gd name="T83" fmla="*/ 0 h 452"/>
                <a:gd name="T84" fmla="*/ 0 w 192"/>
                <a:gd name="T85" fmla="*/ 0 h 452"/>
                <a:gd name="T86" fmla="*/ 0 w 192"/>
                <a:gd name="T87" fmla="*/ 0 h 45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192" h="452">
                  <a:moveTo>
                    <a:pt x="0" y="349"/>
                  </a:moveTo>
                  <a:lnTo>
                    <a:pt x="11" y="349"/>
                  </a:lnTo>
                  <a:lnTo>
                    <a:pt x="11" y="327"/>
                  </a:lnTo>
                  <a:lnTo>
                    <a:pt x="22" y="315"/>
                  </a:lnTo>
                  <a:lnTo>
                    <a:pt x="22" y="281"/>
                  </a:lnTo>
                  <a:lnTo>
                    <a:pt x="11" y="236"/>
                  </a:lnTo>
                  <a:lnTo>
                    <a:pt x="22" y="202"/>
                  </a:lnTo>
                  <a:lnTo>
                    <a:pt x="33" y="191"/>
                  </a:lnTo>
                  <a:lnTo>
                    <a:pt x="45" y="180"/>
                  </a:lnTo>
                  <a:lnTo>
                    <a:pt x="45" y="157"/>
                  </a:lnTo>
                  <a:lnTo>
                    <a:pt x="45" y="146"/>
                  </a:lnTo>
                  <a:lnTo>
                    <a:pt x="56" y="112"/>
                  </a:lnTo>
                  <a:lnTo>
                    <a:pt x="79" y="90"/>
                  </a:lnTo>
                  <a:lnTo>
                    <a:pt x="79" y="67"/>
                  </a:lnTo>
                  <a:lnTo>
                    <a:pt x="90" y="45"/>
                  </a:lnTo>
                  <a:lnTo>
                    <a:pt x="101" y="33"/>
                  </a:lnTo>
                  <a:lnTo>
                    <a:pt x="101" y="22"/>
                  </a:lnTo>
                  <a:lnTo>
                    <a:pt x="112" y="22"/>
                  </a:lnTo>
                  <a:lnTo>
                    <a:pt x="135" y="22"/>
                  </a:lnTo>
                  <a:lnTo>
                    <a:pt x="135" y="0"/>
                  </a:lnTo>
                  <a:lnTo>
                    <a:pt x="146" y="0"/>
                  </a:lnTo>
                  <a:lnTo>
                    <a:pt x="180" y="33"/>
                  </a:lnTo>
                  <a:lnTo>
                    <a:pt x="191" y="124"/>
                  </a:lnTo>
                  <a:lnTo>
                    <a:pt x="169" y="124"/>
                  </a:lnTo>
                  <a:lnTo>
                    <a:pt x="158" y="146"/>
                  </a:lnTo>
                  <a:lnTo>
                    <a:pt x="158" y="157"/>
                  </a:lnTo>
                  <a:lnTo>
                    <a:pt x="158" y="169"/>
                  </a:lnTo>
                  <a:lnTo>
                    <a:pt x="146" y="191"/>
                  </a:lnTo>
                  <a:lnTo>
                    <a:pt x="112" y="214"/>
                  </a:lnTo>
                  <a:lnTo>
                    <a:pt x="101" y="248"/>
                  </a:lnTo>
                  <a:lnTo>
                    <a:pt x="101" y="293"/>
                  </a:lnTo>
                  <a:lnTo>
                    <a:pt x="112" y="327"/>
                  </a:lnTo>
                  <a:lnTo>
                    <a:pt x="101" y="338"/>
                  </a:lnTo>
                  <a:lnTo>
                    <a:pt x="101" y="349"/>
                  </a:lnTo>
                  <a:lnTo>
                    <a:pt x="90" y="360"/>
                  </a:lnTo>
                  <a:lnTo>
                    <a:pt x="79" y="428"/>
                  </a:lnTo>
                  <a:lnTo>
                    <a:pt x="56" y="428"/>
                  </a:lnTo>
                  <a:lnTo>
                    <a:pt x="45" y="439"/>
                  </a:lnTo>
                  <a:lnTo>
                    <a:pt x="45" y="451"/>
                  </a:lnTo>
                  <a:lnTo>
                    <a:pt x="33" y="451"/>
                  </a:lnTo>
                  <a:lnTo>
                    <a:pt x="22" y="428"/>
                  </a:lnTo>
                  <a:lnTo>
                    <a:pt x="33" y="417"/>
                  </a:lnTo>
                  <a:lnTo>
                    <a:pt x="22" y="417"/>
                  </a:lnTo>
                  <a:lnTo>
                    <a:pt x="0" y="349"/>
                  </a:lnTo>
                </a:path>
              </a:pathLst>
            </a:custGeom>
            <a:solidFill>
              <a:schemeClr val="bg1"/>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836"/>
            </a:p>
          </p:txBody>
        </p:sp>
        <p:sp>
          <p:nvSpPr>
            <p:cNvPr id="48173" name="Freeform 30"/>
            <p:cNvSpPr>
              <a:spLocks noChangeAspect="1"/>
            </p:cNvSpPr>
            <p:nvPr>
              <p:custDataLst>
                <p:tags r:id="rId27"/>
              </p:custDataLst>
            </p:nvPr>
          </p:nvSpPr>
          <p:spPr bwMode="auto">
            <a:xfrm>
              <a:off x="769853" y="3317287"/>
              <a:ext cx="118836" cy="79234"/>
            </a:xfrm>
            <a:custGeom>
              <a:avLst/>
              <a:gdLst>
                <a:gd name="T0" fmla="*/ 0 w 47"/>
                <a:gd name="T1" fmla="*/ 0 h 34"/>
                <a:gd name="T2" fmla="*/ 0 w 47"/>
                <a:gd name="T3" fmla="*/ 0 h 34"/>
                <a:gd name="T4" fmla="*/ 0 w 47"/>
                <a:gd name="T5" fmla="*/ 0 h 34"/>
                <a:gd name="T6" fmla="*/ 0 w 47"/>
                <a:gd name="T7" fmla="*/ 0 h 34"/>
                <a:gd name="T8" fmla="*/ 0 w 47"/>
                <a:gd name="T9" fmla="*/ 0 h 34"/>
                <a:gd name="T10" fmla="*/ 0 w 47"/>
                <a:gd name="T11" fmla="*/ 0 h 34"/>
                <a:gd name="T12" fmla="*/ 0 w 47"/>
                <a:gd name="T13" fmla="*/ 0 h 34"/>
                <a:gd name="T14" fmla="*/ 0 w 47"/>
                <a:gd name="T15" fmla="*/ 0 h 34"/>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47" h="34">
                  <a:moveTo>
                    <a:pt x="34" y="33"/>
                  </a:moveTo>
                  <a:lnTo>
                    <a:pt x="34" y="22"/>
                  </a:lnTo>
                  <a:lnTo>
                    <a:pt x="12" y="22"/>
                  </a:lnTo>
                  <a:lnTo>
                    <a:pt x="0" y="22"/>
                  </a:lnTo>
                  <a:lnTo>
                    <a:pt x="12" y="0"/>
                  </a:lnTo>
                  <a:lnTo>
                    <a:pt x="34" y="11"/>
                  </a:lnTo>
                  <a:lnTo>
                    <a:pt x="46" y="22"/>
                  </a:lnTo>
                  <a:lnTo>
                    <a:pt x="34" y="33"/>
                  </a:lnTo>
                </a:path>
              </a:pathLst>
            </a:custGeom>
            <a:solidFill>
              <a:srgbClr val="FFFFFF"/>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836"/>
            </a:p>
          </p:txBody>
        </p:sp>
        <p:sp>
          <p:nvSpPr>
            <p:cNvPr id="48174" name="Freeform 31"/>
            <p:cNvSpPr>
              <a:spLocks noChangeAspect="1"/>
            </p:cNvSpPr>
            <p:nvPr>
              <p:custDataLst>
                <p:tags r:id="rId28"/>
              </p:custDataLst>
            </p:nvPr>
          </p:nvSpPr>
          <p:spPr bwMode="auto">
            <a:xfrm>
              <a:off x="684027" y="3317287"/>
              <a:ext cx="178254" cy="224497"/>
            </a:xfrm>
            <a:custGeom>
              <a:avLst/>
              <a:gdLst>
                <a:gd name="T0" fmla="*/ 0 w 69"/>
                <a:gd name="T1" fmla="*/ 0 h 91"/>
                <a:gd name="T2" fmla="*/ 0 w 69"/>
                <a:gd name="T3" fmla="*/ 0 h 91"/>
                <a:gd name="T4" fmla="*/ 0 w 69"/>
                <a:gd name="T5" fmla="*/ 0 h 91"/>
                <a:gd name="T6" fmla="*/ 0 w 69"/>
                <a:gd name="T7" fmla="*/ 0 h 91"/>
                <a:gd name="T8" fmla="*/ 0 w 69"/>
                <a:gd name="T9" fmla="*/ 0 h 91"/>
                <a:gd name="T10" fmla="*/ 0 w 69"/>
                <a:gd name="T11" fmla="*/ 0 h 91"/>
                <a:gd name="T12" fmla="*/ 0 w 69"/>
                <a:gd name="T13" fmla="*/ 0 h 91"/>
                <a:gd name="T14" fmla="*/ 0 w 69"/>
                <a:gd name="T15" fmla="*/ 0 h 91"/>
                <a:gd name="T16" fmla="*/ 0 w 69"/>
                <a:gd name="T17" fmla="*/ 0 h 91"/>
                <a:gd name="T18" fmla="*/ 0 w 69"/>
                <a:gd name="T19" fmla="*/ 0 h 91"/>
                <a:gd name="T20" fmla="*/ 0 w 69"/>
                <a:gd name="T21" fmla="*/ 0 h 91"/>
                <a:gd name="T22" fmla="*/ 0 w 69"/>
                <a:gd name="T23" fmla="*/ 0 h 91"/>
                <a:gd name="T24" fmla="*/ 0 w 69"/>
                <a:gd name="T25" fmla="*/ 0 h 91"/>
                <a:gd name="T26" fmla="*/ 0 w 69"/>
                <a:gd name="T27" fmla="*/ 0 h 91"/>
                <a:gd name="T28" fmla="*/ 0 w 69"/>
                <a:gd name="T29" fmla="*/ 0 h 91"/>
                <a:gd name="T30" fmla="*/ 0 w 69"/>
                <a:gd name="T31" fmla="*/ 0 h 91"/>
                <a:gd name="T32" fmla="*/ 0 w 69"/>
                <a:gd name="T33" fmla="*/ 0 h 91"/>
                <a:gd name="T34" fmla="*/ 0 w 69"/>
                <a:gd name="T35" fmla="*/ 0 h 91"/>
                <a:gd name="T36" fmla="*/ 0 w 69"/>
                <a:gd name="T37" fmla="*/ 0 h 91"/>
                <a:gd name="T38" fmla="*/ 0 w 69"/>
                <a:gd name="T39" fmla="*/ 0 h 91"/>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69" h="91">
                  <a:moveTo>
                    <a:pt x="46" y="0"/>
                  </a:moveTo>
                  <a:lnTo>
                    <a:pt x="34" y="22"/>
                  </a:lnTo>
                  <a:lnTo>
                    <a:pt x="46" y="22"/>
                  </a:lnTo>
                  <a:lnTo>
                    <a:pt x="68" y="22"/>
                  </a:lnTo>
                  <a:lnTo>
                    <a:pt x="68" y="33"/>
                  </a:lnTo>
                  <a:lnTo>
                    <a:pt x="68" y="56"/>
                  </a:lnTo>
                  <a:lnTo>
                    <a:pt x="57" y="90"/>
                  </a:lnTo>
                  <a:lnTo>
                    <a:pt x="12" y="90"/>
                  </a:lnTo>
                  <a:lnTo>
                    <a:pt x="0" y="90"/>
                  </a:lnTo>
                  <a:lnTo>
                    <a:pt x="12" y="90"/>
                  </a:lnTo>
                  <a:lnTo>
                    <a:pt x="23" y="56"/>
                  </a:lnTo>
                  <a:lnTo>
                    <a:pt x="12" y="45"/>
                  </a:lnTo>
                  <a:lnTo>
                    <a:pt x="23" y="33"/>
                  </a:lnTo>
                  <a:lnTo>
                    <a:pt x="12" y="33"/>
                  </a:lnTo>
                  <a:lnTo>
                    <a:pt x="12" y="22"/>
                  </a:lnTo>
                  <a:lnTo>
                    <a:pt x="23" y="22"/>
                  </a:lnTo>
                  <a:lnTo>
                    <a:pt x="34" y="22"/>
                  </a:lnTo>
                  <a:lnTo>
                    <a:pt x="23" y="22"/>
                  </a:lnTo>
                  <a:lnTo>
                    <a:pt x="23" y="11"/>
                  </a:lnTo>
                  <a:lnTo>
                    <a:pt x="46" y="0"/>
                  </a:lnTo>
                </a:path>
              </a:pathLst>
            </a:custGeom>
            <a:solidFill>
              <a:srgbClr val="FFFFFF"/>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836"/>
            </a:p>
          </p:txBody>
        </p:sp>
        <p:sp>
          <p:nvSpPr>
            <p:cNvPr id="48175" name="Freeform 32"/>
            <p:cNvSpPr>
              <a:spLocks noChangeAspect="1"/>
            </p:cNvSpPr>
            <p:nvPr>
              <p:custDataLst>
                <p:tags r:id="rId29"/>
              </p:custDataLst>
            </p:nvPr>
          </p:nvSpPr>
          <p:spPr bwMode="auto">
            <a:xfrm>
              <a:off x="1383840" y="3178627"/>
              <a:ext cx="125438" cy="171674"/>
            </a:xfrm>
            <a:custGeom>
              <a:avLst/>
              <a:gdLst>
                <a:gd name="T0" fmla="*/ 0 w 47"/>
                <a:gd name="T1" fmla="*/ 0 h 69"/>
                <a:gd name="T2" fmla="*/ 0 w 47"/>
                <a:gd name="T3" fmla="*/ 0 h 69"/>
                <a:gd name="T4" fmla="*/ 0 w 47"/>
                <a:gd name="T5" fmla="*/ 0 h 69"/>
                <a:gd name="T6" fmla="*/ 0 w 47"/>
                <a:gd name="T7" fmla="*/ 0 h 69"/>
                <a:gd name="T8" fmla="*/ 0 w 47"/>
                <a:gd name="T9" fmla="*/ 0 h 69"/>
                <a:gd name="T10" fmla="*/ 0 w 47"/>
                <a:gd name="T11" fmla="*/ 0 h 69"/>
                <a:gd name="T12" fmla="*/ 0 w 47"/>
                <a:gd name="T13" fmla="*/ 0 h 69"/>
                <a:gd name="T14" fmla="*/ 0 w 47"/>
                <a:gd name="T15" fmla="*/ 0 h 69"/>
                <a:gd name="T16" fmla="*/ 0 w 47"/>
                <a:gd name="T17" fmla="*/ 0 h 69"/>
                <a:gd name="T18" fmla="*/ 0 w 47"/>
                <a:gd name="T19" fmla="*/ 0 h 69"/>
                <a:gd name="T20" fmla="*/ 0 w 47"/>
                <a:gd name="T21" fmla="*/ 0 h 69"/>
                <a:gd name="T22" fmla="*/ 0 w 47"/>
                <a:gd name="T23" fmla="*/ 0 h 69"/>
                <a:gd name="T24" fmla="*/ 0 w 47"/>
                <a:gd name="T25" fmla="*/ 0 h 6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7" h="69">
                  <a:moveTo>
                    <a:pt x="12" y="68"/>
                  </a:moveTo>
                  <a:lnTo>
                    <a:pt x="23" y="68"/>
                  </a:lnTo>
                  <a:lnTo>
                    <a:pt x="34" y="68"/>
                  </a:lnTo>
                  <a:lnTo>
                    <a:pt x="34" y="34"/>
                  </a:lnTo>
                  <a:lnTo>
                    <a:pt x="46" y="34"/>
                  </a:lnTo>
                  <a:lnTo>
                    <a:pt x="46" y="23"/>
                  </a:lnTo>
                  <a:lnTo>
                    <a:pt x="34" y="23"/>
                  </a:lnTo>
                  <a:lnTo>
                    <a:pt x="34" y="0"/>
                  </a:lnTo>
                  <a:lnTo>
                    <a:pt x="12" y="11"/>
                  </a:lnTo>
                  <a:lnTo>
                    <a:pt x="0" y="23"/>
                  </a:lnTo>
                  <a:lnTo>
                    <a:pt x="0" y="45"/>
                  </a:lnTo>
                  <a:lnTo>
                    <a:pt x="12" y="57"/>
                  </a:lnTo>
                  <a:lnTo>
                    <a:pt x="12" y="68"/>
                  </a:lnTo>
                </a:path>
              </a:pathLst>
            </a:custGeom>
            <a:solidFill>
              <a:schemeClr val="accent1"/>
            </a:solidFill>
            <a:ln w="12700" cap="rnd" cmpd="sng">
              <a:solidFill>
                <a:srgbClr val="000000"/>
              </a:solidFill>
              <a:prstDash val="solid"/>
              <a:round/>
              <a:headEnd type="none" w="med" len="med"/>
              <a:tailEnd type="none" w="med" len="med"/>
            </a:ln>
            <a:effectLst/>
            <a:extLst/>
          </p:spPr>
          <p:txBody>
            <a:bodyPr/>
            <a:lstStyle/>
            <a:p>
              <a:endParaRPr lang="en-GB" sz="1836"/>
            </a:p>
          </p:txBody>
        </p:sp>
        <p:sp>
          <p:nvSpPr>
            <p:cNvPr id="48176" name="Freeform 33"/>
            <p:cNvSpPr>
              <a:spLocks noChangeAspect="1"/>
            </p:cNvSpPr>
            <p:nvPr>
              <p:custDataLst>
                <p:tags r:id="rId30"/>
              </p:custDataLst>
            </p:nvPr>
          </p:nvSpPr>
          <p:spPr bwMode="auto">
            <a:xfrm>
              <a:off x="1212187" y="3429535"/>
              <a:ext cx="151846" cy="158468"/>
            </a:xfrm>
            <a:custGeom>
              <a:avLst/>
              <a:gdLst>
                <a:gd name="T0" fmla="*/ 0 w 57"/>
                <a:gd name="T1" fmla="*/ 0 h 68"/>
                <a:gd name="T2" fmla="*/ 0 w 57"/>
                <a:gd name="T3" fmla="*/ 0 h 68"/>
                <a:gd name="T4" fmla="*/ 0 w 57"/>
                <a:gd name="T5" fmla="*/ 0 h 68"/>
                <a:gd name="T6" fmla="*/ 0 w 57"/>
                <a:gd name="T7" fmla="*/ 0 h 68"/>
                <a:gd name="T8" fmla="*/ 0 w 57"/>
                <a:gd name="T9" fmla="*/ 0 h 68"/>
                <a:gd name="T10" fmla="*/ 0 w 57"/>
                <a:gd name="T11" fmla="*/ 0 h 68"/>
                <a:gd name="T12" fmla="*/ 0 w 57"/>
                <a:gd name="T13" fmla="*/ 0 h 68"/>
                <a:gd name="T14" fmla="*/ 0 w 57"/>
                <a:gd name="T15" fmla="*/ 0 h 68"/>
                <a:gd name="T16" fmla="*/ 0 w 57"/>
                <a:gd name="T17" fmla="*/ 0 h 68"/>
                <a:gd name="T18" fmla="*/ 0 w 57"/>
                <a:gd name="T19" fmla="*/ 0 h 68"/>
                <a:gd name="T20" fmla="*/ 0 w 57"/>
                <a:gd name="T21" fmla="*/ 0 h 68"/>
                <a:gd name="T22" fmla="*/ 0 w 57"/>
                <a:gd name="T23" fmla="*/ 0 h 6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57" h="68">
                  <a:moveTo>
                    <a:pt x="45" y="67"/>
                  </a:moveTo>
                  <a:lnTo>
                    <a:pt x="45" y="45"/>
                  </a:lnTo>
                  <a:lnTo>
                    <a:pt x="45" y="33"/>
                  </a:lnTo>
                  <a:lnTo>
                    <a:pt x="56" y="0"/>
                  </a:lnTo>
                  <a:lnTo>
                    <a:pt x="34" y="11"/>
                  </a:lnTo>
                  <a:lnTo>
                    <a:pt x="45" y="33"/>
                  </a:lnTo>
                  <a:lnTo>
                    <a:pt x="34" y="33"/>
                  </a:lnTo>
                  <a:lnTo>
                    <a:pt x="34" y="22"/>
                  </a:lnTo>
                  <a:lnTo>
                    <a:pt x="22" y="22"/>
                  </a:lnTo>
                  <a:lnTo>
                    <a:pt x="0" y="56"/>
                  </a:lnTo>
                  <a:lnTo>
                    <a:pt x="34" y="56"/>
                  </a:lnTo>
                  <a:lnTo>
                    <a:pt x="45" y="67"/>
                  </a:lnTo>
                </a:path>
              </a:pathLst>
            </a:custGeom>
            <a:solidFill>
              <a:srgbClr val="FFFFFF"/>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836"/>
            </a:p>
          </p:txBody>
        </p:sp>
        <p:sp>
          <p:nvSpPr>
            <p:cNvPr id="48177" name="Freeform 34"/>
            <p:cNvSpPr>
              <a:spLocks noChangeAspect="1"/>
            </p:cNvSpPr>
            <p:nvPr>
              <p:custDataLst>
                <p:tags r:id="rId31"/>
              </p:custDataLst>
            </p:nvPr>
          </p:nvSpPr>
          <p:spPr bwMode="auto">
            <a:xfrm>
              <a:off x="1185779" y="3568195"/>
              <a:ext cx="145244" cy="105645"/>
            </a:xfrm>
            <a:custGeom>
              <a:avLst/>
              <a:gdLst>
                <a:gd name="T0" fmla="*/ 0 w 58"/>
                <a:gd name="T1" fmla="*/ 0 h 46"/>
                <a:gd name="T2" fmla="*/ 0 w 58"/>
                <a:gd name="T3" fmla="*/ 0 h 46"/>
                <a:gd name="T4" fmla="*/ 0 w 58"/>
                <a:gd name="T5" fmla="*/ 0 h 46"/>
                <a:gd name="T6" fmla="*/ 0 w 58"/>
                <a:gd name="T7" fmla="*/ 0 h 46"/>
                <a:gd name="T8" fmla="*/ 0 w 58"/>
                <a:gd name="T9" fmla="*/ 0 h 46"/>
                <a:gd name="T10" fmla="*/ 0 w 58"/>
                <a:gd name="T11" fmla="*/ 0 h 46"/>
                <a:gd name="T12" fmla="*/ 0 w 58"/>
                <a:gd name="T13" fmla="*/ 0 h 46"/>
                <a:gd name="T14" fmla="*/ 0 w 58"/>
                <a:gd name="T15" fmla="*/ 0 h 46"/>
                <a:gd name="T16" fmla="*/ 0 w 58"/>
                <a:gd name="T17" fmla="*/ 0 h 46"/>
                <a:gd name="T18" fmla="*/ 0 w 58"/>
                <a:gd name="T19" fmla="*/ 0 h 46"/>
                <a:gd name="T20" fmla="*/ 0 w 58"/>
                <a:gd name="T21" fmla="*/ 0 h 46"/>
                <a:gd name="T22" fmla="*/ 0 w 58"/>
                <a:gd name="T23" fmla="*/ 0 h 46"/>
                <a:gd name="T24" fmla="*/ 0 w 58"/>
                <a:gd name="T25" fmla="*/ 0 h 4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8" h="46">
                  <a:moveTo>
                    <a:pt x="46" y="45"/>
                  </a:moveTo>
                  <a:lnTo>
                    <a:pt x="34" y="45"/>
                  </a:lnTo>
                  <a:lnTo>
                    <a:pt x="34" y="34"/>
                  </a:lnTo>
                  <a:lnTo>
                    <a:pt x="23" y="34"/>
                  </a:lnTo>
                  <a:lnTo>
                    <a:pt x="23" y="23"/>
                  </a:lnTo>
                  <a:lnTo>
                    <a:pt x="0" y="11"/>
                  </a:lnTo>
                  <a:lnTo>
                    <a:pt x="0" y="0"/>
                  </a:lnTo>
                  <a:lnTo>
                    <a:pt x="12" y="0"/>
                  </a:lnTo>
                  <a:lnTo>
                    <a:pt x="46" y="0"/>
                  </a:lnTo>
                  <a:lnTo>
                    <a:pt x="57" y="11"/>
                  </a:lnTo>
                  <a:lnTo>
                    <a:pt x="57" y="34"/>
                  </a:lnTo>
                  <a:lnTo>
                    <a:pt x="46" y="34"/>
                  </a:lnTo>
                  <a:lnTo>
                    <a:pt x="46" y="45"/>
                  </a:lnTo>
                </a:path>
              </a:pathLst>
            </a:custGeom>
            <a:solidFill>
              <a:srgbClr val="FFFFFF"/>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836"/>
            </a:p>
          </p:txBody>
        </p:sp>
        <p:sp>
          <p:nvSpPr>
            <p:cNvPr id="48178" name="Rectangle 35"/>
            <p:cNvSpPr>
              <a:spLocks noChangeAspect="1" noChangeArrowheads="1"/>
            </p:cNvSpPr>
            <p:nvPr>
              <p:custDataLst>
                <p:tags r:id="rId32"/>
              </p:custDataLst>
            </p:nvPr>
          </p:nvSpPr>
          <p:spPr bwMode="auto">
            <a:xfrm>
              <a:off x="1317820" y="3654032"/>
              <a:ext cx="6602" cy="13206"/>
            </a:xfrm>
            <a:prstGeom prst="rect">
              <a:avLst/>
            </a:prstGeom>
            <a:solidFill>
              <a:srgbClr val="FFFFFF"/>
            </a:solidFill>
            <a:ln w="12700">
              <a:solidFill>
                <a:srgbClr val="00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a-DK" sz="1836"/>
            </a:p>
          </p:txBody>
        </p:sp>
        <p:sp>
          <p:nvSpPr>
            <p:cNvPr id="48179" name="Freeform 36"/>
            <p:cNvSpPr>
              <a:spLocks noChangeAspect="1"/>
            </p:cNvSpPr>
            <p:nvPr>
              <p:custDataLst>
                <p:tags r:id="rId33"/>
              </p:custDataLst>
            </p:nvPr>
          </p:nvSpPr>
          <p:spPr bwMode="auto">
            <a:xfrm>
              <a:off x="1628114" y="3343698"/>
              <a:ext cx="382916" cy="363156"/>
            </a:xfrm>
            <a:custGeom>
              <a:avLst/>
              <a:gdLst>
                <a:gd name="T0" fmla="*/ 0 w 147"/>
                <a:gd name="T1" fmla="*/ 0 h 147"/>
                <a:gd name="T2" fmla="*/ 0 w 147"/>
                <a:gd name="T3" fmla="*/ 0 h 147"/>
                <a:gd name="T4" fmla="*/ 0 w 147"/>
                <a:gd name="T5" fmla="*/ 0 h 147"/>
                <a:gd name="T6" fmla="*/ 0 w 147"/>
                <a:gd name="T7" fmla="*/ 0 h 147"/>
                <a:gd name="T8" fmla="*/ 0 w 147"/>
                <a:gd name="T9" fmla="*/ 0 h 147"/>
                <a:gd name="T10" fmla="*/ 0 w 147"/>
                <a:gd name="T11" fmla="*/ 0 h 147"/>
                <a:gd name="T12" fmla="*/ 0 w 147"/>
                <a:gd name="T13" fmla="*/ 0 h 147"/>
                <a:gd name="T14" fmla="*/ 0 w 147"/>
                <a:gd name="T15" fmla="*/ 0 h 147"/>
                <a:gd name="T16" fmla="*/ 0 w 147"/>
                <a:gd name="T17" fmla="*/ 0 h 147"/>
                <a:gd name="T18" fmla="*/ 0 w 147"/>
                <a:gd name="T19" fmla="*/ 0 h 147"/>
                <a:gd name="T20" fmla="*/ 0 w 147"/>
                <a:gd name="T21" fmla="*/ 0 h 147"/>
                <a:gd name="T22" fmla="*/ 0 w 147"/>
                <a:gd name="T23" fmla="*/ 0 h 147"/>
                <a:gd name="T24" fmla="*/ 0 w 147"/>
                <a:gd name="T25" fmla="*/ 0 h 147"/>
                <a:gd name="T26" fmla="*/ 0 w 147"/>
                <a:gd name="T27" fmla="*/ 0 h 147"/>
                <a:gd name="T28" fmla="*/ 0 w 147"/>
                <a:gd name="T29" fmla="*/ 0 h 147"/>
                <a:gd name="T30" fmla="*/ 0 w 147"/>
                <a:gd name="T31" fmla="*/ 0 h 147"/>
                <a:gd name="T32" fmla="*/ 0 w 147"/>
                <a:gd name="T33" fmla="*/ 0 h 147"/>
                <a:gd name="T34" fmla="*/ 0 w 147"/>
                <a:gd name="T35" fmla="*/ 0 h 147"/>
                <a:gd name="T36" fmla="*/ 0 w 147"/>
                <a:gd name="T37" fmla="*/ 0 h 147"/>
                <a:gd name="T38" fmla="*/ 0 w 147"/>
                <a:gd name="T39" fmla="*/ 0 h 147"/>
                <a:gd name="T40" fmla="*/ 0 w 147"/>
                <a:gd name="T41" fmla="*/ 0 h 147"/>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147" h="147">
                  <a:moveTo>
                    <a:pt x="124" y="146"/>
                  </a:moveTo>
                  <a:lnTo>
                    <a:pt x="135" y="124"/>
                  </a:lnTo>
                  <a:lnTo>
                    <a:pt x="146" y="113"/>
                  </a:lnTo>
                  <a:lnTo>
                    <a:pt x="135" y="67"/>
                  </a:lnTo>
                  <a:lnTo>
                    <a:pt x="146" y="45"/>
                  </a:lnTo>
                  <a:lnTo>
                    <a:pt x="135" y="22"/>
                  </a:lnTo>
                  <a:lnTo>
                    <a:pt x="124" y="11"/>
                  </a:lnTo>
                  <a:lnTo>
                    <a:pt x="113" y="11"/>
                  </a:lnTo>
                  <a:lnTo>
                    <a:pt x="79" y="11"/>
                  </a:lnTo>
                  <a:lnTo>
                    <a:pt x="67" y="11"/>
                  </a:lnTo>
                  <a:lnTo>
                    <a:pt x="56" y="0"/>
                  </a:lnTo>
                  <a:lnTo>
                    <a:pt x="0" y="22"/>
                  </a:lnTo>
                  <a:lnTo>
                    <a:pt x="11" y="90"/>
                  </a:lnTo>
                  <a:lnTo>
                    <a:pt x="22" y="101"/>
                  </a:lnTo>
                  <a:lnTo>
                    <a:pt x="45" y="113"/>
                  </a:lnTo>
                  <a:lnTo>
                    <a:pt x="56" y="113"/>
                  </a:lnTo>
                  <a:lnTo>
                    <a:pt x="67" y="135"/>
                  </a:lnTo>
                  <a:lnTo>
                    <a:pt x="79" y="135"/>
                  </a:lnTo>
                  <a:lnTo>
                    <a:pt x="90" y="146"/>
                  </a:lnTo>
                  <a:lnTo>
                    <a:pt x="113" y="135"/>
                  </a:lnTo>
                  <a:lnTo>
                    <a:pt x="124" y="146"/>
                  </a:lnTo>
                </a:path>
              </a:pathLst>
            </a:custGeom>
            <a:solidFill>
              <a:schemeClr val="bg1"/>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836"/>
            </a:p>
          </p:txBody>
        </p:sp>
        <p:sp>
          <p:nvSpPr>
            <p:cNvPr id="48180" name="Freeform 37"/>
            <p:cNvSpPr>
              <a:spLocks noChangeAspect="1"/>
            </p:cNvSpPr>
            <p:nvPr>
              <p:custDataLst>
                <p:tags r:id="rId34"/>
              </p:custDataLst>
            </p:nvPr>
          </p:nvSpPr>
          <p:spPr bwMode="auto">
            <a:xfrm>
              <a:off x="1331024" y="3343698"/>
              <a:ext cx="330100" cy="442390"/>
            </a:xfrm>
            <a:custGeom>
              <a:avLst/>
              <a:gdLst>
                <a:gd name="T0" fmla="*/ 0 w 125"/>
                <a:gd name="T1" fmla="*/ 0 h 181"/>
                <a:gd name="T2" fmla="*/ 0 w 125"/>
                <a:gd name="T3" fmla="*/ 0 h 181"/>
                <a:gd name="T4" fmla="*/ 0 w 125"/>
                <a:gd name="T5" fmla="*/ 0 h 181"/>
                <a:gd name="T6" fmla="*/ 0 w 125"/>
                <a:gd name="T7" fmla="*/ 0 h 181"/>
                <a:gd name="T8" fmla="*/ 0 w 125"/>
                <a:gd name="T9" fmla="*/ 0 h 181"/>
                <a:gd name="T10" fmla="*/ 0 w 125"/>
                <a:gd name="T11" fmla="*/ 0 h 181"/>
                <a:gd name="T12" fmla="*/ 0 w 125"/>
                <a:gd name="T13" fmla="*/ 0 h 181"/>
                <a:gd name="T14" fmla="*/ 0 w 125"/>
                <a:gd name="T15" fmla="*/ 0 h 181"/>
                <a:gd name="T16" fmla="*/ 0 w 125"/>
                <a:gd name="T17" fmla="*/ 0 h 181"/>
                <a:gd name="T18" fmla="*/ 0 w 125"/>
                <a:gd name="T19" fmla="*/ 0 h 181"/>
                <a:gd name="T20" fmla="*/ 0 w 125"/>
                <a:gd name="T21" fmla="*/ 0 h 181"/>
                <a:gd name="T22" fmla="*/ 0 w 125"/>
                <a:gd name="T23" fmla="*/ 0 h 181"/>
                <a:gd name="T24" fmla="*/ 0 w 125"/>
                <a:gd name="T25" fmla="*/ 0 h 181"/>
                <a:gd name="T26" fmla="*/ 0 w 125"/>
                <a:gd name="T27" fmla="*/ 0 h 181"/>
                <a:gd name="T28" fmla="*/ 0 w 125"/>
                <a:gd name="T29" fmla="*/ 0 h 181"/>
                <a:gd name="T30" fmla="*/ 0 w 125"/>
                <a:gd name="T31" fmla="*/ 0 h 181"/>
                <a:gd name="T32" fmla="*/ 0 w 125"/>
                <a:gd name="T33" fmla="*/ 0 h 181"/>
                <a:gd name="T34" fmla="*/ 0 w 125"/>
                <a:gd name="T35" fmla="*/ 0 h 181"/>
                <a:gd name="T36" fmla="*/ 0 w 125"/>
                <a:gd name="T37" fmla="*/ 0 h 181"/>
                <a:gd name="T38" fmla="*/ 0 w 125"/>
                <a:gd name="T39" fmla="*/ 0 h 181"/>
                <a:gd name="T40" fmla="*/ 0 w 125"/>
                <a:gd name="T41" fmla="*/ 0 h 181"/>
                <a:gd name="T42" fmla="*/ 0 w 125"/>
                <a:gd name="T43" fmla="*/ 0 h 181"/>
                <a:gd name="T44" fmla="*/ 0 w 125"/>
                <a:gd name="T45" fmla="*/ 0 h 181"/>
                <a:gd name="T46" fmla="*/ 0 w 125"/>
                <a:gd name="T47" fmla="*/ 0 h 181"/>
                <a:gd name="T48" fmla="*/ 0 w 125"/>
                <a:gd name="T49" fmla="*/ 0 h 181"/>
                <a:gd name="T50" fmla="*/ 0 w 125"/>
                <a:gd name="T51" fmla="*/ 0 h 181"/>
                <a:gd name="T52" fmla="*/ 0 w 125"/>
                <a:gd name="T53" fmla="*/ 0 h 181"/>
                <a:gd name="T54" fmla="*/ 0 w 125"/>
                <a:gd name="T55" fmla="*/ 0 h 181"/>
                <a:gd name="T56" fmla="*/ 0 w 125"/>
                <a:gd name="T57" fmla="*/ 0 h 181"/>
                <a:gd name="T58" fmla="*/ 0 w 125"/>
                <a:gd name="T59" fmla="*/ 0 h 181"/>
                <a:gd name="T60" fmla="*/ 0 w 125"/>
                <a:gd name="T61" fmla="*/ 0 h 181"/>
                <a:gd name="T62" fmla="*/ 0 w 125"/>
                <a:gd name="T63" fmla="*/ 0 h 181"/>
                <a:gd name="T64" fmla="*/ 0 w 125"/>
                <a:gd name="T65" fmla="*/ 0 h 18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25" h="181">
                  <a:moveTo>
                    <a:pt x="68" y="22"/>
                  </a:moveTo>
                  <a:lnTo>
                    <a:pt x="113" y="11"/>
                  </a:lnTo>
                  <a:lnTo>
                    <a:pt x="101" y="11"/>
                  </a:lnTo>
                  <a:lnTo>
                    <a:pt x="113" y="22"/>
                  </a:lnTo>
                  <a:lnTo>
                    <a:pt x="124" y="90"/>
                  </a:lnTo>
                  <a:lnTo>
                    <a:pt x="113" y="90"/>
                  </a:lnTo>
                  <a:lnTo>
                    <a:pt x="101" y="101"/>
                  </a:lnTo>
                  <a:lnTo>
                    <a:pt x="79" y="113"/>
                  </a:lnTo>
                  <a:lnTo>
                    <a:pt x="90" y="135"/>
                  </a:lnTo>
                  <a:lnTo>
                    <a:pt x="113" y="146"/>
                  </a:lnTo>
                  <a:lnTo>
                    <a:pt x="101" y="158"/>
                  </a:lnTo>
                  <a:lnTo>
                    <a:pt x="101" y="169"/>
                  </a:lnTo>
                  <a:lnTo>
                    <a:pt x="56" y="180"/>
                  </a:lnTo>
                  <a:lnTo>
                    <a:pt x="45" y="180"/>
                  </a:lnTo>
                  <a:lnTo>
                    <a:pt x="11" y="180"/>
                  </a:lnTo>
                  <a:lnTo>
                    <a:pt x="22" y="146"/>
                  </a:lnTo>
                  <a:lnTo>
                    <a:pt x="0" y="135"/>
                  </a:lnTo>
                  <a:lnTo>
                    <a:pt x="0" y="124"/>
                  </a:lnTo>
                  <a:lnTo>
                    <a:pt x="0" y="101"/>
                  </a:lnTo>
                  <a:lnTo>
                    <a:pt x="0" y="79"/>
                  </a:lnTo>
                  <a:lnTo>
                    <a:pt x="0" y="67"/>
                  </a:lnTo>
                  <a:lnTo>
                    <a:pt x="11" y="34"/>
                  </a:lnTo>
                  <a:lnTo>
                    <a:pt x="34" y="34"/>
                  </a:lnTo>
                  <a:lnTo>
                    <a:pt x="45" y="11"/>
                  </a:lnTo>
                  <a:lnTo>
                    <a:pt x="34" y="11"/>
                  </a:lnTo>
                  <a:lnTo>
                    <a:pt x="45" y="11"/>
                  </a:lnTo>
                  <a:lnTo>
                    <a:pt x="34" y="0"/>
                  </a:lnTo>
                  <a:lnTo>
                    <a:pt x="45" y="0"/>
                  </a:lnTo>
                  <a:lnTo>
                    <a:pt x="56" y="0"/>
                  </a:lnTo>
                  <a:lnTo>
                    <a:pt x="56" y="11"/>
                  </a:lnTo>
                  <a:lnTo>
                    <a:pt x="68" y="11"/>
                  </a:lnTo>
                  <a:lnTo>
                    <a:pt x="56" y="22"/>
                  </a:lnTo>
                  <a:lnTo>
                    <a:pt x="68" y="22"/>
                  </a:lnTo>
                </a:path>
              </a:pathLst>
            </a:custGeom>
            <a:solidFill>
              <a:srgbClr val="FFFFFF"/>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836"/>
            </a:p>
          </p:txBody>
        </p:sp>
        <p:sp>
          <p:nvSpPr>
            <p:cNvPr id="48181" name="Freeform 38"/>
            <p:cNvSpPr>
              <a:spLocks noChangeAspect="1"/>
            </p:cNvSpPr>
            <p:nvPr>
              <p:custDataLst>
                <p:tags r:id="rId35"/>
              </p:custDataLst>
            </p:nvPr>
          </p:nvSpPr>
          <p:spPr bwMode="auto">
            <a:xfrm>
              <a:off x="1535686" y="3568195"/>
              <a:ext cx="415926" cy="198085"/>
            </a:xfrm>
            <a:custGeom>
              <a:avLst/>
              <a:gdLst>
                <a:gd name="T0" fmla="*/ 0 w 159"/>
                <a:gd name="T1" fmla="*/ 0 h 80"/>
                <a:gd name="T2" fmla="*/ 0 w 159"/>
                <a:gd name="T3" fmla="*/ 0 h 80"/>
                <a:gd name="T4" fmla="*/ 0 w 159"/>
                <a:gd name="T5" fmla="*/ 0 h 80"/>
                <a:gd name="T6" fmla="*/ 0 w 159"/>
                <a:gd name="T7" fmla="*/ 0 h 80"/>
                <a:gd name="T8" fmla="*/ 0 w 159"/>
                <a:gd name="T9" fmla="*/ 0 h 80"/>
                <a:gd name="T10" fmla="*/ 0 w 159"/>
                <a:gd name="T11" fmla="*/ 0 h 80"/>
                <a:gd name="T12" fmla="*/ 0 w 159"/>
                <a:gd name="T13" fmla="*/ 0 h 80"/>
                <a:gd name="T14" fmla="*/ 0 w 159"/>
                <a:gd name="T15" fmla="*/ 0 h 80"/>
                <a:gd name="T16" fmla="*/ 0 w 159"/>
                <a:gd name="T17" fmla="*/ 0 h 80"/>
                <a:gd name="T18" fmla="*/ 0 w 159"/>
                <a:gd name="T19" fmla="*/ 0 h 80"/>
                <a:gd name="T20" fmla="*/ 0 w 159"/>
                <a:gd name="T21" fmla="*/ 0 h 80"/>
                <a:gd name="T22" fmla="*/ 0 w 159"/>
                <a:gd name="T23" fmla="*/ 0 h 80"/>
                <a:gd name="T24" fmla="*/ 0 w 159"/>
                <a:gd name="T25" fmla="*/ 0 h 80"/>
                <a:gd name="T26" fmla="*/ 0 w 159"/>
                <a:gd name="T27" fmla="*/ 0 h 80"/>
                <a:gd name="T28" fmla="*/ 0 w 159"/>
                <a:gd name="T29" fmla="*/ 0 h 80"/>
                <a:gd name="T30" fmla="*/ 0 w 159"/>
                <a:gd name="T31" fmla="*/ 0 h 80"/>
                <a:gd name="T32" fmla="*/ 0 w 159"/>
                <a:gd name="T33" fmla="*/ 0 h 80"/>
                <a:gd name="T34" fmla="*/ 0 w 159"/>
                <a:gd name="T35" fmla="*/ 0 h 80"/>
                <a:gd name="T36" fmla="*/ 0 w 159"/>
                <a:gd name="T37" fmla="*/ 0 h 80"/>
                <a:gd name="T38" fmla="*/ 0 w 159"/>
                <a:gd name="T39" fmla="*/ 0 h 80"/>
                <a:gd name="T40" fmla="*/ 0 w 159"/>
                <a:gd name="T41" fmla="*/ 0 h 80"/>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159" h="80">
                  <a:moveTo>
                    <a:pt x="158" y="56"/>
                  </a:moveTo>
                  <a:lnTo>
                    <a:pt x="147" y="45"/>
                  </a:lnTo>
                  <a:lnTo>
                    <a:pt x="124" y="56"/>
                  </a:lnTo>
                  <a:lnTo>
                    <a:pt x="113" y="45"/>
                  </a:lnTo>
                  <a:lnTo>
                    <a:pt x="101" y="45"/>
                  </a:lnTo>
                  <a:lnTo>
                    <a:pt x="90" y="23"/>
                  </a:lnTo>
                  <a:lnTo>
                    <a:pt x="79" y="23"/>
                  </a:lnTo>
                  <a:lnTo>
                    <a:pt x="56" y="11"/>
                  </a:lnTo>
                  <a:lnTo>
                    <a:pt x="45" y="0"/>
                  </a:lnTo>
                  <a:lnTo>
                    <a:pt x="34" y="0"/>
                  </a:lnTo>
                  <a:lnTo>
                    <a:pt x="22" y="11"/>
                  </a:lnTo>
                  <a:lnTo>
                    <a:pt x="0" y="23"/>
                  </a:lnTo>
                  <a:lnTo>
                    <a:pt x="11" y="45"/>
                  </a:lnTo>
                  <a:lnTo>
                    <a:pt x="34" y="56"/>
                  </a:lnTo>
                  <a:lnTo>
                    <a:pt x="45" y="56"/>
                  </a:lnTo>
                  <a:lnTo>
                    <a:pt x="79" y="56"/>
                  </a:lnTo>
                  <a:lnTo>
                    <a:pt x="79" y="79"/>
                  </a:lnTo>
                  <a:lnTo>
                    <a:pt x="90" y="79"/>
                  </a:lnTo>
                  <a:lnTo>
                    <a:pt x="135" y="56"/>
                  </a:lnTo>
                  <a:lnTo>
                    <a:pt x="147" y="68"/>
                  </a:lnTo>
                  <a:lnTo>
                    <a:pt x="158" y="56"/>
                  </a:lnTo>
                </a:path>
              </a:pathLst>
            </a:custGeom>
            <a:solidFill>
              <a:srgbClr val="FFFFFF"/>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836"/>
            </a:p>
          </p:txBody>
        </p:sp>
        <p:sp>
          <p:nvSpPr>
            <p:cNvPr id="48182" name="Freeform 39"/>
            <p:cNvSpPr>
              <a:spLocks noChangeAspect="1"/>
            </p:cNvSpPr>
            <p:nvPr>
              <p:custDataLst>
                <p:tags r:id="rId36"/>
              </p:custDataLst>
            </p:nvPr>
          </p:nvSpPr>
          <p:spPr bwMode="auto">
            <a:xfrm>
              <a:off x="1449860" y="3700252"/>
              <a:ext cx="297090" cy="145262"/>
            </a:xfrm>
            <a:custGeom>
              <a:avLst/>
              <a:gdLst>
                <a:gd name="T0" fmla="*/ 0 w 114"/>
                <a:gd name="T1" fmla="*/ 0 h 58"/>
                <a:gd name="T2" fmla="*/ 0 w 114"/>
                <a:gd name="T3" fmla="*/ 0 h 58"/>
                <a:gd name="T4" fmla="*/ 0 w 114"/>
                <a:gd name="T5" fmla="*/ 0 h 58"/>
                <a:gd name="T6" fmla="*/ 0 w 114"/>
                <a:gd name="T7" fmla="*/ 0 h 58"/>
                <a:gd name="T8" fmla="*/ 0 w 114"/>
                <a:gd name="T9" fmla="*/ 0 h 58"/>
                <a:gd name="T10" fmla="*/ 0 w 114"/>
                <a:gd name="T11" fmla="*/ 0 h 58"/>
                <a:gd name="T12" fmla="*/ 0 w 114"/>
                <a:gd name="T13" fmla="*/ 0 h 58"/>
                <a:gd name="T14" fmla="*/ 0 w 114"/>
                <a:gd name="T15" fmla="*/ 0 h 58"/>
                <a:gd name="T16" fmla="*/ 0 w 114"/>
                <a:gd name="T17" fmla="*/ 0 h 58"/>
                <a:gd name="T18" fmla="*/ 0 w 114"/>
                <a:gd name="T19" fmla="*/ 0 h 58"/>
                <a:gd name="T20" fmla="*/ 0 w 114"/>
                <a:gd name="T21" fmla="*/ 0 h 58"/>
                <a:gd name="T22" fmla="*/ 0 w 114"/>
                <a:gd name="T23" fmla="*/ 0 h 58"/>
                <a:gd name="T24" fmla="*/ 0 w 114"/>
                <a:gd name="T25" fmla="*/ 0 h 5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14" h="58">
                  <a:moveTo>
                    <a:pt x="0" y="34"/>
                  </a:moveTo>
                  <a:lnTo>
                    <a:pt x="11" y="34"/>
                  </a:lnTo>
                  <a:lnTo>
                    <a:pt x="56" y="23"/>
                  </a:lnTo>
                  <a:lnTo>
                    <a:pt x="56" y="12"/>
                  </a:lnTo>
                  <a:lnTo>
                    <a:pt x="68" y="0"/>
                  </a:lnTo>
                  <a:lnTo>
                    <a:pt x="79" y="0"/>
                  </a:lnTo>
                  <a:lnTo>
                    <a:pt x="113" y="0"/>
                  </a:lnTo>
                  <a:lnTo>
                    <a:pt x="113" y="23"/>
                  </a:lnTo>
                  <a:lnTo>
                    <a:pt x="102" y="45"/>
                  </a:lnTo>
                  <a:lnTo>
                    <a:pt x="68" y="57"/>
                  </a:lnTo>
                  <a:lnTo>
                    <a:pt x="45" y="45"/>
                  </a:lnTo>
                  <a:lnTo>
                    <a:pt x="11" y="45"/>
                  </a:lnTo>
                  <a:lnTo>
                    <a:pt x="0" y="34"/>
                  </a:lnTo>
                </a:path>
              </a:pathLst>
            </a:custGeom>
            <a:solidFill>
              <a:srgbClr val="FFFFFF"/>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836"/>
            </a:p>
          </p:txBody>
        </p:sp>
        <p:sp>
          <p:nvSpPr>
            <p:cNvPr id="48183" name="Freeform 40"/>
            <p:cNvSpPr>
              <a:spLocks noChangeAspect="1"/>
            </p:cNvSpPr>
            <p:nvPr>
              <p:custDataLst>
                <p:tags r:id="rId37"/>
              </p:custDataLst>
            </p:nvPr>
          </p:nvSpPr>
          <p:spPr bwMode="auto">
            <a:xfrm>
              <a:off x="1449860" y="3812500"/>
              <a:ext cx="33010" cy="33014"/>
            </a:xfrm>
            <a:custGeom>
              <a:avLst/>
              <a:gdLst>
                <a:gd name="T0" fmla="*/ 0 w 12"/>
                <a:gd name="T1" fmla="*/ 0 h 13"/>
                <a:gd name="T2" fmla="*/ 0 w 12"/>
                <a:gd name="T3" fmla="*/ 0 h 13"/>
                <a:gd name="T4" fmla="*/ 0 w 12"/>
                <a:gd name="T5" fmla="*/ 0 h 13"/>
                <a:gd name="T6" fmla="*/ 0 60000 65536"/>
                <a:gd name="T7" fmla="*/ 0 60000 65536"/>
                <a:gd name="T8" fmla="*/ 0 60000 65536"/>
              </a:gdLst>
              <a:ahLst/>
              <a:cxnLst>
                <a:cxn ang="T6">
                  <a:pos x="T0" y="T1"/>
                </a:cxn>
                <a:cxn ang="T7">
                  <a:pos x="T2" y="T3"/>
                </a:cxn>
                <a:cxn ang="T8">
                  <a:pos x="T4" y="T5"/>
                </a:cxn>
              </a:cxnLst>
              <a:rect l="0" t="0" r="r" b="b"/>
              <a:pathLst>
                <a:path w="12" h="13">
                  <a:moveTo>
                    <a:pt x="11" y="12"/>
                  </a:moveTo>
                  <a:lnTo>
                    <a:pt x="0" y="0"/>
                  </a:lnTo>
                  <a:lnTo>
                    <a:pt x="11" y="12"/>
                  </a:lnTo>
                </a:path>
              </a:pathLst>
            </a:custGeom>
            <a:solidFill>
              <a:srgbClr val="FFFFFF"/>
            </a:solidFill>
            <a:ln w="12700" cap="rnd"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836"/>
            </a:p>
          </p:txBody>
        </p:sp>
        <p:sp>
          <p:nvSpPr>
            <p:cNvPr id="48184" name="Freeform 41"/>
            <p:cNvSpPr>
              <a:spLocks noChangeAspect="1"/>
            </p:cNvSpPr>
            <p:nvPr>
              <p:custDataLst>
                <p:tags r:id="rId38"/>
              </p:custDataLst>
            </p:nvPr>
          </p:nvSpPr>
          <p:spPr bwMode="auto">
            <a:xfrm>
              <a:off x="1449860" y="3786089"/>
              <a:ext cx="33010" cy="26411"/>
            </a:xfrm>
            <a:custGeom>
              <a:avLst/>
              <a:gdLst>
                <a:gd name="T0" fmla="*/ 0 w 12"/>
                <a:gd name="T1" fmla="*/ 0 h 12"/>
                <a:gd name="T2" fmla="*/ 0 w 12"/>
                <a:gd name="T3" fmla="*/ 0 h 12"/>
                <a:gd name="T4" fmla="*/ 0 w 12"/>
                <a:gd name="T5" fmla="*/ 0 h 12"/>
                <a:gd name="T6" fmla="*/ 0 60000 65536"/>
                <a:gd name="T7" fmla="*/ 0 60000 65536"/>
                <a:gd name="T8" fmla="*/ 0 60000 65536"/>
              </a:gdLst>
              <a:ahLst/>
              <a:cxnLst>
                <a:cxn ang="T6">
                  <a:pos x="T0" y="T1"/>
                </a:cxn>
                <a:cxn ang="T7">
                  <a:pos x="T2" y="T3"/>
                </a:cxn>
                <a:cxn ang="T8">
                  <a:pos x="T4" y="T5"/>
                </a:cxn>
              </a:cxnLst>
              <a:rect l="0" t="0" r="r" b="b"/>
              <a:pathLst>
                <a:path w="12" h="12">
                  <a:moveTo>
                    <a:pt x="11" y="11"/>
                  </a:moveTo>
                  <a:lnTo>
                    <a:pt x="0" y="0"/>
                  </a:lnTo>
                  <a:lnTo>
                    <a:pt x="11" y="11"/>
                  </a:lnTo>
                </a:path>
              </a:pathLst>
            </a:custGeom>
            <a:solidFill>
              <a:srgbClr val="FFFFFF"/>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836"/>
            </a:p>
          </p:txBody>
        </p:sp>
        <p:sp>
          <p:nvSpPr>
            <p:cNvPr id="48185" name="Freeform 42"/>
            <p:cNvSpPr>
              <a:spLocks noChangeAspect="1"/>
            </p:cNvSpPr>
            <p:nvPr>
              <p:custDataLst>
                <p:tags r:id="rId39"/>
              </p:custDataLst>
            </p:nvPr>
          </p:nvSpPr>
          <p:spPr bwMode="auto">
            <a:xfrm>
              <a:off x="1331024" y="3786089"/>
              <a:ext cx="151846" cy="85837"/>
            </a:xfrm>
            <a:custGeom>
              <a:avLst/>
              <a:gdLst>
                <a:gd name="T0" fmla="*/ 0 w 57"/>
                <a:gd name="T1" fmla="*/ 0 h 35"/>
                <a:gd name="T2" fmla="*/ 0 w 57"/>
                <a:gd name="T3" fmla="*/ 0 h 35"/>
                <a:gd name="T4" fmla="*/ 0 w 57"/>
                <a:gd name="T5" fmla="*/ 0 h 35"/>
                <a:gd name="T6" fmla="*/ 0 w 57"/>
                <a:gd name="T7" fmla="*/ 0 h 35"/>
                <a:gd name="T8" fmla="*/ 0 w 57"/>
                <a:gd name="T9" fmla="*/ 0 h 35"/>
                <a:gd name="T10" fmla="*/ 0 w 57"/>
                <a:gd name="T11" fmla="*/ 0 h 35"/>
                <a:gd name="T12" fmla="*/ 0 w 57"/>
                <a:gd name="T13" fmla="*/ 0 h 35"/>
                <a:gd name="T14" fmla="*/ 0 w 57"/>
                <a:gd name="T15" fmla="*/ 0 h 35"/>
                <a:gd name="T16" fmla="*/ 0 w 57"/>
                <a:gd name="T17" fmla="*/ 0 h 35"/>
                <a:gd name="T18" fmla="*/ 0 w 57"/>
                <a:gd name="T19" fmla="*/ 0 h 35"/>
                <a:gd name="T20" fmla="*/ 0 w 57"/>
                <a:gd name="T21" fmla="*/ 0 h 35"/>
                <a:gd name="T22" fmla="*/ 0 w 57"/>
                <a:gd name="T23" fmla="*/ 0 h 35"/>
                <a:gd name="T24" fmla="*/ 0 w 57"/>
                <a:gd name="T25" fmla="*/ 0 h 35"/>
                <a:gd name="T26" fmla="*/ 0 w 57"/>
                <a:gd name="T27" fmla="*/ 0 h 3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57" h="35">
                  <a:moveTo>
                    <a:pt x="11" y="34"/>
                  </a:moveTo>
                  <a:lnTo>
                    <a:pt x="34" y="34"/>
                  </a:lnTo>
                  <a:lnTo>
                    <a:pt x="45" y="34"/>
                  </a:lnTo>
                  <a:lnTo>
                    <a:pt x="45" y="23"/>
                  </a:lnTo>
                  <a:lnTo>
                    <a:pt x="56" y="34"/>
                  </a:lnTo>
                  <a:lnTo>
                    <a:pt x="56" y="11"/>
                  </a:lnTo>
                  <a:lnTo>
                    <a:pt x="45" y="0"/>
                  </a:lnTo>
                  <a:lnTo>
                    <a:pt x="11" y="0"/>
                  </a:lnTo>
                  <a:lnTo>
                    <a:pt x="0" y="0"/>
                  </a:lnTo>
                  <a:lnTo>
                    <a:pt x="0" y="23"/>
                  </a:lnTo>
                  <a:lnTo>
                    <a:pt x="0" y="34"/>
                  </a:lnTo>
                  <a:lnTo>
                    <a:pt x="0" y="23"/>
                  </a:lnTo>
                  <a:lnTo>
                    <a:pt x="0" y="34"/>
                  </a:lnTo>
                  <a:lnTo>
                    <a:pt x="11" y="34"/>
                  </a:lnTo>
                </a:path>
              </a:pathLst>
            </a:custGeom>
            <a:solidFill>
              <a:srgbClr val="FFFFFF"/>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836"/>
            </a:p>
          </p:txBody>
        </p:sp>
        <p:sp>
          <p:nvSpPr>
            <p:cNvPr id="48186" name="Freeform 43"/>
            <p:cNvSpPr>
              <a:spLocks noChangeAspect="1"/>
            </p:cNvSpPr>
            <p:nvPr>
              <p:custDataLst>
                <p:tags r:id="rId40"/>
              </p:custDataLst>
            </p:nvPr>
          </p:nvSpPr>
          <p:spPr bwMode="auto">
            <a:xfrm>
              <a:off x="888689" y="3568195"/>
              <a:ext cx="501752" cy="468802"/>
            </a:xfrm>
            <a:custGeom>
              <a:avLst/>
              <a:gdLst>
                <a:gd name="T0" fmla="*/ 0 w 192"/>
                <a:gd name="T1" fmla="*/ 0 h 193"/>
                <a:gd name="T2" fmla="*/ 0 w 192"/>
                <a:gd name="T3" fmla="*/ 0 h 193"/>
                <a:gd name="T4" fmla="*/ 0 w 192"/>
                <a:gd name="T5" fmla="*/ 0 h 193"/>
                <a:gd name="T6" fmla="*/ 0 w 192"/>
                <a:gd name="T7" fmla="*/ 0 h 193"/>
                <a:gd name="T8" fmla="*/ 0 w 192"/>
                <a:gd name="T9" fmla="*/ 0 h 193"/>
                <a:gd name="T10" fmla="*/ 0 w 192"/>
                <a:gd name="T11" fmla="*/ 0 h 193"/>
                <a:gd name="T12" fmla="*/ 0 w 192"/>
                <a:gd name="T13" fmla="*/ 0 h 193"/>
                <a:gd name="T14" fmla="*/ 0 w 192"/>
                <a:gd name="T15" fmla="*/ 0 h 193"/>
                <a:gd name="T16" fmla="*/ 0 w 192"/>
                <a:gd name="T17" fmla="*/ 0 h 193"/>
                <a:gd name="T18" fmla="*/ 0 w 192"/>
                <a:gd name="T19" fmla="*/ 0 h 193"/>
                <a:gd name="T20" fmla="*/ 0 w 192"/>
                <a:gd name="T21" fmla="*/ 0 h 193"/>
                <a:gd name="T22" fmla="*/ 0 w 192"/>
                <a:gd name="T23" fmla="*/ 0 h 193"/>
                <a:gd name="T24" fmla="*/ 0 w 192"/>
                <a:gd name="T25" fmla="*/ 0 h 193"/>
                <a:gd name="T26" fmla="*/ 0 w 192"/>
                <a:gd name="T27" fmla="*/ 0 h 193"/>
                <a:gd name="T28" fmla="*/ 0 w 192"/>
                <a:gd name="T29" fmla="*/ 0 h 193"/>
                <a:gd name="T30" fmla="*/ 0 w 192"/>
                <a:gd name="T31" fmla="*/ 0 h 193"/>
                <a:gd name="T32" fmla="*/ 0 w 192"/>
                <a:gd name="T33" fmla="*/ 0 h 193"/>
                <a:gd name="T34" fmla="*/ 0 w 192"/>
                <a:gd name="T35" fmla="*/ 0 h 193"/>
                <a:gd name="T36" fmla="*/ 0 w 192"/>
                <a:gd name="T37" fmla="*/ 0 h 193"/>
                <a:gd name="T38" fmla="*/ 0 w 192"/>
                <a:gd name="T39" fmla="*/ 0 h 193"/>
                <a:gd name="T40" fmla="*/ 0 w 192"/>
                <a:gd name="T41" fmla="*/ 0 h 193"/>
                <a:gd name="T42" fmla="*/ 0 w 192"/>
                <a:gd name="T43" fmla="*/ 0 h 193"/>
                <a:gd name="T44" fmla="*/ 0 w 192"/>
                <a:gd name="T45" fmla="*/ 0 h 193"/>
                <a:gd name="T46" fmla="*/ 0 w 192"/>
                <a:gd name="T47" fmla="*/ 0 h 193"/>
                <a:gd name="T48" fmla="*/ 0 w 192"/>
                <a:gd name="T49" fmla="*/ 0 h 193"/>
                <a:gd name="T50" fmla="*/ 0 w 192"/>
                <a:gd name="T51" fmla="*/ 0 h 193"/>
                <a:gd name="T52" fmla="*/ 0 w 192"/>
                <a:gd name="T53" fmla="*/ 0 h 193"/>
                <a:gd name="T54" fmla="*/ 0 w 192"/>
                <a:gd name="T55" fmla="*/ 0 h 193"/>
                <a:gd name="T56" fmla="*/ 0 w 192"/>
                <a:gd name="T57" fmla="*/ 0 h 193"/>
                <a:gd name="T58" fmla="*/ 0 w 192"/>
                <a:gd name="T59" fmla="*/ 0 h 193"/>
                <a:gd name="T60" fmla="*/ 0 w 192"/>
                <a:gd name="T61" fmla="*/ 0 h 193"/>
                <a:gd name="T62" fmla="*/ 0 w 192"/>
                <a:gd name="T63" fmla="*/ 0 h 193"/>
                <a:gd name="T64" fmla="*/ 0 w 192"/>
                <a:gd name="T65" fmla="*/ 0 h 193"/>
                <a:gd name="T66" fmla="*/ 0 w 192"/>
                <a:gd name="T67" fmla="*/ 0 h 193"/>
                <a:gd name="T68" fmla="*/ 0 w 192"/>
                <a:gd name="T69" fmla="*/ 0 h 193"/>
                <a:gd name="T70" fmla="*/ 0 w 192"/>
                <a:gd name="T71" fmla="*/ 0 h 193"/>
                <a:gd name="T72" fmla="*/ 0 w 192"/>
                <a:gd name="T73" fmla="*/ 0 h 193"/>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192" h="193">
                  <a:moveTo>
                    <a:pt x="112" y="0"/>
                  </a:moveTo>
                  <a:lnTo>
                    <a:pt x="101" y="11"/>
                  </a:lnTo>
                  <a:lnTo>
                    <a:pt x="101" y="34"/>
                  </a:lnTo>
                  <a:lnTo>
                    <a:pt x="79" y="45"/>
                  </a:lnTo>
                  <a:lnTo>
                    <a:pt x="67" y="56"/>
                  </a:lnTo>
                  <a:lnTo>
                    <a:pt x="56" y="56"/>
                  </a:lnTo>
                  <a:lnTo>
                    <a:pt x="56" y="45"/>
                  </a:lnTo>
                  <a:lnTo>
                    <a:pt x="45" y="45"/>
                  </a:lnTo>
                  <a:lnTo>
                    <a:pt x="56" y="56"/>
                  </a:lnTo>
                  <a:lnTo>
                    <a:pt x="33" y="68"/>
                  </a:lnTo>
                  <a:lnTo>
                    <a:pt x="33" y="56"/>
                  </a:lnTo>
                  <a:lnTo>
                    <a:pt x="0" y="68"/>
                  </a:lnTo>
                  <a:lnTo>
                    <a:pt x="0" y="79"/>
                  </a:lnTo>
                  <a:lnTo>
                    <a:pt x="45" y="90"/>
                  </a:lnTo>
                  <a:lnTo>
                    <a:pt x="56" y="124"/>
                  </a:lnTo>
                  <a:lnTo>
                    <a:pt x="56" y="180"/>
                  </a:lnTo>
                  <a:lnTo>
                    <a:pt x="67" y="192"/>
                  </a:lnTo>
                  <a:lnTo>
                    <a:pt x="112" y="192"/>
                  </a:lnTo>
                  <a:lnTo>
                    <a:pt x="135" y="180"/>
                  </a:lnTo>
                  <a:lnTo>
                    <a:pt x="169" y="192"/>
                  </a:lnTo>
                  <a:lnTo>
                    <a:pt x="180" y="169"/>
                  </a:lnTo>
                  <a:lnTo>
                    <a:pt x="169" y="147"/>
                  </a:lnTo>
                  <a:lnTo>
                    <a:pt x="169" y="124"/>
                  </a:lnTo>
                  <a:lnTo>
                    <a:pt x="169" y="113"/>
                  </a:lnTo>
                  <a:lnTo>
                    <a:pt x="169" y="124"/>
                  </a:lnTo>
                  <a:lnTo>
                    <a:pt x="169" y="113"/>
                  </a:lnTo>
                  <a:lnTo>
                    <a:pt x="169" y="90"/>
                  </a:lnTo>
                  <a:lnTo>
                    <a:pt x="180" y="90"/>
                  </a:lnTo>
                  <a:lnTo>
                    <a:pt x="191" y="56"/>
                  </a:lnTo>
                  <a:lnTo>
                    <a:pt x="169" y="45"/>
                  </a:lnTo>
                  <a:lnTo>
                    <a:pt x="158" y="45"/>
                  </a:lnTo>
                  <a:lnTo>
                    <a:pt x="146" y="45"/>
                  </a:lnTo>
                  <a:lnTo>
                    <a:pt x="146" y="34"/>
                  </a:lnTo>
                  <a:lnTo>
                    <a:pt x="135" y="34"/>
                  </a:lnTo>
                  <a:lnTo>
                    <a:pt x="135" y="23"/>
                  </a:lnTo>
                  <a:lnTo>
                    <a:pt x="112" y="11"/>
                  </a:lnTo>
                  <a:lnTo>
                    <a:pt x="112" y="0"/>
                  </a:lnTo>
                </a:path>
              </a:pathLst>
            </a:custGeom>
            <a:solidFill>
              <a:srgbClr val="FFFFFF"/>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836"/>
            </a:p>
          </p:txBody>
        </p:sp>
        <p:sp>
          <p:nvSpPr>
            <p:cNvPr id="48187" name="Freeform 44"/>
            <p:cNvSpPr>
              <a:spLocks noChangeAspect="1"/>
            </p:cNvSpPr>
            <p:nvPr>
              <p:custDataLst>
                <p:tags r:id="rId41"/>
              </p:custDataLst>
            </p:nvPr>
          </p:nvSpPr>
          <p:spPr bwMode="auto">
            <a:xfrm>
              <a:off x="743445" y="3977571"/>
              <a:ext cx="442334" cy="363156"/>
            </a:xfrm>
            <a:custGeom>
              <a:avLst/>
              <a:gdLst>
                <a:gd name="T0" fmla="*/ 0 w 170"/>
                <a:gd name="T1" fmla="*/ 0 h 148"/>
                <a:gd name="T2" fmla="*/ 0 w 170"/>
                <a:gd name="T3" fmla="*/ 0 h 148"/>
                <a:gd name="T4" fmla="*/ 0 w 170"/>
                <a:gd name="T5" fmla="*/ 0 h 148"/>
                <a:gd name="T6" fmla="*/ 0 w 170"/>
                <a:gd name="T7" fmla="*/ 0 h 148"/>
                <a:gd name="T8" fmla="*/ 0 w 170"/>
                <a:gd name="T9" fmla="*/ 0 h 148"/>
                <a:gd name="T10" fmla="*/ 0 w 170"/>
                <a:gd name="T11" fmla="*/ 0 h 148"/>
                <a:gd name="T12" fmla="*/ 0 w 170"/>
                <a:gd name="T13" fmla="*/ 0 h 148"/>
                <a:gd name="T14" fmla="*/ 0 w 170"/>
                <a:gd name="T15" fmla="*/ 0 h 148"/>
                <a:gd name="T16" fmla="*/ 0 w 170"/>
                <a:gd name="T17" fmla="*/ 0 h 148"/>
                <a:gd name="T18" fmla="*/ 0 w 170"/>
                <a:gd name="T19" fmla="*/ 0 h 148"/>
                <a:gd name="T20" fmla="*/ 0 w 170"/>
                <a:gd name="T21" fmla="*/ 0 h 148"/>
                <a:gd name="T22" fmla="*/ 0 w 170"/>
                <a:gd name="T23" fmla="*/ 0 h 148"/>
                <a:gd name="T24" fmla="*/ 0 w 170"/>
                <a:gd name="T25" fmla="*/ 0 h 148"/>
                <a:gd name="T26" fmla="*/ 0 w 170"/>
                <a:gd name="T27" fmla="*/ 0 h 148"/>
                <a:gd name="T28" fmla="*/ 0 w 170"/>
                <a:gd name="T29" fmla="*/ 0 h 148"/>
                <a:gd name="T30" fmla="*/ 0 w 170"/>
                <a:gd name="T31" fmla="*/ 0 h 148"/>
                <a:gd name="T32" fmla="*/ 0 w 170"/>
                <a:gd name="T33" fmla="*/ 0 h 148"/>
                <a:gd name="T34" fmla="*/ 0 w 170"/>
                <a:gd name="T35" fmla="*/ 0 h 148"/>
                <a:gd name="T36" fmla="*/ 0 w 170"/>
                <a:gd name="T37" fmla="*/ 0 h 148"/>
                <a:gd name="T38" fmla="*/ 0 w 170"/>
                <a:gd name="T39" fmla="*/ 0 h 148"/>
                <a:gd name="T40" fmla="*/ 0 w 170"/>
                <a:gd name="T41" fmla="*/ 0 h 148"/>
                <a:gd name="T42" fmla="*/ 0 w 170"/>
                <a:gd name="T43" fmla="*/ 0 h 148"/>
                <a:gd name="T44" fmla="*/ 0 w 170"/>
                <a:gd name="T45" fmla="*/ 0 h 148"/>
                <a:gd name="T46" fmla="*/ 0 w 170"/>
                <a:gd name="T47" fmla="*/ 0 h 148"/>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170" h="148">
                  <a:moveTo>
                    <a:pt x="0" y="34"/>
                  </a:moveTo>
                  <a:lnTo>
                    <a:pt x="45" y="34"/>
                  </a:lnTo>
                  <a:lnTo>
                    <a:pt x="45" y="45"/>
                  </a:lnTo>
                  <a:lnTo>
                    <a:pt x="34" y="57"/>
                  </a:lnTo>
                  <a:lnTo>
                    <a:pt x="34" y="79"/>
                  </a:lnTo>
                  <a:lnTo>
                    <a:pt x="23" y="79"/>
                  </a:lnTo>
                  <a:lnTo>
                    <a:pt x="34" y="113"/>
                  </a:lnTo>
                  <a:lnTo>
                    <a:pt x="23" y="135"/>
                  </a:lnTo>
                  <a:lnTo>
                    <a:pt x="57" y="147"/>
                  </a:lnTo>
                  <a:lnTo>
                    <a:pt x="102" y="147"/>
                  </a:lnTo>
                  <a:lnTo>
                    <a:pt x="136" y="102"/>
                  </a:lnTo>
                  <a:lnTo>
                    <a:pt x="124" y="79"/>
                  </a:lnTo>
                  <a:lnTo>
                    <a:pt x="147" y="57"/>
                  </a:lnTo>
                  <a:lnTo>
                    <a:pt x="169" y="34"/>
                  </a:lnTo>
                  <a:lnTo>
                    <a:pt x="169" y="23"/>
                  </a:lnTo>
                  <a:lnTo>
                    <a:pt x="124" y="23"/>
                  </a:lnTo>
                  <a:lnTo>
                    <a:pt x="113" y="11"/>
                  </a:lnTo>
                  <a:lnTo>
                    <a:pt x="102" y="11"/>
                  </a:lnTo>
                  <a:lnTo>
                    <a:pt x="79" y="11"/>
                  </a:lnTo>
                  <a:lnTo>
                    <a:pt x="68" y="11"/>
                  </a:lnTo>
                  <a:lnTo>
                    <a:pt x="11" y="0"/>
                  </a:lnTo>
                  <a:lnTo>
                    <a:pt x="0" y="11"/>
                  </a:lnTo>
                  <a:lnTo>
                    <a:pt x="0" y="23"/>
                  </a:lnTo>
                  <a:lnTo>
                    <a:pt x="0" y="34"/>
                  </a:lnTo>
                </a:path>
              </a:pathLst>
            </a:custGeom>
            <a:solidFill>
              <a:srgbClr val="FFFFFF"/>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836"/>
            </a:p>
          </p:txBody>
        </p:sp>
        <p:sp>
          <p:nvSpPr>
            <p:cNvPr id="48188" name="Freeform 45"/>
            <p:cNvSpPr>
              <a:spLocks noChangeAspect="1"/>
            </p:cNvSpPr>
            <p:nvPr>
              <p:custDataLst>
                <p:tags r:id="rId42"/>
              </p:custDataLst>
            </p:nvPr>
          </p:nvSpPr>
          <p:spPr bwMode="auto">
            <a:xfrm>
              <a:off x="743445" y="4063408"/>
              <a:ext cx="118836" cy="244305"/>
            </a:xfrm>
            <a:custGeom>
              <a:avLst/>
              <a:gdLst>
                <a:gd name="T0" fmla="*/ 0 w 46"/>
                <a:gd name="T1" fmla="*/ 0 h 102"/>
                <a:gd name="T2" fmla="*/ 0 w 46"/>
                <a:gd name="T3" fmla="*/ 0 h 102"/>
                <a:gd name="T4" fmla="*/ 0 w 46"/>
                <a:gd name="T5" fmla="*/ 0 h 102"/>
                <a:gd name="T6" fmla="*/ 0 w 46"/>
                <a:gd name="T7" fmla="*/ 0 h 102"/>
                <a:gd name="T8" fmla="*/ 0 w 46"/>
                <a:gd name="T9" fmla="*/ 0 h 102"/>
                <a:gd name="T10" fmla="*/ 0 w 46"/>
                <a:gd name="T11" fmla="*/ 0 h 102"/>
                <a:gd name="T12" fmla="*/ 0 w 46"/>
                <a:gd name="T13" fmla="*/ 0 h 102"/>
                <a:gd name="T14" fmla="*/ 0 w 46"/>
                <a:gd name="T15" fmla="*/ 0 h 102"/>
                <a:gd name="T16" fmla="*/ 0 w 46"/>
                <a:gd name="T17" fmla="*/ 0 h 102"/>
                <a:gd name="T18" fmla="*/ 0 w 46"/>
                <a:gd name="T19" fmla="*/ 0 h 102"/>
                <a:gd name="T20" fmla="*/ 0 w 46"/>
                <a:gd name="T21" fmla="*/ 0 h 102"/>
                <a:gd name="T22" fmla="*/ 0 w 46"/>
                <a:gd name="T23" fmla="*/ 0 h 10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6" h="102">
                  <a:moveTo>
                    <a:pt x="23" y="101"/>
                  </a:moveTo>
                  <a:lnTo>
                    <a:pt x="34" y="79"/>
                  </a:lnTo>
                  <a:lnTo>
                    <a:pt x="23" y="45"/>
                  </a:lnTo>
                  <a:lnTo>
                    <a:pt x="34" y="45"/>
                  </a:lnTo>
                  <a:lnTo>
                    <a:pt x="34" y="23"/>
                  </a:lnTo>
                  <a:lnTo>
                    <a:pt x="45" y="11"/>
                  </a:lnTo>
                  <a:lnTo>
                    <a:pt x="45" y="0"/>
                  </a:lnTo>
                  <a:lnTo>
                    <a:pt x="0" y="0"/>
                  </a:lnTo>
                  <a:lnTo>
                    <a:pt x="0" y="23"/>
                  </a:lnTo>
                  <a:lnTo>
                    <a:pt x="0" y="68"/>
                  </a:lnTo>
                  <a:lnTo>
                    <a:pt x="0" y="101"/>
                  </a:lnTo>
                  <a:lnTo>
                    <a:pt x="23" y="101"/>
                  </a:lnTo>
                </a:path>
              </a:pathLst>
            </a:custGeom>
            <a:solidFill>
              <a:schemeClr val="bg1"/>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836"/>
            </a:p>
          </p:txBody>
        </p:sp>
        <p:sp>
          <p:nvSpPr>
            <p:cNvPr id="48189" name="Freeform 46"/>
            <p:cNvSpPr>
              <a:spLocks noChangeAspect="1"/>
            </p:cNvSpPr>
            <p:nvPr>
              <p:custDataLst>
                <p:tags r:id="rId43"/>
              </p:custDataLst>
            </p:nvPr>
          </p:nvSpPr>
          <p:spPr bwMode="auto">
            <a:xfrm>
              <a:off x="1331024" y="3812500"/>
              <a:ext cx="468742" cy="442390"/>
            </a:xfrm>
            <a:custGeom>
              <a:avLst/>
              <a:gdLst>
                <a:gd name="T0" fmla="*/ 0 w 181"/>
                <a:gd name="T1" fmla="*/ 0 h 182"/>
                <a:gd name="T2" fmla="*/ 0 w 181"/>
                <a:gd name="T3" fmla="*/ 0 h 182"/>
                <a:gd name="T4" fmla="*/ 0 w 181"/>
                <a:gd name="T5" fmla="*/ 0 h 182"/>
                <a:gd name="T6" fmla="*/ 0 w 181"/>
                <a:gd name="T7" fmla="*/ 0 h 182"/>
                <a:gd name="T8" fmla="*/ 0 w 181"/>
                <a:gd name="T9" fmla="*/ 0 h 182"/>
                <a:gd name="T10" fmla="*/ 0 w 181"/>
                <a:gd name="T11" fmla="*/ 0 h 182"/>
                <a:gd name="T12" fmla="*/ 0 w 181"/>
                <a:gd name="T13" fmla="*/ 0 h 182"/>
                <a:gd name="T14" fmla="*/ 0 w 181"/>
                <a:gd name="T15" fmla="*/ 0 h 182"/>
                <a:gd name="T16" fmla="*/ 0 w 181"/>
                <a:gd name="T17" fmla="*/ 0 h 182"/>
                <a:gd name="T18" fmla="*/ 0 w 181"/>
                <a:gd name="T19" fmla="*/ 0 h 182"/>
                <a:gd name="T20" fmla="*/ 0 w 181"/>
                <a:gd name="T21" fmla="*/ 0 h 182"/>
                <a:gd name="T22" fmla="*/ 0 w 181"/>
                <a:gd name="T23" fmla="*/ 0 h 182"/>
                <a:gd name="T24" fmla="*/ 0 w 181"/>
                <a:gd name="T25" fmla="*/ 0 h 182"/>
                <a:gd name="T26" fmla="*/ 0 w 181"/>
                <a:gd name="T27" fmla="*/ 0 h 182"/>
                <a:gd name="T28" fmla="*/ 0 w 181"/>
                <a:gd name="T29" fmla="*/ 0 h 182"/>
                <a:gd name="T30" fmla="*/ 0 w 181"/>
                <a:gd name="T31" fmla="*/ 0 h 182"/>
                <a:gd name="T32" fmla="*/ 0 w 181"/>
                <a:gd name="T33" fmla="*/ 0 h 182"/>
                <a:gd name="T34" fmla="*/ 0 w 181"/>
                <a:gd name="T35" fmla="*/ 0 h 182"/>
                <a:gd name="T36" fmla="*/ 0 w 181"/>
                <a:gd name="T37" fmla="*/ 0 h 182"/>
                <a:gd name="T38" fmla="*/ 0 w 181"/>
                <a:gd name="T39" fmla="*/ 0 h 182"/>
                <a:gd name="T40" fmla="*/ 0 w 181"/>
                <a:gd name="T41" fmla="*/ 0 h 182"/>
                <a:gd name="T42" fmla="*/ 0 w 181"/>
                <a:gd name="T43" fmla="*/ 0 h 182"/>
                <a:gd name="T44" fmla="*/ 0 w 181"/>
                <a:gd name="T45" fmla="*/ 0 h 182"/>
                <a:gd name="T46" fmla="*/ 0 w 181"/>
                <a:gd name="T47" fmla="*/ 0 h 182"/>
                <a:gd name="T48" fmla="*/ 0 w 181"/>
                <a:gd name="T49" fmla="*/ 0 h 182"/>
                <a:gd name="T50" fmla="*/ 0 w 181"/>
                <a:gd name="T51" fmla="*/ 0 h 182"/>
                <a:gd name="T52" fmla="*/ 0 w 181"/>
                <a:gd name="T53" fmla="*/ 0 h 182"/>
                <a:gd name="T54" fmla="*/ 0 w 181"/>
                <a:gd name="T55" fmla="*/ 0 h 182"/>
                <a:gd name="T56" fmla="*/ 0 w 181"/>
                <a:gd name="T57" fmla="*/ 0 h 182"/>
                <a:gd name="T58" fmla="*/ 0 w 181"/>
                <a:gd name="T59" fmla="*/ 0 h 182"/>
                <a:gd name="T60" fmla="*/ 0 w 181"/>
                <a:gd name="T61" fmla="*/ 0 h 182"/>
                <a:gd name="T62" fmla="*/ 0 w 181"/>
                <a:gd name="T63" fmla="*/ 0 h 182"/>
                <a:gd name="T64" fmla="*/ 0 w 181"/>
                <a:gd name="T65" fmla="*/ 0 h 182"/>
                <a:gd name="T66" fmla="*/ 0 w 181"/>
                <a:gd name="T67" fmla="*/ 0 h 182"/>
                <a:gd name="T68" fmla="*/ 0 w 181"/>
                <a:gd name="T69" fmla="*/ 0 h 182"/>
                <a:gd name="T70" fmla="*/ 0 w 181"/>
                <a:gd name="T71" fmla="*/ 0 h 182"/>
                <a:gd name="T72" fmla="*/ 0 w 181"/>
                <a:gd name="T73" fmla="*/ 0 h 18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181" h="182">
                  <a:moveTo>
                    <a:pt x="11" y="68"/>
                  </a:moveTo>
                  <a:lnTo>
                    <a:pt x="34" y="57"/>
                  </a:lnTo>
                  <a:lnTo>
                    <a:pt x="56" y="68"/>
                  </a:lnTo>
                  <a:lnTo>
                    <a:pt x="68" y="91"/>
                  </a:lnTo>
                  <a:lnTo>
                    <a:pt x="79" y="91"/>
                  </a:lnTo>
                  <a:lnTo>
                    <a:pt x="90" y="113"/>
                  </a:lnTo>
                  <a:lnTo>
                    <a:pt x="113" y="125"/>
                  </a:lnTo>
                  <a:lnTo>
                    <a:pt x="124" y="147"/>
                  </a:lnTo>
                  <a:lnTo>
                    <a:pt x="135" y="147"/>
                  </a:lnTo>
                  <a:lnTo>
                    <a:pt x="147" y="170"/>
                  </a:lnTo>
                  <a:lnTo>
                    <a:pt x="135" y="181"/>
                  </a:lnTo>
                  <a:lnTo>
                    <a:pt x="147" y="181"/>
                  </a:lnTo>
                  <a:lnTo>
                    <a:pt x="158" y="170"/>
                  </a:lnTo>
                  <a:lnTo>
                    <a:pt x="158" y="158"/>
                  </a:lnTo>
                  <a:lnTo>
                    <a:pt x="158" y="147"/>
                  </a:lnTo>
                  <a:lnTo>
                    <a:pt x="158" y="136"/>
                  </a:lnTo>
                  <a:lnTo>
                    <a:pt x="169" y="147"/>
                  </a:lnTo>
                  <a:lnTo>
                    <a:pt x="180" y="147"/>
                  </a:lnTo>
                  <a:lnTo>
                    <a:pt x="135" y="113"/>
                  </a:lnTo>
                  <a:lnTo>
                    <a:pt x="147" y="102"/>
                  </a:lnTo>
                  <a:lnTo>
                    <a:pt x="135" y="102"/>
                  </a:lnTo>
                  <a:lnTo>
                    <a:pt x="113" y="91"/>
                  </a:lnTo>
                  <a:lnTo>
                    <a:pt x="113" y="79"/>
                  </a:lnTo>
                  <a:lnTo>
                    <a:pt x="90" y="57"/>
                  </a:lnTo>
                  <a:lnTo>
                    <a:pt x="90" y="23"/>
                  </a:lnTo>
                  <a:lnTo>
                    <a:pt x="113" y="23"/>
                  </a:lnTo>
                  <a:lnTo>
                    <a:pt x="113" y="12"/>
                  </a:lnTo>
                  <a:lnTo>
                    <a:pt x="90" y="0"/>
                  </a:lnTo>
                  <a:lnTo>
                    <a:pt x="56" y="0"/>
                  </a:lnTo>
                  <a:lnTo>
                    <a:pt x="56" y="23"/>
                  </a:lnTo>
                  <a:lnTo>
                    <a:pt x="45" y="12"/>
                  </a:lnTo>
                  <a:lnTo>
                    <a:pt x="45" y="23"/>
                  </a:lnTo>
                  <a:lnTo>
                    <a:pt x="34" y="23"/>
                  </a:lnTo>
                  <a:lnTo>
                    <a:pt x="11" y="23"/>
                  </a:lnTo>
                  <a:lnTo>
                    <a:pt x="0" y="23"/>
                  </a:lnTo>
                  <a:lnTo>
                    <a:pt x="0" y="46"/>
                  </a:lnTo>
                  <a:lnTo>
                    <a:pt x="11" y="68"/>
                  </a:lnTo>
                </a:path>
              </a:pathLst>
            </a:custGeom>
            <a:solidFill>
              <a:schemeClr val="accent1"/>
            </a:solidFill>
            <a:ln w="12700" cap="rnd" cmpd="sng">
              <a:solidFill>
                <a:srgbClr val="000000"/>
              </a:solidFill>
              <a:prstDash val="solid"/>
              <a:round/>
              <a:headEnd type="none" w="med" len="med"/>
              <a:tailEnd type="none" w="med" len="med"/>
            </a:ln>
            <a:effectLst/>
            <a:extLst/>
          </p:spPr>
          <p:txBody>
            <a:bodyPr/>
            <a:lstStyle/>
            <a:p>
              <a:endParaRPr lang="en-GB" sz="1836"/>
            </a:p>
          </p:txBody>
        </p:sp>
        <p:sp>
          <p:nvSpPr>
            <p:cNvPr id="48190" name="Freeform 47"/>
            <p:cNvSpPr>
              <a:spLocks noChangeAspect="1"/>
            </p:cNvSpPr>
            <p:nvPr>
              <p:custDataLst>
                <p:tags r:id="rId44"/>
              </p:custDataLst>
            </p:nvPr>
          </p:nvSpPr>
          <p:spPr bwMode="auto">
            <a:xfrm>
              <a:off x="1859184" y="3733266"/>
              <a:ext cx="356508" cy="277319"/>
            </a:xfrm>
            <a:custGeom>
              <a:avLst/>
              <a:gdLst>
                <a:gd name="T0" fmla="*/ 0 w 136"/>
                <a:gd name="T1" fmla="*/ 0 h 113"/>
                <a:gd name="T2" fmla="*/ 0 w 136"/>
                <a:gd name="T3" fmla="*/ 0 h 113"/>
                <a:gd name="T4" fmla="*/ 0 w 136"/>
                <a:gd name="T5" fmla="*/ 0 h 113"/>
                <a:gd name="T6" fmla="*/ 0 w 136"/>
                <a:gd name="T7" fmla="*/ 0 h 113"/>
                <a:gd name="T8" fmla="*/ 0 w 136"/>
                <a:gd name="T9" fmla="*/ 0 h 113"/>
                <a:gd name="T10" fmla="*/ 0 w 136"/>
                <a:gd name="T11" fmla="*/ 0 h 113"/>
                <a:gd name="T12" fmla="*/ 0 w 136"/>
                <a:gd name="T13" fmla="*/ 0 h 113"/>
                <a:gd name="T14" fmla="*/ 0 w 136"/>
                <a:gd name="T15" fmla="*/ 0 h 113"/>
                <a:gd name="T16" fmla="*/ 0 w 136"/>
                <a:gd name="T17" fmla="*/ 0 h 113"/>
                <a:gd name="T18" fmla="*/ 0 w 136"/>
                <a:gd name="T19" fmla="*/ 0 h 113"/>
                <a:gd name="T20" fmla="*/ 0 w 136"/>
                <a:gd name="T21" fmla="*/ 0 h 113"/>
                <a:gd name="T22" fmla="*/ 0 w 136"/>
                <a:gd name="T23" fmla="*/ 0 h 113"/>
                <a:gd name="T24" fmla="*/ 0 w 136"/>
                <a:gd name="T25" fmla="*/ 0 h 113"/>
                <a:gd name="T26" fmla="*/ 0 w 136"/>
                <a:gd name="T27" fmla="*/ 0 h 113"/>
                <a:gd name="T28" fmla="*/ 0 w 136"/>
                <a:gd name="T29" fmla="*/ 0 h 113"/>
                <a:gd name="T30" fmla="*/ 0 w 136"/>
                <a:gd name="T31" fmla="*/ 0 h 113"/>
                <a:gd name="T32" fmla="*/ 0 w 136"/>
                <a:gd name="T33" fmla="*/ 0 h 113"/>
                <a:gd name="T34" fmla="*/ 0 w 136"/>
                <a:gd name="T35" fmla="*/ 0 h 113"/>
                <a:gd name="T36" fmla="*/ 0 w 136"/>
                <a:gd name="T37" fmla="*/ 0 h 113"/>
                <a:gd name="T38" fmla="*/ 0 w 136"/>
                <a:gd name="T39" fmla="*/ 0 h 113"/>
                <a:gd name="T40" fmla="*/ 0 w 136"/>
                <a:gd name="T41" fmla="*/ 0 h 113"/>
                <a:gd name="T42" fmla="*/ 0 w 136"/>
                <a:gd name="T43" fmla="*/ 0 h 113"/>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136" h="113">
                  <a:moveTo>
                    <a:pt x="23" y="79"/>
                  </a:moveTo>
                  <a:lnTo>
                    <a:pt x="34" y="79"/>
                  </a:lnTo>
                  <a:lnTo>
                    <a:pt x="34" y="90"/>
                  </a:lnTo>
                  <a:lnTo>
                    <a:pt x="45" y="101"/>
                  </a:lnTo>
                  <a:lnTo>
                    <a:pt x="56" y="101"/>
                  </a:lnTo>
                  <a:lnTo>
                    <a:pt x="79" y="112"/>
                  </a:lnTo>
                  <a:lnTo>
                    <a:pt x="102" y="90"/>
                  </a:lnTo>
                  <a:lnTo>
                    <a:pt x="124" y="101"/>
                  </a:lnTo>
                  <a:lnTo>
                    <a:pt x="124" y="90"/>
                  </a:lnTo>
                  <a:lnTo>
                    <a:pt x="135" y="79"/>
                  </a:lnTo>
                  <a:lnTo>
                    <a:pt x="135" y="67"/>
                  </a:lnTo>
                  <a:lnTo>
                    <a:pt x="124" y="67"/>
                  </a:lnTo>
                  <a:lnTo>
                    <a:pt x="124" y="56"/>
                  </a:lnTo>
                  <a:lnTo>
                    <a:pt x="124" y="33"/>
                  </a:lnTo>
                  <a:lnTo>
                    <a:pt x="102" y="0"/>
                  </a:lnTo>
                  <a:lnTo>
                    <a:pt x="90" y="0"/>
                  </a:lnTo>
                  <a:lnTo>
                    <a:pt x="68" y="11"/>
                  </a:lnTo>
                  <a:lnTo>
                    <a:pt x="34" y="11"/>
                  </a:lnTo>
                  <a:lnTo>
                    <a:pt x="23" y="11"/>
                  </a:lnTo>
                  <a:lnTo>
                    <a:pt x="23" y="56"/>
                  </a:lnTo>
                  <a:lnTo>
                    <a:pt x="0" y="56"/>
                  </a:lnTo>
                  <a:lnTo>
                    <a:pt x="23" y="79"/>
                  </a:lnTo>
                </a:path>
              </a:pathLst>
            </a:custGeom>
            <a:solidFill>
              <a:srgbClr val="FFFFFF"/>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836"/>
            </a:p>
          </p:txBody>
        </p:sp>
        <p:sp>
          <p:nvSpPr>
            <p:cNvPr id="48191" name="Freeform 48"/>
            <p:cNvSpPr>
              <a:spLocks noChangeAspect="1"/>
            </p:cNvSpPr>
            <p:nvPr>
              <p:custDataLst>
                <p:tags r:id="rId45"/>
              </p:custDataLst>
            </p:nvPr>
          </p:nvSpPr>
          <p:spPr bwMode="auto">
            <a:xfrm>
              <a:off x="1859184" y="4089819"/>
              <a:ext cx="244274" cy="198085"/>
            </a:xfrm>
            <a:custGeom>
              <a:avLst/>
              <a:gdLst>
                <a:gd name="T0" fmla="*/ 0 w 91"/>
                <a:gd name="T1" fmla="*/ 0 h 80"/>
                <a:gd name="T2" fmla="*/ 0 w 91"/>
                <a:gd name="T3" fmla="*/ 0 h 80"/>
                <a:gd name="T4" fmla="*/ 0 w 91"/>
                <a:gd name="T5" fmla="*/ 0 h 80"/>
                <a:gd name="T6" fmla="*/ 0 w 91"/>
                <a:gd name="T7" fmla="*/ 0 h 80"/>
                <a:gd name="T8" fmla="*/ 0 w 91"/>
                <a:gd name="T9" fmla="*/ 0 h 80"/>
                <a:gd name="T10" fmla="*/ 0 w 91"/>
                <a:gd name="T11" fmla="*/ 0 h 80"/>
                <a:gd name="T12" fmla="*/ 0 w 91"/>
                <a:gd name="T13" fmla="*/ 0 h 80"/>
                <a:gd name="T14" fmla="*/ 0 w 91"/>
                <a:gd name="T15" fmla="*/ 0 h 80"/>
                <a:gd name="T16" fmla="*/ 0 w 91"/>
                <a:gd name="T17" fmla="*/ 0 h 80"/>
                <a:gd name="T18" fmla="*/ 0 w 91"/>
                <a:gd name="T19" fmla="*/ 0 h 80"/>
                <a:gd name="T20" fmla="*/ 0 w 91"/>
                <a:gd name="T21" fmla="*/ 0 h 80"/>
                <a:gd name="T22" fmla="*/ 0 w 91"/>
                <a:gd name="T23" fmla="*/ 0 h 80"/>
                <a:gd name="T24" fmla="*/ 0 w 91"/>
                <a:gd name="T25" fmla="*/ 0 h 80"/>
                <a:gd name="T26" fmla="*/ 0 w 91"/>
                <a:gd name="T27" fmla="*/ 0 h 80"/>
                <a:gd name="T28" fmla="*/ 0 w 91"/>
                <a:gd name="T29" fmla="*/ 0 h 80"/>
                <a:gd name="T30" fmla="*/ 0 w 91"/>
                <a:gd name="T31" fmla="*/ 0 h 80"/>
                <a:gd name="T32" fmla="*/ 0 w 91"/>
                <a:gd name="T33" fmla="*/ 0 h 80"/>
                <a:gd name="T34" fmla="*/ 0 w 91"/>
                <a:gd name="T35" fmla="*/ 0 h 80"/>
                <a:gd name="T36" fmla="*/ 0 w 91"/>
                <a:gd name="T37" fmla="*/ 0 h 80"/>
                <a:gd name="T38" fmla="*/ 0 w 91"/>
                <a:gd name="T39" fmla="*/ 0 h 80"/>
                <a:gd name="T40" fmla="*/ 0 w 91"/>
                <a:gd name="T41" fmla="*/ 0 h 80"/>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91" h="80">
                  <a:moveTo>
                    <a:pt x="23" y="12"/>
                  </a:moveTo>
                  <a:lnTo>
                    <a:pt x="45" y="0"/>
                  </a:lnTo>
                  <a:lnTo>
                    <a:pt x="68" y="0"/>
                  </a:lnTo>
                  <a:lnTo>
                    <a:pt x="79" y="12"/>
                  </a:lnTo>
                  <a:lnTo>
                    <a:pt x="90" y="0"/>
                  </a:lnTo>
                  <a:lnTo>
                    <a:pt x="79" y="23"/>
                  </a:lnTo>
                  <a:lnTo>
                    <a:pt x="68" y="12"/>
                  </a:lnTo>
                  <a:lnTo>
                    <a:pt x="56" y="23"/>
                  </a:lnTo>
                  <a:lnTo>
                    <a:pt x="56" y="34"/>
                  </a:lnTo>
                  <a:lnTo>
                    <a:pt x="45" y="34"/>
                  </a:lnTo>
                  <a:lnTo>
                    <a:pt x="34" y="23"/>
                  </a:lnTo>
                  <a:lnTo>
                    <a:pt x="34" y="34"/>
                  </a:lnTo>
                  <a:lnTo>
                    <a:pt x="45" y="45"/>
                  </a:lnTo>
                  <a:lnTo>
                    <a:pt x="68" y="68"/>
                  </a:lnTo>
                  <a:lnTo>
                    <a:pt x="56" y="68"/>
                  </a:lnTo>
                  <a:lnTo>
                    <a:pt x="56" y="79"/>
                  </a:lnTo>
                  <a:lnTo>
                    <a:pt x="34" y="68"/>
                  </a:lnTo>
                  <a:lnTo>
                    <a:pt x="23" y="68"/>
                  </a:lnTo>
                  <a:lnTo>
                    <a:pt x="0" y="34"/>
                  </a:lnTo>
                  <a:lnTo>
                    <a:pt x="23" y="23"/>
                  </a:lnTo>
                  <a:lnTo>
                    <a:pt x="23" y="12"/>
                  </a:lnTo>
                </a:path>
              </a:pathLst>
            </a:custGeom>
            <a:solidFill>
              <a:srgbClr val="FFFFFF"/>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836"/>
            </a:p>
          </p:txBody>
        </p:sp>
        <p:sp>
          <p:nvSpPr>
            <p:cNvPr id="48192" name="Freeform 49"/>
            <p:cNvSpPr>
              <a:spLocks noChangeAspect="1"/>
            </p:cNvSpPr>
            <p:nvPr>
              <p:custDataLst>
                <p:tags r:id="rId46"/>
              </p:custDataLst>
            </p:nvPr>
          </p:nvSpPr>
          <p:spPr bwMode="auto">
            <a:xfrm>
              <a:off x="2453365" y="4307713"/>
              <a:ext cx="290488" cy="198085"/>
            </a:xfrm>
            <a:custGeom>
              <a:avLst/>
              <a:gdLst>
                <a:gd name="T0" fmla="*/ 0 w 114"/>
                <a:gd name="T1" fmla="*/ 0 h 80"/>
                <a:gd name="T2" fmla="*/ 0 w 114"/>
                <a:gd name="T3" fmla="*/ 0 h 80"/>
                <a:gd name="T4" fmla="*/ 0 w 114"/>
                <a:gd name="T5" fmla="*/ 0 h 80"/>
                <a:gd name="T6" fmla="*/ 0 w 114"/>
                <a:gd name="T7" fmla="*/ 0 h 80"/>
                <a:gd name="T8" fmla="*/ 0 w 114"/>
                <a:gd name="T9" fmla="*/ 0 h 80"/>
                <a:gd name="T10" fmla="*/ 0 w 114"/>
                <a:gd name="T11" fmla="*/ 0 h 80"/>
                <a:gd name="T12" fmla="*/ 0 w 114"/>
                <a:gd name="T13" fmla="*/ 0 h 80"/>
                <a:gd name="T14" fmla="*/ 0 w 114"/>
                <a:gd name="T15" fmla="*/ 0 h 80"/>
                <a:gd name="T16" fmla="*/ 0 w 114"/>
                <a:gd name="T17" fmla="*/ 0 h 80"/>
                <a:gd name="T18" fmla="*/ 0 w 114"/>
                <a:gd name="T19" fmla="*/ 0 h 80"/>
                <a:gd name="T20" fmla="*/ 0 w 114"/>
                <a:gd name="T21" fmla="*/ 0 h 80"/>
                <a:gd name="T22" fmla="*/ 0 w 114"/>
                <a:gd name="T23" fmla="*/ 0 h 80"/>
                <a:gd name="T24" fmla="*/ 0 w 114"/>
                <a:gd name="T25" fmla="*/ 0 h 80"/>
                <a:gd name="T26" fmla="*/ 0 w 114"/>
                <a:gd name="T27" fmla="*/ 0 h 80"/>
                <a:gd name="T28" fmla="*/ 0 w 114"/>
                <a:gd name="T29" fmla="*/ 0 h 8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14" h="80">
                  <a:moveTo>
                    <a:pt x="0" y="79"/>
                  </a:moveTo>
                  <a:lnTo>
                    <a:pt x="11" y="79"/>
                  </a:lnTo>
                  <a:lnTo>
                    <a:pt x="11" y="57"/>
                  </a:lnTo>
                  <a:lnTo>
                    <a:pt x="11" y="46"/>
                  </a:lnTo>
                  <a:lnTo>
                    <a:pt x="11" y="12"/>
                  </a:lnTo>
                  <a:lnTo>
                    <a:pt x="45" y="0"/>
                  </a:lnTo>
                  <a:lnTo>
                    <a:pt x="56" y="12"/>
                  </a:lnTo>
                  <a:lnTo>
                    <a:pt x="79" y="0"/>
                  </a:lnTo>
                  <a:lnTo>
                    <a:pt x="113" y="0"/>
                  </a:lnTo>
                  <a:lnTo>
                    <a:pt x="90" y="12"/>
                  </a:lnTo>
                  <a:lnTo>
                    <a:pt x="79" y="46"/>
                  </a:lnTo>
                  <a:lnTo>
                    <a:pt x="56" y="68"/>
                  </a:lnTo>
                  <a:lnTo>
                    <a:pt x="45" y="68"/>
                  </a:lnTo>
                  <a:lnTo>
                    <a:pt x="11" y="79"/>
                  </a:lnTo>
                  <a:lnTo>
                    <a:pt x="0" y="79"/>
                  </a:lnTo>
                </a:path>
              </a:pathLst>
            </a:custGeom>
            <a:solidFill>
              <a:srgbClr val="FFFFFF"/>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836"/>
            </a:p>
          </p:txBody>
        </p:sp>
        <p:sp>
          <p:nvSpPr>
            <p:cNvPr id="48193" name="Freeform 50"/>
            <p:cNvSpPr>
              <a:spLocks noChangeAspect="1"/>
            </p:cNvSpPr>
            <p:nvPr>
              <p:custDataLst>
                <p:tags r:id="rId47"/>
              </p:custDataLst>
            </p:nvPr>
          </p:nvSpPr>
          <p:spPr bwMode="auto">
            <a:xfrm>
              <a:off x="2420355" y="4479387"/>
              <a:ext cx="178254" cy="191482"/>
            </a:xfrm>
            <a:custGeom>
              <a:avLst/>
              <a:gdLst>
                <a:gd name="T0" fmla="*/ 0 w 68"/>
                <a:gd name="T1" fmla="*/ 0 h 80"/>
                <a:gd name="T2" fmla="*/ 0 w 68"/>
                <a:gd name="T3" fmla="*/ 0 h 80"/>
                <a:gd name="T4" fmla="*/ 0 w 68"/>
                <a:gd name="T5" fmla="*/ 0 h 80"/>
                <a:gd name="T6" fmla="*/ 0 w 68"/>
                <a:gd name="T7" fmla="*/ 0 h 80"/>
                <a:gd name="T8" fmla="*/ 0 w 68"/>
                <a:gd name="T9" fmla="*/ 0 h 80"/>
                <a:gd name="T10" fmla="*/ 0 w 68"/>
                <a:gd name="T11" fmla="*/ 0 h 80"/>
                <a:gd name="T12" fmla="*/ 0 w 68"/>
                <a:gd name="T13" fmla="*/ 0 h 80"/>
                <a:gd name="T14" fmla="*/ 0 w 68"/>
                <a:gd name="T15" fmla="*/ 0 h 80"/>
                <a:gd name="T16" fmla="*/ 0 w 68"/>
                <a:gd name="T17" fmla="*/ 0 h 80"/>
                <a:gd name="T18" fmla="*/ 0 w 68"/>
                <a:gd name="T19" fmla="*/ 0 h 80"/>
                <a:gd name="T20" fmla="*/ 0 w 68"/>
                <a:gd name="T21" fmla="*/ 0 h 80"/>
                <a:gd name="T22" fmla="*/ 0 w 68"/>
                <a:gd name="T23" fmla="*/ 0 h 80"/>
                <a:gd name="T24" fmla="*/ 0 w 68"/>
                <a:gd name="T25" fmla="*/ 0 h 80"/>
                <a:gd name="T26" fmla="*/ 0 w 68"/>
                <a:gd name="T27" fmla="*/ 0 h 8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68" h="80">
                  <a:moveTo>
                    <a:pt x="67" y="11"/>
                  </a:moveTo>
                  <a:lnTo>
                    <a:pt x="67" y="0"/>
                  </a:lnTo>
                  <a:lnTo>
                    <a:pt x="56" y="0"/>
                  </a:lnTo>
                  <a:lnTo>
                    <a:pt x="22" y="11"/>
                  </a:lnTo>
                  <a:lnTo>
                    <a:pt x="11" y="11"/>
                  </a:lnTo>
                  <a:lnTo>
                    <a:pt x="11" y="23"/>
                  </a:lnTo>
                  <a:lnTo>
                    <a:pt x="11" y="45"/>
                  </a:lnTo>
                  <a:lnTo>
                    <a:pt x="0" y="79"/>
                  </a:lnTo>
                  <a:lnTo>
                    <a:pt x="22" y="79"/>
                  </a:lnTo>
                  <a:lnTo>
                    <a:pt x="22" y="68"/>
                  </a:lnTo>
                  <a:lnTo>
                    <a:pt x="33" y="68"/>
                  </a:lnTo>
                  <a:lnTo>
                    <a:pt x="45" y="45"/>
                  </a:lnTo>
                  <a:lnTo>
                    <a:pt x="33" y="34"/>
                  </a:lnTo>
                  <a:lnTo>
                    <a:pt x="67" y="11"/>
                  </a:lnTo>
                </a:path>
              </a:pathLst>
            </a:custGeom>
            <a:solidFill>
              <a:srgbClr val="FFFFFF"/>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836"/>
            </a:p>
          </p:txBody>
        </p:sp>
        <p:sp>
          <p:nvSpPr>
            <p:cNvPr id="48194" name="Freeform 51"/>
            <p:cNvSpPr>
              <a:spLocks noChangeAspect="1"/>
            </p:cNvSpPr>
            <p:nvPr>
              <p:custDataLst>
                <p:tags r:id="rId48"/>
              </p:custDataLst>
            </p:nvPr>
          </p:nvSpPr>
          <p:spPr bwMode="auto">
            <a:xfrm>
              <a:off x="2453365" y="4419961"/>
              <a:ext cx="26408" cy="85837"/>
            </a:xfrm>
            <a:custGeom>
              <a:avLst/>
              <a:gdLst>
                <a:gd name="T0" fmla="*/ 0 w 12"/>
                <a:gd name="T1" fmla="*/ 0 h 34"/>
                <a:gd name="T2" fmla="*/ 0 w 12"/>
                <a:gd name="T3" fmla="*/ 0 h 34"/>
                <a:gd name="T4" fmla="*/ 0 w 12"/>
                <a:gd name="T5" fmla="*/ 0 h 34"/>
                <a:gd name="T6" fmla="*/ 0 w 12"/>
                <a:gd name="T7" fmla="*/ 0 h 34"/>
                <a:gd name="T8" fmla="*/ 0 w 12"/>
                <a:gd name="T9" fmla="*/ 0 h 3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2" h="34">
                  <a:moveTo>
                    <a:pt x="11" y="33"/>
                  </a:moveTo>
                  <a:lnTo>
                    <a:pt x="0" y="33"/>
                  </a:lnTo>
                  <a:lnTo>
                    <a:pt x="11" y="0"/>
                  </a:lnTo>
                  <a:lnTo>
                    <a:pt x="11" y="11"/>
                  </a:lnTo>
                  <a:lnTo>
                    <a:pt x="11" y="33"/>
                  </a:lnTo>
                </a:path>
              </a:pathLst>
            </a:custGeom>
            <a:solidFill>
              <a:srgbClr val="FFFFFF"/>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836"/>
            </a:p>
          </p:txBody>
        </p:sp>
        <p:sp>
          <p:nvSpPr>
            <p:cNvPr id="48195" name="Freeform 52"/>
            <p:cNvSpPr>
              <a:spLocks noChangeAspect="1"/>
            </p:cNvSpPr>
            <p:nvPr>
              <p:custDataLst>
                <p:tags r:id="rId49"/>
              </p:custDataLst>
            </p:nvPr>
          </p:nvSpPr>
          <p:spPr bwMode="auto">
            <a:xfrm>
              <a:off x="2387345" y="4499195"/>
              <a:ext cx="92428" cy="171674"/>
            </a:xfrm>
            <a:custGeom>
              <a:avLst/>
              <a:gdLst>
                <a:gd name="T0" fmla="*/ 0 w 35"/>
                <a:gd name="T1" fmla="*/ 0 h 69"/>
                <a:gd name="T2" fmla="*/ 0 w 35"/>
                <a:gd name="T3" fmla="*/ 0 h 69"/>
                <a:gd name="T4" fmla="*/ 0 w 35"/>
                <a:gd name="T5" fmla="*/ 0 h 69"/>
                <a:gd name="T6" fmla="*/ 0 w 35"/>
                <a:gd name="T7" fmla="*/ 0 h 69"/>
                <a:gd name="T8" fmla="*/ 0 w 35"/>
                <a:gd name="T9" fmla="*/ 0 h 69"/>
                <a:gd name="T10" fmla="*/ 0 w 35"/>
                <a:gd name="T11" fmla="*/ 0 h 69"/>
                <a:gd name="T12" fmla="*/ 0 w 35"/>
                <a:gd name="T13" fmla="*/ 0 h 69"/>
                <a:gd name="T14" fmla="*/ 0 w 35"/>
                <a:gd name="T15" fmla="*/ 0 h 69"/>
                <a:gd name="T16" fmla="*/ 0 w 35"/>
                <a:gd name="T17" fmla="*/ 0 h 6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5" h="69">
                  <a:moveTo>
                    <a:pt x="23" y="0"/>
                  </a:moveTo>
                  <a:lnTo>
                    <a:pt x="23" y="12"/>
                  </a:lnTo>
                  <a:lnTo>
                    <a:pt x="23" y="34"/>
                  </a:lnTo>
                  <a:lnTo>
                    <a:pt x="12" y="68"/>
                  </a:lnTo>
                  <a:lnTo>
                    <a:pt x="0" y="23"/>
                  </a:lnTo>
                  <a:lnTo>
                    <a:pt x="12" y="12"/>
                  </a:lnTo>
                  <a:lnTo>
                    <a:pt x="23" y="0"/>
                  </a:lnTo>
                  <a:lnTo>
                    <a:pt x="34" y="0"/>
                  </a:lnTo>
                  <a:lnTo>
                    <a:pt x="23" y="0"/>
                  </a:lnTo>
                </a:path>
              </a:pathLst>
            </a:custGeom>
            <a:solidFill>
              <a:srgbClr val="FFFFFF"/>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836"/>
            </a:p>
          </p:txBody>
        </p:sp>
        <p:sp>
          <p:nvSpPr>
            <p:cNvPr id="48196" name="Freeform 53"/>
            <p:cNvSpPr>
              <a:spLocks noChangeAspect="1"/>
            </p:cNvSpPr>
            <p:nvPr>
              <p:custDataLst>
                <p:tags r:id="rId50"/>
              </p:custDataLst>
            </p:nvPr>
          </p:nvSpPr>
          <p:spPr bwMode="auto">
            <a:xfrm>
              <a:off x="2598609" y="4281301"/>
              <a:ext cx="356508" cy="389568"/>
            </a:xfrm>
            <a:custGeom>
              <a:avLst/>
              <a:gdLst>
                <a:gd name="T0" fmla="*/ 0 w 137"/>
                <a:gd name="T1" fmla="*/ 0 h 159"/>
                <a:gd name="T2" fmla="*/ 0 w 137"/>
                <a:gd name="T3" fmla="*/ 0 h 159"/>
                <a:gd name="T4" fmla="*/ 0 w 137"/>
                <a:gd name="T5" fmla="*/ 0 h 159"/>
                <a:gd name="T6" fmla="*/ 0 w 137"/>
                <a:gd name="T7" fmla="*/ 0 h 159"/>
                <a:gd name="T8" fmla="*/ 0 w 137"/>
                <a:gd name="T9" fmla="*/ 0 h 159"/>
                <a:gd name="T10" fmla="*/ 0 w 137"/>
                <a:gd name="T11" fmla="*/ 0 h 159"/>
                <a:gd name="T12" fmla="*/ 0 w 137"/>
                <a:gd name="T13" fmla="*/ 0 h 159"/>
                <a:gd name="T14" fmla="*/ 0 w 137"/>
                <a:gd name="T15" fmla="*/ 0 h 159"/>
                <a:gd name="T16" fmla="*/ 0 w 137"/>
                <a:gd name="T17" fmla="*/ 0 h 159"/>
                <a:gd name="T18" fmla="*/ 0 w 137"/>
                <a:gd name="T19" fmla="*/ 0 h 159"/>
                <a:gd name="T20" fmla="*/ 0 w 137"/>
                <a:gd name="T21" fmla="*/ 0 h 159"/>
                <a:gd name="T22" fmla="*/ 0 w 137"/>
                <a:gd name="T23" fmla="*/ 0 h 159"/>
                <a:gd name="T24" fmla="*/ 0 w 137"/>
                <a:gd name="T25" fmla="*/ 0 h 159"/>
                <a:gd name="T26" fmla="*/ 0 w 137"/>
                <a:gd name="T27" fmla="*/ 0 h 159"/>
                <a:gd name="T28" fmla="*/ 0 w 137"/>
                <a:gd name="T29" fmla="*/ 0 h 159"/>
                <a:gd name="T30" fmla="*/ 0 w 137"/>
                <a:gd name="T31" fmla="*/ 0 h 159"/>
                <a:gd name="T32" fmla="*/ 0 w 137"/>
                <a:gd name="T33" fmla="*/ 0 h 159"/>
                <a:gd name="T34" fmla="*/ 0 w 137"/>
                <a:gd name="T35" fmla="*/ 0 h 159"/>
                <a:gd name="T36" fmla="*/ 0 w 137"/>
                <a:gd name="T37" fmla="*/ 0 h 159"/>
                <a:gd name="T38" fmla="*/ 0 w 137"/>
                <a:gd name="T39" fmla="*/ 0 h 159"/>
                <a:gd name="T40" fmla="*/ 0 w 137"/>
                <a:gd name="T41" fmla="*/ 0 h 159"/>
                <a:gd name="T42" fmla="*/ 0 w 137"/>
                <a:gd name="T43" fmla="*/ 0 h 159"/>
                <a:gd name="T44" fmla="*/ 0 w 137"/>
                <a:gd name="T45" fmla="*/ 0 h 159"/>
                <a:gd name="T46" fmla="*/ 0 w 137"/>
                <a:gd name="T47" fmla="*/ 0 h 159"/>
                <a:gd name="T48" fmla="*/ 0 w 137"/>
                <a:gd name="T49" fmla="*/ 0 h 159"/>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137" h="159">
                  <a:moveTo>
                    <a:pt x="79" y="11"/>
                  </a:moveTo>
                  <a:lnTo>
                    <a:pt x="91" y="23"/>
                  </a:lnTo>
                  <a:lnTo>
                    <a:pt x="102" y="23"/>
                  </a:lnTo>
                  <a:lnTo>
                    <a:pt x="102" y="45"/>
                  </a:lnTo>
                  <a:lnTo>
                    <a:pt x="91" y="68"/>
                  </a:lnTo>
                  <a:lnTo>
                    <a:pt x="102" y="90"/>
                  </a:lnTo>
                  <a:lnTo>
                    <a:pt x="124" y="90"/>
                  </a:lnTo>
                  <a:lnTo>
                    <a:pt x="124" y="124"/>
                  </a:lnTo>
                  <a:lnTo>
                    <a:pt x="136" y="135"/>
                  </a:lnTo>
                  <a:lnTo>
                    <a:pt x="136" y="147"/>
                  </a:lnTo>
                  <a:lnTo>
                    <a:pt x="124" y="147"/>
                  </a:lnTo>
                  <a:lnTo>
                    <a:pt x="113" y="158"/>
                  </a:lnTo>
                  <a:lnTo>
                    <a:pt x="91" y="147"/>
                  </a:lnTo>
                  <a:lnTo>
                    <a:pt x="79" y="158"/>
                  </a:lnTo>
                  <a:lnTo>
                    <a:pt x="68" y="147"/>
                  </a:lnTo>
                  <a:lnTo>
                    <a:pt x="68" y="135"/>
                  </a:lnTo>
                  <a:lnTo>
                    <a:pt x="57" y="124"/>
                  </a:lnTo>
                  <a:lnTo>
                    <a:pt x="23" y="102"/>
                  </a:lnTo>
                  <a:lnTo>
                    <a:pt x="0" y="90"/>
                  </a:lnTo>
                  <a:lnTo>
                    <a:pt x="0" y="79"/>
                  </a:lnTo>
                  <a:lnTo>
                    <a:pt x="23" y="57"/>
                  </a:lnTo>
                  <a:lnTo>
                    <a:pt x="34" y="23"/>
                  </a:lnTo>
                  <a:lnTo>
                    <a:pt x="57" y="11"/>
                  </a:lnTo>
                  <a:lnTo>
                    <a:pt x="57" y="0"/>
                  </a:lnTo>
                  <a:lnTo>
                    <a:pt x="79" y="11"/>
                  </a:lnTo>
                </a:path>
              </a:pathLst>
            </a:custGeom>
            <a:solidFill>
              <a:srgbClr val="FFFFFF"/>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836"/>
            </a:p>
          </p:txBody>
        </p:sp>
        <p:sp>
          <p:nvSpPr>
            <p:cNvPr id="48197" name="Freeform 54"/>
            <p:cNvSpPr>
              <a:spLocks noChangeAspect="1"/>
            </p:cNvSpPr>
            <p:nvPr>
              <p:custDataLst>
                <p:tags r:id="rId51"/>
              </p:custDataLst>
            </p:nvPr>
          </p:nvSpPr>
          <p:spPr bwMode="auto">
            <a:xfrm>
              <a:off x="2803271" y="4637855"/>
              <a:ext cx="92428" cy="33014"/>
            </a:xfrm>
            <a:custGeom>
              <a:avLst/>
              <a:gdLst>
                <a:gd name="T0" fmla="*/ 0 w 35"/>
                <a:gd name="T1" fmla="*/ 0 h 12"/>
                <a:gd name="T2" fmla="*/ 0 w 35"/>
                <a:gd name="T3" fmla="*/ 0 h 12"/>
                <a:gd name="T4" fmla="*/ 0 w 35"/>
                <a:gd name="T5" fmla="*/ 0 h 12"/>
                <a:gd name="T6" fmla="*/ 0 w 35"/>
                <a:gd name="T7" fmla="*/ 0 h 12"/>
                <a:gd name="T8" fmla="*/ 0 w 35"/>
                <a:gd name="T9" fmla="*/ 0 h 1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5" h="12">
                  <a:moveTo>
                    <a:pt x="0" y="11"/>
                  </a:moveTo>
                  <a:lnTo>
                    <a:pt x="12" y="0"/>
                  </a:lnTo>
                  <a:lnTo>
                    <a:pt x="34" y="11"/>
                  </a:lnTo>
                  <a:lnTo>
                    <a:pt x="12" y="11"/>
                  </a:lnTo>
                  <a:lnTo>
                    <a:pt x="0" y="11"/>
                  </a:lnTo>
                </a:path>
              </a:pathLst>
            </a:custGeom>
            <a:solidFill>
              <a:srgbClr val="FFFFFF"/>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836"/>
            </a:p>
          </p:txBody>
        </p:sp>
        <p:sp>
          <p:nvSpPr>
            <p:cNvPr id="48198" name="Freeform 55"/>
            <p:cNvSpPr>
              <a:spLocks noChangeAspect="1"/>
            </p:cNvSpPr>
            <p:nvPr>
              <p:custDataLst>
                <p:tags r:id="rId52"/>
              </p:custDataLst>
            </p:nvPr>
          </p:nvSpPr>
          <p:spPr bwMode="auto">
            <a:xfrm>
              <a:off x="2889097" y="4637855"/>
              <a:ext cx="66020" cy="33014"/>
            </a:xfrm>
            <a:custGeom>
              <a:avLst/>
              <a:gdLst>
                <a:gd name="T0" fmla="*/ 0 w 24"/>
                <a:gd name="T1" fmla="*/ 0 h 12"/>
                <a:gd name="T2" fmla="*/ 0 w 24"/>
                <a:gd name="T3" fmla="*/ 0 h 12"/>
                <a:gd name="T4" fmla="*/ 0 w 24"/>
                <a:gd name="T5" fmla="*/ 0 h 12"/>
                <a:gd name="T6" fmla="*/ 0 w 24"/>
                <a:gd name="T7" fmla="*/ 0 h 12"/>
                <a:gd name="T8" fmla="*/ 0 w 24"/>
                <a:gd name="T9" fmla="*/ 0 h 12"/>
                <a:gd name="T10" fmla="*/ 0 w 24"/>
                <a:gd name="T11" fmla="*/ 0 h 1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4" h="12">
                  <a:moveTo>
                    <a:pt x="0" y="11"/>
                  </a:moveTo>
                  <a:lnTo>
                    <a:pt x="11" y="0"/>
                  </a:lnTo>
                  <a:lnTo>
                    <a:pt x="23" y="0"/>
                  </a:lnTo>
                  <a:lnTo>
                    <a:pt x="11" y="11"/>
                  </a:lnTo>
                  <a:lnTo>
                    <a:pt x="23" y="11"/>
                  </a:lnTo>
                  <a:lnTo>
                    <a:pt x="0" y="11"/>
                  </a:lnTo>
                </a:path>
              </a:pathLst>
            </a:custGeom>
            <a:solidFill>
              <a:srgbClr val="FFFFFF"/>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836"/>
            </a:p>
          </p:txBody>
        </p:sp>
        <p:sp>
          <p:nvSpPr>
            <p:cNvPr id="48199" name="Freeform 56"/>
            <p:cNvSpPr>
              <a:spLocks noChangeAspect="1"/>
            </p:cNvSpPr>
            <p:nvPr>
              <p:custDataLst>
                <p:tags r:id="rId53"/>
              </p:custDataLst>
            </p:nvPr>
          </p:nvSpPr>
          <p:spPr bwMode="auto">
            <a:xfrm>
              <a:off x="2420355" y="4499195"/>
              <a:ext cx="858261" cy="779135"/>
            </a:xfrm>
            <a:custGeom>
              <a:avLst/>
              <a:gdLst>
                <a:gd name="T0" fmla="*/ 0 w 328"/>
                <a:gd name="T1" fmla="*/ 0 h 317"/>
                <a:gd name="T2" fmla="*/ 0 w 328"/>
                <a:gd name="T3" fmla="*/ 0 h 317"/>
                <a:gd name="T4" fmla="*/ 0 w 328"/>
                <a:gd name="T5" fmla="*/ 0 h 317"/>
                <a:gd name="T6" fmla="*/ 0 w 328"/>
                <a:gd name="T7" fmla="*/ 0 h 317"/>
                <a:gd name="T8" fmla="*/ 0 w 328"/>
                <a:gd name="T9" fmla="*/ 0 h 317"/>
                <a:gd name="T10" fmla="*/ 0 w 328"/>
                <a:gd name="T11" fmla="*/ 0 h 317"/>
                <a:gd name="T12" fmla="*/ 0 w 328"/>
                <a:gd name="T13" fmla="*/ 0 h 317"/>
                <a:gd name="T14" fmla="*/ 0 w 328"/>
                <a:gd name="T15" fmla="*/ 0 h 317"/>
                <a:gd name="T16" fmla="*/ 0 w 328"/>
                <a:gd name="T17" fmla="*/ 0 h 317"/>
                <a:gd name="T18" fmla="*/ 0 w 328"/>
                <a:gd name="T19" fmla="*/ 0 h 317"/>
                <a:gd name="T20" fmla="*/ 0 w 328"/>
                <a:gd name="T21" fmla="*/ 0 h 317"/>
                <a:gd name="T22" fmla="*/ 0 w 328"/>
                <a:gd name="T23" fmla="*/ 0 h 317"/>
                <a:gd name="T24" fmla="*/ 0 w 328"/>
                <a:gd name="T25" fmla="*/ 0 h 317"/>
                <a:gd name="T26" fmla="*/ 0 w 328"/>
                <a:gd name="T27" fmla="*/ 0 h 317"/>
                <a:gd name="T28" fmla="*/ 0 w 328"/>
                <a:gd name="T29" fmla="*/ 0 h 317"/>
                <a:gd name="T30" fmla="*/ 0 w 328"/>
                <a:gd name="T31" fmla="*/ 0 h 317"/>
                <a:gd name="T32" fmla="*/ 0 w 328"/>
                <a:gd name="T33" fmla="*/ 0 h 317"/>
                <a:gd name="T34" fmla="*/ 0 w 328"/>
                <a:gd name="T35" fmla="*/ 0 h 317"/>
                <a:gd name="T36" fmla="*/ 0 w 328"/>
                <a:gd name="T37" fmla="*/ 0 h 317"/>
                <a:gd name="T38" fmla="*/ 0 w 328"/>
                <a:gd name="T39" fmla="*/ 0 h 317"/>
                <a:gd name="T40" fmla="*/ 0 w 328"/>
                <a:gd name="T41" fmla="*/ 0 h 317"/>
                <a:gd name="T42" fmla="*/ 0 w 328"/>
                <a:gd name="T43" fmla="*/ 0 h 317"/>
                <a:gd name="T44" fmla="*/ 0 w 328"/>
                <a:gd name="T45" fmla="*/ 0 h 317"/>
                <a:gd name="T46" fmla="*/ 0 w 328"/>
                <a:gd name="T47" fmla="*/ 0 h 317"/>
                <a:gd name="T48" fmla="*/ 0 w 328"/>
                <a:gd name="T49" fmla="*/ 0 h 317"/>
                <a:gd name="T50" fmla="*/ 0 w 328"/>
                <a:gd name="T51" fmla="*/ 0 h 317"/>
                <a:gd name="T52" fmla="*/ 0 w 328"/>
                <a:gd name="T53" fmla="*/ 0 h 317"/>
                <a:gd name="T54" fmla="*/ 0 w 328"/>
                <a:gd name="T55" fmla="*/ 0 h 317"/>
                <a:gd name="T56" fmla="*/ 0 w 328"/>
                <a:gd name="T57" fmla="*/ 0 h 317"/>
                <a:gd name="T58" fmla="*/ 0 w 328"/>
                <a:gd name="T59" fmla="*/ 0 h 317"/>
                <a:gd name="T60" fmla="*/ 0 w 328"/>
                <a:gd name="T61" fmla="*/ 0 h 317"/>
                <a:gd name="T62" fmla="*/ 0 w 328"/>
                <a:gd name="T63" fmla="*/ 0 h 317"/>
                <a:gd name="T64" fmla="*/ 0 w 328"/>
                <a:gd name="T65" fmla="*/ 0 h 317"/>
                <a:gd name="T66" fmla="*/ 0 w 328"/>
                <a:gd name="T67" fmla="*/ 0 h 317"/>
                <a:gd name="T68" fmla="*/ 0 w 328"/>
                <a:gd name="T69" fmla="*/ 0 h 317"/>
                <a:gd name="T70" fmla="*/ 0 w 328"/>
                <a:gd name="T71" fmla="*/ 0 h 317"/>
                <a:gd name="T72" fmla="*/ 0 w 328"/>
                <a:gd name="T73" fmla="*/ 0 h 317"/>
                <a:gd name="T74" fmla="*/ 0 w 328"/>
                <a:gd name="T75" fmla="*/ 0 h 317"/>
                <a:gd name="T76" fmla="*/ 0 w 328"/>
                <a:gd name="T77" fmla="*/ 0 h 317"/>
                <a:gd name="T78" fmla="*/ 0 w 328"/>
                <a:gd name="T79" fmla="*/ 0 h 317"/>
                <a:gd name="T80" fmla="*/ 0 w 328"/>
                <a:gd name="T81" fmla="*/ 0 h 317"/>
                <a:gd name="T82" fmla="*/ 0 w 328"/>
                <a:gd name="T83" fmla="*/ 0 h 317"/>
                <a:gd name="T84" fmla="*/ 0 w 328"/>
                <a:gd name="T85" fmla="*/ 0 h 317"/>
                <a:gd name="T86" fmla="*/ 0 w 328"/>
                <a:gd name="T87" fmla="*/ 0 h 317"/>
                <a:gd name="T88" fmla="*/ 0 w 328"/>
                <a:gd name="T89" fmla="*/ 0 h 317"/>
                <a:gd name="T90" fmla="*/ 0 w 328"/>
                <a:gd name="T91" fmla="*/ 0 h 317"/>
                <a:gd name="T92" fmla="*/ 0 w 328"/>
                <a:gd name="T93" fmla="*/ 0 h 317"/>
                <a:gd name="T94" fmla="*/ 0 w 328"/>
                <a:gd name="T95" fmla="*/ 0 h 317"/>
                <a:gd name="T96" fmla="*/ 0 w 328"/>
                <a:gd name="T97" fmla="*/ 0 h 317"/>
                <a:gd name="T98" fmla="*/ 0 w 328"/>
                <a:gd name="T99" fmla="*/ 0 h 317"/>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328" h="317">
                  <a:moveTo>
                    <a:pt x="270" y="260"/>
                  </a:moveTo>
                  <a:lnTo>
                    <a:pt x="282" y="248"/>
                  </a:lnTo>
                  <a:lnTo>
                    <a:pt x="293" y="237"/>
                  </a:lnTo>
                  <a:lnTo>
                    <a:pt x="304" y="226"/>
                  </a:lnTo>
                  <a:lnTo>
                    <a:pt x="304" y="215"/>
                  </a:lnTo>
                  <a:lnTo>
                    <a:pt x="316" y="203"/>
                  </a:lnTo>
                  <a:lnTo>
                    <a:pt x="327" y="203"/>
                  </a:lnTo>
                  <a:lnTo>
                    <a:pt x="327" y="192"/>
                  </a:lnTo>
                  <a:lnTo>
                    <a:pt x="327" y="181"/>
                  </a:lnTo>
                  <a:lnTo>
                    <a:pt x="316" y="169"/>
                  </a:lnTo>
                  <a:lnTo>
                    <a:pt x="304" y="158"/>
                  </a:lnTo>
                  <a:lnTo>
                    <a:pt x="293" y="158"/>
                  </a:lnTo>
                  <a:lnTo>
                    <a:pt x="293" y="169"/>
                  </a:lnTo>
                  <a:lnTo>
                    <a:pt x="282" y="169"/>
                  </a:lnTo>
                  <a:lnTo>
                    <a:pt x="270" y="169"/>
                  </a:lnTo>
                  <a:lnTo>
                    <a:pt x="259" y="169"/>
                  </a:lnTo>
                  <a:lnTo>
                    <a:pt x="248" y="169"/>
                  </a:lnTo>
                  <a:lnTo>
                    <a:pt x="237" y="158"/>
                  </a:lnTo>
                  <a:lnTo>
                    <a:pt x="248" y="147"/>
                  </a:lnTo>
                  <a:lnTo>
                    <a:pt x="237" y="136"/>
                  </a:lnTo>
                  <a:lnTo>
                    <a:pt x="237" y="102"/>
                  </a:lnTo>
                  <a:lnTo>
                    <a:pt x="203" y="68"/>
                  </a:lnTo>
                  <a:lnTo>
                    <a:pt x="180" y="68"/>
                  </a:lnTo>
                  <a:lnTo>
                    <a:pt x="158" y="68"/>
                  </a:lnTo>
                  <a:lnTo>
                    <a:pt x="146" y="68"/>
                  </a:lnTo>
                  <a:lnTo>
                    <a:pt x="135" y="57"/>
                  </a:lnTo>
                  <a:lnTo>
                    <a:pt x="135" y="45"/>
                  </a:lnTo>
                  <a:lnTo>
                    <a:pt x="124" y="34"/>
                  </a:lnTo>
                  <a:lnTo>
                    <a:pt x="90" y="12"/>
                  </a:lnTo>
                  <a:lnTo>
                    <a:pt x="67" y="0"/>
                  </a:lnTo>
                  <a:lnTo>
                    <a:pt x="33" y="23"/>
                  </a:lnTo>
                  <a:lnTo>
                    <a:pt x="45" y="34"/>
                  </a:lnTo>
                  <a:lnTo>
                    <a:pt x="33" y="57"/>
                  </a:lnTo>
                  <a:lnTo>
                    <a:pt x="22" y="57"/>
                  </a:lnTo>
                  <a:lnTo>
                    <a:pt x="22" y="68"/>
                  </a:lnTo>
                  <a:lnTo>
                    <a:pt x="0" y="68"/>
                  </a:lnTo>
                  <a:lnTo>
                    <a:pt x="0" y="79"/>
                  </a:lnTo>
                  <a:lnTo>
                    <a:pt x="11" y="79"/>
                  </a:lnTo>
                  <a:lnTo>
                    <a:pt x="45" y="136"/>
                  </a:lnTo>
                  <a:lnTo>
                    <a:pt x="56" y="147"/>
                  </a:lnTo>
                  <a:lnTo>
                    <a:pt x="67" y="169"/>
                  </a:lnTo>
                  <a:lnTo>
                    <a:pt x="67" y="192"/>
                  </a:lnTo>
                  <a:lnTo>
                    <a:pt x="90" y="215"/>
                  </a:lnTo>
                  <a:lnTo>
                    <a:pt x="112" y="260"/>
                  </a:lnTo>
                  <a:lnTo>
                    <a:pt x="124" y="271"/>
                  </a:lnTo>
                  <a:lnTo>
                    <a:pt x="135" y="260"/>
                  </a:lnTo>
                  <a:lnTo>
                    <a:pt x="158" y="294"/>
                  </a:lnTo>
                  <a:lnTo>
                    <a:pt x="169" y="316"/>
                  </a:lnTo>
                  <a:lnTo>
                    <a:pt x="237" y="260"/>
                  </a:lnTo>
                  <a:lnTo>
                    <a:pt x="270" y="260"/>
                  </a:lnTo>
                </a:path>
              </a:pathLst>
            </a:custGeom>
            <a:solidFill>
              <a:srgbClr val="FFFFFF"/>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836"/>
            </a:p>
          </p:txBody>
        </p:sp>
        <p:sp>
          <p:nvSpPr>
            <p:cNvPr id="48200" name="Freeform 57"/>
            <p:cNvSpPr>
              <a:spLocks noChangeAspect="1"/>
            </p:cNvSpPr>
            <p:nvPr>
              <p:custDataLst>
                <p:tags r:id="rId54"/>
              </p:custDataLst>
            </p:nvPr>
          </p:nvSpPr>
          <p:spPr bwMode="auto">
            <a:xfrm>
              <a:off x="3126769" y="4835940"/>
              <a:ext cx="270682" cy="310333"/>
            </a:xfrm>
            <a:custGeom>
              <a:avLst/>
              <a:gdLst>
                <a:gd name="T0" fmla="*/ 0 w 103"/>
                <a:gd name="T1" fmla="*/ 0 h 125"/>
                <a:gd name="T2" fmla="*/ 0 w 103"/>
                <a:gd name="T3" fmla="*/ 0 h 125"/>
                <a:gd name="T4" fmla="*/ 0 w 103"/>
                <a:gd name="T5" fmla="*/ 0 h 125"/>
                <a:gd name="T6" fmla="*/ 0 w 103"/>
                <a:gd name="T7" fmla="*/ 0 h 125"/>
                <a:gd name="T8" fmla="*/ 0 w 103"/>
                <a:gd name="T9" fmla="*/ 0 h 125"/>
                <a:gd name="T10" fmla="*/ 0 w 103"/>
                <a:gd name="T11" fmla="*/ 0 h 125"/>
                <a:gd name="T12" fmla="*/ 0 w 103"/>
                <a:gd name="T13" fmla="*/ 0 h 125"/>
                <a:gd name="T14" fmla="*/ 0 w 103"/>
                <a:gd name="T15" fmla="*/ 0 h 125"/>
                <a:gd name="T16" fmla="*/ 0 w 103"/>
                <a:gd name="T17" fmla="*/ 0 h 125"/>
                <a:gd name="T18" fmla="*/ 0 w 103"/>
                <a:gd name="T19" fmla="*/ 0 h 125"/>
                <a:gd name="T20" fmla="*/ 0 w 103"/>
                <a:gd name="T21" fmla="*/ 0 h 125"/>
                <a:gd name="T22" fmla="*/ 0 w 103"/>
                <a:gd name="T23" fmla="*/ 0 h 125"/>
                <a:gd name="T24" fmla="*/ 0 w 103"/>
                <a:gd name="T25" fmla="*/ 0 h 125"/>
                <a:gd name="T26" fmla="*/ 0 w 103"/>
                <a:gd name="T27" fmla="*/ 0 h 125"/>
                <a:gd name="T28" fmla="*/ 0 w 103"/>
                <a:gd name="T29" fmla="*/ 0 h 125"/>
                <a:gd name="T30" fmla="*/ 0 w 103"/>
                <a:gd name="T31" fmla="*/ 0 h 125"/>
                <a:gd name="T32" fmla="*/ 0 w 103"/>
                <a:gd name="T33" fmla="*/ 0 h 125"/>
                <a:gd name="T34" fmla="*/ 0 w 103"/>
                <a:gd name="T35" fmla="*/ 0 h 125"/>
                <a:gd name="T36" fmla="*/ 0 w 103"/>
                <a:gd name="T37" fmla="*/ 0 h 125"/>
                <a:gd name="T38" fmla="*/ 0 w 103"/>
                <a:gd name="T39" fmla="*/ 0 h 125"/>
                <a:gd name="T40" fmla="*/ 0 w 103"/>
                <a:gd name="T41" fmla="*/ 0 h 125"/>
                <a:gd name="T42" fmla="*/ 0 w 103"/>
                <a:gd name="T43" fmla="*/ 0 h 125"/>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103" h="125">
                  <a:moveTo>
                    <a:pt x="0" y="124"/>
                  </a:moveTo>
                  <a:lnTo>
                    <a:pt x="34" y="124"/>
                  </a:lnTo>
                  <a:lnTo>
                    <a:pt x="46" y="112"/>
                  </a:lnTo>
                  <a:lnTo>
                    <a:pt x="68" y="101"/>
                  </a:lnTo>
                  <a:lnTo>
                    <a:pt x="79" y="90"/>
                  </a:lnTo>
                  <a:lnTo>
                    <a:pt x="79" y="79"/>
                  </a:lnTo>
                  <a:lnTo>
                    <a:pt x="91" y="56"/>
                  </a:lnTo>
                  <a:lnTo>
                    <a:pt x="102" y="45"/>
                  </a:lnTo>
                  <a:lnTo>
                    <a:pt x="91" y="22"/>
                  </a:lnTo>
                  <a:lnTo>
                    <a:pt x="68" y="11"/>
                  </a:lnTo>
                  <a:lnTo>
                    <a:pt x="57" y="0"/>
                  </a:lnTo>
                  <a:lnTo>
                    <a:pt x="34" y="22"/>
                  </a:lnTo>
                  <a:lnTo>
                    <a:pt x="46" y="33"/>
                  </a:lnTo>
                  <a:lnTo>
                    <a:pt x="57" y="45"/>
                  </a:lnTo>
                  <a:lnTo>
                    <a:pt x="57" y="56"/>
                  </a:lnTo>
                  <a:lnTo>
                    <a:pt x="57" y="67"/>
                  </a:lnTo>
                  <a:lnTo>
                    <a:pt x="46" y="67"/>
                  </a:lnTo>
                  <a:lnTo>
                    <a:pt x="34" y="79"/>
                  </a:lnTo>
                  <a:lnTo>
                    <a:pt x="34" y="90"/>
                  </a:lnTo>
                  <a:lnTo>
                    <a:pt x="23" y="101"/>
                  </a:lnTo>
                  <a:lnTo>
                    <a:pt x="12" y="112"/>
                  </a:lnTo>
                  <a:lnTo>
                    <a:pt x="0" y="124"/>
                  </a:lnTo>
                </a:path>
              </a:pathLst>
            </a:custGeom>
            <a:solidFill>
              <a:srgbClr val="FFFFFF"/>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836"/>
            </a:p>
          </p:txBody>
        </p:sp>
        <p:sp>
          <p:nvSpPr>
            <p:cNvPr id="48201" name="Freeform 58"/>
            <p:cNvSpPr>
              <a:spLocks noChangeAspect="1"/>
            </p:cNvSpPr>
            <p:nvPr>
              <p:custDataLst>
                <p:tags r:id="rId55"/>
              </p:custDataLst>
            </p:nvPr>
          </p:nvSpPr>
          <p:spPr bwMode="auto">
            <a:xfrm>
              <a:off x="2743853" y="5139671"/>
              <a:ext cx="382916" cy="171674"/>
            </a:xfrm>
            <a:custGeom>
              <a:avLst/>
              <a:gdLst>
                <a:gd name="T0" fmla="*/ 0 w 147"/>
                <a:gd name="T1" fmla="*/ 0 h 68"/>
                <a:gd name="T2" fmla="*/ 0 w 147"/>
                <a:gd name="T3" fmla="*/ 0 h 68"/>
                <a:gd name="T4" fmla="*/ 0 w 147"/>
                <a:gd name="T5" fmla="*/ 0 h 68"/>
                <a:gd name="T6" fmla="*/ 0 w 147"/>
                <a:gd name="T7" fmla="*/ 0 h 68"/>
                <a:gd name="T8" fmla="*/ 0 w 147"/>
                <a:gd name="T9" fmla="*/ 0 h 68"/>
                <a:gd name="T10" fmla="*/ 0 w 147"/>
                <a:gd name="T11" fmla="*/ 0 h 68"/>
                <a:gd name="T12" fmla="*/ 0 w 147"/>
                <a:gd name="T13" fmla="*/ 0 h 68"/>
                <a:gd name="T14" fmla="*/ 0 w 147"/>
                <a:gd name="T15" fmla="*/ 0 h 68"/>
                <a:gd name="T16" fmla="*/ 0 w 147"/>
                <a:gd name="T17" fmla="*/ 0 h 68"/>
                <a:gd name="T18" fmla="*/ 0 w 147"/>
                <a:gd name="T19" fmla="*/ 0 h 68"/>
                <a:gd name="T20" fmla="*/ 0 w 147"/>
                <a:gd name="T21" fmla="*/ 0 h 68"/>
                <a:gd name="T22" fmla="*/ 0 w 147"/>
                <a:gd name="T23" fmla="*/ 0 h 68"/>
                <a:gd name="T24" fmla="*/ 0 w 147"/>
                <a:gd name="T25" fmla="*/ 0 h 68"/>
                <a:gd name="T26" fmla="*/ 0 w 147"/>
                <a:gd name="T27" fmla="*/ 0 h 6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47" h="68">
                  <a:moveTo>
                    <a:pt x="0" y="11"/>
                  </a:moveTo>
                  <a:lnTo>
                    <a:pt x="11" y="0"/>
                  </a:lnTo>
                  <a:lnTo>
                    <a:pt x="34" y="34"/>
                  </a:lnTo>
                  <a:lnTo>
                    <a:pt x="45" y="56"/>
                  </a:lnTo>
                  <a:lnTo>
                    <a:pt x="113" y="0"/>
                  </a:lnTo>
                  <a:lnTo>
                    <a:pt x="146" y="0"/>
                  </a:lnTo>
                  <a:lnTo>
                    <a:pt x="135" y="11"/>
                  </a:lnTo>
                  <a:lnTo>
                    <a:pt x="135" y="22"/>
                  </a:lnTo>
                  <a:lnTo>
                    <a:pt x="101" y="34"/>
                  </a:lnTo>
                  <a:lnTo>
                    <a:pt x="67" y="67"/>
                  </a:lnTo>
                  <a:lnTo>
                    <a:pt x="45" y="67"/>
                  </a:lnTo>
                  <a:lnTo>
                    <a:pt x="22" y="67"/>
                  </a:lnTo>
                  <a:lnTo>
                    <a:pt x="11" y="67"/>
                  </a:lnTo>
                  <a:lnTo>
                    <a:pt x="0" y="11"/>
                  </a:lnTo>
                </a:path>
              </a:pathLst>
            </a:custGeom>
            <a:solidFill>
              <a:srgbClr val="FFFFFF"/>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836"/>
            </a:p>
          </p:txBody>
        </p:sp>
        <p:sp>
          <p:nvSpPr>
            <p:cNvPr id="48202" name="Freeform 59"/>
            <p:cNvSpPr>
              <a:spLocks noChangeAspect="1"/>
            </p:cNvSpPr>
            <p:nvPr>
              <p:custDataLst>
                <p:tags r:id="rId56"/>
              </p:custDataLst>
            </p:nvPr>
          </p:nvSpPr>
          <p:spPr bwMode="auto">
            <a:xfrm>
              <a:off x="2776863" y="4175656"/>
              <a:ext cx="732823" cy="660284"/>
            </a:xfrm>
            <a:custGeom>
              <a:avLst/>
              <a:gdLst>
                <a:gd name="T0" fmla="*/ 0 w 283"/>
                <a:gd name="T1" fmla="*/ 0 h 272"/>
                <a:gd name="T2" fmla="*/ 0 w 283"/>
                <a:gd name="T3" fmla="*/ 0 h 272"/>
                <a:gd name="T4" fmla="*/ 0 w 283"/>
                <a:gd name="T5" fmla="*/ 0 h 272"/>
                <a:gd name="T6" fmla="*/ 0 w 283"/>
                <a:gd name="T7" fmla="*/ 0 h 272"/>
                <a:gd name="T8" fmla="*/ 0 w 283"/>
                <a:gd name="T9" fmla="*/ 0 h 272"/>
                <a:gd name="T10" fmla="*/ 0 w 283"/>
                <a:gd name="T11" fmla="*/ 0 h 272"/>
                <a:gd name="T12" fmla="*/ 0 w 283"/>
                <a:gd name="T13" fmla="*/ 0 h 272"/>
                <a:gd name="T14" fmla="*/ 0 w 283"/>
                <a:gd name="T15" fmla="*/ 0 h 272"/>
                <a:gd name="T16" fmla="*/ 0 w 283"/>
                <a:gd name="T17" fmla="*/ 0 h 272"/>
                <a:gd name="T18" fmla="*/ 0 w 283"/>
                <a:gd name="T19" fmla="*/ 0 h 272"/>
                <a:gd name="T20" fmla="*/ 0 w 283"/>
                <a:gd name="T21" fmla="*/ 0 h 272"/>
                <a:gd name="T22" fmla="*/ 0 w 283"/>
                <a:gd name="T23" fmla="*/ 0 h 272"/>
                <a:gd name="T24" fmla="*/ 0 w 283"/>
                <a:gd name="T25" fmla="*/ 0 h 272"/>
                <a:gd name="T26" fmla="*/ 0 w 283"/>
                <a:gd name="T27" fmla="*/ 0 h 272"/>
                <a:gd name="T28" fmla="*/ 0 w 283"/>
                <a:gd name="T29" fmla="*/ 0 h 272"/>
                <a:gd name="T30" fmla="*/ 0 w 283"/>
                <a:gd name="T31" fmla="*/ 0 h 272"/>
                <a:gd name="T32" fmla="*/ 0 w 283"/>
                <a:gd name="T33" fmla="*/ 0 h 272"/>
                <a:gd name="T34" fmla="*/ 0 w 283"/>
                <a:gd name="T35" fmla="*/ 0 h 272"/>
                <a:gd name="T36" fmla="*/ 0 w 283"/>
                <a:gd name="T37" fmla="*/ 0 h 272"/>
                <a:gd name="T38" fmla="*/ 0 w 283"/>
                <a:gd name="T39" fmla="*/ 0 h 272"/>
                <a:gd name="T40" fmla="*/ 0 w 283"/>
                <a:gd name="T41" fmla="*/ 0 h 272"/>
                <a:gd name="T42" fmla="*/ 0 w 283"/>
                <a:gd name="T43" fmla="*/ 0 h 272"/>
                <a:gd name="T44" fmla="*/ 0 w 283"/>
                <a:gd name="T45" fmla="*/ 0 h 272"/>
                <a:gd name="T46" fmla="*/ 0 w 283"/>
                <a:gd name="T47" fmla="*/ 0 h 272"/>
                <a:gd name="T48" fmla="*/ 0 w 283"/>
                <a:gd name="T49" fmla="*/ 0 h 272"/>
                <a:gd name="T50" fmla="*/ 0 w 283"/>
                <a:gd name="T51" fmla="*/ 0 h 272"/>
                <a:gd name="T52" fmla="*/ 0 w 283"/>
                <a:gd name="T53" fmla="*/ 0 h 272"/>
                <a:gd name="T54" fmla="*/ 0 w 283"/>
                <a:gd name="T55" fmla="*/ 0 h 272"/>
                <a:gd name="T56" fmla="*/ 0 w 283"/>
                <a:gd name="T57" fmla="*/ 0 h 272"/>
                <a:gd name="T58" fmla="*/ 0 w 283"/>
                <a:gd name="T59" fmla="*/ 0 h 272"/>
                <a:gd name="T60" fmla="*/ 0 w 283"/>
                <a:gd name="T61" fmla="*/ 0 h 272"/>
                <a:gd name="T62" fmla="*/ 0 w 283"/>
                <a:gd name="T63" fmla="*/ 0 h 272"/>
                <a:gd name="T64" fmla="*/ 0 w 283"/>
                <a:gd name="T65" fmla="*/ 0 h 272"/>
                <a:gd name="T66" fmla="*/ 0 w 283"/>
                <a:gd name="T67" fmla="*/ 0 h 272"/>
                <a:gd name="T68" fmla="*/ 0 w 283"/>
                <a:gd name="T69" fmla="*/ 0 h 272"/>
                <a:gd name="T70" fmla="*/ 0 w 283"/>
                <a:gd name="T71" fmla="*/ 0 h 272"/>
                <a:gd name="T72" fmla="*/ 0 w 283"/>
                <a:gd name="T73" fmla="*/ 0 h 272"/>
                <a:gd name="T74" fmla="*/ 0 w 283"/>
                <a:gd name="T75" fmla="*/ 0 h 272"/>
                <a:gd name="T76" fmla="*/ 0 w 283"/>
                <a:gd name="T77" fmla="*/ 0 h 272"/>
                <a:gd name="T78" fmla="*/ 0 w 283"/>
                <a:gd name="T79" fmla="*/ 0 h 272"/>
                <a:gd name="T80" fmla="*/ 0 w 283"/>
                <a:gd name="T81" fmla="*/ 0 h 272"/>
                <a:gd name="T82" fmla="*/ 0 w 283"/>
                <a:gd name="T83" fmla="*/ 0 h 272"/>
                <a:gd name="T84" fmla="*/ 0 w 283"/>
                <a:gd name="T85" fmla="*/ 0 h 272"/>
                <a:gd name="T86" fmla="*/ 0 w 283"/>
                <a:gd name="T87" fmla="*/ 0 h 272"/>
                <a:gd name="T88" fmla="*/ 0 w 283"/>
                <a:gd name="T89" fmla="*/ 0 h 272"/>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283" h="272">
                  <a:moveTo>
                    <a:pt x="271" y="271"/>
                  </a:moveTo>
                  <a:lnTo>
                    <a:pt x="203" y="259"/>
                  </a:lnTo>
                  <a:lnTo>
                    <a:pt x="192" y="237"/>
                  </a:lnTo>
                  <a:lnTo>
                    <a:pt x="169" y="248"/>
                  </a:lnTo>
                  <a:lnTo>
                    <a:pt x="147" y="248"/>
                  </a:lnTo>
                  <a:lnTo>
                    <a:pt x="113" y="214"/>
                  </a:lnTo>
                  <a:lnTo>
                    <a:pt x="102" y="192"/>
                  </a:lnTo>
                  <a:lnTo>
                    <a:pt x="79" y="180"/>
                  </a:lnTo>
                  <a:lnTo>
                    <a:pt x="68" y="180"/>
                  </a:lnTo>
                  <a:lnTo>
                    <a:pt x="56" y="169"/>
                  </a:lnTo>
                  <a:lnTo>
                    <a:pt x="56" y="135"/>
                  </a:lnTo>
                  <a:lnTo>
                    <a:pt x="34" y="135"/>
                  </a:lnTo>
                  <a:lnTo>
                    <a:pt x="23" y="113"/>
                  </a:lnTo>
                  <a:lnTo>
                    <a:pt x="34" y="90"/>
                  </a:lnTo>
                  <a:lnTo>
                    <a:pt x="34" y="68"/>
                  </a:lnTo>
                  <a:lnTo>
                    <a:pt x="23" y="68"/>
                  </a:lnTo>
                  <a:lnTo>
                    <a:pt x="11" y="56"/>
                  </a:lnTo>
                  <a:lnTo>
                    <a:pt x="0" y="0"/>
                  </a:lnTo>
                  <a:lnTo>
                    <a:pt x="11" y="0"/>
                  </a:lnTo>
                  <a:lnTo>
                    <a:pt x="23" y="11"/>
                  </a:lnTo>
                  <a:lnTo>
                    <a:pt x="34" y="11"/>
                  </a:lnTo>
                  <a:lnTo>
                    <a:pt x="45" y="11"/>
                  </a:lnTo>
                  <a:lnTo>
                    <a:pt x="56" y="0"/>
                  </a:lnTo>
                  <a:lnTo>
                    <a:pt x="68" y="0"/>
                  </a:lnTo>
                  <a:lnTo>
                    <a:pt x="56" y="11"/>
                  </a:lnTo>
                  <a:lnTo>
                    <a:pt x="79" y="23"/>
                  </a:lnTo>
                  <a:lnTo>
                    <a:pt x="79" y="45"/>
                  </a:lnTo>
                  <a:lnTo>
                    <a:pt x="113" y="68"/>
                  </a:lnTo>
                  <a:lnTo>
                    <a:pt x="158" y="68"/>
                  </a:lnTo>
                  <a:lnTo>
                    <a:pt x="158" y="45"/>
                  </a:lnTo>
                  <a:lnTo>
                    <a:pt x="169" y="34"/>
                  </a:lnTo>
                  <a:lnTo>
                    <a:pt x="203" y="34"/>
                  </a:lnTo>
                  <a:lnTo>
                    <a:pt x="260" y="68"/>
                  </a:lnTo>
                  <a:lnTo>
                    <a:pt x="260" y="79"/>
                  </a:lnTo>
                  <a:lnTo>
                    <a:pt x="260" y="90"/>
                  </a:lnTo>
                  <a:lnTo>
                    <a:pt x="248" y="113"/>
                  </a:lnTo>
                  <a:lnTo>
                    <a:pt x="248" y="147"/>
                  </a:lnTo>
                  <a:lnTo>
                    <a:pt x="271" y="158"/>
                  </a:lnTo>
                  <a:lnTo>
                    <a:pt x="271" y="169"/>
                  </a:lnTo>
                  <a:lnTo>
                    <a:pt x="260" y="192"/>
                  </a:lnTo>
                  <a:lnTo>
                    <a:pt x="271" y="203"/>
                  </a:lnTo>
                  <a:lnTo>
                    <a:pt x="282" y="214"/>
                  </a:lnTo>
                  <a:lnTo>
                    <a:pt x="282" y="237"/>
                  </a:lnTo>
                  <a:lnTo>
                    <a:pt x="271" y="248"/>
                  </a:lnTo>
                  <a:lnTo>
                    <a:pt x="271" y="271"/>
                  </a:lnTo>
                </a:path>
              </a:pathLst>
            </a:custGeom>
            <a:solidFill>
              <a:srgbClr val="FFFFFF"/>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836"/>
            </a:p>
          </p:txBody>
        </p:sp>
        <p:sp>
          <p:nvSpPr>
            <p:cNvPr id="48203" name="Freeform 60"/>
            <p:cNvSpPr>
              <a:spLocks noChangeAspect="1"/>
            </p:cNvSpPr>
            <p:nvPr>
              <p:custDataLst>
                <p:tags r:id="rId57"/>
              </p:custDataLst>
            </p:nvPr>
          </p:nvSpPr>
          <p:spPr bwMode="auto">
            <a:xfrm>
              <a:off x="3417257" y="4228479"/>
              <a:ext cx="567773" cy="442390"/>
            </a:xfrm>
            <a:custGeom>
              <a:avLst/>
              <a:gdLst>
                <a:gd name="T0" fmla="*/ 0 w 216"/>
                <a:gd name="T1" fmla="*/ 0 h 181"/>
                <a:gd name="T2" fmla="*/ 0 w 216"/>
                <a:gd name="T3" fmla="*/ 0 h 181"/>
                <a:gd name="T4" fmla="*/ 0 w 216"/>
                <a:gd name="T5" fmla="*/ 0 h 181"/>
                <a:gd name="T6" fmla="*/ 0 w 216"/>
                <a:gd name="T7" fmla="*/ 0 h 181"/>
                <a:gd name="T8" fmla="*/ 0 w 216"/>
                <a:gd name="T9" fmla="*/ 0 h 181"/>
                <a:gd name="T10" fmla="*/ 0 w 216"/>
                <a:gd name="T11" fmla="*/ 0 h 181"/>
                <a:gd name="T12" fmla="*/ 0 w 216"/>
                <a:gd name="T13" fmla="*/ 0 h 181"/>
                <a:gd name="T14" fmla="*/ 0 w 216"/>
                <a:gd name="T15" fmla="*/ 0 h 181"/>
                <a:gd name="T16" fmla="*/ 0 w 216"/>
                <a:gd name="T17" fmla="*/ 0 h 181"/>
                <a:gd name="T18" fmla="*/ 0 w 216"/>
                <a:gd name="T19" fmla="*/ 0 h 181"/>
                <a:gd name="T20" fmla="*/ 0 w 216"/>
                <a:gd name="T21" fmla="*/ 0 h 181"/>
                <a:gd name="T22" fmla="*/ 0 w 216"/>
                <a:gd name="T23" fmla="*/ 0 h 181"/>
                <a:gd name="T24" fmla="*/ 0 w 216"/>
                <a:gd name="T25" fmla="*/ 0 h 181"/>
                <a:gd name="T26" fmla="*/ 0 w 216"/>
                <a:gd name="T27" fmla="*/ 0 h 181"/>
                <a:gd name="T28" fmla="*/ 0 w 216"/>
                <a:gd name="T29" fmla="*/ 0 h 181"/>
                <a:gd name="T30" fmla="*/ 0 w 216"/>
                <a:gd name="T31" fmla="*/ 0 h 181"/>
                <a:gd name="T32" fmla="*/ 0 w 216"/>
                <a:gd name="T33" fmla="*/ 0 h 181"/>
                <a:gd name="T34" fmla="*/ 0 w 216"/>
                <a:gd name="T35" fmla="*/ 0 h 181"/>
                <a:gd name="T36" fmla="*/ 0 w 216"/>
                <a:gd name="T37" fmla="*/ 0 h 181"/>
                <a:gd name="T38" fmla="*/ 0 w 216"/>
                <a:gd name="T39" fmla="*/ 0 h 181"/>
                <a:gd name="T40" fmla="*/ 0 w 216"/>
                <a:gd name="T41" fmla="*/ 0 h 181"/>
                <a:gd name="T42" fmla="*/ 0 w 216"/>
                <a:gd name="T43" fmla="*/ 0 h 181"/>
                <a:gd name="T44" fmla="*/ 0 w 216"/>
                <a:gd name="T45" fmla="*/ 0 h 181"/>
                <a:gd name="T46" fmla="*/ 0 w 216"/>
                <a:gd name="T47" fmla="*/ 0 h 181"/>
                <a:gd name="T48" fmla="*/ 0 w 216"/>
                <a:gd name="T49" fmla="*/ 0 h 181"/>
                <a:gd name="T50" fmla="*/ 0 w 216"/>
                <a:gd name="T51" fmla="*/ 0 h 181"/>
                <a:gd name="T52" fmla="*/ 0 w 216"/>
                <a:gd name="T53" fmla="*/ 0 h 181"/>
                <a:gd name="T54" fmla="*/ 0 w 216"/>
                <a:gd name="T55" fmla="*/ 0 h 181"/>
                <a:gd name="T56" fmla="*/ 0 w 216"/>
                <a:gd name="T57" fmla="*/ 0 h 181"/>
                <a:gd name="T58" fmla="*/ 0 w 216"/>
                <a:gd name="T59" fmla="*/ 0 h 181"/>
                <a:gd name="T60" fmla="*/ 0 w 216"/>
                <a:gd name="T61" fmla="*/ 0 h 181"/>
                <a:gd name="T62" fmla="*/ 0 w 216"/>
                <a:gd name="T63" fmla="*/ 0 h 181"/>
                <a:gd name="T64" fmla="*/ 0 w 216"/>
                <a:gd name="T65" fmla="*/ 0 h 181"/>
                <a:gd name="T66" fmla="*/ 0 w 216"/>
                <a:gd name="T67" fmla="*/ 0 h 181"/>
                <a:gd name="T68" fmla="*/ 0 w 216"/>
                <a:gd name="T69" fmla="*/ 0 h 181"/>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216" h="181">
                  <a:moveTo>
                    <a:pt x="204" y="33"/>
                  </a:moveTo>
                  <a:lnTo>
                    <a:pt x="181" y="45"/>
                  </a:lnTo>
                  <a:lnTo>
                    <a:pt x="158" y="45"/>
                  </a:lnTo>
                  <a:lnTo>
                    <a:pt x="158" y="67"/>
                  </a:lnTo>
                  <a:lnTo>
                    <a:pt x="147" y="90"/>
                  </a:lnTo>
                  <a:lnTo>
                    <a:pt x="147" y="101"/>
                  </a:lnTo>
                  <a:lnTo>
                    <a:pt x="136" y="112"/>
                  </a:lnTo>
                  <a:lnTo>
                    <a:pt x="136" y="124"/>
                  </a:lnTo>
                  <a:lnTo>
                    <a:pt x="91" y="135"/>
                  </a:lnTo>
                  <a:lnTo>
                    <a:pt x="91" y="146"/>
                  </a:lnTo>
                  <a:lnTo>
                    <a:pt x="91" y="169"/>
                  </a:lnTo>
                  <a:lnTo>
                    <a:pt x="34" y="180"/>
                  </a:lnTo>
                  <a:lnTo>
                    <a:pt x="12" y="169"/>
                  </a:lnTo>
                  <a:lnTo>
                    <a:pt x="23" y="146"/>
                  </a:lnTo>
                  <a:lnTo>
                    <a:pt x="23" y="135"/>
                  </a:lnTo>
                  <a:lnTo>
                    <a:pt x="0" y="124"/>
                  </a:lnTo>
                  <a:lnTo>
                    <a:pt x="0" y="90"/>
                  </a:lnTo>
                  <a:lnTo>
                    <a:pt x="12" y="67"/>
                  </a:lnTo>
                  <a:lnTo>
                    <a:pt x="12" y="56"/>
                  </a:lnTo>
                  <a:lnTo>
                    <a:pt x="34" y="56"/>
                  </a:lnTo>
                  <a:lnTo>
                    <a:pt x="34" y="45"/>
                  </a:lnTo>
                  <a:lnTo>
                    <a:pt x="57" y="45"/>
                  </a:lnTo>
                  <a:lnTo>
                    <a:pt x="68" y="33"/>
                  </a:lnTo>
                  <a:lnTo>
                    <a:pt x="79" y="33"/>
                  </a:lnTo>
                  <a:lnTo>
                    <a:pt x="79" y="22"/>
                  </a:lnTo>
                  <a:lnTo>
                    <a:pt x="113" y="33"/>
                  </a:lnTo>
                  <a:lnTo>
                    <a:pt x="136" y="33"/>
                  </a:lnTo>
                  <a:lnTo>
                    <a:pt x="136" y="22"/>
                  </a:lnTo>
                  <a:lnTo>
                    <a:pt x="147" y="22"/>
                  </a:lnTo>
                  <a:lnTo>
                    <a:pt x="147" y="0"/>
                  </a:lnTo>
                  <a:lnTo>
                    <a:pt x="158" y="11"/>
                  </a:lnTo>
                  <a:lnTo>
                    <a:pt x="170" y="45"/>
                  </a:lnTo>
                  <a:lnTo>
                    <a:pt x="192" y="22"/>
                  </a:lnTo>
                  <a:lnTo>
                    <a:pt x="215" y="33"/>
                  </a:lnTo>
                  <a:lnTo>
                    <a:pt x="204" y="33"/>
                  </a:lnTo>
                </a:path>
              </a:pathLst>
            </a:custGeom>
            <a:solidFill>
              <a:srgbClr val="FFFFFF"/>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836"/>
            </a:p>
          </p:txBody>
        </p:sp>
        <p:sp>
          <p:nvSpPr>
            <p:cNvPr id="48204" name="Freeform 61"/>
            <p:cNvSpPr>
              <a:spLocks noChangeAspect="1"/>
            </p:cNvSpPr>
            <p:nvPr>
              <p:custDataLst>
                <p:tags r:id="rId58"/>
              </p:custDataLst>
            </p:nvPr>
          </p:nvSpPr>
          <p:spPr bwMode="auto">
            <a:xfrm>
              <a:off x="3450267" y="4307713"/>
              <a:ext cx="653599" cy="587653"/>
            </a:xfrm>
            <a:custGeom>
              <a:avLst/>
              <a:gdLst>
                <a:gd name="T0" fmla="*/ 0 w 249"/>
                <a:gd name="T1" fmla="*/ 0 h 238"/>
                <a:gd name="T2" fmla="*/ 0 w 249"/>
                <a:gd name="T3" fmla="*/ 0 h 238"/>
                <a:gd name="T4" fmla="*/ 0 w 249"/>
                <a:gd name="T5" fmla="*/ 0 h 238"/>
                <a:gd name="T6" fmla="*/ 0 w 249"/>
                <a:gd name="T7" fmla="*/ 0 h 238"/>
                <a:gd name="T8" fmla="*/ 0 w 249"/>
                <a:gd name="T9" fmla="*/ 0 h 238"/>
                <a:gd name="T10" fmla="*/ 0 w 249"/>
                <a:gd name="T11" fmla="*/ 0 h 238"/>
                <a:gd name="T12" fmla="*/ 0 w 249"/>
                <a:gd name="T13" fmla="*/ 0 h 238"/>
                <a:gd name="T14" fmla="*/ 0 w 249"/>
                <a:gd name="T15" fmla="*/ 0 h 238"/>
                <a:gd name="T16" fmla="*/ 0 w 249"/>
                <a:gd name="T17" fmla="*/ 0 h 238"/>
                <a:gd name="T18" fmla="*/ 0 w 249"/>
                <a:gd name="T19" fmla="*/ 0 h 238"/>
                <a:gd name="T20" fmla="*/ 0 w 249"/>
                <a:gd name="T21" fmla="*/ 0 h 238"/>
                <a:gd name="T22" fmla="*/ 0 w 249"/>
                <a:gd name="T23" fmla="*/ 0 h 238"/>
                <a:gd name="T24" fmla="*/ 0 w 249"/>
                <a:gd name="T25" fmla="*/ 0 h 238"/>
                <a:gd name="T26" fmla="*/ 0 w 249"/>
                <a:gd name="T27" fmla="*/ 0 h 238"/>
                <a:gd name="T28" fmla="*/ 0 w 249"/>
                <a:gd name="T29" fmla="*/ 0 h 238"/>
                <a:gd name="T30" fmla="*/ 0 w 249"/>
                <a:gd name="T31" fmla="*/ 0 h 238"/>
                <a:gd name="T32" fmla="*/ 0 w 249"/>
                <a:gd name="T33" fmla="*/ 0 h 238"/>
                <a:gd name="T34" fmla="*/ 0 w 249"/>
                <a:gd name="T35" fmla="*/ 0 h 238"/>
                <a:gd name="T36" fmla="*/ 0 w 249"/>
                <a:gd name="T37" fmla="*/ 0 h 238"/>
                <a:gd name="T38" fmla="*/ 0 w 249"/>
                <a:gd name="T39" fmla="*/ 0 h 238"/>
                <a:gd name="T40" fmla="*/ 0 w 249"/>
                <a:gd name="T41" fmla="*/ 0 h 238"/>
                <a:gd name="T42" fmla="*/ 0 w 249"/>
                <a:gd name="T43" fmla="*/ 0 h 238"/>
                <a:gd name="T44" fmla="*/ 0 w 249"/>
                <a:gd name="T45" fmla="*/ 0 h 238"/>
                <a:gd name="T46" fmla="*/ 0 w 249"/>
                <a:gd name="T47" fmla="*/ 0 h 238"/>
                <a:gd name="T48" fmla="*/ 0 w 249"/>
                <a:gd name="T49" fmla="*/ 0 h 238"/>
                <a:gd name="T50" fmla="*/ 0 w 249"/>
                <a:gd name="T51" fmla="*/ 0 h 238"/>
                <a:gd name="T52" fmla="*/ 0 w 249"/>
                <a:gd name="T53" fmla="*/ 0 h 238"/>
                <a:gd name="T54" fmla="*/ 0 w 249"/>
                <a:gd name="T55" fmla="*/ 0 h 238"/>
                <a:gd name="T56" fmla="*/ 0 w 249"/>
                <a:gd name="T57" fmla="*/ 0 h 238"/>
                <a:gd name="T58" fmla="*/ 0 w 249"/>
                <a:gd name="T59" fmla="*/ 0 h 238"/>
                <a:gd name="T60" fmla="*/ 0 w 249"/>
                <a:gd name="T61" fmla="*/ 0 h 238"/>
                <a:gd name="T62" fmla="*/ 0 w 249"/>
                <a:gd name="T63" fmla="*/ 0 h 238"/>
                <a:gd name="T64" fmla="*/ 0 w 249"/>
                <a:gd name="T65" fmla="*/ 0 h 238"/>
                <a:gd name="T66" fmla="*/ 0 w 249"/>
                <a:gd name="T67" fmla="*/ 0 h 238"/>
                <a:gd name="T68" fmla="*/ 0 w 249"/>
                <a:gd name="T69" fmla="*/ 0 h 238"/>
                <a:gd name="T70" fmla="*/ 0 w 249"/>
                <a:gd name="T71" fmla="*/ 0 h 238"/>
                <a:gd name="T72" fmla="*/ 0 w 249"/>
                <a:gd name="T73" fmla="*/ 0 h 238"/>
                <a:gd name="T74" fmla="*/ 0 w 249"/>
                <a:gd name="T75" fmla="*/ 0 h 238"/>
                <a:gd name="T76" fmla="*/ 0 w 249"/>
                <a:gd name="T77" fmla="*/ 0 h 238"/>
                <a:gd name="T78" fmla="*/ 0 w 249"/>
                <a:gd name="T79" fmla="*/ 0 h 238"/>
                <a:gd name="T80" fmla="*/ 0 w 249"/>
                <a:gd name="T81" fmla="*/ 0 h 238"/>
                <a:gd name="T82" fmla="*/ 0 w 249"/>
                <a:gd name="T83" fmla="*/ 0 h 238"/>
                <a:gd name="T84" fmla="*/ 0 w 249"/>
                <a:gd name="T85" fmla="*/ 0 h 238"/>
                <a:gd name="T86" fmla="*/ 0 w 249"/>
                <a:gd name="T87" fmla="*/ 0 h 238"/>
                <a:gd name="T88" fmla="*/ 0 w 249"/>
                <a:gd name="T89" fmla="*/ 0 h 238"/>
                <a:gd name="T90" fmla="*/ 0 w 249"/>
                <a:gd name="T91" fmla="*/ 0 h 238"/>
                <a:gd name="T92" fmla="*/ 0 w 249"/>
                <a:gd name="T93" fmla="*/ 0 h 238"/>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249" h="238">
                  <a:moveTo>
                    <a:pt x="11" y="215"/>
                  </a:moveTo>
                  <a:lnTo>
                    <a:pt x="11" y="192"/>
                  </a:lnTo>
                  <a:lnTo>
                    <a:pt x="22" y="181"/>
                  </a:lnTo>
                  <a:lnTo>
                    <a:pt x="22" y="158"/>
                  </a:lnTo>
                  <a:lnTo>
                    <a:pt x="11" y="147"/>
                  </a:lnTo>
                  <a:lnTo>
                    <a:pt x="0" y="136"/>
                  </a:lnTo>
                  <a:lnTo>
                    <a:pt x="22" y="147"/>
                  </a:lnTo>
                  <a:lnTo>
                    <a:pt x="79" y="136"/>
                  </a:lnTo>
                  <a:lnTo>
                    <a:pt x="79" y="113"/>
                  </a:lnTo>
                  <a:lnTo>
                    <a:pt x="79" y="102"/>
                  </a:lnTo>
                  <a:lnTo>
                    <a:pt x="124" y="91"/>
                  </a:lnTo>
                  <a:lnTo>
                    <a:pt x="124" y="79"/>
                  </a:lnTo>
                  <a:lnTo>
                    <a:pt x="135" y="68"/>
                  </a:lnTo>
                  <a:lnTo>
                    <a:pt x="135" y="57"/>
                  </a:lnTo>
                  <a:lnTo>
                    <a:pt x="146" y="34"/>
                  </a:lnTo>
                  <a:lnTo>
                    <a:pt x="146" y="12"/>
                  </a:lnTo>
                  <a:lnTo>
                    <a:pt x="169" y="12"/>
                  </a:lnTo>
                  <a:lnTo>
                    <a:pt x="192" y="0"/>
                  </a:lnTo>
                  <a:lnTo>
                    <a:pt x="214" y="12"/>
                  </a:lnTo>
                  <a:lnTo>
                    <a:pt x="225" y="12"/>
                  </a:lnTo>
                  <a:lnTo>
                    <a:pt x="248" y="23"/>
                  </a:lnTo>
                  <a:lnTo>
                    <a:pt x="237" y="34"/>
                  </a:lnTo>
                  <a:lnTo>
                    <a:pt x="214" y="46"/>
                  </a:lnTo>
                  <a:lnTo>
                    <a:pt x="192" y="34"/>
                  </a:lnTo>
                  <a:lnTo>
                    <a:pt x="192" y="46"/>
                  </a:lnTo>
                  <a:lnTo>
                    <a:pt x="192" y="57"/>
                  </a:lnTo>
                  <a:lnTo>
                    <a:pt x="192" y="79"/>
                  </a:lnTo>
                  <a:lnTo>
                    <a:pt x="203" y="79"/>
                  </a:lnTo>
                  <a:lnTo>
                    <a:pt x="203" y="91"/>
                  </a:lnTo>
                  <a:lnTo>
                    <a:pt x="192" y="91"/>
                  </a:lnTo>
                  <a:lnTo>
                    <a:pt x="203" y="102"/>
                  </a:lnTo>
                  <a:lnTo>
                    <a:pt x="158" y="158"/>
                  </a:lnTo>
                  <a:lnTo>
                    <a:pt x="135" y="170"/>
                  </a:lnTo>
                  <a:lnTo>
                    <a:pt x="135" y="158"/>
                  </a:lnTo>
                  <a:lnTo>
                    <a:pt x="124" y="170"/>
                  </a:lnTo>
                  <a:lnTo>
                    <a:pt x="124" y="192"/>
                  </a:lnTo>
                  <a:lnTo>
                    <a:pt x="135" y="192"/>
                  </a:lnTo>
                  <a:lnTo>
                    <a:pt x="135" y="203"/>
                  </a:lnTo>
                  <a:lnTo>
                    <a:pt x="135" y="215"/>
                  </a:lnTo>
                  <a:lnTo>
                    <a:pt x="135" y="226"/>
                  </a:lnTo>
                  <a:lnTo>
                    <a:pt x="113" y="226"/>
                  </a:lnTo>
                  <a:lnTo>
                    <a:pt x="101" y="237"/>
                  </a:lnTo>
                  <a:lnTo>
                    <a:pt x="90" y="226"/>
                  </a:lnTo>
                  <a:lnTo>
                    <a:pt x="79" y="215"/>
                  </a:lnTo>
                  <a:lnTo>
                    <a:pt x="56" y="215"/>
                  </a:lnTo>
                  <a:lnTo>
                    <a:pt x="33" y="215"/>
                  </a:lnTo>
                  <a:lnTo>
                    <a:pt x="11" y="215"/>
                  </a:lnTo>
                </a:path>
              </a:pathLst>
            </a:custGeom>
            <a:solidFill>
              <a:srgbClr val="FFFFFF"/>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836"/>
            </a:p>
          </p:txBody>
        </p:sp>
        <p:sp>
          <p:nvSpPr>
            <p:cNvPr id="48205" name="Freeform 62"/>
            <p:cNvSpPr>
              <a:spLocks noChangeAspect="1"/>
            </p:cNvSpPr>
            <p:nvPr>
              <p:custDataLst>
                <p:tags r:id="rId59"/>
              </p:custDataLst>
            </p:nvPr>
          </p:nvSpPr>
          <p:spPr bwMode="auto">
            <a:xfrm>
              <a:off x="4189692" y="4618046"/>
              <a:ext cx="297090" cy="165071"/>
            </a:xfrm>
            <a:custGeom>
              <a:avLst/>
              <a:gdLst>
                <a:gd name="T0" fmla="*/ 0 w 114"/>
                <a:gd name="T1" fmla="*/ 0 h 69"/>
                <a:gd name="T2" fmla="*/ 0 w 114"/>
                <a:gd name="T3" fmla="*/ 0 h 69"/>
                <a:gd name="T4" fmla="*/ 0 w 114"/>
                <a:gd name="T5" fmla="*/ 0 h 69"/>
                <a:gd name="T6" fmla="*/ 0 w 114"/>
                <a:gd name="T7" fmla="*/ 0 h 69"/>
                <a:gd name="T8" fmla="*/ 0 w 114"/>
                <a:gd name="T9" fmla="*/ 0 h 69"/>
                <a:gd name="T10" fmla="*/ 0 w 114"/>
                <a:gd name="T11" fmla="*/ 0 h 69"/>
                <a:gd name="T12" fmla="*/ 0 w 114"/>
                <a:gd name="T13" fmla="*/ 0 h 69"/>
                <a:gd name="T14" fmla="*/ 0 w 114"/>
                <a:gd name="T15" fmla="*/ 0 h 69"/>
                <a:gd name="T16" fmla="*/ 0 w 114"/>
                <a:gd name="T17" fmla="*/ 0 h 69"/>
                <a:gd name="T18" fmla="*/ 0 w 114"/>
                <a:gd name="T19" fmla="*/ 0 h 69"/>
                <a:gd name="T20" fmla="*/ 0 w 114"/>
                <a:gd name="T21" fmla="*/ 0 h 69"/>
                <a:gd name="T22" fmla="*/ 0 w 114"/>
                <a:gd name="T23" fmla="*/ 0 h 69"/>
                <a:gd name="T24" fmla="*/ 0 w 114"/>
                <a:gd name="T25" fmla="*/ 0 h 6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14" h="69">
                  <a:moveTo>
                    <a:pt x="11" y="0"/>
                  </a:moveTo>
                  <a:lnTo>
                    <a:pt x="0" y="23"/>
                  </a:lnTo>
                  <a:lnTo>
                    <a:pt x="22" y="34"/>
                  </a:lnTo>
                  <a:lnTo>
                    <a:pt x="101" y="68"/>
                  </a:lnTo>
                  <a:lnTo>
                    <a:pt x="113" y="68"/>
                  </a:lnTo>
                  <a:lnTo>
                    <a:pt x="113" y="57"/>
                  </a:lnTo>
                  <a:lnTo>
                    <a:pt x="113" y="34"/>
                  </a:lnTo>
                  <a:lnTo>
                    <a:pt x="79" y="34"/>
                  </a:lnTo>
                  <a:lnTo>
                    <a:pt x="68" y="23"/>
                  </a:lnTo>
                  <a:lnTo>
                    <a:pt x="56" y="23"/>
                  </a:lnTo>
                  <a:lnTo>
                    <a:pt x="45" y="23"/>
                  </a:lnTo>
                  <a:lnTo>
                    <a:pt x="22" y="0"/>
                  </a:lnTo>
                  <a:lnTo>
                    <a:pt x="11" y="0"/>
                  </a:lnTo>
                </a:path>
              </a:pathLst>
            </a:custGeom>
            <a:solidFill>
              <a:schemeClr val="bg1"/>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836"/>
            </a:p>
          </p:txBody>
        </p:sp>
        <p:sp>
          <p:nvSpPr>
            <p:cNvPr id="48206" name="Freeform 63"/>
            <p:cNvSpPr>
              <a:spLocks noChangeAspect="1"/>
            </p:cNvSpPr>
            <p:nvPr>
              <p:custDataLst>
                <p:tags r:id="rId60"/>
              </p:custDataLst>
            </p:nvPr>
          </p:nvSpPr>
          <p:spPr bwMode="auto">
            <a:xfrm>
              <a:off x="4480180" y="4776514"/>
              <a:ext cx="178254" cy="198085"/>
            </a:xfrm>
            <a:custGeom>
              <a:avLst/>
              <a:gdLst>
                <a:gd name="T0" fmla="*/ 0 w 68"/>
                <a:gd name="T1" fmla="*/ 0 h 80"/>
                <a:gd name="T2" fmla="*/ 0 w 68"/>
                <a:gd name="T3" fmla="*/ 0 h 80"/>
                <a:gd name="T4" fmla="*/ 0 w 68"/>
                <a:gd name="T5" fmla="*/ 0 h 80"/>
                <a:gd name="T6" fmla="*/ 0 w 68"/>
                <a:gd name="T7" fmla="*/ 0 h 80"/>
                <a:gd name="T8" fmla="*/ 0 w 68"/>
                <a:gd name="T9" fmla="*/ 0 h 80"/>
                <a:gd name="T10" fmla="*/ 0 w 68"/>
                <a:gd name="T11" fmla="*/ 0 h 80"/>
                <a:gd name="T12" fmla="*/ 0 w 68"/>
                <a:gd name="T13" fmla="*/ 0 h 80"/>
                <a:gd name="T14" fmla="*/ 0 w 68"/>
                <a:gd name="T15" fmla="*/ 0 h 80"/>
                <a:gd name="T16" fmla="*/ 0 w 68"/>
                <a:gd name="T17" fmla="*/ 0 h 80"/>
                <a:gd name="T18" fmla="*/ 0 w 68"/>
                <a:gd name="T19" fmla="*/ 0 h 80"/>
                <a:gd name="T20" fmla="*/ 0 w 68"/>
                <a:gd name="T21" fmla="*/ 0 h 80"/>
                <a:gd name="T22" fmla="*/ 0 w 68"/>
                <a:gd name="T23" fmla="*/ 0 h 80"/>
                <a:gd name="T24" fmla="*/ 0 w 68"/>
                <a:gd name="T25" fmla="*/ 0 h 80"/>
                <a:gd name="T26" fmla="*/ 0 w 68"/>
                <a:gd name="T27" fmla="*/ 0 h 80"/>
                <a:gd name="T28" fmla="*/ 0 w 68"/>
                <a:gd name="T29" fmla="*/ 0 h 80"/>
                <a:gd name="T30" fmla="*/ 0 w 68"/>
                <a:gd name="T31" fmla="*/ 0 h 80"/>
                <a:gd name="T32" fmla="*/ 0 w 68"/>
                <a:gd name="T33" fmla="*/ 0 h 8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68" h="80">
                  <a:moveTo>
                    <a:pt x="67" y="79"/>
                  </a:moveTo>
                  <a:lnTo>
                    <a:pt x="67" y="45"/>
                  </a:lnTo>
                  <a:lnTo>
                    <a:pt x="67" y="34"/>
                  </a:lnTo>
                  <a:lnTo>
                    <a:pt x="56" y="45"/>
                  </a:lnTo>
                  <a:lnTo>
                    <a:pt x="45" y="45"/>
                  </a:lnTo>
                  <a:lnTo>
                    <a:pt x="45" y="34"/>
                  </a:lnTo>
                  <a:lnTo>
                    <a:pt x="67" y="23"/>
                  </a:lnTo>
                  <a:lnTo>
                    <a:pt x="22" y="23"/>
                  </a:lnTo>
                  <a:lnTo>
                    <a:pt x="22" y="0"/>
                  </a:lnTo>
                  <a:lnTo>
                    <a:pt x="11" y="0"/>
                  </a:lnTo>
                  <a:lnTo>
                    <a:pt x="11" y="11"/>
                  </a:lnTo>
                  <a:lnTo>
                    <a:pt x="0" y="23"/>
                  </a:lnTo>
                  <a:lnTo>
                    <a:pt x="11" y="23"/>
                  </a:lnTo>
                  <a:lnTo>
                    <a:pt x="22" y="79"/>
                  </a:lnTo>
                  <a:lnTo>
                    <a:pt x="34" y="79"/>
                  </a:lnTo>
                  <a:lnTo>
                    <a:pt x="56" y="56"/>
                  </a:lnTo>
                  <a:lnTo>
                    <a:pt x="67" y="79"/>
                  </a:lnTo>
                </a:path>
              </a:pathLst>
            </a:custGeom>
            <a:solidFill>
              <a:srgbClr val="FFFFFF"/>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836"/>
            </a:p>
          </p:txBody>
        </p:sp>
        <p:sp>
          <p:nvSpPr>
            <p:cNvPr id="48207" name="Freeform 64"/>
            <p:cNvSpPr>
              <a:spLocks noChangeAspect="1"/>
            </p:cNvSpPr>
            <p:nvPr>
              <p:custDataLst>
                <p:tags r:id="rId61"/>
              </p:custDataLst>
            </p:nvPr>
          </p:nvSpPr>
          <p:spPr bwMode="auto">
            <a:xfrm>
              <a:off x="4658435" y="4697280"/>
              <a:ext cx="330100" cy="752724"/>
            </a:xfrm>
            <a:custGeom>
              <a:avLst/>
              <a:gdLst>
                <a:gd name="T0" fmla="*/ 0 w 126"/>
                <a:gd name="T1" fmla="*/ 0 h 306"/>
                <a:gd name="T2" fmla="*/ 0 w 126"/>
                <a:gd name="T3" fmla="*/ 0 h 306"/>
                <a:gd name="T4" fmla="*/ 0 w 126"/>
                <a:gd name="T5" fmla="*/ 0 h 306"/>
                <a:gd name="T6" fmla="*/ 0 w 126"/>
                <a:gd name="T7" fmla="*/ 0 h 306"/>
                <a:gd name="T8" fmla="*/ 0 w 126"/>
                <a:gd name="T9" fmla="*/ 0 h 306"/>
                <a:gd name="T10" fmla="*/ 0 w 126"/>
                <a:gd name="T11" fmla="*/ 0 h 306"/>
                <a:gd name="T12" fmla="*/ 0 w 126"/>
                <a:gd name="T13" fmla="*/ 0 h 306"/>
                <a:gd name="T14" fmla="*/ 0 w 126"/>
                <a:gd name="T15" fmla="*/ 0 h 306"/>
                <a:gd name="T16" fmla="*/ 0 w 126"/>
                <a:gd name="T17" fmla="*/ 0 h 306"/>
                <a:gd name="T18" fmla="*/ 0 w 126"/>
                <a:gd name="T19" fmla="*/ 0 h 306"/>
                <a:gd name="T20" fmla="*/ 0 w 126"/>
                <a:gd name="T21" fmla="*/ 0 h 306"/>
                <a:gd name="T22" fmla="*/ 0 w 126"/>
                <a:gd name="T23" fmla="*/ 0 h 306"/>
                <a:gd name="T24" fmla="*/ 0 w 126"/>
                <a:gd name="T25" fmla="*/ 0 h 306"/>
                <a:gd name="T26" fmla="*/ 0 w 126"/>
                <a:gd name="T27" fmla="*/ 0 h 306"/>
                <a:gd name="T28" fmla="*/ 0 w 126"/>
                <a:gd name="T29" fmla="*/ 0 h 306"/>
                <a:gd name="T30" fmla="*/ 0 w 126"/>
                <a:gd name="T31" fmla="*/ 0 h 306"/>
                <a:gd name="T32" fmla="*/ 0 w 126"/>
                <a:gd name="T33" fmla="*/ 0 h 306"/>
                <a:gd name="T34" fmla="*/ 0 w 126"/>
                <a:gd name="T35" fmla="*/ 0 h 306"/>
                <a:gd name="T36" fmla="*/ 0 w 126"/>
                <a:gd name="T37" fmla="*/ 0 h 306"/>
                <a:gd name="T38" fmla="*/ 0 w 126"/>
                <a:gd name="T39" fmla="*/ 0 h 306"/>
                <a:gd name="T40" fmla="*/ 0 w 126"/>
                <a:gd name="T41" fmla="*/ 0 h 306"/>
                <a:gd name="T42" fmla="*/ 0 w 126"/>
                <a:gd name="T43" fmla="*/ 0 h 306"/>
                <a:gd name="T44" fmla="*/ 0 w 126"/>
                <a:gd name="T45" fmla="*/ 0 h 306"/>
                <a:gd name="T46" fmla="*/ 0 w 126"/>
                <a:gd name="T47" fmla="*/ 0 h 306"/>
                <a:gd name="T48" fmla="*/ 0 w 126"/>
                <a:gd name="T49" fmla="*/ 0 h 306"/>
                <a:gd name="T50" fmla="*/ 0 w 126"/>
                <a:gd name="T51" fmla="*/ 0 h 306"/>
                <a:gd name="T52" fmla="*/ 0 w 126"/>
                <a:gd name="T53" fmla="*/ 0 h 306"/>
                <a:gd name="T54" fmla="*/ 0 w 126"/>
                <a:gd name="T55" fmla="*/ 0 h 306"/>
                <a:gd name="T56" fmla="*/ 0 w 126"/>
                <a:gd name="T57" fmla="*/ 0 h 306"/>
                <a:gd name="T58" fmla="*/ 0 w 126"/>
                <a:gd name="T59" fmla="*/ 0 h 306"/>
                <a:gd name="T60" fmla="*/ 0 w 126"/>
                <a:gd name="T61" fmla="*/ 0 h 306"/>
                <a:gd name="T62" fmla="*/ 0 w 126"/>
                <a:gd name="T63" fmla="*/ 0 h 306"/>
                <a:gd name="T64" fmla="*/ 0 w 126"/>
                <a:gd name="T65" fmla="*/ 0 h 306"/>
                <a:gd name="T66" fmla="*/ 0 w 126"/>
                <a:gd name="T67" fmla="*/ 0 h 30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126" h="306">
                  <a:moveTo>
                    <a:pt x="91" y="305"/>
                  </a:moveTo>
                  <a:lnTo>
                    <a:pt x="113" y="260"/>
                  </a:lnTo>
                  <a:lnTo>
                    <a:pt x="102" y="237"/>
                  </a:lnTo>
                  <a:lnTo>
                    <a:pt x="91" y="215"/>
                  </a:lnTo>
                  <a:lnTo>
                    <a:pt x="91" y="192"/>
                  </a:lnTo>
                  <a:lnTo>
                    <a:pt x="79" y="169"/>
                  </a:lnTo>
                  <a:lnTo>
                    <a:pt x="79" y="147"/>
                  </a:lnTo>
                  <a:lnTo>
                    <a:pt x="113" y="124"/>
                  </a:lnTo>
                  <a:lnTo>
                    <a:pt x="125" y="113"/>
                  </a:lnTo>
                  <a:lnTo>
                    <a:pt x="113" y="113"/>
                  </a:lnTo>
                  <a:lnTo>
                    <a:pt x="102" y="102"/>
                  </a:lnTo>
                  <a:lnTo>
                    <a:pt x="102" y="90"/>
                  </a:lnTo>
                  <a:lnTo>
                    <a:pt x="102" y="79"/>
                  </a:lnTo>
                  <a:lnTo>
                    <a:pt x="91" y="68"/>
                  </a:lnTo>
                  <a:lnTo>
                    <a:pt x="79" y="68"/>
                  </a:lnTo>
                  <a:lnTo>
                    <a:pt x="91" y="23"/>
                  </a:lnTo>
                  <a:lnTo>
                    <a:pt x="79" y="0"/>
                  </a:lnTo>
                  <a:lnTo>
                    <a:pt x="68" y="0"/>
                  </a:lnTo>
                  <a:lnTo>
                    <a:pt x="68" y="23"/>
                  </a:lnTo>
                  <a:lnTo>
                    <a:pt x="57" y="23"/>
                  </a:lnTo>
                  <a:lnTo>
                    <a:pt x="46" y="34"/>
                  </a:lnTo>
                  <a:lnTo>
                    <a:pt x="23" y="68"/>
                  </a:lnTo>
                  <a:lnTo>
                    <a:pt x="12" y="79"/>
                  </a:lnTo>
                  <a:lnTo>
                    <a:pt x="0" y="102"/>
                  </a:lnTo>
                  <a:lnTo>
                    <a:pt x="0" y="113"/>
                  </a:lnTo>
                  <a:lnTo>
                    <a:pt x="12" y="136"/>
                  </a:lnTo>
                  <a:lnTo>
                    <a:pt x="23" y="158"/>
                  </a:lnTo>
                  <a:lnTo>
                    <a:pt x="34" y="181"/>
                  </a:lnTo>
                  <a:lnTo>
                    <a:pt x="23" y="192"/>
                  </a:lnTo>
                  <a:lnTo>
                    <a:pt x="46" y="203"/>
                  </a:lnTo>
                  <a:lnTo>
                    <a:pt x="57" y="181"/>
                  </a:lnTo>
                  <a:lnTo>
                    <a:pt x="68" y="192"/>
                  </a:lnTo>
                  <a:lnTo>
                    <a:pt x="91" y="248"/>
                  </a:lnTo>
                  <a:lnTo>
                    <a:pt x="91" y="305"/>
                  </a:lnTo>
                </a:path>
              </a:pathLst>
            </a:custGeom>
            <a:solidFill>
              <a:srgbClr val="FFFFFF"/>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836"/>
            </a:p>
          </p:txBody>
        </p:sp>
        <p:sp>
          <p:nvSpPr>
            <p:cNvPr id="48208" name="Freeform 65"/>
            <p:cNvSpPr>
              <a:spLocks noChangeAspect="1"/>
            </p:cNvSpPr>
            <p:nvPr>
              <p:custDataLst>
                <p:tags r:id="rId62"/>
              </p:custDataLst>
            </p:nvPr>
          </p:nvSpPr>
          <p:spPr bwMode="auto">
            <a:xfrm>
              <a:off x="4863097" y="5001011"/>
              <a:ext cx="297090" cy="587653"/>
            </a:xfrm>
            <a:custGeom>
              <a:avLst/>
              <a:gdLst>
                <a:gd name="T0" fmla="*/ 0 w 114"/>
                <a:gd name="T1" fmla="*/ 0 h 238"/>
                <a:gd name="T2" fmla="*/ 0 w 114"/>
                <a:gd name="T3" fmla="*/ 0 h 238"/>
                <a:gd name="T4" fmla="*/ 0 w 114"/>
                <a:gd name="T5" fmla="*/ 0 h 238"/>
                <a:gd name="T6" fmla="*/ 0 w 114"/>
                <a:gd name="T7" fmla="*/ 0 h 238"/>
                <a:gd name="T8" fmla="*/ 0 w 114"/>
                <a:gd name="T9" fmla="*/ 0 h 238"/>
                <a:gd name="T10" fmla="*/ 0 w 114"/>
                <a:gd name="T11" fmla="*/ 0 h 238"/>
                <a:gd name="T12" fmla="*/ 0 w 114"/>
                <a:gd name="T13" fmla="*/ 0 h 238"/>
                <a:gd name="T14" fmla="*/ 0 w 114"/>
                <a:gd name="T15" fmla="*/ 0 h 238"/>
                <a:gd name="T16" fmla="*/ 0 w 114"/>
                <a:gd name="T17" fmla="*/ 0 h 238"/>
                <a:gd name="T18" fmla="*/ 0 w 114"/>
                <a:gd name="T19" fmla="*/ 0 h 238"/>
                <a:gd name="T20" fmla="*/ 0 w 114"/>
                <a:gd name="T21" fmla="*/ 0 h 238"/>
                <a:gd name="T22" fmla="*/ 0 w 114"/>
                <a:gd name="T23" fmla="*/ 0 h 238"/>
                <a:gd name="T24" fmla="*/ 0 w 114"/>
                <a:gd name="T25" fmla="*/ 0 h 238"/>
                <a:gd name="T26" fmla="*/ 0 w 114"/>
                <a:gd name="T27" fmla="*/ 0 h 238"/>
                <a:gd name="T28" fmla="*/ 0 w 114"/>
                <a:gd name="T29" fmla="*/ 0 h 238"/>
                <a:gd name="T30" fmla="*/ 0 w 114"/>
                <a:gd name="T31" fmla="*/ 0 h 238"/>
                <a:gd name="T32" fmla="*/ 0 w 114"/>
                <a:gd name="T33" fmla="*/ 0 h 238"/>
                <a:gd name="T34" fmla="*/ 0 w 114"/>
                <a:gd name="T35" fmla="*/ 0 h 238"/>
                <a:gd name="T36" fmla="*/ 0 w 114"/>
                <a:gd name="T37" fmla="*/ 0 h 238"/>
                <a:gd name="T38" fmla="*/ 0 w 114"/>
                <a:gd name="T39" fmla="*/ 0 h 238"/>
                <a:gd name="T40" fmla="*/ 0 w 114"/>
                <a:gd name="T41" fmla="*/ 0 h 238"/>
                <a:gd name="T42" fmla="*/ 0 w 114"/>
                <a:gd name="T43" fmla="*/ 0 h 238"/>
                <a:gd name="T44" fmla="*/ 0 w 114"/>
                <a:gd name="T45" fmla="*/ 0 h 238"/>
                <a:gd name="T46" fmla="*/ 0 w 114"/>
                <a:gd name="T47" fmla="*/ 0 h 238"/>
                <a:gd name="T48" fmla="*/ 0 w 114"/>
                <a:gd name="T49" fmla="*/ 0 h 238"/>
                <a:gd name="T50" fmla="*/ 0 w 114"/>
                <a:gd name="T51" fmla="*/ 0 h 238"/>
                <a:gd name="T52" fmla="*/ 0 w 114"/>
                <a:gd name="T53" fmla="*/ 0 h 238"/>
                <a:gd name="T54" fmla="*/ 0 w 114"/>
                <a:gd name="T55" fmla="*/ 0 h 238"/>
                <a:gd name="T56" fmla="*/ 0 w 114"/>
                <a:gd name="T57" fmla="*/ 0 h 238"/>
                <a:gd name="T58" fmla="*/ 0 w 114"/>
                <a:gd name="T59" fmla="*/ 0 h 238"/>
                <a:gd name="T60" fmla="*/ 0 w 114"/>
                <a:gd name="T61" fmla="*/ 0 h 238"/>
                <a:gd name="T62" fmla="*/ 0 w 114"/>
                <a:gd name="T63" fmla="*/ 0 h 238"/>
                <a:gd name="T64" fmla="*/ 0 w 114"/>
                <a:gd name="T65" fmla="*/ 0 h 238"/>
                <a:gd name="T66" fmla="*/ 0 w 114"/>
                <a:gd name="T67" fmla="*/ 0 h 238"/>
                <a:gd name="T68" fmla="*/ 0 w 114"/>
                <a:gd name="T69" fmla="*/ 0 h 238"/>
                <a:gd name="T70" fmla="*/ 0 w 114"/>
                <a:gd name="T71" fmla="*/ 0 h 238"/>
                <a:gd name="T72" fmla="*/ 0 w 114"/>
                <a:gd name="T73" fmla="*/ 0 h 238"/>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114" h="238">
                  <a:moveTo>
                    <a:pt x="34" y="0"/>
                  </a:moveTo>
                  <a:lnTo>
                    <a:pt x="0" y="23"/>
                  </a:lnTo>
                  <a:lnTo>
                    <a:pt x="0" y="45"/>
                  </a:lnTo>
                  <a:lnTo>
                    <a:pt x="12" y="68"/>
                  </a:lnTo>
                  <a:lnTo>
                    <a:pt x="12" y="91"/>
                  </a:lnTo>
                  <a:lnTo>
                    <a:pt x="23" y="113"/>
                  </a:lnTo>
                  <a:lnTo>
                    <a:pt x="34" y="136"/>
                  </a:lnTo>
                  <a:lnTo>
                    <a:pt x="12" y="181"/>
                  </a:lnTo>
                  <a:lnTo>
                    <a:pt x="12" y="192"/>
                  </a:lnTo>
                  <a:lnTo>
                    <a:pt x="34" y="226"/>
                  </a:lnTo>
                  <a:lnTo>
                    <a:pt x="34" y="215"/>
                  </a:lnTo>
                  <a:lnTo>
                    <a:pt x="46" y="226"/>
                  </a:lnTo>
                  <a:lnTo>
                    <a:pt x="57" y="237"/>
                  </a:lnTo>
                  <a:lnTo>
                    <a:pt x="68" y="226"/>
                  </a:lnTo>
                  <a:lnTo>
                    <a:pt x="57" y="215"/>
                  </a:lnTo>
                  <a:lnTo>
                    <a:pt x="34" y="215"/>
                  </a:lnTo>
                  <a:lnTo>
                    <a:pt x="34" y="181"/>
                  </a:lnTo>
                  <a:lnTo>
                    <a:pt x="23" y="181"/>
                  </a:lnTo>
                  <a:lnTo>
                    <a:pt x="23" y="169"/>
                  </a:lnTo>
                  <a:lnTo>
                    <a:pt x="34" y="136"/>
                  </a:lnTo>
                  <a:lnTo>
                    <a:pt x="34" y="124"/>
                  </a:lnTo>
                  <a:lnTo>
                    <a:pt x="46" y="124"/>
                  </a:lnTo>
                  <a:lnTo>
                    <a:pt x="57" y="124"/>
                  </a:lnTo>
                  <a:lnTo>
                    <a:pt x="80" y="147"/>
                  </a:lnTo>
                  <a:lnTo>
                    <a:pt x="80" y="136"/>
                  </a:lnTo>
                  <a:lnTo>
                    <a:pt x="68" y="124"/>
                  </a:lnTo>
                  <a:lnTo>
                    <a:pt x="80" y="102"/>
                  </a:lnTo>
                  <a:lnTo>
                    <a:pt x="113" y="102"/>
                  </a:lnTo>
                  <a:lnTo>
                    <a:pt x="113" y="79"/>
                  </a:lnTo>
                  <a:lnTo>
                    <a:pt x="102" y="68"/>
                  </a:lnTo>
                  <a:lnTo>
                    <a:pt x="91" y="57"/>
                  </a:lnTo>
                  <a:lnTo>
                    <a:pt x="91" y="34"/>
                  </a:lnTo>
                  <a:lnTo>
                    <a:pt x="68" y="45"/>
                  </a:lnTo>
                  <a:lnTo>
                    <a:pt x="46" y="57"/>
                  </a:lnTo>
                  <a:lnTo>
                    <a:pt x="46" y="23"/>
                  </a:lnTo>
                  <a:lnTo>
                    <a:pt x="34" y="12"/>
                  </a:lnTo>
                  <a:lnTo>
                    <a:pt x="34" y="0"/>
                  </a:lnTo>
                </a:path>
              </a:pathLst>
            </a:custGeom>
            <a:solidFill>
              <a:srgbClr val="FFFFFF"/>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836"/>
            </a:p>
          </p:txBody>
        </p:sp>
        <p:sp>
          <p:nvSpPr>
            <p:cNvPr id="48209" name="Freeform 66"/>
            <p:cNvSpPr>
              <a:spLocks noChangeAspect="1"/>
            </p:cNvSpPr>
            <p:nvPr>
              <p:custDataLst>
                <p:tags r:id="rId63"/>
              </p:custDataLst>
            </p:nvPr>
          </p:nvSpPr>
          <p:spPr bwMode="auto">
            <a:xfrm>
              <a:off x="4955525" y="4948188"/>
              <a:ext cx="290488" cy="330142"/>
            </a:xfrm>
            <a:custGeom>
              <a:avLst/>
              <a:gdLst>
                <a:gd name="T0" fmla="*/ 0 w 114"/>
                <a:gd name="T1" fmla="*/ 0 h 136"/>
                <a:gd name="T2" fmla="*/ 0 w 114"/>
                <a:gd name="T3" fmla="*/ 0 h 136"/>
                <a:gd name="T4" fmla="*/ 0 w 114"/>
                <a:gd name="T5" fmla="*/ 0 h 136"/>
                <a:gd name="T6" fmla="*/ 0 w 114"/>
                <a:gd name="T7" fmla="*/ 0 h 136"/>
                <a:gd name="T8" fmla="*/ 0 w 114"/>
                <a:gd name="T9" fmla="*/ 0 h 136"/>
                <a:gd name="T10" fmla="*/ 0 w 114"/>
                <a:gd name="T11" fmla="*/ 0 h 136"/>
                <a:gd name="T12" fmla="*/ 0 w 114"/>
                <a:gd name="T13" fmla="*/ 0 h 136"/>
                <a:gd name="T14" fmla="*/ 0 w 114"/>
                <a:gd name="T15" fmla="*/ 0 h 136"/>
                <a:gd name="T16" fmla="*/ 0 w 114"/>
                <a:gd name="T17" fmla="*/ 0 h 136"/>
                <a:gd name="T18" fmla="*/ 0 w 114"/>
                <a:gd name="T19" fmla="*/ 0 h 136"/>
                <a:gd name="T20" fmla="*/ 0 w 114"/>
                <a:gd name="T21" fmla="*/ 0 h 136"/>
                <a:gd name="T22" fmla="*/ 0 w 114"/>
                <a:gd name="T23" fmla="*/ 0 h 136"/>
                <a:gd name="T24" fmla="*/ 0 w 114"/>
                <a:gd name="T25" fmla="*/ 0 h 136"/>
                <a:gd name="T26" fmla="*/ 0 w 114"/>
                <a:gd name="T27" fmla="*/ 0 h 136"/>
                <a:gd name="T28" fmla="*/ 0 w 114"/>
                <a:gd name="T29" fmla="*/ 0 h 136"/>
                <a:gd name="T30" fmla="*/ 0 w 114"/>
                <a:gd name="T31" fmla="*/ 0 h 136"/>
                <a:gd name="T32" fmla="*/ 0 w 114"/>
                <a:gd name="T33" fmla="*/ 0 h 136"/>
                <a:gd name="T34" fmla="*/ 0 w 114"/>
                <a:gd name="T35" fmla="*/ 0 h 136"/>
                <a:gd name="T36" fmla="*/ 0 w 114"/>
                <a:gd name="T37" fmla="*/ 0 h 136"/>
                <a:gd name="T38" fmla="*/ 0 w 114"/>
                <a:gd name="T39" fmla="*/ 0 h 136"/>
                <a:gd name="T40" fmla="*/ 0 w 114"/>
                <a:gd name="T41" fmla="*/ 0 h 136"/>
                <a:gd name="T42" fmla="*/ 0 w 114"/>
                <a:gd name="T43" fmla="*/ 0 h 136"/>
                <a:gd name="T44" fmla="*/ 0 w 114"/>
                <a:gd name="T45" fmla="*/ 0 h 136"/>
                <a:gd name="T46" fmla="*/ 0 w 114"/>
                <a:gd name="T47" fmla="*/ 0 h 1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114" h="136">
                  <a:moveTo>
                    <a:pt x="113" y="124"/>
                  </a:moveTo>
                  <a:lnTo>
                    <a:pt x="113" y="101"/>
                  </a:lnTo>
                  <a:lnTo>
                    <a:pt x="91" y="79"/>
                  </a:lnTo>
                  <a:lnTo>
                    <a:pt x="57" y="45"/>
                  </a:lnTo>
                  <a:lnTo>
                    <a:pt x="68" y="34"/>
                  </a:lnTo>
                  <a:lnTo>
                    <a:pt x="57" y="22"/>
                  </a:lnTo>
                  <a:lnTo>
                    <a:pt x="46" y="11"/>
                  </a:lnTo>
                  <a:lnTo>
                    <a:pt x="34" y="0"/>
                  </a:lnTo>
                  <a:lnTo>
                    <a:pt x="23" y="0"/>
                  </a:lnTo>
                  <a:lnTo>
                    <a:pt x="23" y="11"/>
                  </a:lnTo>
                  <a:lnTo>
                    <a:pt x="12" y="11"/>
                  </a:lnTo>
                  <a:lnTo>
                    <a:pt x="0" y="22"/>
                  </a:lnTo>
                  <a:lnTo>
                    <a:pt x="0" y="34"/>
                  </a:lnTo>
                  <a:lnTo>
                    <a:pt x="12" y="45"/>
                  </a:lnTo>
                  <a:lnTo>
                    <a:pt x="12" y="79"/>
                  </a:lnTo>
                  <a:lnTo>
                    <a:pt x="34" y="67"/>
                  </a:lnTo>
                  <a:lnTo>
                    <a:pt x="57" y="56"/>
                  </a:lnTo>
                  <a:lnTo>
                    <a:pt x="57" y="79"/>
                  </a:lnTo>
                  <a:lnTo>
                    <a:pt x="68" y="90"/>
                  </a:lnTo>
                  <a:lnTo>
                    <a:pt x="79" y="101"/>
                  </a:lnTo>
                  <a:lnTo>
                    <a:pt x="79" y="124"/>
                  </a:lnTo>
                  <a:lnTo>
                    <a:pt x="91" y="135"/>
                  </a:lnTo>
                  <a:lnTo>
                    <a:pt x="91" y="124"/>
                  </a:lnTo>
                  <a:lnTo>
                    <a:pt x="113" y="124"/>
                  </a:lnTo>
                </a:path>
              </a:pathLst>
            </a:custGeom>
            <a:solidFill>
              <a:srgbClr val="FFFFFF"/>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836"/>
            </a:p>
          </p:txBody>
        </p:sp>
        <p:sp>
          <p:nvSpPr>
            <p:cNvPr id="48210" name="Freeform 67"/>
            <p:cNvSpPr>
              <a:spLocks noChangeAspect="1"/>
            </p:cNvSpPr>
            <p:nvPr>
              <p:custDataLst>
                <p:tags r:id="rId64"/>
              </p:custDataLst>
            </p:nvPr>
          </p:nvSpPr>
          <p:spPr bwMode="auto">
            <a:xfrm>
              <a:off x="5041351" y="4915174"/>
              <a:ext cx="264080" cy="554639"/>
            </a:xfrm>
            <a:custGeom>
              <a:avLst/>
              <a:gdLst>
                <a:gd name="T0" fmla="*/ 0 w 103"/>
                <a:gd name="T1" fmla="*/ 0 h 227"/>
                <a:gd name="T2" fmla="*/ 0 w 103"/>
                <a:gd name="T3" fmla="*/ 0 h 227"/>
                <a:gd name="T4" fmla="*/ 0 w 103"/>
                <a:gd name="T5" fmla="*/ 0 h 227"/>
                <a:gd name="T6" fmla="*/ 0 w 103"/>
                <a:gd name="T7" fmla="*/ 0 h 227"/>
                <a:gd name="T8" fmla="*/ 0 w 103"/>
                <a:gd name="T9" fmla="*/ 0 h 227"/>
                <a:gd name="T10" fmla="*/ 0 w 103"/>
                <a:gd name="T11" fmla="*/ 0 h 227"/>
                <a:gd name="T12" fmla="*/ 0 w 103"/>
                <a:gd name="T13" fmla="*/ 0 h 227"/>
                <a:gd name="T14" fmla="*/ 0 w 103"/>
                <a:gd name="T15" fmla="*/ 0 h 227"/>
                <a:gd name="T16" fmla="*/ 0 w 103"/>
                <a:gd name="T17" fmla="*/ 0 h 227"/>
                <a:gd name="T18" fmla="*/ 0 w 103"/>
                <a:gd name="T19" fmla="*/ 0 h 227"/>
                <a:gd name="T20" fmla="*/ 0 w 103"/>
                <a:gd name="T21" fmla="*/ 0 h 227"/>
                <a:gd name="T22" fmla="*/ 0 w 103"/>
                <a:gd name="T23" fmla="*/ 0 h 227"/>
                <a:gd name="T24" fmla="*/ 0 w 103"/>
                <a:gd name="T25" fmla="*/ 0 h 227"/>
                <a:gd name="T26" fmla="*/ 0 w 103"/>
                <a:gd name="T27" fmla="*/ 0 h 227"/>
                <a:gd name="T28" fmla="*/ 0 w 103"/>
                <a:gd name="T29" fmla="*/ 0 h 227"/>
                <a:gd name="T30" fmla="*/ 0 w 103"/>
                <a:gd name="T31" fmla="*/ 0 h 227"/>
                <a:gd name="T32" fmla="*/ 0 w 103"/>
                <a:gd name="T33" fmla="*/ 0 h 227"/>
                <a:gd name="T34" fmla="*/ 0 w 103"/>
                <a:gd name="T35" fmla="*/ 0 h 227"/>
                <a:gd name="T36" fmla="*/ 0 w 103"/>
                <a:gd name="T37" fmla="*/ 0 h 227"/>
                <a:gd name="T38" fmla="*/ 0 w 103"/>
                <a:gd name="T39" fmla="*/ 0 h 227"/>
                <a:gd name="T40" fmla="*/ 0 w 103"/>
                <a:gd name="T41" fmla="*/ 0 h 227"/>
                <a:gd name="T42" fmla="*/ 0 w 103"/>
                <a:gd name="T43" fmla="*/ 0 h 227"/>
                <a:gd name="T44" fmla="*/ 0 w 103"/>
                <a:gd name="T45" fmla="*/ 0 h 227"/>
                <a:gd name="T46" fmla="*/ 0 w 103"/>
                <a:gd name="T47" fmla="*/ 0 h 227"/>
                <a:gd name="T48" fmla="*/ 0 w 103"/>
                <a:gd name="T49" fmla="*/ 0 h 227"/>
                <a:gd name="T50" fmla="*/ 0 w 103"/>
                <a:gd name="T51" fmla="*/ 0 h 227"/>
                <a:gd name="T52" fmla="*/ 0 w 103"/>
                <a:gd name="T53" fmla="*/ 0 h 227"/>
                <a:gd name="T54" fmla="*/ 0 w 103"/>
                <a:gd name="T55" fmla="*/ 0 h 227"/>
                <a:gd name="T56" fmla="*/ 0 w 103"/>
                <a:gd name="T57" fmla="*/ 0 h 227"/>
                <a:gd name="T58" fmla="*/ 0 w 103"/>
                <a:gd name="T59" fmla="*/ 0 h 227"/>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103" h="227">
                  <a:moveTo>
                    <a:pt x="0" y="12"/>
                  </a:moveTo>
                  <a:lnTo>
                    <a:pt x="0" y="0"/>
                  </a:lnTo>
                  <a:lnTo>
                    <a:pt x="12" y="12"/>
                  </a:lnTo>
                  <a:lnTo>
                    <a:pt x="45" y="0"/>
                  </a:lnTo>
                  <a:lnTo>
                    <a:pt x="68" y="0"/>
                  </a:lnTo>
                  <a:lnTo>
                    <a:pt x="68" y="23"/>
                  </a:lnTo>
                  <a:lnTo>
                    <a:pt x="79" y="23"/>
                  </a:lnTo>
                  <a:lnTo>
                    <a:pt x="68" y="23"/>
                  </a:lnTo>
                  <a:lnTo>
                    <a:pt x="57" y="46"/>
                  </a:lnTo>
                  <a:lnTo>
                    <a:pt x="45" y="57"/>
                  </a:lnTo>
                  <a:lnTo>
                    <a:pt x="91" y="125"/>
                  </a:lnTo>
                  <a:lnTo>
                    <a:pt x="102" y="147"/>
                  </a:lnTo>
                  <a:lnTo>
                    <a:pt x="91" y="181"/>
                  </a:lnTo>
                  <a:lnTo>
                    <a:pt x="79" y="192"/>
                  </a:lnTo>
                  <a:lnTo>
                    <a:pt x="68" y="192"/>
                  </a:lnTo>
                  <a:lnTo>
                    <a:pt x="57" y="215"/>
                  </a:lnTo>
                  <a:lnTo>
                    <a:pt x="34" y="226"/>
                  </a:lnTo>
                  <a:lnTo>
                    <a:pt x="34" y="203"/>
                  </a:lnTo>
                  <a:lnTo>
                    <a:pt x="23" y="192"/>
                  </a:lnTo>
                  <a:lnTo>
                    <a:pt x="45" y="181"/>
                  </a:lnTo>
                  <a:lnTo>
                    <a:pt x="57" y="170"/>
                  </a:lnTo>
                  <a:lnTo>
                    <a:pt x="79" y="158"/>
                  </a:lnTo>
                  <a:lnTo>
                    <a:pt x="79" y="136"/>
                  </a:lnTo>
                  <a:lnTo>
                    <a:pt x="79" y="113"/>
                  </a:lnTo>
                  <a:lnTo>
                    <a:pt x="57" y="91"/>
                  </a:lnTo>
                  <a:lnTo>
                    <a:pt x="23" y="57"/>
                  </a:lnTo>
                  <a:lnTo>
                    <a:pt x="34" y="46"/>
                  </a:lnTo>
                  <a:lnTo>
                    <a:pt x="23" y="34"/>
                  </a:lnTo>
                  <a:lnTo>
                    <a:pt x="12" y="23"/>
                  </a:lnTo>
                  <a:lnTo>
                    <a:pt x="0" y="12"/>
                  </a:lnTo>
                </a:path>
              </a:pathLst>
            </a:custGeom>
            <a:solidFill>
              <a:schemeClr val="bg1"/>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836"/>
            </a:p>
          </p:txBody>
        </p:sp>
        <p:sp>
          <p:nvSpPr>
            <p:cNvPr id="48211" name="Freeform 68"/>
            <p:cNvSpPr>
              <a:spLocks noChangeAspect="1"/>
            </p:cNvSpPr>
            <p:nvPr>
              <p:custDataLst>
                <p:tags r:id="rId65"/>
              </p:custDataLst>
            </p:nvPr>
          </p:nvSpPr>
          <p:spPr bwMode="auto">
            <a:xfrm>
              <a:off x="5041351" y="5251919"/>
              <a:ext cx="204662" cy="138660"/>
            </a:xfrm>
            <a:custGeom>
              <a:avLst/>
              <a:gdLst>
                <a:gd name="T0" fmla="*/ 0 w 80"/>
                <a:gd name="T1" fmla="*/ 0 h 57"/>
                <a:gd name="T2" fmla="*/ 0 w 80"/>
                <a:gd name="T3" fmla="*/ 0 h 57"/>
                <a:gd name="T4" fmla="*/ 0 w 80"/>
                <a:gd name="T5" fmla="*/ 0 h 57"/>
                <a:gd name="T6" fmla="*/ 0 w 80"/>
                <a:gd name="T7" fmla="*/ 0 h 57"/>
                <a:gd name="T8" fmla="*/ 0 w 80"/>
                <a:gd name="T9" fmla="*/ 0 h 57"/>
                <a:gd name="T10" fmla="*/ 0 w 80"/>
                <a:gd name="T11" fmla="*/ 0 h 57"/>
                <a:gd name="T12" fmla="*/ 0 w 80"/>
                <a:gd name="T13" fmla="*/ 0 h 57"/>
                <a:gd name="T14" fmla="*/ 0 w 80"/>
                <a:gd name="T15" fmla="*/ 0 h 57"/>
                <a:gd name="T16" fmla="*/ 0 w 80"/>
                <a:gd name="T17" fmla="*/ 0 h 57"/>
                <a:gd name="T18" fmla="*/ 0 w 80"/>
                <a:gd name="T19" fmla="*/ 0 h 57"/>
                <a:gd name="T20" fmla="*/ 0 w 80"/>
                <a:gd name="T21" fmla="*/ 0 h 57"/>
                <a:gd name="T22" fmla="*/ 0 w 80"/>
                <a:gd name="T23" fmla="*/ 0 h 57"/>
                <a:gd name="T24" fmla="*/ 0 w 80"/>
                <a:gd name="T25" fmla="*/ 0 h 57"/>
                <a:gd name="T26" fmla="*/ 0 w 80"/>
                <a:gd name="T27" fmla="*/ 0 h 5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80" h="57">
                  <a:moveTo>
                    <a:pt x="23" y="56"/>
                  </a:moveTo>
                  <a:lnTo>
                    <a:pt x="45" y="45"/>
                  </a:lnTo>
                  <a:lnTo>
                    <a:pt x="57" y="34"/>
                  </a:lnTo>
                  <a:lnTo>
                    <a:pt x="79" y="22"/>
                  </a:lnTo>
                  <a:lnTo>
                    <a:pt x="79" y="0"/>
                  </a:lnTo>
                  <a:lnTo>
                    <a:pt x="57" y="0"/>
                  </a:lnTo>
                  <a:lnTo>
                    <a:pt x="57" y="11"/>
                  </a:lnTo>
                  <a:lnTo>
                    <a:pt x="45" y="0"/>
                  </a:lnTo>
                  <a:lnTo>
                    <a:pt x="12" y="0"/>
                  </a:lnTo>
                  <a:lnTo>
                    <a:pt x="0" y="22"/>
                  </a:lnTo>
                  <a:lnTo>
                    <a:pt x="12" y="34"/>
                  </a:lnTo>
                  <a:lnTo>
                    <a:pt x="12" y="45"/>
                  </a:lnTo>
                  <a:lnTo>
                    <a:pt x="12" y="56"/>
                  </a:lnTo>
                  <a:lnTo>
                    <a:pt x="23" y="56"/>
                  </a:lnTo>
                </a:path>
              </a:pathLst>
            </a:custGeom>
            <a:solidFill>
              <a:srgbClr val="FFFFFF"/>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836"/>
            </a:p>
          </p:txBody>
        </p:sp>
        <p:sp>
          <p:nvSpPr>
            <p:cNvPr id="48212" name="Freeform 69"/>
            <p:cNvSpPr>
              <a:spLocks noChangeAspect="1"/>
            </p:cNvSpPr>
            <p:nvPr>
              <p:custDataLst>
                <p:tags r:id="rId66"/>
              </p:custDataLst>
            </p:nvPr>
          </p:nvSpPr>
          <p:spPr bwMode="auto">
            <a:xfrm>
              <a:off x="4955525" y="5522635"/>
              <a:ext cx="145244" cy="224497"/>
            </a:xfrm>
            <a:custGeom>
              <a:avLst/>
              <a:gdLst>
                <a:gd name="T0" fmla="*/ 0 w 58"/>
                <a:gd name="T1" fmla="*/ 0 h 91"/>
                <a:gd name="T2" fmla="*/ 0 w 58"/>
                <a:gd name="T3" fmla="*/ 0 h 91"/>
                <a:gd name="T4" fmla="*/ 0 w 58"/>
                <a:gd name="T5" fmla="*/ 0 h 91"/>
                <a:gd name="T6" fmla="*/ 0 w 58"/>
                <a:gd name="T7" fmla="*/ 0 h 91"/>
                <a:gd name="T8" fmla="*/ 0 w 58"/>
                <a:gd name="T9" fmla="*/ 0 h 91"/>
                <a:gd name="T10" fmla="*/ 0 w 58"/>
                <a:gd name="T11" fmla="*/ 0 h 91"/>
                <a:gd name="T12" fmla="*/ 0 w 58"/>
                <a:gd name="T13" fmla="*/ 0 h 91"/>
                <a:gd name="T14" fmla="*/ 0 w 58"/>
                <a:gd name="T15" fmla="*/ 0 h 91"/>
                <a:gd name="T16" fmla="*/ 0 w 58"/>
                <a:gd name="T17" fmla="*/ 0 h 91"/>
                <a:gd name="T18" fmla="*/ 0 w 58"/>
                <a:gd name="T19" fmla="*/ 0 h 91"/>
                <a:gd name="T20" fmla="*/ 0 w 58"/>
                <a:gd name="T21" fmla="*/ 0 h 9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58" h="91">
                  <a:moveTo>
                    <a:pt x="34" y="11"/>
                  </a:moveTo>
                  <a:lnTo>
                    <a:pt x="23" y="22"/>
                  </a:lnTo>
                  <a:lnTo>
                    <a:pt x="12" y="11"/>
                  </a:lnTo>
                  <a:lnTo>
                    <a:pt x="0" y="0"/>
                  </a:lnTo>
                  <a:lnTo>
                    <a:pt x="0" y="11"/>
                  </a:lnTo>
                  <a:lnTo>
                    <a:pt x="0" y="45"/>
                  </a:lnTo>
                  <a:lnTo>
                    <a:pt x="23" y="56"/>
                  </a:lnTo>
                  <a:lnTo>
                    <a:pt x="57" y="90"/>
                  </a:lnTo>
                  <a:lnTo>
                    <a:pt x="57" y="56"/>
                  </a:lnTo>
                  <a:lnTo>
                    <a:pt x="57" y="33"/>
                  </a:lnTo>
                  <a:lnTo>
                    <a:pt x="34" y="11"/>
                  </a:lnTo>
                </a:path>
              </a:pathLst>
            </a:custGeom>
            <a:solidFill>
              <a:schemeClr val="accent1"/>
            </a:solidFill>
            <a:ln w="12700" cap="rnd" cmpd="sng">
              <a:solidFill>
                <a:srgbClr val="000000"/>
              </a:solidFill>
              <a:prstDash val="solid"/>
              <a:round/>
              <a:headEnd type="none" w="med" len="med"/>
              <a:tailEnd type="none" w="med" len="med"/>
            </a:ln>
            <a:effectLst/>
            <a:extLst/>
          </p:spPr>
          <p:txBody>
            <a:bodyPr/>
            <a:lstStyle/>
            <a:p>
              <a:endParaRPr lang="en-GB" sz="1836"/>
            </a:p>
          </p:txBody>
        </p:sp>
        <p:sp>
          <p:nvSpPr>
            <p:cNvPr id="48213" name="Freeform 70"/>
            <p:cNvSpPr>
              <a:spLocks noChangeAspect="1"/>
            </p:cNvSpPr>
            <p:nvPr>
              <p:custDataLst>
                <p:tags r:id="rId67"/>
              </p:custDataLst>
            </p:nvPr>
          </p:nvSpPr>
          <p:spPr bwMode="auto">
            <a:xfrm>
              <a:off x="5305431" y="5522635"/>
              <a:ext cx="389518" cy="224497"/>
            </a:xfrm>
            <a:custGeom>
              <a:avLst/>
              <a:gdLst>
                <a:gd name="T0" fmla="*/ 0 w 148"/>
                <a:gd name="T1" fmla="*/ 0 h 91"/>
                <a:gd name="T2" fmla="*/ 0 w 148"/>
                <a:gd name="T3" fmla="*/ 0 h 91"/>
                <a:gd name="T4" fmla="*/ 0 w 148"/>
                <a:gd name="T5" fmla="*/ 0 h 91"/>
                <a:gd name="T6" fmla="*/ 0 w 148"/>
                <a:gd name="T7" fmla="*/ 0 h 91"/>
                <a:gd name="T8" fmla="*/ 0 w 148"/>
                <a:gd name="T9" fmla="*/ 0 h 91"/>
                <a:gd name="T10" fmla="*/ 0 w 148"/>
                <a:gd name="T11" fmla="*/ 0 h 91"/>
                <a:gd name="T12" fmla="*/ 0 w 148"/>
                <a:gd name="T13" fmla="*/ 0 h 91"/>
                <a:gd name="T14" fmla="*/ 0 w 148"/>
                <a:gd name="T15" fmla="*/ 0 h 91"/>
                <a:gd name="T16" fmla="*/ 0 w 148"/>
                <a:gd name="T17" fmla="*/ 0 h 91"/>
                <a:gd name="T18" fmla="*/ 0 w 148"/>
                <a:gd name="T19" fmla="*/ 0 h 91"/>
                <a:gd name="T20" fmla="*/ 0 w 148"/>
                <a:gd name="T21" fmla="*/ 0 h 91"/>
                <a:gd name="T22" fmla="*/ 0 w 148"/>
                <a:gd name="T23" fmla="*/ 0 h 91"/>
                <a:gd name="T24" fmla="*/ 0 w 148"/>
                <a:gd name="T25" fmla="*/ 0 h 91"/>
                <a:gd name="T26" fmla="*/ 0 w 148"/>
                <a:gd name="T27" fmla="*/ 0 h 91"/>
                <a:gd name="T28" fmla="*/ 0 w 148"/>
                <a:gd name="T29" fmla="*/ 0 h 91"/>
                <a:gd name="T30" fmla="*/ 0 w 148"/>
                <a:gd name="T31" fmla="*/ 0 h 91"/>
                <a:gd name="T32" fmla="*/ 0 w 148"/>
                <a:gd name="T33" fmla="*/ 0 h 91"/>
                <a:gd name="T34" fmla="*/ 0 w 148"/>
                <a:gd name="T35" fmla="*/ 0 h 91"/>
                <a:gd name="T36" fmla="*/ 0 w 148"/>
                <a:gd name="T37" fmla="*/ 0 h 91"/>
                <a:gd name="T38" fmla="*/ 0 w 148"/>
                <a:gd name="T39" fmla="*/ 0 h 91"/>
                <a:gd name="T40" fmla="*/ 0 w 148"/>
                <a:gd name="T41" fmla="*/ 0 h 91"/>
                <a:gd name="T42" fmla="*/ 0 w 148"/>
                <a:gd name="T43" fmla="*/ 0 h 91"/>
                <a:gd name="T44" fmla="*/ 0 w 148"/>
                <a:gd name="T45" fmla="*/ 0 h 91"/>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148" h="91">
                  <a:moveTo>
                    <a:pt x="90" y="33"/>
                  </a:moveTo>
                  <a:lnTo>
                    <a:pt x="90" y="45"/>
                  </a:lnTo>
                  <a:lnTo>
                    <a:pt x="79" y="45"/>
                  </a:lnTo>
                  <a:lnTo>
                    <a:pt x="68" y="45"/>
                  </a:lnTo>
                  <a:lnTo>
                    <a:pt x="45" y="56"/>
                  </a:lnTo>
                  <a:lnTo>
                    <a:pt x="34" y="56"/>
                  </a:lnTo>
                  <a:lnTo>
                    <a:pt x="34" y="78"/>
                  </a:lnTo>
                  <a:lnTo>
                    <a:pt x="0" y="78"/>
                  </a:lnTo>
                  <a:lnTo>
                    <a:pt x="22" y="90"/>
                  </a:lnTo>
                  <a:lnTo>
                    <a:pt x="34" y="90"/>
                  </a:lnTo>
                  <a:lnTo>
                    <a:pt x="45" y="78"/>
                  </a:lnTo>
                  <a:lnTo>
                    <a:pt x="68" y="90"/>
                  </a:lnTo>
                  <a:lnTo>
                    <a:pt x="79" y="78"/>
                  </a:lnTo>
                  <a:lnTo>
                    <a:pt x="101" y="45"/>
                  </a:lnTo>
                  <a:lnTo>
                    <a:pt x="135" y="45"/>
                  </a:lnTo>
                  <a:lnTo>
                    <a:pt x="147" y="45"/>
                  </a:lnTo>
                  <a:lnTo>
                    <a:pt x="135" y="33"/>
                  </a:lnTo>
                  <a:lnTo>
                    <a:pt x="147" y="33"/>
                  </a:lnTo>
                  <a:lnTo>
                    <a:pt x="124" y="22"/>
                  </a:lnTo>
                  <a:lnTo>
                    <a:pt x="124" y="11"/>
                  </a:lnTo>
                  <a:lnTo>
                    <a:pt x="113" y="0"/>
                  </a:lnTo>
                  <a:lnTo>
                    <a:pt x="90" y="22"/>
                  </a:lnTo>
                  <a:lnTo>
                    <a:pt x="90" y="33"/>
                  </a:lnTo>
                </a:path>
              </a:pathLst>
            </a:custGeom>
            <a:solidFill>
              <a:schemeClr val="accent1"/>
            </a:solidFill>
            <a:ln w="12700" cap="rnd" cmpd="sng">
              <a:solidFill>
                <a:srgbClr val="000000"/>
              </a:solidFill>
              <a:prstDash val="solid"/>
              <a:round/>
              <a:headEnd type="none" w="med" len="med"/>
              <a:tailEnd type="none" w="med" len="med"/>
            </a:ln>
            <a:effectLst/>
            <a:extLst/>
          </p:spPr>
          <p:txBody>
            <a:bodyPr/>
            <a:lstStyle/>
            <a:p>
              <a:endParaRPr lang="en-GB" sz="1836"/>
            </a:p>
          </p:txBody>
        </p:sp>
        <p:sp>
          <p:nvSpPr>
            <p:cNvPr id="48214" name="Freeform 71"/>
            <p:cNvSpPr>
              <a:spLocks noChangeAspect="1"/>
            </p:cNvSpPr>
            <p:nvPr>
              <p:custDataLst>
                <p:tags r:id="rId68"/>
              </p:custDataLst>
            </p:nvPr>
          </p:nvSpPr>
          <p:spPr bwMode="auto">
            <a:xfrm>
              <a:off x="5279023" y="5634884"/>
              <a:ext cx="415926" cy="310333"/>
            </a:xfrm>
            <a:custGeom>
              <a:avLst/>
              <a:gdLst>
                <a:gd name="T0" fmla="*/ 0 w 159"/>
                <a:gd name="T1" fmla="*/ 0 h 125"/>
                <a:gd name="T2" fmla="*/ 0 w 159"/>
                <a:gd name="T3" fmla="*/ 0 h 125"/>
                <a:gd name="T4" fmla="*/ 0 w 159"/>
                <a:gd name="T5" fmla="*/ 0 h 125"/>
                <a:gd name="T6" fmla="*/ 0 w 159"/>
                <a:gd name="T7" fmla="*/ 0 h 125"/>
                <a:gd name="T8" fmla="*/ 0 w 159"/>
                <a:gd name="T9" fmla="*/ 0 h 125"/>
                <a:gd name="T10" fmla="*/ 0 w 159"/>
                <a:gd name="T11" fmla="*/ 0 h 125"/>
                <a:gd name="T12" fmla="*/ 0 w 159"/>
                <a:gd name="T13" fmla="*/ 0 h 125"/>
                <a:gd name="T14" fmla="*/ 0 w 159"/>
                <a:gd name="T15" fmla="*/ 0 h 125"/>
                <a:gd name="T16" fmla="*/ 0 w 159"/>
                <a:gd name="T17" fmla="*/ 0 h 125"/>
                <a:gd name="T18" fmla="*/ 0 w 159"/>
                <a:gd name="T19" fmla="*/ 0 h 125"/>
                <a:gd name="T20" fmla="*/ 0 w 159"/>
                <a:gd name="T21" fmla="*/ 0 h 125"/>
                <a:gd name="T22" fmla="*/ 0 w 159"/>
                <a:gd name="T23" fmla="*/ 0 h 125"/>
                <a:gd name="T24" fmla="*/ 0 w 159"/>
                <a:gd name="T25" fmla="*/ 0 h 125"/>
                <a:gd name="T26" fmla="*/ 0 w 159"/>
                <a:gd name="T27" fmla="*/ 0 h 125"/>
                <a:gd name="T28" fmla="*/ 0 w 159"/>
                <a:gd name="T29" fmla="*/ 0 h 125"/>
                <a:gd name="T30" fmla="*/ 0 w 159"/>
                <a:gd name="T31" fmla="*/ 0 h 125"/>
                <a:gd name="T32" fmla="*/ 0 w 159"/>
                <a:gd name="T33" fmla="*/ 0 h 125"/>
                <a:gd name="T34" fmla="*/ 0 w 159"/>
                <a:gd name="T35" fmla="*/ 0 h 125"/>
                <a:gd name="T36" fmla="*/ 0 w 159"/>
                <a:gd name="T37" fmla="*/ 0 h 125"/>
                <a:gd name="T38" fmla="*/ 0 w 159"/>
                <a:gd name="T39" fmla="*/ 0 h 125"/>
                <a:gd name="T40" fmla="*/ 0 w 159"/>
                <a:gd name="T41" fmla="*/ 0 h 125"/>
                <a:gd name="T42" fmla="*/ 0 w 159"/>
                <a:gd name="T43" fmla="*/ 0 h 125"/>
                <a:gd name="T44" fmla="*/ 0 w 159"/>
                <a:gd name="T45" fmla="*/ 0 h 125"/>
                <a:gd name="T46" fmla="*/ 0 w 159"/>
                <a:gd name="T47" fmla="*/ 0 h 125"/>
                <a:gd name="T48" fmla="*/ 0 w 159"/>
                <a:gd name="T49" fmla="*/ 0 h 125"/>
                <a:gd name="T50" fmla="*/ 0 w 159"/>
                <a:gd name="T51" fmla="*/ 0 h 125"/>
                <a:gd name="T52" fmla="*/ 0 w 159"/>
                <a:gd name="T53" fmla="*/ 0 h 125"/>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159" h="125">
                  <a:moveTo>
                    <a:pt x="11" y="33"/>
                  </a:moveTo>
                  <a:lnTo>
                    <a:pt x="33" y="45"/>
                  </a:lnTo>
                  <a:lnTo>
                    <a:pt x="45" y="45"/>
                  </a:lnTo>
                  <a:lnTo>
                    <a:pt x="56" y="33"/>
                  </a:lnTo>
                  <a:lnTo>
                    <a:pt x="79" y="45"/>
                  </a:lnTo>
                  <a:lnTo>
                    <a:pt x="90" y="33"/>
                  </a:lnTo>
                  <a:lnTo>
                    <a:pt x="112" y="0"/>
                  </a:lnTo>
                  <a:lnTo>
                    <a:pt x="146" y="0"/>
                  </a:lnTo>
                  <a:lnTo>
                    <a:pt x="135" y="11"/>
                  </a:lnTo>
                  <a:lnTo>
                    <a:pt x="146" y="22"/>
                  </a:lnTo>
                  <a:lnTo>
                    <a:pt x="135" y="33"/>
                  </a:lnTo>
                  <a:lnTo>
                    <a:pt x="158" y="45"/>
                  </a:lnTo>
                  <a:lnTo>
                    <a:pt x="146" y="56"/>
                  </a:lnTo>
                  <a:lnTo>
                    <a:pt x="124" y="67"/>
                  </a:lnTo>
                  <a:lnTo>
                    <a:pt x="112" y="90"/>
                  </a:lnTo>
                  <a:lnTo>
                    <a:pt x="124" y="90"/>
                  </a:lnTo>
                  <a:lnTo>
                    <a:pt x="112" y="112"/>
                  </a:lnTo>
                  <a:lnTo>
                    <a:pt x="101" y="124"/>
                  </a:lnTo>
                  <a:lnTo>
                    <a:pt x="90" y="112"/>
                  </a:lnTo>
                  <a:lnTo>
                    <a:pt x="67" y="112"/>
                  </a:lnTo>
                  <a:lnTo>
                    <a:pt x="45" y="112"/>
                  </a:lnTo>
                  <a:lnTo>
                    <a:pt x="45" y="101"/>
                  </a:lnTo>
                  <a:lnTo>
                    <a:pt x="33" y="101"/>
                  </a:lnTo>
                  <a:lnTo>
                    <a:pt x="22" y="79"/>
                  </a:lnTo>
                  <a:lnTo>
                    <a:pt x="11" y="56"/>
                  </a:lnTo>
                  <a:lnTo>
                    <a:pt x="0" y="45"/>
                  </a:lnTo>
                  <a:lnTo>
                    <a:pt x="11" y="33"/>
                  </a:lnTo>
                </a:path>
              </a:pathLst>
            </a:custGeom>
            <a:solidFill>
              <a:srgbClr val="FFFFFF"/>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836"/>
            </a:p>
          </p:txBody>
        </p:sp>
        <p:sp>
          <p:nvSpPr>
            <p:cNvPr id="48215" name="Freeform 72"/>
            <p:cNvSpPr>
              <a:spLocks noChangeAspect="1"/>
            </p:cNvSpPr>
            <p:nvPr>
              <p:custDataLst>
                <p:tags r:id="rId69"/>
              </p:custDataLst>
            </p:nvPr>
          </p:nvSpPr>
          <p:spPr bwMode="auto">
            <a:xfrm>
              <a:off x="5978836" y="4228479"/>
              <a:ext cx="125438" cy="198085"/>
            </a:xfrm>
            <a:custGeom>
              <a:avLst/>
              <a:gdLst>
                <a:gd name="T0" fmla="*/ 0 w 47"/>
                <a:gd name="T1" fmla="*/ 0 h 80"/>
                <a:gd name="T2" fmla="*/ 0 w 47"/>
                <a:gd name="T3" fmla="*/ 0 h 80"/>
                <a:gd name="T4" fmla="*/ 0 w 47"/>
                <a:gd name="T5" fmla="*/ 0 h 80"/>
                <a:gd name="T6" fmla="*/ 0 w 47"/>
                <a:gd name="T7" fmla="*/ 0 h 80"/>
                <a:gd name="T8" fmla="*/ 0 w 47"/>
                <a:gd name="T9" fmla="*/ 0 h 80"/>
                <a:gd name="T10" fmla="*/ 0 w 47"/>
                <a:gd name="T11" fmla="*/ 0 h 80"/>
                <a:gd name="T12" fmla="*/ 0 w 47"/>
                <a:gd name="T13" fmla="*/ 0 h 80"/>
                <a:gd name="T14" fmla="*/ 0 w 47"/>
                <a:gd name="T15" fmla="*/ 0 h 80"/>
                <a:gd name="T16" fmla="*/ 0 w 47"/>
                <a:gd name="T17" fmla="*/ 0 h 80"/>
                <a:gd name="T18" fmla="*/ 0 w 47"/>
                <a:gd name="T19" fmla="*/ 0 h 8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7" h="80">
                  <a:moveTo>
                    <a:pt x="0" y="22"/>
                  </a:moveTo>
                  <a:lnTo>
                    <a:pt x="23" y="0"/>
                  </a:lnTo>
                  <a:lnTo>
                    <a:pt x="34" y="22"/>
                  </a:lnTo>
                  <a:lnTo>
                    <a:pt x="46" y="45"/>
                  </a:lnTo>
                  <a:lnTo>
                    <a:pt x="34" y="67"/>
                  </a:lnTo>
                  <a:lnTo>
                    <a:pt x="0" y="79"/>
                  </a:lnTo>
                  <a:lnTo>
                    <a:pt x="0" y="67"/>
                  </a:lnTo>
                  <a:lnTo>
                    <a:pt x="0" y="56"/>
                  </a:lnTo>
                  <a:lnTo>
                    <a:pt x="0" y="33"/>
                  </a:lnTo>
                  <a:lnTo>
                    <a:pt x="0" y="22"/>
                  </a:lnTo>
                </a:path>
              </a:pathLst>
            </a:custGeom>
            <a:solidFill>
              <a:srgbClr val="FFFFFF"/>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836"/>
            </a:p>
          </p:txBody>
        </p:sp>
        <p:sp>
          <p:nvSpPr>
            <p:cNvPr id="48216" name="Freeform 73"/>
            <p:cNvSpPr>
              <a:spLocks noChangeAspect="1"/>
            </p:cNvSpPr>
            <p:nvPr>
              <p:custDataLst>
                <p:tags r:id="rId70"/>
              </p:custDataLst>
            </p:nvPr>
          </p:nvSpPr>
          <p:spPr bwMode="auto">
            <a:xfrm>
              <a:off x="5899612" y="4030394"/>
              <a:ext cx="231070" cy="257511"/>
            </a:xfrm>
            <a:custGeom>
              <a:avLst/>
              <a:gdLst>
                <a:gd name="T0" fmla="*/ 0 w 91"/>
                <a:gd name="T1" fmla="*/ 0 h 102"/>
                <a:gd name="T2" fmla="*/ 0 w 91"/>
                <a:gd name="T3" fmla="*/ 0 h 102"/>
                <a:gd name="T4" fmla="*/ 0 w 91"/>
                <a:gd name="T5" fmla="*/ 0 h 102"/>
                <a:gd name="T6" fmla="*/ 0 w 91"/>
                <a:gd name="T7" fmla="*/ 0 h 102"/>
                <a:gd name="T8" fmla="*/ 0 w 91"/>
                <a:gd name="T9" fmla="*/ 0 h 102"/>
                <a:gd name="T10" fmla="*/ 0 w 91"/>
                <a:gd name="T11" fmla="*/ 0 h 102"/>
                <a:gd name="T12" fmla="*/ 0 w 91"/>
                <a:gd name="T13" fmla="*/ 0 h 102"/>
                <a:gd name="T14" fmla="*/ 0 w 91"/>
                <a:gd name="T15" fmla="*/ 0 h 102"/>
                <a:gd name="T16" fmla="*/ 0 w 91"/>
                <a:gd name="T17" fmla="*/ 0 h 102"/>
                <a:gd name="T18" fmla="*/ 0 w 91"/>
                <a:gd name="T19" fmla="*/ 0 h 102"/>
                <a:gd name="T20" fmla="*/ 0 w 91"/>
                <a:gd name="T21" fmla="*/ 0 h 102"/>
                <a:gd name="T22" fmla="*/ 0 w 91"/>
                <a:gd name="T23" fmla="*/ 0 h 102"/>
                <a:gd name="T24" fmla="*/ 0 w 91"/>
                <a:gd name="T25" fmla="*/ 0 h 102"/>
                <a:gd name="T26" fmla="*/ 0 w 91"/>
                <a:gd name="T27" fmla="*/ 0 h 102"/>
                <a:gd name="T28" fmla="*/ 0 w 91"/>
                <a:gd name="T29" fmla="*/ 0 h 102"/>
                <a:gd name="T30" fmla="*/ 0 w 91"/>
                <a:gd name="T31" fmla="*/ 0 h 102"/>
                <a:gd name="T32" fmla="*/ 0 w 91"/>
                <a:gd name="T33" fmla="*/ 0 h 10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91" h="102">
                  <a:moveTo>
                    <a:pt x="90" y="0"/>
                  </a:moveTo>
                  <a:lnTo>
                    <a:pt x="67" y="11"/>
                  </a:lnTo>
                  <a:lnTo>
                    <a:pt x="56" y="11"/>
                  </a:lnTo>
                  <a:lnTo>
                    <a:pt x="45" y="22"/>
                  </a:lnTo>
                  <a:lnTo>
                    <a:pt x="33" y="22"/>
                  </a:lnTo>
                  <a:lnTo>
                    <a:pt x="0" y="56"/>
                  </a:lnTo>
                  <a:lnTo>
                    <a:pt x="11" y="56"/>
                  </a:lnTo>
                  <a:lnTo>
                    <a:pt x="0" y="90"/>
                  </a:lnTo>
                  <a:lnTo>
                    <a:pt x="11" y="101"/>
                  </a:lnTo>
                  <a:lnTo>
                    <a:pt x="22" y="101"/>
                  </a:lnTo>
                  <a:lnTo>
                    <a:pt x="33" y="101"/>
                  </a:lnTo>
                  <a:lnTo>
                    <a:pt x="56" y="79"/>
                  </a:lnTo>
                  <a:lnTo>
                    <a:pt x="33" y="67"/>
                  </a:lnTo>
                  <a:lnTo>
                    <a:pt x="33" y="56"/>
                  </a:lnTo>
                  <a:lnTo>
                    <a:pt x="79" y="45"/>
                  </a:lnTo>
                  <a:lnTo>
                    <a:pt x="79" y="22"/>
                  </a:lnTo>
                  <a:lnTo>
                    <a:pt x="90" y="0"/>
                  </a:lnTo>
                </a:path>
              </a:pathLst>
            </a:custGeom>
            <a:solidFill>
              <a:srgbClr val="FFFFFF"/>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836"/>
            </a:p>
          </p:txBody>
        </p:sp>
        <p:sp>
          <p:nvSpPr>
            <p:cNvPr id="48217" name="Freeform 74"/>
            <p:cNvSpPr>
              <a:spLocks noChangeAspect="1"/>
            </p:cNvSpPr>
            <p:nvPr>
              <p:custDataLst>
                <p:tags r:id="rId71"/>
              </p:custDataLst>
            </p:nvPr>
          </p:nvSpPr>
          <p:spPr bwMode="auto">
            <a:xfrm>
              <a:off x="4830087" y="5720720"/>
              <a:ext cx="33010" cy="59426"/>
            </a:xfrm>
            <a:custGeom>
              <a:avLst/>
              <a:gdLst>
                <a:gd name="T0" fmla="*/ 0 w 12"/>
                <a:gd name="T1" fmla="*/ 0 h 24"/>
                <a:gd name="T2" fmla="*/ 0 w 12"/>
                <a:gd name="T3" fmla="*/ 0 h 24"/>
                <a:gd name="T4" fmla="*/ 0 w 12"/>
                <a:gd name="T5" fmla="*/ 0 h 24"/>
                <a:gd name="T6" fmla="*/ 0 w 12"/>
                <a:gd name="T7" fmla="*/ 0 h 2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2" h="24">
                  <a:moveTo>
                    <a:pt x="0" y="12"/>
                  </a:moveTo>
                  <a:lnTo>
                    <a:pt x="11" y="23"/>
                  </a:lnTo>
                  <a:lnTo>
                    <a:pt x="0" y="0"/>
                  </a:lnTo>
                  <a:lnTo>
                    <a:pt x="0" y="12"/>
                  </a:lnTo>
                </a:path>
              </a:pathLst>
            </a:custGeom>
            <a:solidFill>
              <a:srgbClr val="FFFFFF"/>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836"/>
            </a:p>
          </p:txBody>
        </p:sp>
        <p:sp>
          <p:nvSpPr>
            <p:cNvPr id="48218" name="Freeform 75"/>
            <p:cNvSpPr>
              <a:spLocks noChangeAspect="1"/>
            </p:cNvSpPr>
            <p:nvPr>
              <p:custDataLst>
                <p:tags r:id="rId72"/>
              </p:custDataLst>
            </p:nvPr>
          </p:nvSpPr>
          <p:spPr bwMode="auto">
            <a:xfrm>
              <a:off x="4889505" y="5799955"/>
              <a:ext cx="33010" cy="59426"/>
            </a:xfrm>
            <a:custGeom>
              <a:avLst/>
              <a:gdLst>
                <a:gd name="T0" fmla="*/ 0 w 12"/>
                <a:gd name="T1" fmla="*/ 0 h 24"/>
                <a:gd name="T2" fmla="*/ 0 w 12"/>
                <a:gd name="T3" fmla="*/ 0 h 24"/>
                <a:gd name="T4" fmla="*/ 0 w 12"/>
                <a:gd name="T5" fmla="*/ 0 h 24"/>
                <a:gd name="T6" fmla="*/ 0 w 12"/>
                <a:gd name="T7" fmla="*/ 0 h 24"/>
                <a:gd name="T8" fmla="*/ 0 w 12"/>
                <a:gd name="T9" fmla="*/ 0 h 2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2" h="24">
                  <a:moveTo>
                    <a:pt x="0" y="0"/>
                  </a:moveTo>
                  <a:lnTo>
                    <a:pt x="11" y="23"/>
                  </a:lnTo>
                  <a:lnTo>
                    <a:pt x="11" y="12"/>
                  </a:lnTo>
                  <a:lnTo>
                    <a:pt x="11" y="0"/>
                  </a:lnTo>
                  <a:lnTo>
                    <a:pt x="0" y="0"/>
                  </a:lnTo>
                </a:path>
              </a:pathLst>
            </a:custGeom>
            <a:solidFill>
              <a:srgbClr val="FFFFFF"/>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836"/>
            </a:p>
          </p:txBody>
        </p:sp>
        <p:sp>
          <p:nvSpPr>
            <p:cNvPr id="48219" name="Freeform 76"/>
            <p:cNvSpPr>
              <a:spLocks noChangeAspect="1"/>
            </p:cNvSpPr>
            <p:nvPr>
              <p:custDataLst>
                <p:tags r:id="rId73"/>
              </p:custDataLst>
            </p:nvPr>
          </p:nvSpPr>
          <p:spPr bwMode="auto">
            <a:xfrm>
              <a:off x="4156682" y="5416990"/>
              <a:ext cx="85826" cy="138660"/>
            </a:xfrm>
            <a:custGeom>
              <a:avLst/>
              <a:gdLst>
                <a:gd name="T0" fmla="*/ 0 w 34"/>
                <a:gd name="T1" fmla="*/ 0 h 58"/>
                <a:gd name="T2" fmla="*/ 0 w 34"/>
                <a:gd name="T3" fmla="*/ 0 h 58"/>
                <a:gd name="T4" fmla="*/ 0 w 34"/>
                <a:gd name="T5" fmla="*/ 0 h 58"/>
                <a:gd name="T6" fmla="*/ 0 w 34"/>
                <a:gd name="T7" fmla="*/ 0 h 58"/>
                <a:gd name="T8" fmla="*/ 0 w 34"/>
                <a:gd name="T9" fmla="*/ 0 h 58"/>
                <a:gd name="T10" fmla="*/ 0 w 34"/>
                <a:gd name="T11" fmla="*/ 0 h 58"/>
                <a:gd name="T12" fmla="*/ 0 w 34"/>
                <a:gd name="T13" fmla="*/ 0 h 58"/>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4" h="58">
                  <a:moveTo>
                    <a:pt x="0" y="23"/>
                  </a:moveTo>
                  <a:lnTo>
                    <a:pt x="11" y="57"/>
                  </a:lnTo>
                  <a:lnTo>
                    <a:pt x="33" y="57"/>
                  </a:lnTo>
                  <a:lnTo>
                    <a:pt x="33" y="34"/>
                  </a:lnTo>
                  <a:lnTo>
                    <a:pt x="22" y="12"/>
                  </a:lnTo>
                  <a:lnTo>
                    <a:pt x="11" y="0"/>
                  </a:lnTo>
                  <a:lnTo>
                    <a:pt x="0" y="23"/>
                  </a:lnTo>
                </a:path>
              </a:pathLst>
            </a:custGeom>
            <a:solidFill>
              <a:schemeClr val="bg1"/>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836"/>
            </a:p>
          </p:txBody>
        </p:sp>
        <p:sp>
          <p:nvSpPr>
            <p:cNvPr id="48220" name="Freeform 77"/>
            <p:cNvSpPr>
              <a:spLocks noChangeAspect="1"/>
            </p:cNvSpPr>
            <p:nvPr>
              <p:custDataLst>
                <p:tags r:id="rId74"/>
              </p:custDataLst>
            </p:nvPr>
          </p:nvSpPr>
          <p:spPr bwMode="auto">
            <a:xfrm>
              <a:off x="5279023" y="5027422"/>
              <a:ext cx="118836" cy="85837"/>
            </a:xfrm>
            <a:custGeom>
              <a:avLst/>
              <a:gdLst>
                <a:gd name="T0" fmla="*/ 0 w 46"/>
                <a:gd name="T1" fmla="*/ 0 h 34"/>
                <a:gd name="T2" fmla="*/ 0 w 46"/>
                <a:gd name="T3" fmla="*/ 0 h 34"/>
                <a:gd name="T4" fmla="*/ 0 w 46"/>
                <a:gd name="T5" fmla="*/ 0 h 34"/>
                <a:gd name="T6" fmla="*/ 0 w 46"/>
                <a:gd name="T7" fmla="*/ 0 h 34"/>
                <a:gd name="T8" fmla="*/ 0 w 46"/>
                <a:gd name="T9" fmla="*/ 0 h 34"/>
                <a:gd name="T10" fmla="*/ 0 w 46"/>
                <a:gd name="T11" fmla="*/ 0 h 34"/>
                <a:gd name="T12" fmla="*/ 0 w 46"/>
                <a:gd name="T13" fmla="*/ 0 h 3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6" h="34">
                  <a:moveTo>
                    <a:pt x="0" y="11"/>
                  </a:moveTo>
                  <a:lnTo>
                    <a:pt x="0" y="22"/>
                  </a:lnTo>
                  <a:lnTo>
                    <a:pt x="22" y="33"/>
                  </a:lnTo>
                  <a:lnTo>
                    <a:pt x="33" y="22"/>
                  </a:lnTo>
                  <a:lnTo>
                    <a:pt x="45" y="0"/>
                  </a:lnTo>
                  <a:lnTo>
                    <a:pt x="11" y="0"/>
                  </a:lnTo>
                  <a:lnTo>
                    <a:pt x="0" y="11"/>
                  </a:lnTo>
                </a:path>
              </a:pathLst>
            </a:custGeom>
            <a:solidFill>
              <a:srgbClr val="FFFFFF"/>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836"/>
            </a:p>
          </p:txBody>
        </p:sp>
        <p:sp>
          <p:nvSpPr>
            <p:cNvPr id="48221" name="Freeform 78"/>
            <p:cNvSpPr>
              <a:spLocks noChangeAspect="1"/>
            </p:cNvSpPr>
            <p:nvPr>
              <p:custDataLst>
                <p:tags r:id="rId75"/>
              </p:custDataLst>
            </p:nvPr>
          </p:nvSpPr>
          <p:spPr bwMode="auto">
            <a:xfrm>
              <a:off x="6097672" y="4452975"/>
              <a:ext cx="92428" cy="132057"/>
            </a:xfrm>
            <a:custGeom>
              <a:avLst/>
              <a:gdLst>
                <a:gd name="T0" fmla="*/ 0 w 34"/>
                <a:gd name="T1" fmla="*/ 0 h 57"/>
                <a:gd name="T2" fmla="*/ 0 w 34"/>
                <a:gd name="T3" fmla="*/ 0 h 57"/>
                <a:gd name="T4" fmla="*/ 0 w 34"/>
                <a:gd name="T5" fmla="*/ 0 h 57"/>
                <a:gd name="T6" fmla="*/ 0 w 34"/>
                <a:gd name="T7" fmla="*/ 0 h 57"/>
                <a:gd name="T8" fmla="*/ 0 w 34"/>
                <a:gd name="T9" fmla="*/ 0 h 57"/>
                <a:gd name="T10" fmla="*/ 0 w 34"/>
                <a:gd name="T11" fmla="*/ 0 h 57"/>
                <a:gd name="T12" fmla="*/ 0 w 34"/>
                <a:gd name="T13" fmla="*/ 0 h 57"/>
                <a:gd name="T14" fmla="*/ 0 w 34"/>
                <a:gd name="T15" fmla="*/ 0 h 57"/>
                <a:gd name="T16" fmla="*/ 0 w 34"/>
                <a:gd name="T17" fmla="*/ 0 h 57"/>
                <a:gd name="T18" fmla="*/ 0 w 34"/>
                <a:gd name="T19" fmla="*/ 0 h 5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34" h="57">
                  <a:moveTo>
                    <a:pt x="0" y="11"/>
                  </a:moveTo>
                  <a:lnTo>
                    <a:pt x="0" y="22"/>
                  </a:lnTo>
                  <a:lnTo>
                    <a:pt x="11" y="22"/>
                  </a:lnTo>
                  <a:lnTo>
                    <a:pt x="11" y="45"/>
                  </a:lnTo>
                  <a:lnTo>
                    <a:pt x="11" y="56"/>
                  </a:lnTo>
                  <a:lnTo>
                    <a:pt x="22" y="45"/>
                  </a:lnTo>
                  <a:lnTo>
                    <a:pt x="33" y="22"/>
                  </a:lnTo>
                  <a:lnTo>
                    <a:pt x="22" y="11"/>
                  </a:lnTo>
                  <a:lnTo>
                    <a:pt x="11" y="0"/>
                  </a:lnTo>
                  <a:lnTo>
                    <a:pt x="0" y="11"/>
                  </a:lnTo>
                </a:path>
              </a:pathLst>
            </a:custGeom>
            <a:solidFill>
              <a:srgbClr val="FFFFFF"/>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836"/>
            </a:p>
          </p:txBody>
        </p:sp>
        <p:sp>
          <p:nvSpPr>
            <p:cNvPr id="48222" name="Freeform 79"/>
            <p:cNvSpPr>
              <a:spLocks noChangeAspect="1"/>
            </p:cNvSpPr>
            <p:nvPr>
              <p:custDataLst>
                <p:tags r:id="rId76"/>
              </p:custDataLst>
            </p:nvPr>
          </p:nvSpPr>
          <p:spPr bwMode="auto">
            <a:xfrm>
              <a:off x="6183498" y="4452975"/>
              <a:ext cx="99030" cy="52823"/>
            </a:xfrm>
            <a:custGeom>
              <a:avLst/>
              <a:gdLst>
                <a:gd name="T0" fmla="*/ 0 w 35"/>
                <a:gd name="T1" fmla="*/ 0 h 23"/>
                <a:gd name="T2" fmla="*/ 0 w 35"/>
                <a:gd name="T3" fmla="*/ 0 h 23"/>
                <a:gd name="T4" fmla="*/ 0 w 35"/>
                <a:gd name="T5" fmla="*/ 0 h 23"/>
                <a:gd name="T6" fmla="*/ 0 w 35"/>
                <a:gd name="T7" fmla="*/ 0 h 23"/>
                <a:gd name="T8" fmla="*/ 0 w 35"/>
                <a:gd name="T9" fmla="*/ 0 h 23"/>
                <a:gd name="T10" fmla="*/ 0 w 35"/>
                <a:gd name="T11" fmla="*/ 0 h 23"/>
                <a:gd name="T12" fmla="*/ 0 w 35"/>
                <a:gd name="T13" fmla="*/ 0 h 23"/>
                <a:gd name="T14" fmla="*/ 0 w 35"/>
                <a:gd name="T15" fmla="*/ 0 h 23"/>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35" h="23">
                  <a:moveTo>
                    <a:pt x="0" y="11"/>
                  </a:moveTo>
                  <a:lnTo>
                    <a:pt x="0" y="22"/>
                  </a:lnTo>
                  <a:lnTo>
                    <a:pt x="12" y="22"/>
                  </a:lnTo>
                  <a:lnTo>
                    <a:pt x="23" y="11"/>
                  </a:lnTo>
                  <a:lnTo>
                    <a:pt x="34" y="11"/>
                  </a:lnTo>
                  <a:lnTo>
                    <a:pt x="34" y="0"/>
                  </a:lnTo>
                  <a:lnTo>
                    <a:pt x="23" y="0"/>
                  </a:lnTo>
                  <a:lnTo>
                    <a:pt x="0" y="11"/>
                  </a:lnTo>
                </a:path>
              </a:pathLst>
            </a:custGeom>
            <a:solidFill>
              <a:srgbClr val="FFFFFF"/>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836"/>
            </a:p>
          </p:txBody>
        </p:sp>
        <p:sp>
          <p:nvSpPr>
            <p:cNvPr id="48223" name="Freeform 80"/>
            <p:cNvSpPr>
              <a:spLocks noChangeAspect="1"/>
            </p:cNvSpPr>
            <p:nvPr>
              <p:custDataLst>
                <p:tags r:id="rId77"/>
              </p:custDataLst>
            </p:nvPr>
          </p:nvSpPr>
          <p:spPr bwMode="auto">
            <a:xfrm>
              <a:off x="6130682" y="4089819"/>
              <a:ext cx="448936" cy="389568"/>
            </a:xfrm>
            <a:custGeom>
              <a:avLst/>
              <a:gdLst>
                <a:gd name="T0" fmla="*/ 0 w 170"/>
                <a:gd name="T1" fmla="*/ 0 h 159"/>
                <a:gd name="T2" fmla="*/ 0 w 170"/>
                <a:gd name="T3" fmla="*/ 0 h 159"/>
                <a:gd name="T4" fmla="*/ 0 w 170"/>
                <a:gd name="T5" fmla="*/ 0 h 159"/>
                <a:gd name="T6" fmla="*/ 0 w 170"/>
                <a:gd name="T7" fmla="*/ 0 h 159"/>
                <a:gd name="T8" fmla="*/ 0 w 170"/>
                <a:gd name="T9" fmla="*/ 0 h 159"/>
                <a:gd name="T10" fmla="*/ 0 w 170"/>
                <a:gd name="T11" fmla="*/ 0 h 159"/>
                <a:gd name="T12" fmla="*/ 0 w 170"/>
                <a:gd name="T13" fmla="*/ 0 h 159"/>
                <a:gd name="T14" fmla="*/ 0 w 170"/>
                <a:gd name="T15" fmla="*/ 0 h 159"/>
                <a:gd name="T16" fmla="*/ 0 w 170"/>
                <a:gd name="T17" fmla="*/ 0 h 159"/>
                <a:gd name="T18" fmla="*/ 0 w 170"/>
                <a:gd name="T19" fmla="*/ 0 h 159"/>
                <a:gd name="T20" fmla="*/ 0 w 170"/>
                <a:gd name="T21" fmla="*/ 0 h 159"/>
                <a:gd name="T22" fmla="*/ 0 w 170"/>
                <a:gd name="T23" fmla="*/ 0 h 159"/>
                <a:gd name="T24" fmla="*/ 0 w 170"/>
                <a:gd name="T25" fmla="*/ 0 h 159"/>
                <a:gd name="T26" fmla="*/ 0 w 170"/>
                <a:gd name="T27" fmla="*/ 0 h 159"/>
                <a:gd name="T28" fmla="*/ 0 w 170"/>
                <a:gd name="T29" fmla="*/ 0 h 159"/>
                <a:gd name="T30" fmla="*/ 0 w 170"/>
                <a:gd name="T31" fmla="*/ 0 h 159"/>
                <a:gd name="T32" fmla="*/ 0 w 170"/>
                <a:gd name="T33" fmla="*/ 0 h 159"/>
                <a:gd name="T34" fmla="*/ 0 w 170"/>
                <a:gd name="T35" fmla="*/ 0 h 159"/>
                <a:gd name="T36" fmla="*/ 0 w 170"/>
                <a:gd name="T37" fmla="*/ 0 h 159"/>
                <a:gd name="T38" fmla="*/ 0 w 170"/>
                <a:gd name="T39" fmla="*/ 0 h 159"/>
                <a:gd name="T40" fmla="*/ 0 w 170"/>
                <a:gd name="T41" fmla="*/ 0 h 159"/>
                <a:gd name="T42" fmla="*/ 0 w 170"/>
                <a:gd name="T43" fmla="*/ 0 h 159"/>
                <a:gd name="T44" fmla="*/ 0 w 170"/>
                <a:gd name="T45" fmla="*/ 0 h 159"/>
                <a:gd name="T46" fmla="*/ 0 w 170"/>
                <a:gd name="T47" fmla="*/ 0 h 159"/>
                <a:gd name="T48" fmla="*/ 0 w 170"/>
                <a:gd name="T49" fmla="*/ 0 h 159"/>
                <a:gd name="T50" fmla="*/ 0 w 170"/>
                <a:gd name="T51" fmla="*/ 0 h 159"/>
                <a:gd name="T52" fmla="*/ 0 w 170"/>
                <a:gd name="T53" fmla="*/ 0 h 159"/>
                <a:gd name="T54" fmla="*/ 0 w 170"/>
                <a:gd name="T55" fmla="*/ 0 h 159"/>
                <a:gd name="T56" fmla="*/ 0 w 170"/>
                <a:gd name="T57" fmla="*/ 0 h 159"/>
                <a:gd name="T58" fmla="*/ 0 w 170"/>
                <a:gd name="T59" fmla="*/ 0 h 159"/>
                <a:gd name="T60" fmla="*/ 0 w 170"/>
                <a:gd name="T61" fmla="*/ 0 h 159"/>
                <a:gd name="T62" fmla="*/ 0 w 170"/>
                <a:gd name="T63" fmla="*/ 0 h 159"/>
                <a:gd name="T64" fmla="*/ 0 w 170"/>
                <a:gd name="T65" fmla="*/ 0 h 159"/>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70" h="159">
                  <a:moveTo>
                    <a:pt x="0" y="136"/>
                  </a:moveTo>
                  <a:lnTo>
                    <a:pt x="0" y="147"/>
                  </a:lnTo>
                  <a:lnTo>
                    <a:pt x="22" y="147"/>
                  </a:lnTo>
                  <a:lnTo>
                    <a:pt x="56" y="124"/>
                  </a:lnTo>
                  <a:lnTo>
                    <a:pt x="68" y="136"/>
                  </a:lnTo>
                  <a:lnTo>
                    <a:pt x="68" y="147"/>
                  </a:lnTo>
                  <a:lnTo>
                    <a:pt x="79" y="158"/>
                  </a:lnTo>
                  <a:lnTo>
                    <a:pt x="90" y="136"/>
                  </a:lnTo>
                  <a:lnTo>
                    <a:pt x="90" y="124"/>
                  </a:lnTo>
                  <a:lnTo>
                    <a:pt x="101" y="136"/>
                  </a:lnTo>
                  <a:lnTo>
                    <a:pt x="113" y="136"/>
                  </a:lnTo>
                  <a:lnTo>
                    <a:pt x="113" y="124"/>
                  </a:lnTo>
                  <a:lnTo>
                    <a:pt x="124" y="136"/>
                  </a:lnTo>
                  <a:lnTo>
                    <a:pt x="124" y="124"/>
                  </a:lnTo>
                  <a:lnTo>
                    <a:pt x="135" y="113"/>
                  </a:lnTo>
                  <a:lnTo>
                    <a:pt x="135" y="124"/>
                  </a:lnTo>
                  <a:lnTo>
                    <a:pt x="147" y="124"/>
                  </a:lnTo>
                  <a:lnTo>
                    <a:pt x="158" y="113"/>
                  </a:lnTo>
                  <a:lnTo>
                    <a:pt x="158" y="68"/>
                  </a:lnTo>
                  <a:lnTo>
                    <a:pt x="169" y="68"/>
                  </a:lnTo>
                  <a:lnTo>
                    <a:pt x="169" y="12"/>
                  </a:lnTo>
                  <a:lnTo>
                    <a:pt x="158" y="0"/>
                  </a:lnTo>
                  <a:lnTo>
                    <a:pt x="158" y="12"/>
                  </a:lnTo>
                  <a:lnTo>
                    <a:pt x="147" y="12"/>
                  </a:lnTo>
                  <a:lnTo>
                    <a:pt x="135" y="45"/>
                  </a:lnTo>
                  <a:lnTo>
                    <a:pt x="113" y="79"/>
                  </a:lnTo>
                  <a:lnTo>
                    <a:pt x="101" y="102"/>
                  </a:lnTo>
                  <a:lnTo>
                    <a:pt x="101" y="79"/>
                  </a:lnTo>
                  <a:lnTo>
                    <a:pt x="90" y="90"/>
                  </a:lnTo>
                  <a:lnTo>
                    <a:pt x="79" y="113"/>
                  </a:lnTo>
                  <a:lnTo>
                    <a:pt x="68" y="113"/>
                  </a:lnTo>
                  <a:lnTo>
                    <a:pt x="34" y="113"/>
                  </a:lnTo>
                  <a:lnTo>
                    <a:pt x="0" y="136"/>
                  </a:lnTo>
                </a:path>
              </a:pathLst>
            </a:custGeom>
            <a:solidFill>
              <a:srgbClr val="FFFFFF"/>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836"/>
            </a:p>
          </p:txBody>
        </p:sp>
        <p:sp>
          <p:nvSpPr>
            <p:cNvPr id="48224" name="Freeform 81"/>
            <p:cNvSpPr>
              <a:spLocks noChangeAspect="1"/>
            </p:cNvSpPr>
            <p:nvPr>
              <p:custDataLst>
                <p:tags r:id="rId78"/>
              </p:custDataLst>
            </p:nvPr>
          </p:nvSpPr>
          <p:spPr bwMode="auto">
            <a:xfrm>
              <a:off x="6480588" y="3871925"/>
              <a:ext cx="244274" cy="217894"/>
            </a:xfrm>
            <a:custGeom>
              <a:avLst/>
              <a:gdLst>
                <a:gd name="T0" fmla="*/ 0 w 92"/>
                <a:gd name="T1" fmla="*/ 0 h 91"/>
                <a:gd name="T2" fmla="*/ 0 w 92"/>
                <a:gd name="T3" fmla="*/ 0 h 91"/>
                <a:gd name="T4" fmla="*/ 0 w 92"/>
                <a:gd name="T5" fmla="*/ 0 h 91"/>
                <a:gd name="T6" fmla="*/ 0 w 92"/>
                <a:gd name="T7" fmla="*/ 0 h 91"/>
                <a:gd name="T8" fmla="*/ 0 w 92"/>
                <a:gd name="T9" fmla="*/ 0 h 91"/>
                <a:gd name="T10" fmla="*/ 0 w 92"/>
                <a:gd name="T11" fmla="*/ 0 h 91"/>
                <a:gd name="T12" fmla="*/ 0 w 92"/>
                <a:gd name="T13" fmla="*/ 0 h 91"/>
                <a:gd name="T14" fmla="*/ 0 w 92"/>
                <a:gd name="T15" fmla="*/ 0 h 91"/>
                <a:gd name="T16" fmla="*/ 0 w 92"/>
                <a:gd name="T17" fmla="*/ 0 h 91"/>
                <a:gd name="T18" fmla="*/ 0 w 92"/>
                <a:gd name="T19" fmla="*/ 0 h 91"/>
                <a:gd name="T20" fmla="*/ 0 w 92"/>
                <a:gd name="T21" fmla="*/ 0 h 91"/>
                <a:gd name="T22" fmla="*/ 0 w 92"/>
                <a:gd name="T23" fmla="*/ 0 h 91"/>
                <a:gd name="T24" fmla="*/ 0 w 92"/>
                <a:gd name="T25" fmla="*/ 0 h 91"/>
                <a:gd name="T26" fmla="*/ 0 w 92"/>
                <a:gd name="T27" fmla="*/ 0 h 91"/>
                <a:gd name="T28" fmla="*/ 0 w 92"/>
                <a:gd name="T29" fmla="*/ 0 h 91"/>
                <a:gd name="T30" fmla="*/ 0 w 92"/>
                <a:gd name="T31" fmla="*/ 0 h 91"/>
                <a:gd name="T32" fmla="*/ 0 w 92"/>
                <a:gd name="T33" fmla="*/ 0 h 91"/>
                <a:gd name="T34" fmla="*/ 0 w 92"/>
                <a:gd name="T35" fmla="*/ 0 h 91"/>
                <a:gd name="T36" fmla="*/ 0 w 92"/>
                <a:gd name="T37" fmla="*/ 0 h 91"/>
                <a:gd name="T38" fmla="*/ 0 w 92"/>
                <a:gd name="T39" fmla="*/ 0 h 91"/>
                <a:gd name="T40" fmla="*/ 0 w 92"/>
                <a:gd name="T41" fmla="*/ 0 h 91"/>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92" h="91">
                  <a:moveTo>
                    <a:pt x="0" y="68"/>
                  </a:moveTo>
                  <a:lnTo>
                    <a:pt x="0" y="90"/>
                  </a:lnTo>
                  <a:lnTo>
                    <a:pt x="23" y="79"/>
                  </a:lnTo>
                  <a:lnTo>
                    <a:pt x="12" y="79"/>
                  </a:lnTo>
                  <a:lnTo>
                    <a:pt x="12" y="68"/>
                  </a:lnTo>
                  <a:lnTo>
                    <a:pt x="34" y="68"/>
                  </a:lnTo>
                  <a:lnTo>
                    <a:pt x="57" y="79"/>
                  </a:lnTo>
                  <a:lnTo>
                    <a:pt x="68" y="68"/>
                  </a:lnTo>
                  <a:lnTo>
                    <a:pt x="79" y="68"/>
                  </a:lnTo>
                  <a:lnTo>
                    <a:pt x="91" y="56"/>
                  </a:lnTo>
                  <a:lnTo>
                    <a:pt x="79" y="45"/>
                  </a:lnTo>
                  <a:lnTo>
                    <a:pt x="91" y="34"/>
                  </a:lnTo>
                  <a:lnTo>
                    <a:pt x="79" y="45"/>
                  </a:lnTo>
                  <a:lnTo>
                    <a:pt x="57" y="34"/>
                  </a:lnTo>
                  <a:lnTo>
                    <a:pt x="34" y="0"/>
                  </a:lnTo>
                  <a:lnTo>
                    <a:pt x="34" y="11"/>
                  </a:lnTo>
                  <a:lnTo>
                    <a:pt x="34" y="23"/>
                  </a:lnTo>
                  <a:lnTo>
                    <a:pt x="23" y="68"/>
                  </a:lnTo>
                  <a:lnTo>
                    <a:pt x="12" y="56"/>
                  </a:lnTo>
                  <a:lnTo>
                    <a:pt x="12" y="68"/>
                  </a:lnTo>
                  <a:lnTo>
                    <a:pt x="0" y="68"/>
                  </a:lnTo>
                </a:path>
              </a:pathLst>
            </a:custGeom>
            <a:solidFill>
              <a:srgbClr val="FFFFFF"/>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836"/>
            </a:p>
          </p:txBody>
        </p:sp>
        <p:sp>
          <p:nvSpPr>
            <p:cNvPr id="48225" name="Freeform 82"/>
            <p:cNvSpPr>
              <a:spLocks noChangeAspect="1"/>
            </p:cNvSpPr>
            <p:nvPr>
              <p:custDataLst>
                <p:tags r:id="rId79"/>
              </p:custDataLst>
            </p:nvPr>
          </p:nvSpPr>
          <p:spPr bwMode="auto">
            <a:xfrm>
              <a:off x="6573016" y="3370110"/>
              <a:ext cx="92428" cy="501816"/>
            </a:xfrm>
            <a:custGeom>
              <a:avLst/>
              <a:gdLst>
                <a:gd name="T0" fmla="*/ 0 w 35"/>
                <a:gd name="T1" fmla="*/ 0 h 204"/>
                <a:gd name="T2" fmla="*/ 0 w 35"/>
                <a:gd name="T3" fmla="*/ 0 h 204"/>
                <a:gd name="T4" fmla="*/ 0 w 35"/>
                <a:gd name="T5" fmla="*/ 0 h 204"/>
                <a:gd name="T6" fmla="*/ 0 w 35"/>
                <a:gd name="T7" fmla="*/ 0 h 204"/>
                <a:gd name="T8" fmla="*/ 0 w 35"/>
                <a:gd name="T9" fmla="*/ 0 h 204"/>
                <a:gd name="T10" fmla="*/ 0 w 35"/>
                <a:gd name="T11" fmla="*/ 0 h 204"/>
                <a:gd name="T12" fmla="*/ 0 w 35"/>
                <a:gd name="T13" fmla="*/ 0 h 204"/>
                <a:gd name="T14" fmla="*/ 0 w 35"/>
                <a:gd name="T15" fmla="*/ 0 h 204"/>
                <a:gd name="T16" fmla="*/ 0 w 35"/>
                <a:gd name="T17" fmla="*/ 0 h 204"/>
                <a:gd name="T18" fmla="*/ 0 w 35"/>
                <a:gd name="T19" fmla="*/ 0 h 204"/>
                <a:gd name="T20" fmla="*/ 0 w 35"/>
                <a:gd name="T21" fmla="*/ 0 h 204"/>
                <a:gd name="T22" fmla="*/ 0 w 35"/>
                <a:gd name="T23" fmla="*/ 0 h 204"/>
                <a:gd name="T24" fmla="*/ 0 w 35"/>
                <a:gd name="T25" fmla="*/ 0 h 204"/>
                <a:gd name="T26" fmla="*/ 0 w 35"/>
                <a:gd name="T27" fmla="*/ 0 h 204"/>
                <a:gd name="T28" fmla="*/ 0 w 35"/>
                <a:gd name="T29" fmla="*/ 0 h 204"/>
                <a:gd name="T30" fmla="*/ 0 w 35"/>
                <a:gd name="T31" fmla="*/ 0 h 204"/>
                <a:gd name="T32" fmla="*/ 0 w 35"/>
                <a:gd name="T33" fmla="*/ 0 h 204"/>
                <a:gd name="T34" fmla="*/ 0 w 35"/>
                <a:gd name="T35" fmla="*/ 0 h 204"/>
                <a:gd name="T36" fmla="*/ 0 w 35"/>
                <a:gd name="T37" fmla="*/ 0 h 204"/>
                <a:gd name="T38" fmla="*/ 0 w 35"/>
                <a:gd name="T39" fmla="*/ 0 h 204"/>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35" h="204">
                  <a:moveTo>
                    <a:pt x="0" y="23"/>
                  </a:moveTo>
                  <a:lnTo>
                    <a:pt x="0" y="68"/>
                  </a:lnTo>
                  <a:lnTo>
                    <a:pt x="0" y="79"/>
                  </a:lnTo>
                  <a:lnTo>
                    <a:pt x="0" y="135"/>
                  </a:lnTo>
                  <a:lnTo>
                    <a:pt x="0" y="158"/>
                  </a:lnTo>
                  <a:lnTo>
                    <a:pt x="0" y="192"/>
                  </a:lnTo>
                  <a:lnTo>
                    <a:pt x="0" y="203"/>
                  </a:lnTo>
                  <a:lnTo>
                    <a:pt x="0" y="192"/>
                  </a:lnTo>
                  <a:lnTo>
                    <a:pt x="23" y="203"/>
                  </a:lnTo>
                  <a:lnTo>
                    <a:pt x="23" y="192"/>
                  </a:lnTo>
                  <a:lnTo>
                    <a:pt x="0" y="158"/>
                  </a:lnTo>
                  <a:lnTo>
                    <a:pt x="12" y="135"/>
                  </a:lnTo>
                  <a:lnTo>
                    <a:pt x="23" y="135"/>
                  </a:lnTo>
                  <a:lnTo>
                    <a:pt x="34" y="135"/>
                  </a:lnTo>
                  <a:lnTo>
                    <a:pt x="12" y="68"/>
                  </a:lnTo>
                  <a:lnTo>
                    <a:pt x="12" y="11"/>
                  </a:lnTo>
                  <a:lnTo>
                    <a:pt x="12" y="0"/>
                  </a:lnTo>
                  <a:lnTo>
                    <a:pt x="0" y="0"/>
                  </a:lnTo>
                  <a:lnTo>
                    <a:pt x="0" y="11"/>
                  </a:lnTo>
                  <a:lnTo>
                    <a:pt x="0" y="23"/>
                  </a:lnTo>
                </a:path>
              </a:pathLst>
            </a:custGeom>
            <a:solidFill>
              <a:srgbClr val="FFFFFF"/>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836"/>
            </a:p>
          </p:txBody>
        </p:sp>
        <p:sp>
          <p:nvSpPr>
            <p:cNvPr id="48226" name="Freeform 83"/>
            <p:cNvSpPr>
              <a:spLocks noChangeAspect="1"/>
            </p:cNvSpPr>
            <p:nvPr>
              <p:custDataLst>
                <p:tags r:id="rId80"/>
              </p:custDataLst>
            </p:nvPr>
          </p:nvSpPr>
          <p:spPr bwMode="auto">
            <a:xfrm>
              <a:off x="1476268" y="3290876"/>
              <a:ext cx="6602" cy="59426"/>
            </a:xfrm>
            <a:custGeom>
              <a:avLst/>
              <a:gdLst>
                <a:gd name="T0" fmla="*/ 0 w 1"/>
                <a:gd name="T1" fmla="*/ 0 h 24"/>
                <a:gd name="T2" fmla="*/ 0 w 1"/>
                <a:gd name="T3" fmla="*/ 0 h 24"/>
                <a:gd name="T4" fmla="*/ 0 w 1"/>
                <a:gd name="T5" fmla="*/ 0 h 24"/>
                <a:gd name="T6" fmla="*/ 0 w 1"/>
                <a:gd name="T7" fmla="*/ 0 h 24"/>
                <a:gd name="T8" fmla="*/ 0 w 1"/>
                <a:gd name="T9" fmla="*/ 0 h 2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 h="24">
                  <a:moveTo>
                    <a:pt x="0" y="12"/>
                  </a:moveTo>
                  <a:lnTo>
                    <a:pt x="0" y="23"/>
                  </a:lnTo>
                  <a:lnTo>
                    <a:pt x="0" y="12"/>
                  </a:lnTo>
                  <a:lnTo>
                    <a:pt x="0" y="0"/>
                  </a:lnTo>
                  <a:lnTo>
                    <a:pt x="0" y="12"/>
                  </a:lnTo>
                </a:path>
              </a:pathLst>
            </a:custGeom>
            <a:solidFill>
              <a:srgbClr val="FFFFFF"/>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836"/>
            </a:p>
          </p:txBody>
        </p:sp>
        <p:sp>
          <p:nvSpPr>
            <p:cNvPr id="48227" name="Freeform 84"/>
            <p:cNvSpPr>
              <a:spLocks noChangeAspect="1"/>
            </p:cNvSpPr>
            <p:nvPr>
              <p:custDataLst>
                <p:tags r:id="rId81"/>
              </p:custDataLst>
            </p:nvPr>
          </p:nvSpPr>
          <p:spPr bwMode="auto">
            <a:xfrm>
              <a:off x="829271" y="3092790"/>
              <a:ext cx="330100" cy="561241"/>
            </a:xfrm>
            <a:custGeom>
              <a:avLst/>
              <a:gdLst>
                <a:gd name="T0" fmla="*/ 0 w 125"/>
                <a:gd name="T1" fmla="*/ 0 h 227"/>
                <a:gd name="T2" fmla="*/ 0 w 125"/>
                <a:gd name="T3" fmla="*/ 0 h 227"/>
                <a:gd name="T4" fmla="*/ 0 w 125"/>
                <a:gd name="T5" fmla="*/ 0 h 227"/>
                <a:gd name="T6" fmla="*/ 0 w 125"/>
                <a:gd name="T7" fmla="*/ 0 h 227"/>
                <a:gd name="T8" fmla="*/ 0 w 125"/>
                <a:gd name="T9" fmla="*/ 0 h 227"/>
                <a:gd name="T10" fmla="*/ 0 w 125"/>
                <a:gd name="T11" fmla="*/ 0 h 227"/>
                <a:gd name="T12" fmla="*/ 0 w 125"/>
                <a:gd name="T13" fmla="*/ 0 h 227"/>
                <a:gd name="T14" fmla="*/ 0 w 125"/>
                <a:gd name="T15" fmla="*/ 0 h 227"/>
                <a:gd name="T16" fmla="*/ 0 w 125"/>
                <a:gd name="T17" fmla="*/ 0 h 227"/>
                <a:gd name="T18" fmla="*/ 0 w 125"/>
                <a:gd name="T19" fmla="*/ 0 h 227"/>
                <a:gd name="T20" fmla="*/ 0 w 125"/>
                <a:gd name="T21" fmla="*/ 0 h 227"/>
                <a:gd name="T22" fmla="*/ 0 w 125"/>
                <a:gd name="T23" fmla="*/ 0 h 227"/>
                <a:gd name="T24" fmla="*/ 0 w 125"/>
                <a:gd name="T25" fmla="*/ 0 h 227"/>
                <a:gd name="T26" fmla="*/ 0 w 125"/>
                <a:gd name="T27" fmla="*/ 0 h 227"/>
                <a:gd name="T28" fmla="*/ 0 w 125"/>
                <a:gd name="T29" fmla="*/ 0 h 227"/>
                <a:gd name="T30" fmla="*/ 0 w 125"/>
                <a:gd name="T31" fmla="*/ 0 h 227"/>
                <a:gd name="T32" fmla="*/ 0 w 125"/>
                <a:gd name="T33" fmla="*/ 0 h 227"/>
                <a:gd name="T34" fmla="*/ 0 w 125"/>
                <a:gd name="T35" fmla="*/ 0 h 227"/>
                <a:gd name="T36" fmla="*/ 0 w 125"/>
                <a:gd name="T37" fmla="*/ 0 h 227"/>
                <a:gd name="T38" fmla="*/ 0 w 125"/>
                <a:gd name="T39" fmla="*/ 0 h 227"/>
                <a:gd name="T40" fmla="*/ 0 w 125"/>
                <a:gd name="T41" fmla="*/ 0 h 227"/>
                <a:gd name="T42" fmla="*/ 0 w 125"/>
                <a:gd name="T43" fmla="*/ 0 h 227"/>
                <a:gd name="T44" fmla="*/ 0 w 125"/>
                <a:gd name="T45" fmla="*/ 0 h 227"/>
                <a:gd name="T46" fmla="*/ 0 w 125"/>
                <a:gd name="T47" fmla="*/ 0 h 227"/>
                <a:gd name="T48" fmla="*/ 0 w 125"/>
                <a:gd name="T49" fmla="*/ 0 h 227"/>
                <a:gd name="T50" fmla="*/ 0 w 125"/>
                <a:gd name="T51" fmla="*/ 0 h 227"/>
                <a:gd name="T52" fmla="*/ 0 w 125"/>
                <a:gd name="T53" fmla="*/ 0 h 227"/>
                <a:gd name="T54" fmla="*/ 0 w 125"/>
                <a:gd name="T55" fmla="*/ 0 h 227"/>
                <a:gd name="T56" fmla="*/ 0 w 125"/>
                <a:gd name="T57" fmla="*/ 0 h 227"/>
                <a:gd name="T58" fmla="*/ 0 w 125"/>
                <a:gd name="T59" fmla="*/ 0 h 227"/>
                <a:gd name="T60" fmla="*/ 0 w 125"/>
                <a:gd name="T61" fmla="*/ 0 h 227"/>
                <a:gd name="T62" fmla="*/ 0 w 125"/>
                <a:gd name="T63" fmla="*/ 0 h 227"/>
                <a:gd name="T64" fmla="*/ 0 w 125"/>
                <a:gd name="T65" fmla="*/ 0 h 227"/>
                <a:gd name="T66" fmla="*/ 0 w 125"/>
                <a:gd name="T67" fmla="*/ 0 h 227"/>
                <a:gd name="T68" fmla="*/ 0 w 125"/>
                <a:gd name="T69" fmla="*/ 0 h 227"/>
                <a:gd name="T70" fmla="*/ 0 w 125"/>
                <a:gd name="T71" fmla="*/ 0 h 227"/>
                <a:gd name="T72" fmla="*/ 0 w 125"/>
                <a:gd name="T73" fmla="*/ 0 h 227"/>
                <a:gd name="T74" fmla="*/ 0 w 125"/>
                <a:gd name="T75" fmla="*/ 0 h 227"/>
                <a:gd name="T76" fmla="*/ 0 w 125"/>
                <a:gd name="T77" fmla="*/ 0 h 227"/>
                <a:gd name="T78" fmla="*/ 0 w 125"/>
                <a:gd name="T79" fmla="*/ 0 h 227"/>
                <a:gd name="T80" fmla="*/ 0 w 125"/>
                <a:gd name="T81" fmla="*/ 0 h 227"/>
                <a:gd name="T82" fmla="*/ 0 w 125"/>
                <a:gd name="T83" fmla="*/ 0 h 227"/>
                <a:gd name="T84" fmla="*/ 0 w 125"/>
                <a:gd name="T85" fmla="*/ 0 h 227"/>
                <a:gd name="T86" fmla="*/ 0 w 125"/>
                <a:gd name="T87" fmla="*/ 0 h 227"/>
                <a:gd name="T88" fmla="*/ 0 w 125"/>
                <a:gd name="T89" fmla="*/ 0 h 227"/>
                <a:gd name="T90" fmla="*/ 0 w 125"/>
                <a:gd name="T91" fmla="*/ 0 h 227"/>
                <a:gd name="T92" fmla="*/ 0 w 125"/>
                <a:gd name="T93" fmla="*/ 0 h 227"/>
                <a:gd name="T94" fmla="*/ 0 w 125"/>
                <a:gd name="T95" fmla="*/ 0 h 227"/>
                <a:gd name="T96" fmla="*/ 0 w 125"/>
                <a:gd name="T97" fmla="*/ 0 h 227"/>
                <a:gd name="T98" fmla="*/ 0 w 125"/>
                <a:gd name="T99" fmla="*/ 0 h 227"/>
                <a:gd name="T100" fmla="*/ 0 w 125"/>
                <a:gd name="T101" fmla="*/ 0 h 227"/>
                <a:gd name="T102" fmla="*/ 0 w 125"/>
                <a:gd name="T103" fmla="*/ 0 h 227"/>
                <a:gd name="T104" fmla="*/ 0 w 125"/>
                <a:gd name="T105" fmla="*/ 0 h 227"/>
                <a:gd name="T106" fmla="*/ 0 w 125"/>
                <a:gd name="T107" fmla="*/ 0 h 227"/>
                <a:gd name="T108" fmla="*/ 0 w 125"/>
                <a:gd name="T109" fmla="*/ 0 h 227"/>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25" h="227">
                  <a:moveTo>
                    <a:pt x="23" y="226"/>
                  </a:moveTo>
                  <a:lnTo>
                    <a:pt x="23" y="215"/>
                  </a:lnTo>
                  <a:lnTo>
                    <a:pt x="45" y="226"/>
                  </a:lnTo>
                  <a:lnTo>
                    <a:pt x="45" y="215"/>
                  </a:lnTo>
                  <a:lnTo>
                    <a:pt x="56" y="203"/>
                  </a:lnTo>
                  <a:lnTo>
                    <a:pt x="68" y="215"/>
                  </a:lnTo>
                  <a:lnTo>
                    <a:pt x="79" y="203"/>
                  </a:lnTo>
                  <a:lnTo>
                    <a:pt x="113" y="203"/>
                  </a:lnTo>
                  <a:lnTo>
                    <a:pt x="124" y="192"/>
                  </a:lnTo>
                  <a:lnTo>
                    <a:pt x="102" y="192"/>
                  </a:lnTo>
                  <a:lnTo>
                    <a:pt x="124" y="169"/>
                  </a:lnTo>
                  <a:lnTo>
                    <a:pt x="113" y="158"/>
                  </a:lnTo>
                  <a:lnTo>
                    <a:pt x="102" y="158"/>
                  </a:lnTo>
                  <a:lnTo>
                    <a:pt x="90" y="158"/>
                  </a:lnTo>
                  <a:lnTo>
                    <a:pt x="102" y="147"/>
                  </a:lnTo>
                  <a:lnTo>
                    <a:pt x="102" y="136"/>
                  </a:lnTo>
                  <a:lnTo>
                    <a:pt x="90" y="113"/>
                  </a:lnTo>
                  <a:lnTo>
                    <a:pt x="79" y="113"/>
                  </a:lnTo>
                  <a:lnTo>
                    <a:pt x="68" y="79"/>
                  </a:lnTo>
                  <a:lnTo>
                    <a:pt x="45" y="68"/>
                  </a:lnTo>
                  <a:lnTo>
                    <a:pt x="79" y="34"/>
                  </a:lnTo>
                  <a:lnTo>
                    <a:pt x="68" y="23"/>
                  </a:lnTo>
                  <a:lnTo>
                    <a:pt x="34" y="34"/>
                  </a:lnTo>
                  <a:lnTo>
                    <a:pt x="34" y="12"/>
                  </a:lnTo>
                  <a:lnTo>
                    <a:pt x="56" y="0"/>
                  </a:lnTo>
                  <a:lnTo>
                    <a:pt x="45" y="0"/>
                  </a:lnTo>
                  <a:lnTo>
                    <a:pt x="23" y="0"/>
                  </a:lnTo>
                  <a:lnTo>
                    <a:pt x="11" y="34"/>
                  </a:lnTo>
                  <a:lnTo>
                    <a:pt x="0" y="34"/>
                  </a:lnTo>
                  <a:lnTo>
                    <a:pt x="11" y="45"/>
                  </a:lnTo>
                  <a:lnTo>
                    <a:pt x="23" y="45"/>
                  </a:lnTo>
                  <a:lnTo>
                    <a:pt x="11" y="57"/>
                  </a:lnTo>
                  <a:lnTo>
                    <a:pt x="23" y="57"/>
                  </a:lnTo>
                  <a:lnTo>
                    <a:pt x="23" y="68"/>
                  </a:lnTo>
                  <a:lnTo>
                    <a:pt x="11" y="79"/>
                  </a:lnTo>
                  <a:lnTo>
                    <a:pt x="23" y="79"/>
                  </a:lnTo>
                  <a:lnTo>
                    <a:pt x="23" y="91"/>
                  </a:lnTo>
                  <a:lnTo>
                    <a:pt x="23" y="102"/>
                  </a:lnTo>
                  <a:lnTo>
                    <a:pt x="23" y="113"/>
                  </a:lnTo>
                  <a:lnTo>
                    <a:pt x="45" y="102"/>
                  </a:lnTo>
                  <a:lnTo>
                    <a:pt x="45" y="113"/>
                  </a:lnTo>
                  <a:lnTo>
                    <a:pt x="56" y="113"/>
                  </a:lnTo>
                  <a:lnTo>
                    <a:pt x="56" y="136"/>
                  </a:lnTo>
                  <a:lnTo>
                    <a:pt x="23" y="136"/>
                  </a:lnTo>
                  <a:lnTo>
                    <a:pt x="34" y="147"/>
                  </a:lnTo>
                  <a:lnTo>
                    <a:pt x="23" y="158"/>
                  </a:lnTo>
                  <a:lnTo>
                    <a:pt x="34" y="158"/>
                  </a:lnTo>
                  <a:lnTo>
                    <a:pt x="34" y="169"/>
                  </a:lnTo>
                  <a:lnTo>
                    <a:pt x="23" y="181"/>
                  </a:lnTo>
                  <a:lnTo>
                    <a:pt x="34" y="181"/>
                  </a:lnTo>
                  <a:lnTo>
                    <a:pt x="45" y="192"/>
                  </a:lnTo>
                  <a:lnTo>
                    <a:pt x="56" y="181"/>
                  </a:lnTo>
                  <a:lnTo>
                    <a:pt x="56" y="192"/>
                  </a:lnTo>
                  <a:lnTo>
                    <a:pt x="34" y="192"/>
                  </a:lnTo>
                  <a:lnTo>
                    <a:pt x="23" y="226"/>
                  </a:lnTo>
                </a:path>
              </a:pathLst>
            </a:custGeom>
            <a:solidFill>
              <a:schemeClr val="accent1"/>
            </a:solidFill>
            <a:ln w="12700" cap="rnd" cmpd="sng">
              <a:solidFill>
                <a:srgbClr val="000000"/>
              </a:solidFill>
              <a:prstDash val="solid"/>
              <a:round/>
              <a:headEnd type="none" w="med" len="med"/>
              <a:tailEnd type="none" w="med" len="med"/>
            </a:ln>
            <a:effectLst/>
            <a:extLst/>
          </p:spPr>
          <p:txBody>
            <a:bodyPr/>
            <a:lstStyle/>
            <a:p>
              <a:endParaRPr lang="en-GB" sz="1836"/>
            </a:p>
          </p:txBody>
        </p:sp>
        <p:sp>
          <p:nvSpPr>
            <p:cNvPr id="48228" name="Freeform 85"/>
            <p:cNvSpPr>
              <a:spLocks noChangeAspect="1"/>
            </p:cNvSpPr>
            <p:nvPr>
              <p:custDataLst>
                <p:tags r:id="rId82"/>
              </p:custDataLst>
            </p:nvPr>
          </p:nvSpPr>
          <p:spPr bwMode="auto">
            <a:xfrm>
              <a:off x="4777271" y="5582061"/>
              <a:ext cx="415926" cy="415979"/>
            </a:xfrm>
            <a:custGeom>
              <a:avLst/>
              <a:gdLst>
                <a:gd name="T0" fmla="*/ 0 w 159"/>
                <a:gd name="T1" fmla="*/ 0 h 170"/>
                <a:gd name="T2" fmla="*/ 0 w 159"/>
                <a:gd name="T3" fmla="*/ 0 h 170"/>
                <a:gd name="T4" fmla="*/ 0 w 159"/>
                <a:gd name="T5" fmla="*/ 0 h 170"/>
                <a:gd name="T6" fmla="*/ 0 w 159"/>
                <a:gd name="T7" fmla="*/ 0 h 170"/>
                <a:gd name="T8" fmla="*/ 0 w 159"/>
                <a:gd name="T9" fmla="*/ 0 h 170"/>
                <a:gd name="T10" fmla="*/ 0 w 159"/>
                <a:gd name="T11" fmla="*/ 0 h 170"/>
                <a:gd name="T12" fmla="*/ 0 w 159"/>
                <a:gd name="T13" fmla="*/ 0 h 170"/>
                <a:gd name="T14" fmla="*/ 0 w 159"/>
                <a:gd name="T15" fmla="*/ 0 h 170"/>
                <a:gd name="T16" fmla="*/ 0 w 159"/>
                <a:gd name="T17" fmla="*/ 0 h 170"/>
                <a:gd name="T18" fmla="*/ 0 w 159"/>
                <a:gd name="T19" fmla="*/ 0 h 170"/>
                <a:gd name="T20" fmla="*/ 0 w 159"/>
                <a:gd name="T21" fmla="*/ 0 h 170"/>
                <a:gd name="T22" fmla="*/ 0 w 159"/>
                <a:gd name="T23" fmla="*/ 0 h 170"/>
                <a:gd name="T24" fmla="*/ 0 w 159"/>
                <a:gd name="T25" fmla="*/ 0 h 170"/>
                <a:gd name="T26" fmla="*/ 0 w 159"/>
                <a:gd name="T27" fmla="*/ 0 h 170"/>
                <a:gd name="T28" fmla="*/ 0 w 159"/>
                <a:gd name="T29" fmla="*/ 0 h 170"/>
                <a:gd name="T30" fmla="*/ 0 w 159"/>
                <a:gd name="T31" fmla="*/ 0 h 170"/>
                <a:gd name="T32" fmla="*/ 0 w 159"/>
                <a:gd name="T33" fmla="*/ 0 h 170"/>
                <a:gd name="T34" fmla="*/ 0 w 159"/>
                <a:gd name="T35" fmla="*/ 0 h 170"/>
                <a:gd name="T36" fmla="*/ 0 w 159"/>
                <a:gd name="T37" fmla="*/ 0 h 170"/>
                <a:gd name="T38" fmla="*/ 0 w 159"/>
                <a:gd name="T39" fmla="*/ 0 h 170"/>
                <a:gd name="T40" fmla="*/ 0 w 159"/>
                <a:gd name="T41" fmla="*/ 0 h 170"/>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159" h="170">
                  <a:moveTo>
                    <a:pt x="0" y="0"/>
                  </a:moveTo>
                  <a:lnTo>
                    <a:pt x="0" y="11"/>
                  </a:lnTo>
                  <a:lnTo>
                    <a:pt x="11" y="23"/>
                  </a:lnTo>
                  <a:lnTo>
                    <a:pt x="33" y="45"/>
                  </a:lnTo>
                  <a:lnTo>
                    <a:pt x="45" y="56"/>
                  </a:lnTo>
                  <a:lnTo>
                    <a:pt x="56" y="79"/>
                  </a:lnTo>
                  <a:lnTo>
                    <a:pt x="67" y="90"/>
                  </a:lnTo>
                  <a:lnTo>
                    <a:pt x="90" y="135"/>
                  </a:lnTo>
                  <a:lnTo>
                    <a:pt x="124" y="169"/>
                  </a:lnTo>
                  <a:lnTo>
                    <a:pt x="146" y="169"/>
                  </a:lnTo>
                  <a:lnTo>
                    <a:pt x="158" y="135"/>
                  </a:lnTo>
                  <a:lnTo>
                    <a:pt x="146" y="113"/>
                  </a:lnTo>
                  <a:lnTo>
                    <a:pt x="135" y="113"/>
                  </a:lnTo>
                  <a:lnTo>
                    <a:pt x="124" y="90"/>
                  </a:lnTo>
                  <a:lnTo>
                    <a:pt x="124" y="79"/>
                  </a:lnTo>
                  <a:lnTo>
                    <a:pt x="113" y="79"/>
                  </a:lnTo>
                  <a:lnTo>
                    <a:pt x="113" y="68"/>
                  </a:lnTo>
                  <a:lnTo>
                    <a:pt x="79" y="45"/>
                  </a:lnTo>
                  <a:lnTo>
                    <a:pt x="67" y="45"/>
                  </a:lnTo>
                  <a:lnTo>
                    <a:pt x="22" y="11"/>
                  </a:lnTo>
                  <a:lnTo>
                    <a:pt x="0" y="0"/>
                  </a:lnTo>
                </a:path>
              </a:pathLst>
            </a:custGeom>
            <a:solidFill>
              <a:srgbClr val="FFFFFF"/>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836"/>
            </a:p>
          </p:txBody>
        </p:sp>
        <p:sp>
          <p:nvSpPr>
            <p:cNvPr id="48229" name="Freeform 86"/>
            <p:cNvSpPr>
              <a:spLocks noChangeAspect="1"/>
            </p:cNvSpPr>
            <p:nvPr>
              <p:custDataLst>
                <p:tags r:id="rId83"/>
              </p:custDataLst>
            </p:nvPr>
          </p:nvSpPr>
          <p:spPr bwMode="auto">
            <a:xfrm>
              <a:off x="5160187" y="5991437"/>
              <a:ext cx="356508" cy="118851"/>
            </a:xfrm>
            <a:custGeom>
              <a:avLst/>
              <a:gdLst>
                <a:gd name="T0" fmla="*/ 0 w 137"/>
                <a:gd name="T1" fmla="*/ 0 h 46"/>
                <a:gd name="T2" fmla="*/ 0 w 137"/>
                <a:gd name="T3" fmla="*/ 0 h 46"/>
                <a:gd name="T4" fmla="*/ 0 w 137"/>
                <a:gd name="T5" fmla="*/ 0 h 46"/>
                <a:gd name="T6" fmla="*/ 0 w 137"/>
                <a:gd name="T7" fmla="*/ 0 h 46"/>
                <a:gd name="T8" fmla="*/ 0 w 137"/>
                <a:gd name="T9" fmla="*/ 0 h 46"/>
                <a:gd name="T10" fmla="*/ 0 w 137"/>
                <a:gd name="T11" fmla="*/ 0 h 46"/>
                <a:gd name="T12" fmla="*/ 0 w 137"/>
                <a:gd name="T13" fmla="*/ 0 h 46"/>
                <a:gd name="T14" fmla="*/ 0 w 137"/>
                <a:gd name="T15" fmla="*/ 0 h 46"/>
                <a:gd name="T16" fmla="*/ 0 w 137"/>
                <a:gd name="T17" fmla="*/ 0 h 46"/>
                <a:gd name="T18" fmla="*/ 0 w 137"/>
                <a:gd name="T19" fmla="*/ 0 h 46"/>
                <a:gd name="T20" fmla="*/ 0 w 137"/>
                <a:gd name="T21" fmla="*/ 0 h 46"/>
                <a:gd name="T22" fmla="*/ 0 w 137"/>
                <a:gd name="T23" fmla="*/ 0 h 4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37" h="46">
                  <a:moveTo>
                    <a:pt x="0" y="11"/>
                  </a:moveTo>
                  <a:lnTo>
                    <a:pt x="34" y="34"/>
                  </a:lnTo>
                  <a:lnTo>
                    <a:pt x="136" y="45"/>
                  </a:lnTo>
                  <a:lnTo>
                    <a:pt x="136" y="34"/>
                  </a:lnTo>
                  <a:lnTo>
                    <a:pt x="113" y="34"/>
                  </a:lnTo>
                  <a:lnTo>
                    <a:pt x="102" y="23"/>
                  </a:lnTo>
                  <a:lnTo>
                    <a:pt x="79" y="11"/>
                  </a:lnTo>
                  <a:lnTo>
                    <a:pt x="79" y="23"/>
                  </a:lnTo>
                  <a:lnTo>
                    <a:pt x="57" y="11"/>
                  </a:lnTo>
                  <a:lnTo>
                    <a:pt x="34" y="0"/>
                  </a:lnTo>
                  <a:lnTo>
                    <a:pt x="12" y="0"/>
                  </a:lnTo>
                  <a:lnTo>
                    <a:pt x="0" y="11"/>
                  </a:lnTo>
                </a:path>
              </a:pathLst>
            </a:custGeom>
            <a:solidFill>
              <a:srgbClr val="FFFFFF"/>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836"/>
            </a:p>
          </p:txBody>
        </p:sp>
        <p:sp>
          <p:nvSpPr>
            <p:cNvPr id="48230" name="Rectangle 87"/>
            <p:cNvSpPr>
              <a:spLocks noChangeAspect="1" noChangeArrowheads="1"/>
            </p:cNvSpPr>
            <p:nvPr>
              <p:custDataLst>
                <p:tags r:id="rId84"/>
              </p:custDataLst>
            </p:nvPr>
          </p:nvSpPr>
          <p:spPr bwMode="auto">
            <a:xfrm>
              <a:off x="5510093" y="6103685"/>
              <a:ext cx="33010" cy="6603"/>
            </a:xfrm>
            <a:prstGeom prst="rect">
              <a:avLst/>
            </a:prstGeom>
            <a:solidFill>
              <a:srgbClr val="FFFFFF"/>
            </a:solidFill>
            <a:ln w="12700">
              <a:solidFill>
                <a:srgbClr val="00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a-DK" sz="1836"/>
            </a:p>
          </p:txBody>
        </p:sp>
        <p:sp>
          <p:nvSpPr>
            <p:cNvPr id="48231" name="Freeform 88"/>
            <p:cNvSpPr>
              <a:spLocks noChangeAspect="1"/>
            </p:cNvSpPr>
            <p:nvPr>
              <p:custDataLst>
                <p:tags r:id="rId85"/>
              </p:custDataLst>
            </p:nvPr>
          </p:nvSpPr>
          <p:spPr bwMode="auto">
            <a:xfrm>
              <a:off x="5160187" y="5832969"/>
              <a:ext cx="59418" cy="79234"/>
            </a:xfrm>
            <a:custGeom>
              <a:avLst/>
              <a:gdLst>
                <a:gd name="T0" fmla="*/ 0 w 24"/>
                <a:gd name="T1" fmla="*/ 0 h 34"/>
                <a:gd name="T2" fmla="*/ 0 w 24"/>
                <a:gd name="T3" fmla="*/ 0 h 34"/>
                <a:gd name="T4" fmla="*/ 0 w 24"/>
                <a:gd name="T5" fmla="*/ 0 h 34"/>
                <a:gd name="T6" fmla="*/ 0 w 24"/>
                <a:gd name="T7" fmla="*/ 0 h 34"/>
                <a:gd name="T8" fmla="*/ 0 w 24"/>
                <a:gd name="T9" fmla="*/ 0 h 34"/>
                <a:gd name="T10" fmla="*/ 0 w 24"/>
                <a:gd name="T11" fmla="*/ 0 h 3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4" h="34">
                  <a:moveTo>
                    <a:pt x="0" y="11"/>
                  </a:moveTo>
                  <a:lnTo>
                    <a:pt x="12" y="22"/>
                  </a:lnTo>
                  <a:lnTo>
                    <a:pt x="23" y="33"/>
                  </a:lnTo>
                  <a:lnTo>
                    <a:pt x="23" y="22"/>
                  </a:lnTo>
                  <a:lnTo>
                    <a:pt x="12" y="0"/>
                  </a:lnTo>
                  <a:lnTo>
                    <a:pt x="0" y="11"/>
                  </a:lnTo>
                </a:path>
              </a:pathLst>
            </a:custGeom>
            <a:solidFill>
              <a:srgbClr val="FFFFFF"/>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836"/>
            </a:p>
          </p:txBody>
        </p:sp>
        <p:sp>
          <p:nvSpPr>
            <p:cNvPr id="48232" name="Rectangle 89"/>
            <p:cNvSpPr>
              <a:spLocks noChangeAspect="1" noChangeArrowheads="1"/>
            </p:cNvSpPr>
            <p:nvPr>
              <p:custDataLst>
                <p:tags r:id="rId86"/>
              </p:custDataLst>
            </p:nvPr>
          </p:nvSpPr>
          <p:spPr bwMode="auto">
            <a:xfrm>
              <a:off x="5239411" y="5879189"/>
              <a:ext cx="13204" cy="33014"/>
            </a:xfrm>
            <a:prstGeom prst="rect">
              <a:avLst/>
            </a:prstGeom>
            <a:solidFill>
              <a:srgbClr val="FFFFFF"/>
            </a:solidFill>
            <a:ln w="12700">
              <a:solidFill>
                <a:srgbClr val="00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a-DK" sz="1836"/>
            </a:p>
          </p:txBody>
        </p:sp>
        <p:sp>
          <p:nvSpPr>
            <p:cNvPr id="48233" name="Freeform 90"/>
            <p:cNvSpPr>
              <a:spLocks noChangeAspect="1"/>
            </p:cNvSpPr>
            <p:nvPr>
              <p:custDataLst>
                <p:tags r:id="rId87"/>
              </p:custDataLst>
            </p:nvPr>
          </p:nvSpPr>
          <p:spPr bwMode="auto">
            <a:xfrm>
              <a:off x="1832776" y="4030394"/>
              <a:ext cx="92428" cy="145262"/>
            </a:xfrm>
            <a:custGeom>
              <a:avLst/>
              <a:gdLst>
                <a:gd name="T0" fmla="*/ 0 w 35"/>
                <a:gd name="T1" fmla="*/ 0 h 57"/>
                <a:gd name="T2" fmla="*/ 0 w 35"/>
                <a:gd name="T3" fmla="*/ 0 h 57"/>
                <a:gd name="T4" fmla="*/ 0 w 35"/>
                <a:gd name="T5" fmla="*/ 0 h 57"/>
                <a:gd name="T6" fmla="*/ 0 w 35"/>
                <a:gd name="T7" fmla="*/ 0 h 57"/>
                <a:gd name="T8" fmla="*/ 0 w 35"/>
                <a:gd name="T9" fmla="*/ 0 h 57"/>
                <a:gd name="T10" fmla="*/ 0 w 35"/>
                <a:gd name="T11" fmla="*/ 0 h 57"/>
                <a:gd name="T12" fmla="*/ 0 w 35"/>
                <a:gd name="T13" fmla="*/ 0 h 57"/>
                <a:gd name="T14" fmla="*/ 0 w 35"/>
                <a:gd name="T15" fmla="*/ 0 h 57"/>
                <a:gd name="T16" fmla="*/ 0 w 35"/>
                <a:gd name="T17" fmla="*/ 0 h 57"/>
                <a:gd name="T18" fmla="*/ 0 w 35"/>
                <a:gd name="T19" fmla="*/ 0 h 5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35" h="57">
                  <a:moveTo>
                    <a:pt x="0" y="0"/>
                  </a:moveTo>
                  <a:lnTo>
                    <a:pt x="11" y="0"/>
                  </a:lnTo>
                  <a:lnTo>
                    <a:pt x="22" y="11"/>
                  </a:lnTo>
                  <a:lnTo>
                    <a:pt x="22" y="22"/>
                  </a:lnTo>
                  <a:lnTo>
                    <a:pt x="34" y="34"/>
                  </a:lnTo>
                  <a:lnTo>
                    <a:pt x="34" y="45"/>
                  </a:lnTo>
                  <a:lnTo>
                    <a:pt x="11" y="56"/>
                  </a:lnTo>
                  <a:lnTo>
                    <a:pt x="0" y="56"/>
                  </a:lnTo>
                  <a:lnTo>
                    <a:pt x="0" y="11"/>
                  </a:lnTo>
                  <a:lnTo>
                    <a:pt x="0" y="0"/>
                  </a:lnTo>
                </a:path>
              </a:pathLst>
            </a:custGeom>
            <a:solidFill>
              <a:srgbClr val="FFFFFF"/>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836"/>
            </a:p>
          </p:txBody>
        </p:sp>
        <p:sp>
          <p:nvSpPr>
            <p:cNvPr id="48234" name="Freeform 91"/>
            <p:cNvSpPr>
              <a:spLocks noChangeAspect="1"/>
            </p:cNvSpPr>
            <p:nvPr>
              <p:custDataLst>
                <p:tags r:id="rId88"/>
              </p:custDataLst>
            </p:nvPr>
          </p:nvSpPr>
          <p:spPr bwMode="auto">
            <a:xfrm>
              <a:off x="1945010" y="3951160"/>
              <a:ext cx="244274" cy="171674"/>
            </a:xfrm>
            <a:custGeom>
              <a:avLst/>
              <a:gdLst>
                <a:gd name="T0" fmla="*/ 0 w 91"/>
                <a:gd name="T1" fmla="*/ 0 h 69"/>
                <a:gd name="T2" fmla="*/ 0 w 91"/>
                <a:gd name="T3" fmla="*/ 0 h 69"/>
                <a:gd name="T4" fmla="*/ 0 w 91"/>
                <a:gd name="T5" fmla="*/ 0 h 69"/>
                <a:gd name="T6" fmla="*/ 0 w 91"/>
                <a:gd name="T7" fmla="*/ 0 h 69"/>
                <a:gd name="T8" fmla="*/ 0 w 91"/>
                <a:gd name="T9" fmla="*/ 0 h 69"/>
                <a:gd name="T10" fmla="*/ 0 w 91"/>
                <a:gd name="T11" fmla="*/ 0 h 69"/>
                <a:gd name="T12" fmla="*/ 0 w 91"/>
                <a:gd name="T13" fmla="*/ 0 h 69"/>
                <a:gd name="T14" fmla="*/ 0 w 91"/>
                <a:gd name="T15" fmla="*/ 0 h 69"/>
                <a:gd name="T16" fmla="*/ 0 w 91"/>
                <a:gd name="T17" fmla="*/ 0 h 69"/>
                <a:gd name="T18" fmla="*/ 0 w 91"/>
                <a:gd name="T19" fmla="*/ 0 h 69"/>
                <a:gd name="T20" fmla="*/ 0 w 91"/>
                <a:gd name="T21" fmla="*/ 0 h 69"/>
                <a:gd name="T22" fmla="*/ 0 w 91"/>
                <a:gd name="T23" fmla="*/ 0 h 69"/>
                <a:gd name="T24" fmla="*/ 0 w 91"/>
                <a:gd name="T25" fmla="*/ 0 h 69"/>
                <a:gd name="T26" fmla="*/ 0 w 91"/>
                <a:gd name="T27" fmla="*/ 0 h 69"/>
                <a:gd name="T28" fmla="*/ 0 w 91"/>
                <a:gd name="T29" fmla="*/ 0 h 69"/>
                <a:gd name="T30" fmla="*/ 0 w 91"/>
                <a:gd name="T31" fmla="*/ 0 h 69"/>
                <a:gd name="T32" fmla="*/ 0 w 91"/>
                <a:gd name="T33" fmla="*/ 0 h 69"/>
                <a:gd name="T34" fmla="*/ 0 w 91"/>
                <a:gd name="T35" fmla="*/ 0 h 69"/>
                <a:gd name="T36" fmla="*/ 0 w 91"/>
                <a:gd name="T37" fmla="*/ 0 h 6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91" h="69">
                  <a:moveTo>
                    <a:pt x="90" y="11"/>
                  </a:moveTo>
                  <a:lnTo>
                    <a:pt x="90" y="22"/>
                  </a:lnTo>
                  <a:lnTo>
                    <a:pt x="79" y="34"/>
                  </a:lnTo>
                  <a:lnTo>
                    <a:pt x="90" y="45"/>
                  </a:lnTo>
                  <a:lnTo>
                    <a:pt x="68" y="45"/>
                  </a:lnTo>
                  <a:lnTo>
                    <a:pt x="56" y="56"/>
                  </a:lnTo>
                  <a:lnTo>
                    <a:pt x="45" y="68"/>
                  </a:lnTo>
                  <a:lnTo>
                    <a:pt x="34" y="56"/>
                  </a:lnTo>
                  <a:lnTo>
                    <a:pt x="11" y="56"/>
                  </a:lnTo>
                  <a:lnTo>
                    <a:pt x="11" y="45"/>
                  </a:lnTo>
                  <a:lnTo>
                    <a:pt x="0" y="34"/>
                  </a:lnTo>
                  <a:lnTo>
                    <a:pt x="11" y="34"/>
                  </a:lnTo>
                  <a:lnTo>
                    <a:pt x="0" y="11"/>
                  </a:lnTo>
                  <a:lnTo>
                    <a:pt x="0" y="0"/>
                  </a:lnTo>
                  <a:lnTo>
                    <a:pt x="11" y="11"/>
                  </a:lnTo>
                  <a:lnTo>
                    <a:pt x="22" y="11"/>
                  </a:lnTo>
                  <a:lnTo>
                    <a:pt x="45" y="22"/>
                  </a:lnTo>
                  <a:lnTo>
                    <a:pt x="68" y="0"/>
                  </a:lnTo>
                  <a:lnTo>
                    <a:pt x="90" y="11"/>
                  </a:lnTo>
                </a:path>
              </a:pathLst>
            </a:custGeom>
            <a:solidFill>
              <a:srgbClr val="FFFFFF"/>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836"/>
            </a:p>
          </p:txBody>
        </p:sp>
        <p:sp>
          <p:nvSpPr>
            <p:cNvPr id="48235" name="Freeform 92"/>
            <p:cNvSpPr>
              <a:spLocks noChangeAspect="1"/>
            </p:cNvSpPr>
            <p:nvPr>
              <p:custDataLst>
                <p:tags r:id="rId89"/>
              </p:custDataLst>
            </p:nvPr>
          </p:nvSpPr>
          <p:spPr bwMode="auto">
            <a:xfrm>
              <a:off x="1713940" y="3700252"/>
              <a:ext cx="237672" cy="171674"/>
            </a:xfrm>
            <a:custGeom>
              <a:avLst/>
              <a:gdLst>
                <a:gd name="T0" fmla="*/ 0 w 91"/>
                <a:gd name="T1" fmla="*/ 0 h 69"/>
                <a:gd name="T2" fmla="*/ 0 w 91"/>
                <a:gd name="T3" fmla="*/ 0 h 69"/>
                <a:gd name="T4" fmla="*/ 0 w 91"/>
                <a:gd name="T5" fmla="*/ 0 h 69"/>
                <a:gd name="T6" fmla="*/ 0 w 91"/>
                <a:gd name="T7" fmla="*/ 0 h 69"/>
                <a:gd name="T8" fmla="*/ 0 w 91"/>
                <a:gd name="T9" fmla="*/ 0 h 69"/>
                <a:gd name="T10" fmla="*/ 0 w 91"/>
                <a:gd name="T11" fmla="*/ 0 h 69"/>
                <a:gd name="T12" fmla="*/ 0 w 91"/>
                <a:gd name="T13" fmla="*/ 0 h 69"/>
                <a:gd name="T14" fmla="*/ 0 w 91"/>
                <a:gd name="T15" fmla="*/ 0 h 69"/>
                <a:gd name="T16" fmla="*/ 0 w 91"/>
                <a:gd name="T17" fmla="*/ 0 h 69"/>
                <a:gd name="T18" fmla="*/ 0 w 91"/>
                <a:gd name="T19" fmla="*/ 0 h 69"/>
                <a:gd name="T20" fmla="*/ 0 w 91"/>
                <a:gd name="T21" fmla="*/ 0 h 69"/>
                <a:gd name="T22" fmla="*/ 0 w 91"/>
                <a:gd name="T23" fmla="*/ 0 h 69"/>
                <a:gd name="T24" fmla="*/ 0 w 91"/>
                <a:gd name="T25" fmla="*/ 0 h 6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1" h="69">
                  <a:moveTo>
                    <a:pt x="33" y="68"/>
                  </a:moveTo>
                  <a:lnTo>
                    <a:pt x="56" y="68"/>
                  </a:lnTo>
                  <a:lnTo>
                    <a:pt x="79" y="68"/>
                  </a:lnTo>
                  <a:lnTo>
                    <a:pt x="79" y="23"/>
                  </a:lnTo>
                  <a:lnTo>
                    <a:pt x="90" y="23"/>
                  </a:lnTo>
                  <a:lnTo>
                    <a:pt x="79" y="12"/>
                  </a:lnTo>
                  <a:lnTo>
                    <a:pt x="67" y="0"/>
                  </a:lnTo>
                  <a:lnTo>
                    <a:pt x="22" y="23"/>
                  </a:lnTo>
                  <a:lnTo>
                    <a:pt x="11" y="23"/>
                  </a:lnTo>
                  <a:lnTo>
                    <a:pt x="0" y="45"/>
                  </a:lnTo>
                  <a:lnTo>
                    <a:pt x="0" y="57"/>
                  </a:lnTo>
                  <a:lnTo>
                    <a:pt x="22" y="68"/>
                  </a:lnTo>
                  <a:lnTo>
                    <a:pt x="33" y="68"/>
                  </a:lnTo>
                </a:path>
              </a:pathLst>
            </a:custGeom>
            <a:solidFill>
              <a:srgbClr val="FFFFFF"/>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836"/>
            </a:p>
          </p:txBody>
        </p:sp>
        <p:sp>
          <p:nvSpPr>
            <p:cNvPr id="48236" name="Freeform 93"/>
            <p:cNvSpPr>
              <a:spLocks noChangeAspect="1"/>
            </p:cNvSpPr>
            <p:nvPr>
              <p:custDataLst>
                <p:tags r:id="rId90"/>
              </p:custDataLst>
            </p:nvPr>
          </p:nvSpPr>
          <p:spPr bwMode="auto">
            <a:xfrm>
              <a:off x="1628114" y="3812500"/>
              <a:ext cx="92428" cy="59426"/>
            </a:xfrm>
            <a:custGeom>
              <a:avLst/>
              <a:gdLst>
                <a:gd name="T0" fmla="*/ 0 w 35"/>
                <a:gd name="T1" fmla="*/ 0 h 24"/>
                <a:gd name="T2" fmla="*/ 0 w 35"/>
                <a:gd name="T3" fmla="*/ 0 h 24"/>
                <a:gd name="T4" fmla="*/ 0 w 35"/>
                <a:gd name="T5" fmla="*/ 0 h 24"/>
                <a:gd name="T6" fmla="*/ 0 w 35"/>
                <a:gd name="T7" fmla="*/ 0 h 24"/>
                <a:gd name="T8" fmla="*/ 0 w 35"/>
                <a:gd name="T9" fmla="*/ 0 h 24"/>
                <a:gd name="T10" fmla="*/ 0 w 35"/>
                <a:gd name="T11" fmla="*/ 0 h 24"/>
                <a:gd name="T12" fmla="*/ 0 w 35"/>
                <a:gd name="T13" fmla="*/ 0 h 2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5" h="24">
                  <a:moveTo>
                    <a:pt x="34" y="12"/>
                  </a:moveTo>
                  <a:lnTo>
                    <a:pt x="22" y="12"/>
                  </a:lnTo>
                  <a:lnTo>
                    <a:pt x="11" y="23"/>
                  </a:lnTo>
                  <a:lnTo>
                    <a:pt x="0" y="23"/>
                  </a:lnTo>
                  <a:lnTo>
                    <a:pt x="0" y="12"/>
                  </a:lnTo>
                  <a:lnTo>
                    <a:pt x="34" y="0"/>
                  </a:lnTo>
                  <a:lnTo>
                    <a:pt x="34" y="12"/>
                  </a:lnTo>
                </a:path>
              </a:pathLst>
            </a:custGeom>
            <a:solidFill>
              <a:srgbClr val="FFFFFF"/>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836"/>
            </a:p>
          </p:txBody>
        </p:sp>
        <p:sp>
          <p:nvSpPr>
            <p:cNvPr id="48237" name="Freeform 94"/>
            <p:cNvSpPr>
              <a:spLocks noChangeAspect="1"/>
            </p:cNvSpPr>
            <p:nvPr>
              <p:custDataLst>
                <p:tags r:id="rId91"/>
              </p:custDataLst>
            </p:nvPr>
          </p:nvSpPr>
          <p:spPr bwMode="auto">
            <a:xfrm>
              <a:off x="1628114" y="3838911"/>
              <a:ext cx="211264" cy="198085"/>
            </a:xfrm>
            <a:custGeom>
              <a:avLst/>
              <a:gdLst>
                <a:gd name="T0" fmla="*/ 0 w 80"/>
                <a:gd name="T1" fmla="*/ 0 h 80"/>
                <a:gd name="T2" fmla="*/ 0 w 80"/>
                <a:gd name="T3" fmla="*/ 0 h 80"/>
                <a:gd name="T4" fmla="*/ 0 w 80"/>
                <a:gd name="T5" fmla="*/ 0 h 80"/>
                <a:gd name="T6" fmla="*/ 0 w 80"/>
                <a:gd name="T7" fmla="*/ 0 h 80"/>
                <a:gd name="T8" fmla="*/ 0 w 80"/>
                <a:gd name="T9" fmla="*/ 0 h 80"/>
                <a:gd name="T10" fmla="*/ 0 w 80"/>
                <a:gd name="T11" fmla="*/ 0 h 80"/>
                <a:gd name="T12" fmla="*/ 0 w 80"/>
                <a:gd name="T13" fmla="*/ 0 h 80"/>
                <a:gd name="T14" fmla="*/ 0 w 80"/>
                <a:gd name="T15" fmla="*/ 0 h 80"/>
                <a:gd name="T16" fmla="*/ 0 w 80"/>
                <a:gd name="T17" fmla="*/ 0 h 80"/>
                <a:gd name="T18" fmla="*/ 0 w 80"/>
                <a:gd name="T19" fmla="*/ 0 h 80"/>
                <a:gd name="T20" fmla="*/ 0 w 80"/>
                <a:gd name="T21" fmla="*/ 0 h 80"/>
                <a:gd name="T22" fmla="*/ 0 w 80"/>
                <a:gd name="T23" fmla="*/ 0 h 80"/>
                <a:gd name="T24" fmla="*/ 0 w 80"/>
                <a:gd name="T25" fmla="*/ 0 h 80"/>
                <a:gd name="T26" fmla="*/ 0 w 80"/>
                <a:gd name="T27" fmla="*/ 0 h 80"/>
                <a:gd name="T28" fmla="*/ 0 w 80"/>
                <a:gd name="T29" fmla="*/ 0 h 80"/>
                <a:gd name="T30" fmla="*/ 0 w 80"/>
                <a:gd name="T31" fmla="*/ 0 h 80"/>
                <a:gd name="T32" fmla="*/ 0 w 80"/>
                <a:gd name="T33" fmla="*/ 0 h 80"/>
                <a:gd name="T34" fmla="*/ 0 w 80"/>
                <a:gd name="T35" fmla="*/ 0 h 80"/>
                <a:gd name="T36" fmla="*/ 0 w 80"/>
                <a:gd name="T37" fmla="*/ 0 h 80"/>
                <a:gd name="T38" fmla="*/ 0 w 80"/>
                <a:gd name="T39" fmla="*/ 0 h 80"/>
                <a:gd name="T40" fmla="*/ 0 w 80"/>
                <a:gd name="T41" fmla="*/ 0 h 80"/>
                <a:gd name="T42" fmla="*/ 0 w 80"/>
                <a:gd name="T43" fmla="*/ 0 h 80"/>
                <a:gd name="T44" fmla="*/ 0 w 80"/>
                <a:gd name="T45" fmla="*/ 0 h 80"/>
                <a:gd name="T46" fmla="*/ 0 w 80"/>
                <a:gd name="T47" fmla="*/ 0 h 80"/>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80" h="80">
                  <a:moveTo>
                    <a:pt x="34" y="0"/>
                  </a:moveTo>
                  <a:lnTo>
                    <a:pt x="56" y="11"/>
                  </a:lnTo>
                  <a:lnTo>
                    <a:pt x="67" y="11"/>
                  </a:lnTo>
                  <a:lnTo>
                    <a:pt x="79" y="22"/>
                  </a:lnTo>
                  <a:lnTo>
                    <a:pt x="79" y="34"/>
                  </a:lnTo>
                  <a:lnTo>
                    <a:pt x="67" y="34"/>
                  </a:lnTo>
                  <a:lnTo>
                    <a:pt x="67" y="22"/>
                  </a:lnTo>
                  <a:lnTo>
                    <a:pt x="45" y="11"/>
                  </a:lnTo>
                  <a:lnTo>
                    <a:pt x="34" y="22"/>
                  </a:lnTo>
                  <a:lnTo>
                    <a:pt x="34" y="11"/>
                  </a:lnTo>
                  <a:lnTo>
                    <a:pt x="22" y="22"/>
                  </a:lnTo>
                  <a:lnTo>
                    <a:pt x="34" y="34"/>
                  </a:lnTo>
                  <a:lnTo>
                    <a:pt x="56" y="67"/>
                  </a:lnTo>
                  <a:lnTo>
                    <a:pt x="56" y="79"/>
                  </a:lnTo>
                  <a:lnTo>
                    <a:pt x="45" y="67"/>
                  </a:lnTo>
                  <a:lnTo>
                    <a:pt x="34" y="67"/>
                  </a:lnTo>
                  <a:lnTo>
                    <a:pt x="11" y="45"/>
                  </a:lnTo>
                  <a:lnTo>
                    <a:pt x="11" y="22"/>
                  </a:lnTo>
                  <a:lnTo>
                    <a:pt x="0" y="22"/>
                  </a:lnTo>
                  <a:lnTo>
                    <a:pt x="0" y="34"/>
                  </a:lnTo>
                  <a:lnTo>
                    <a:pt x="0" y="11"/>
                  </a:lnTo>
                  <a:lnTo>
                    <a:pt x="11" y="11"/>
                  </a:lnTo>
                  <a:lnTo>
                    <a:pt x="22" y="0"/>
                  </a:lnTo>
                  <a:lnTo>
                    <a:pt x="34" y="0"/>
                  </a:lnTo>
                </a:path>
              </a:pathLst>
            </a:custGeom>
            <a:solidFill>
              <a:schemeClr val="bg1"/>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836"/>
            </a:p>
          </p:txBody>
        </p:sp>
        <p:sp>
          <p:nvSpPr>
            <p:cNvPr id="48238" name="Freeform 95"/>
            <p:cNvSpPr>
              <a:spLocks noChangeAspect="1"/>
            </p:cNvSpPr>
            <p:nvPr>
              <p:custDataLst>
                <p:tags r:id="rId92"/>
              </p:custDataLst>
            </p:nvPr>
          </p:nvSpPr>
          <p:spPr bwMode="auto">
            <a:xfrm>
              <a:off x="1773358" y="4010585"/>
              <a:ext cx="85826" cy="52823"/>
            </a:xfrm>
            <a:custGeom>
              <a:avLst/>
              <a:gdLst>
                <a:gd name="T0" fmla="*/ 0 w 35"/>
                <a:gd name="T1" fmla="*/ 0 h 24"/>
                <a:gd name="T2" fmla="*/ 0 w 35"/>
                <a:gd name="T3" fmla="*/ 0 h 24"/>
                <a:gd name="T4" fmla="*/ 0 w 35"/>
                <a:gd name="T5" fmla="*/ 0 h 24"/>
                <a:gd name="T6" fmla="*/ 0 w 35"/>
                <a:gd name="T7" fmla="*/ 0 h 24"/>
                <a:gd name="T8" fmla="*/ 0 w 35"/>
                <a:gd name="T9" fmla="*/ 0 h 24"/>
                <a:gd name="T10" fmla="*/ 0 w 35"/>
                <a:gd name="T11" fmla="*/ 0 h 24"/>
                <a:gd name="T12" fmla="*/ 0 w 35"/>
                <a:gd name="T13" fmla="*/ 0 h 2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5" h="24">
                  <a:moveTo>
                    <a:pt x="0" y="12"/>
                  </a:moveTo>
                  <a:lnTo>
                    <a:pt x="23" y="23"/>
                  </a:lnTo>
                  <a:lnTo>
                    <a:pt x="23" y="12"/>
                  </a:lnTo>
                  <a:lnTo>
                    <a:pt x="34" y="12"/>
                  </a:lnTo>
                  <a:lnTo>
                    <a:pt x="23" y="0"/>
                  </a:lnTo>
                  <a:lnTo>
                    <a:pt x="11" y="0"/>
                  </a:lnTo>
                  <a:lnTo>
                    <a:pt x="0" y="12"/>
                  </a:lnTo>
                </a:path>
              </a:pathLst>
            </a:custGeom>
            <a:solidFill>
              <a:srgbClr val="FFFFFF"/>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836"/>
            </a:p>
          </p:txBody>
        </p:sp>
        <p:sp>
          <p:nvSpPr>
            <p:cNvPr id="48239" name="Freeform 96"/>
            <p:cNvSpPr>
              <a:spLocks noChangeAspect="1"/>
            </p:cNvSpPr>
            <p:nvPr>
              <p:custDataLst>
                <p:tags r:id="rId93"/>
              </p:custDataLst>
            </p:nvPr>
          </p:nvSpPr>
          <p:spPr bwMode="auto">
            <a:xfrm>
              <a:off x="1799766" y="3871925"/>
              <a:ext cx="184856" cy="191482"/>
            </a:xfrm>
            <a:custGeom>
              <a:avLst/>
              <a:gdLst>
                <a:gd name="T0" fmla="*/ 0 w 69"/>
                <a:gd name="T1" fmla="*/ 0 h 80"/>
                <a:gd name="T2" fmla="*/ 0 w 69"/>
                <a:gd name="T3" fmla="*/ 0 h 80"/>
                <a:gd name="T4" fmla="*/ 0 w 69"/>
                <a:gd name="T5" fmla="*/ 0 h 80"/>
                <a:gd name="T6" fmla="*/ 0 w 69"/>
                <a:gd name="T7" fmla="*/ 0 h 80"/>
                <a:gd name="T8" fmla="*/ 0 w 69"/>
                <a:gd name="T9" fmla="*/ 0 h 80"/>
                <a:gd name="T10" fmla="*/ 0 w 69"/>
                <a:gd name="T11" fmla="*/ 0 h 80"/>
                <a:gd name="T12" fmla="*/ 0 w 69"/>
                <a:gd name="T13" fmla="*/ 0 h 80"/>
                <a:gd name="T14" fmla="*/ 0 w 69"/>
                <a:gd name="T15" fmla="*/ 0 h 80"/>
                <a:gd name="T16" fmla="*/ 0 w 69"/>
                <a:gd name="T17" fmla="*/ 0 h 80"/>
                <a:gd name="T18" fmla="*/ 0 w 69"/>
                <a:gd name="T19" fmla="*/ 0 h 80"/>
                <a:gd name="T20" fmla="*/ 0 w 69"/>
                <a:gd name="T21" fmla="*/ 0 h 80"/>
                <a:gd name="T22" fmla="*/ 0 w 69"/>
                <a:gd name="T23" fmla="*/ 0 h 80"/>
                <a:gd name="T24" fmla="*/ 0 w 69"/>
                <a:gd name="T25" fmla="*/ 0 h 80"/>
                <a:gd name="T26" fmla="*/ 0 w 69"/>
                <a:gd name="T27" fmla="*/ 0 h 80"/>
                <a:gd name="T28" fmla="*/ 0 w 69"/>
                <a:gd name="T29" fmla="*/ 0 h 8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69" h="80">
                  <a:moveTo>
                    <a:pt x="12" y="23"/>
                  </a:moveTo>
                  <a:lnTo>
                    <a:pt x="12" y="11"/>
                  </a:lnTo>
                  <a:lnTo>
                    <a:pt x="0" y="0"/>
                  </a:lnTo>
                  <a:lnTo>
                    <a:pt x="23" y="0"/>
                  </a:lnTo>
                  <a:lnTo>
                    <a:pt x="46" y="23"/>
                  </a:lnTo>
                  <a:lnTo>
                    <a:pt x="57" y="23"/>
                  </a:lnTo>
                  <a:lnTo>
                    <a:pt x="57" y="34"/>
                  </a:lnTo>
                  <a:lnTo>
                    <a:pt x="57" y="45"/>
                  </a:lnTo>
                  <a:lnTo>
                    <a:pt x="68" y="68"/>
                  </a:lnTo>
                  <a:lnTo>
                    <a:pt x="57" y="68"/>
                  </a:lnTo>
                  <a:lnTo>
                    <a:pt x="46" y="68"/>
                  </a:lnTo>
                  <a:lnTo>
                    <a:pt x="34" y="79"/>
                  </a:lnTo>
                  <a:lnTo>
                    <a:pt x="23" y="68"/>
                  </a:lnTo>
                  <a:lnTo>
                    <a:pt x="12" y="56"/>
                  </a:lnTo>
                  <a:lnTo>
                    <a:pt x="12" y="23"/>
                  </a:lnTo>
                </a:path>
              </a:pathLst>
            </a:custGeom>
            <a:solidFill>
              <a:srgbClr val="FFFFFF"/>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836"/>
            </a:p>
          </p:txBody>
        </p:sp>
        <p:sp>
          <p:nvSpPr>
            <p:cNvPr id="48240" name="Freeform 97"/>
            <p:cNvSpPr>
              <a:spLocks noChangeAspect="1"/>
            </p:cNvSpPr>
            <p:nvPr>
              <p:custDataLst>
                <p:tags r:id="rId94"/>
              </p:custDataLst>
            </p:nvPr>
          </p:nvSpPr>
          <p:spPr bwMode="auto">
            <a:xfrm>
              <a:off x="1667726" y="3891734"/>
              <a:ext cx="171652" cy="145262"/>
            </a:xfrm>
            <a:custGeom>
              <a:avLst/>
              <a:gdLst>
                <a:gd name="T0" fmla="*/ 0 w 58"/>
                <a:gd name="T1" fmla="*/ 0 h 69"/>
                <a:gd name="T2" fmla="*/ 0 w 58"/>
                <a:gd name="T3" fmla="*/ 0 h 69"/>
                <a:gd name="T4" fmla="*/ 0 w 58"/>
                <a:gd name="T5" fmla="*/ 0 h 69"/>
                <a:gd name="T6" fmla="*/ 0 w 58"/>
                <a:gd name="T7" fmla="*/ 0 h 69"/>
                <a:gd name="T8" fmla="*/ 0 w 58"/>
                <a:gd name="T9" fmla="*/ 0 h 69"/>
                <a:gd name="T10" fmla="*/ 0 w 58"/>
                <a:gd name="T11" fmla="*/ 0 h 69"/>
                <a:gd name="T12" fmla="*/ 0 w 58"/>
                <a:gd name="T13" fmla="*/ 0 h 69"/>
                <a:gd name="T14" fmla="*/ 0 w 58"/>
                <a:gd name="T15" fmla="*/ 0 h 69"/>
                <a:gd name="T16" fmla="*/ 0 w 58"/>
                <a:gd name="T17" fmla="*/ 0 h 69"/>
                <a:gd name="T18" fmla="*/ 0 w 58"/>
                <a:gd name="T19" fmla="*/ 0 h 69"/>
                <a:gd name="T20" fmla="*/ 0 w 58"/>
                <a:gd name="T21" fmla="*/ 0 h 69"/>
                <a:gd name="T22" fmla="*/ 0 w 58"/>
                <a:gd name="T23" fmla="*/ 0 h 69"/>
                <a:gd name="T24" fmla="*/ 0 w 58"/>
                <a:gd name="T25" fmla="*/ 0 h 6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8" h="69">
                  <a:moveTo>
                    <a:pt x="12" y="23"/>
                  </a:moveTo>
                  <a:lnTo>
                    <a:pt x="34" y="56"/>
                  </a:lnTo>
                  <a:lnTo>
                    <a:pt x="34" y="68"/>
                  </a:lnTo>
                  <a:lnTo>
                    <a:pt x="45" y="56"/>
                  </a:lnTo>
                  <a:lnTo>
                    <a:pt x="57" y="56"/>
                  </a:lnTo>
                  <a:lnTo>
                    <a:pt x="57" y="23"/>
                  </a:lnTo>
                  <a:lnTo>
                    <a:pt x="45" y="23"/>
                  </a:lnTo>
                  <a:lnTo>
                    <a:pt x="45" y="11"/>
                  </a:lnTo>
                  <a:lnTo>
                    <a:pt x="23" y="0"/>
                  </a:lnTo>
                  <a:lnTo>
                    <a:pt x="12" y="11"/>
                  </a:lnTo>
                  <a:lnTo>
                    <a:pt x="12" y="0"/>
                  </a:lnTo>
                  <a:lnTo>
                    <a:pt x="0" y="11"/>
                  </a:lnTo>
                  <a:lnTo>
                    <a:pt x="12" y="23"/>
                  </a:lnTo>
                </a:path>
              </a:pathLst>
            </a:custGeom>
            <a:solidFill>
              <a:srgbClr val="FFFFFF"/>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836"/>
            </a:p>
          </p:txBody>
        </p:sp>
        <p:pic>
          <p:nvPicPr>
            <p:cNvPr id="48145" name="Picture 108"/>
            <p:cNvPicPr>
              <a:picLocks noChangeAspect="1" noChangeArrowheads="1"/>
            </p:cNvPicPr>
            <p:nvPr/>
          </p:nvPicPr>
          <p:blipFill>
            <a:blip r:embed="rId97" cstate="print">
              <a:clrChange>
                <a:clrFrom>
                  <a:srgbClr val="A1BF36"/>
                </a:clrFrom>
                <a:clrTo>
                  <a:srgbClr val="A1BF36">
                    <a:alpha val="0"/>
                  </a:srgbClr>
                </a:clrTo>
              </a:clrChange>
              <a:extLst>
                <a:ext uri="{28A0092B-C50C-407E-A947-70E740481C1C}">
                  <a14:useLocalDpi xmlns:a14="http://schemas.microsoft.com/office/drawing/2010/main"/>
                </a:ext>
              </a:extLst>
            </a:blip>
            <a:srcRect/>
            <a:stretch>
              <a:fillRect/>
            </a:stretch>
          </p:blipFill>
          <p:spPr bwMode="auto">
            <a:xfrm>
              <a:off x="1568026" y="4665531"/>
              <a:ext cx="531696" cy="631054"/>
            </a:xfrm>
            <a:prstGeom prst="rect">
              <a:avLst/>
            </a:prstGeom>
            <a:solidFill>
              <a:schemeClr val="accent1"/>
            </a:solidFill>
            <a:ln>
              <a:noFill/>
            </a:ln>
            <a:effectLst/>
            <a:extLst/>
          </p:spPr>
        </p:pic>
        <p:sp>
          <p:nvSpPr>
            <p:cNvPr id="48146" name="Rectangle 2"/>
            <p:cNvSpPr>
              <a:spLocks noChangeArrowheads="1"/>
            </p:cNvSpPr>
            <p:nvPr/>
          </p:nvSpPr>
          <p:spPr bwMode="auto">
            <a:xfrm>
              <a:off x="1532125" y="4617405"/>
              <a:ext cx="542782" cy="672145"/>
            </a:xfrm>
            <a:prstGeom prst="rect">
              <a:avLst/>
            </a:prstGeom>
            <a:noFill/>
            <a:ln w="9525" algn="ctr">
              <a:solidFill>
                <a:schemeClr val="tx1"/>
              </a:solidFill>
              <a:prstDash val="dash"/>
              <a:round/>
              <a:headEnd/>
              <a:tailEnd/>
            </a:ln>
            <a:extLst>
              <a:ext uri="{909E8E84-426E-40DD-AFC4-6F175D3DCCD1}">
                <a14:hiddenFill xmlns:a14="http://schemas.microsoft.com/office/drawing/2010/main">
                  <a:solidFill>
                    <a:srgbClr val="FFFFFF"/>
                  </a:solidFill>
                </a14:hiddenFill>
              </a:ext>
            </a:extLst>
          </p:spPr>
          <p:txBody>
            <a:bodyPr/>
            <a:lstStyle/>
            <a:p>
              <a:pPr algn="l" eaLnBrk="0" hangingPunct="0"/>
              <a:endParaRPr lang="da-DK" sz="1836"/>
            </a:p>
          </p:txBody>
        </p:sp>
        <p:sp>
          <p:nvSpPr>
            <p:cNvPr id="48144" name="TextBox 1"/>
            <p:cNvSpPr txBox="1">
              <a:spLocks noChangeArrowheads="1"/>
            </p:cNvSpPr>
            <p:nvPr/>
          </p:nvSpPr>
          <p:spPr bwMode="auto">
            <a:xfrm>
              <a:off x="1575577" y="4586288"/>
              <a:ext cx="632823" cy="2067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Verdana" pitchFamily="34" charset="0"/>
                </a:defRPr>
              </a:lvl1pPr>
              <a:lvl2pPr marL="742950" indent="-285750" eaLnBrk="0" hangingPunct="0">
                <a:defRPr>
                  <a:solidFill>
                    <a:schemeClr val="tx1"/>
                  </a:solidFill>
                  <a:latin typeface="Verdana" pitchFamily="34" charset="0"/>
                </a:defRPr>
              </a:lvl2pPr>
              <a:lvl3pPr marL="1143000" indent="-228600" eaLnBrk="0" hangingPunct="0">
                <a:defRPr>
                  <a:solidFill>
                    <a:schemeClr val="tx1"/>
                  </a:solidFill>
                  <a:latin typeface="Verdana" pitchFamily="34" charset="0"/>
                </a:defRPr>
              </a:lvl3pPr>
              <a:lvl4pPr marL="1600200" indent="-228600" eaLnBrk="0" hangingPunct="0">
                <a:defRPr>
                  <a:solidFill>
                    <a:schemeClr val="tx1"/>
                  </a:solidFill>
                  <a:latin typeface="Verdana" pitchFamily="34" charset="0"/>
                </a:defRPr>
              </a:lvl4pPr>
              <a:lvl5pPr marL="2057400" indent="-228600" eaLnBrk="0" hangingPunct="0">
                <a:defRPr>
                  <a:solidFill>
                    <a:schemeClr val="tx1"/>
                  </a:solidFill>
                  <a:latin typeface="Verdana" pitchFamily="34" charset="0"/>
                </a:defRPr>
              </a:lvl5pPr>
              <a:lvl6pPr marL="2514600" indent="-228600" algn="ctr" eaLnBrk="0" fontAlgn="base" hangingPunct="0">
                <a:spcBef>
                  <a:spcPct val="0"/>
                </a:spcBef>
                <a:spcAft>
                  <a:spcPct val="0"/>
                </a:spcAft>
                <a:defRPr>
                  <a:solidFill>
                    <a:schemeClr val="tx1"/>
                  </a:solidFill>
                  <a:latin typeface="Verdana" pitchFamily="34" charset="0"/>
                </a:defRPr>
              </a:lvl6pPr>
              <a:lvl7pPr marL="2971800" indent="-228600" algn="ctr" eaLnBrk="0" fontAlgn="base" hangingPunct="0">
                <a:spcBef>
                  <a:spcPct val="0"/>
                </a:spcBef>
                <a:spcAft>
                  <a:spcPct val="0"/>
                </a:spcAft>
                <a:defRPr>
                  <a:solidFill>
                    <a:schemeClr val="tx1"/>
                  </a:solidFill>
                  <a:latin typeface="Verdana" pitchFamily="34" charset="0"/>
                </a:defRPr>
              </a:lvl7pPr>
              <a:lvl8pPr marL="3429000" indent="-228600" algn="ctr" eaLnBrk="0" fontAlgn="base" hangingPunct="0">
                <a:spcBef>
                  <a:spcPct val="0"/>
                </a:spcBef>
                <a:spcAft>
                  <a:spcPct val="0"/>
                </a:spcAft>
                <a:defRPr>
                  <a:solidFill>
                    <a:schemeClr val="tx1"/>
                  </a:solidFill>
                  <a:latin typeface="Verdana" pitchFamily="34" charset="0"/>
                </a:defRPr>
              </a:lvl8pPr>
              <a:lvl9pPr marL="3886200" indent="-228600" algn="ctr" eaLnBrk="0" fontAlgn="base" hangingPunct="0">
                <a:spcBef>
                  <a:spcPct val="0"/>
                </a:spcBef>
                <a:spcAft>
                  <a:spcPct val="0"/>
                </a:spcAft>
                <a:defRPr>
                  <a:solidFill>
                    <a:schemeClr val="tx1"/>
                  </a:solidFill>
                  <a:latin typeface="Verdana" pitchFamily="34" charset="0"/>
                </a:defRPr>
              </a:lvl9pPr>
            </a:lstStyle>
            <a:p>
              <a:pPr eaLnBrk="1" hangingPunct="1"/>
              <a:r>
                <a:rPr lang="da-DK" sz="612"/>
                <a:t>MALAWI</a:t>
              </a:r>
            </a:p>
          </p:txBody>
        </p:sp>
      </p:grpSp>
      <p:sp>
        <p:nvSpPr>
          <p:cNvPr id="48130" name="Slide Number Placeholder 4"/>
          <p:cNvSpPr>
            <a:spLocks noGrp="1"/>
          </p:cNvSpPr>
          <p:nvPr>
            <p:ph type="sldNum" sz="quarter" idx="1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Verdana" pitchFamily="34" charset="0"/>
              </a:defRPr>
            </a:lvl1pPr>
            <a:lvl2pPr marL="757735" indent="-291436" eaLnBrk="0" hangingPunct="0">
              <a:defRPr>
                <a:solidFill>
                  <a:schemeClr val="tx1"/>
                </a:solidFill>
                <a:latin typeface="Verdana" pitchFamily="34" charset="0"/>
              </a:defRPr>
            </a:lvl2pPr>
            <a:lvl3pPr marL="1165746" indent="-233149" eaLnBrk="0" hangingPunct="0">
              <a:defRPr>
                <a:solidFill>
                  <a:schemeClr val="tx1"/>
                </a:solidFill>
                <a:latin typeface="Verdana" pitchFamily="34" charset="0"/>
              </a:defRPr>
            </a:lvl3pPr>
            <a:lvl4pPr marL="1632044" indent="-233149" eaLnBrk="0" hangingPunct="0">
              <a:defRPr>
                <a:solidFill>
                  <a:schemeClr val="tx1"/>
                </a:solidFill>
                <a:latin typeface="Verdana" pitchFamily="34" charset="0"/>
              </a:defRPr>
            </a:lvl4pPr>
            <a:lvl5pPr marL="2098342" indent="-233149" eaLnBrk="0" hangingPunct="0">
              <a:defRPr>
                <a:solidFill>
                  <a:schemeClr val="tx1"/>
                </a:solidFill>
                <a:latin typeface="Verdana" pitchFamily="34" charset="0"/>
              </a:defRPr>
            </a:lvl5pPr>
            <a:lvl6pPr marL="2564641" indent="-233149" algn="ctr" eaLnBrk="0" fontAlgn="base" hangingPunct="0">
              <a:spcBef>
                <a:spcPct val="0"/>
              </a:spcBef>
              <a:spcAft>
                <a:spcPct val="0"/>
              </a:spcAft>
              <a:defRPr>
                <a:solidFill>
                  <a:schemeClr val="tx1"/>
                </a:solidFill>
                <a:latin typeface="Verdana" pitchFamily="34" charset="0"/>
              </a:defRPr>
            </a:lvl6pPr>
            <a:lvl7pPr marL="3030939" indent="-233149" algn="ctr" eaLnBrk="0" fontAlgn="base" hangingPunct="0">
              <a:spcBef>
                <a:spcPct val="0"/>
              </a:spcBef>
              <a:spcAft>
                <a:spcPct val="0"/>
              </a:spcAft>
              <a:defRPr>
                <a:solidFill>
                  <a:schemeClr val="tx1"/>
                </a:solidFill>
                <a:latin typeface="Verdana" pitchFamily="34" charset="0"/>
              </a:defRPr>
            </a:lvl7pPr>
            <a:lvl8pPr marL="3497237" indent="-233149" algn="ctr" eaLnBrk="0" fontAlgn="base" hangingPunct="0">
              <a:spcBef>
                <a:spcPct val="0"/>
              </a:spcBef>
              <a:spcAft>
                <a:spcPct val="0"/>
              </a:spcAft>
              <a:defRPr>
                <a:solidFill>
                  <a:schemeClr val="tx1"/>
                </a:solidFill>
                <a:latin typeface="Verdana" pitchFamily="34" charset="0"/>
              </a:defRPr>
            </a:lvl8pPr>
            <a:lvl9pPr marL="3963535" indent="-233149" algn="ctr" eaLnBrk="0" fontAlgn="base" hangingPunct="0">
              <a:spcBef>
                <a:spcPct val="0"/>
              </a:spcBef>
              <a:spcAft>
                <a:spcPct val="0"/>
              </a:spcAft>
              <a:defRPr>
                <a:solidFill>
                  <a:schemeClr val="tx1"/>
                </a:solidFill>
                <a:latin typeface="Verdana" pitchFamily="34" charset="0"/>
              </a:defRPr>
            </a:lvl9pPr>
          </a:lstStyle>
          <a:p>
            <a:endParaRPr lang="en-GB" dirty="0">
              <a:solidFill>
                <a:srgbClr val="BEBEBE"/>
              </a:solidFill>
            </a:endParaRPr>
          </a:p>
        </p:txBody>
      </p:sp>
      <p:sp>
        <p:nvSpPr>
          <p:cNvPr id="48131" name="Rectangle 2"/>
          <p:cNvSpPr>
            <a:spLocks noGrp="1" noChangeArrowheads="1"/>
          </p:cNvSpPr>
          <p:nvPr>
            <p:ph type="title" idx="4294967295"/>
          </p:nvPr>
        </p:nvSpPr>
        <p:spPr/>
        <p:txBody>
          <a:bodyPr/>
          <a:lstStyle/>
          <a:p>
            <a:r>
              <a:rPr lang="en-GB" dirty="0"/>
              <a:t>1990 – A small company with a big brand</a:t>
            </a:r>
          </a:p>
        </p:txBody>
      </p:sp>
      <p:sp>
        <p:nvSpPr>
          <p:cNvPr id="48141" name="Text Box 107"/>
          <p:cNvSpPr txBox="1">
            <a:spLocks noChangeArrowheads="1"/>
          </p:cNvSpPr>
          <p:nvPr/>
        </p:nvSpPr>
        <p:spPr bwMode="auto">
          <a:xfrm>
            <a:off x="457477" y="1629816"/>
            <a:ext cx="3214743" cy="1631216"/>
          </a:xfrm>
          <a:prstGeom prst="rect">
            <a:avLst/>
          </a:prstGeom>
          <a:noFill/>
          <a:ln>
            <a:noFill/>
          </a:ln>
          <a:effectLst/>
          <a:extLst>
            <a:ext uri="{909E8E84-426E-40DD-AFC4-6F175D3DCCD1}">
              <a14:hiddenFill xmlns:a14="http://schemas.microsoft.com/office/drawing/2010/main">
                <a:solidFill>
                  <a:srgbClr val="053C14"/>
                </a:solidFill>
              </a14:hiddenFill>
            </a:ext>
            <a:ext uri="{91240B29-F687-4F45-9708-019B960494DF}">
              <a14:hiddenLine xmlns:a14="http://schemas.microsoft.com/office/drawing/2010/main" w="9525" algn="ctr">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defRPr>
                <a:solidFill>
                  <a:schemeClr val="tx1"/>
                </a:solidFill>
                <a:latin typeface="Verdana" pitchFamily="34" charset="0"/>
              </a:defRPr>
            </a:lvl1pPr>
            <a:lvl2pPr marL="742950" indent="-285750" eaLnBrk="0" hangingPunct="0">
              <a:defRPr>
                <a:solidFill>
                  <a:schemeClr val="tx1"/>
                </a:solidFill>
                <a:latin typeface="Verdana" pitchFamily="34" charset="0"/>
              </a:defRPr>
            </a:lvl2pPr>
            <a:lvl3pPr marL="1143000" indent="-228600" eaLnBrk="0" hangingPunct="0">
              <a:defRPr>
                <a:solidFill>
                  <a:schemeClr val="tx1"/>
                </a:solidFill>
                <a:latin typeface="Verdana" pitchFamily="34" charset="0"/>
              </a:defRPr>
            </a:lvl3pPr>
            <a:lvl4pPr marL="1600200" indent="-228600" eaLnBrk="0" hangingPunct="0">
              <a:defRPr>
                <a:solidFill>
                  <a:schemeClr val="tx1"/>
                </a:solidFill>
                <a:latin typeface="Verdana" pitchFamily="34" charset="0"/>
              </a:defRPr>
            </a:lvl4pPr>
            <a:lvl5pPr marL="2057400" indent="-228600" eaLnBrk="0" hangingPunct="0">
              <a:defRPr>
                <a:solidFill>
                  <a:schemeClr val="tx1"/>
                </a:solidFill>
                <a:latin typeface="Verdana" pitchFamily="34" charset="0"/>
              </a:defRPr>
            </a:lvl5pPr>
            <a:lvl6pPr marL="2514600" indent="-228600" algn="ctr" eaLnBrk="0" fontAlgn="base" hangingPunct="0">
              <a:spcBef>
                <a:spcPct val="0"/>
              </a:spcBef>
              <a:spcAft>
                <a:spcPct val="0"/>
              </a:spcAft>
              <a:defRPr>
                <a:solidFill>
                  <a:schemeClr val="tx1"/>
                </a:solidFill>
                <a:latin typeface="Verdana" pitchFamily="34" charset="0"/>
              </a:defRPr>
            </a:lvl6pPr>
            <a:lvl7pPr marL="2971800" indent="-228600" algn="ctr" eaLnBrk="0" fontAlgn="base" hangingPunct="0">
              <a:spcBef>
                <a:spcPct val="0"/>
              </a:spcBef>
              <a:spcAft>
                <a:spcPct val="0"/>
              </a:spcAft>
              <a:defRPr>
                <a:solidFill>
                  <a:schemeClr val="tx1"/>
                </a:solidFill>
                <a:latin typeface="Verdana" pitchFamily="34" charset="0"/>
              </a:defRPr>
            </a:lvl7pPr>
            <a:lvl8pPr marL="3429000" indent="-228600" algn="ctr" eaLnBrk="0" fontAlgn="base" hangingPunct="0">
              <a:spcBef>
                <a:spcPct val="0"/>
              </a:spcBef>
              <a:spcAft>
                <a:spcPct val="0"/>
              </a:spcAft>
              <a:defRPr>
                <a:solidFill>
                  <a:schemeClr val="tx1"/>
                </a:solidFill>
                <a:latin typeface="Verdana" pitchFamily="34" charset="0"/>
              </a:defRPr>
            </a:lvl8pPr>
            <a:lvl9pPr marL="3886200" indent="-228600" algn="ctr" eaLnBrk="0" fontAlgn="base" hangingPunct="0">
              <a:spcBef>
                <a:spcPct val="0"/>
              </a:spcBef>
              <a:spcAft>
                <a:spcPct val="0"/>
              </a:spcAft>
              <a:defRPr>
                <a:solidFill>
                  <a:schemeClr val="tx1"/>
                </a:solidFill>
                <a:latin typeface="Verdana" pitchFamily="34" charset="0"/>
              </a:defRPr>
            </a:lvl9pPr>
          </a:lstStyle>
          <a:p>
            <a:pPr algn="l" eaLnBrk="1" hangingPunct="1">
              <a:spcBef>
                <a:spcPct val="50000"/>
              </a:spcBef>
            </a:pPr>
            <a:r>
              <a:rPr lang="en-GB" sz="2000" dirty="0">
                <a:gradFill>
                  <a:gsLst>
                    <a:gs pos="1250">
                      <a:schemeClr val="tx1"/>
                    </a:gs>
                    <a:gs pos="100000">
                      <a:schemeClr val="tx1"/>
                    </a:gs>
                  </a:gsLst>
                  <a:lin ang="5400000" scaled="0"/>
                </a:gradFill>
                <a:latin typeface="+mn-lt"/>
              </a:rPr>
              <a:t>In</a:t>
            </a:r>
            <a:r>
              <a:rPr lang="da-DK" sz="4000" dirty="0">
                <a:gradFill>
                  <a:gsLst>
                    <a:gs pos="1250">
                      <a:schemeClr val="tx2"/>
                    </a:gs>
                    <a:gs pos="99000">
                      <a:schemeClr val="tx2"/>
                    </a:gs>
                  </a:gsLst>
                  <a:lin ang="5400000" scaled="0"/>
                </a:gradFill>
                <a:latin typeface="+mj-lt"/>
              </a:rPr>
              <a:t>1990</a:t>
            </a:r>
            <a:r>
              <a:rPr lang="en-GB" sz="2000" dirty="0">
                <a:gradFill>
                  <a:gsLst>
                    <a:gs pos="1250">
                      <a:schemeClr val="tx1"/>
                    </a:gs>
                    <a:gs pos="100000">
                      <a:schemeClr val="tx1"/>
                    </a:gs>
                  </a:gsLst>
                  <a:lin ang="5400000" scaled="0"/>
                </a:gradFill>
                <a:latin typeface="+mn-lt"/>
              </a:rPr>
              <a:t> Carlsberg was an international beer brand through export and licensed brewing.</a:t>
            </a:r>
          </a:p>
        </p:txBody>
      </p:sp>
    </p:spTree>
    <p:extLst>
      <p:ext uri="{BB962C8B-B14F-4D97-AF65-F5344CB8AC3E}">
        <p14:creationId xmlns:p14="http://schemas.microsoft.com/office/powerpoint/2010/main" val="3606519374"/>
      </p:ext>
    </p:extLst>
  </p:cSld>
  <p:clrMapOvr>
    <a:masterClrMapping/>
  </p:clrMapOvr>
  <p:transition spd="med"/>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Demo</a:t>
            </a:r>
          </a:p>
        </p:txBody>
      </p:sp>
      <p:sp>
        <p:nvSpPr>
          <p:cNvPr id="4" name="Text Placeholder 3"/>
          <p:cNvSpPr>
            <a:spLocks noGrp="1"/>
          </p:cNvSpPr>
          <p:nvPr>
            <p:ph type="body" sz="quarter" idx="12"/>
          </p:nvPr>
        </p:nvSpPr>
        <p:spPr/>
        <p:txBody>
          <a:bodyPr/>
          <a:lstStyle/>
          <a:p>
            <a:r>
              <a:rPr lang="en-US" dirty="0"/>
              <a:t>Speaker name</a:t>
            </a:r>
          </a:p>
        </p:txBody>
      </p:sp>
    </p:spTree>
    <p:extLst>
      <p:ext uri="{BB962C8B-B14F-4D97-AF65-F5344CB8AC3E}">
        <p14:creationId xmlns:p14="http://schemas.microsoft.com/office/powerpoint/2010/main" val="298258367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hoto layout 1</a:t>
            </a:r>
          </a:p>
        </p:txBody>
      </p:sp>
      <p:sp>
        <p:nvSpPr>
          <p:cNvPr id="9" name="Picture Placeholder 8"/>
          <p:cNvSpPr>
            <a:spLocks noGrp="1"/>
          </p:cNvSpPr>
          <p:nvPr>
            <p:ph type="pic" sz="quarter" idx="10"/>
          </p:nvPr>
        </p:nvSpPr>
        <p:spPr/>
      </p:sp>
    </p:spTree>
    <p:extLst>
      <p:ext uri="{BB962C8B-B14F-4D97-AF65-F5344CB8AC3E}">
        <p14:creationId xmlns:p14="http://schemas.microsoft.com/office/powerpoint/2010/main" val="3716880797"/>
      </p:ext>
    </p:extLst>
  </p:cSld>
  <p:clrMapOvr>
    <a:masterClrMapping/>
  </p:clrMapOvr>
  <p:transition>
    <p:fade/>
  </p:transition>
</p:sld>
</file>

<file path=ppt/slides/slide82.xml><?xml version="1.0" encoding="utf-8"?>
<p:sld xmlns:a="http://schemas.openxmlformats.org/drawingml/2006/main" xmlns:r="http://schemas.openxmlformats.org/officeDocument/2006/relationships" xmlns:p="http://schemas.openxmlformats.org/presentationml/2006/main">
  <p:cSld>
    <p:bg>
      <p:bgPr>
        <a:solidFill>
          <a:srgbClr val="F8F8F8"/>
        </a:solidFill>
        <a:effectLst/>
      </p:bgPr>
    </p:bg>
    <p:spTree>
      <p:nvGrpSpPr>
        <p:cNvPr id="1" name=""/>
        <p:cNvGrpSpPr/>
        <p:nvPr/>
      </p:nvGrpSpPr>
      <p:grpSpPr>
        <a:xfrm>
          <a:off x="0" y="0"/>
          <a:ext cx="0" cy="0"/>
          <a:chOff x="0" y="0"/>
          <a:chExt cx="0" cy="0"/>
        </a:xfrm>
      </p:grpSpPr>
      <p:pic>
        <p:nvPicPr>
          <p:cNvPr id="15" name="Picture 14"/>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8543337" y="3850951"/>
            <a:ext cx="3438144" cy="1932312"/>
          </a:xfrm>
          <a:prstGeom prst="rect">
            <a:avLst/>
          </a:prstGeom>
          <a:ln>
            <a:solidFill>
              <a:schemeClr val="tx1">
                <a:alpha val="50000"/>
              </a:schemeClr>
            </a:solidFill>
          </a:ln>
        </p:spPr>
      </p:pic>
      <p:sp>
        <p:nvSpPr>
          <p:cNvPr id="2" name="Title 1"/>
          <p:cNvSpPr>
            <a:spLocks noGrp="1"/>
          </p:cNvSpPr>
          <p:nvPr>
            <p:ph type="title"/>
          </p:nvPr>
        </p:nvSpPr>
        <p:spPr/>
        <p:txBody>
          <a:bodyPr/>
          <a:lstStyle/>
          <a:p>
            <a:r>
              <a:rPr lang="en-US"/>
              <a:t>Microsoft brand guidelines</a:t>
            </a:r>
            <a:endParaRPr lang="en-US" dirty="0"/>
          </a:p>
        </p:txBody>
      </p:sp>
      <p:sp>
        <p:nvSpPr>
          <p:cNvPr id="13" name="TextBox 12"/>
          <p:cNvSpPr txBox="1"/>
          <p:nvPr/>
        </p:nvSpPr>
        <p:spPr>
          <a:xfrm>
            <a:off x="274640" y="1606071"/>
            <a:ext cx="4846330" cy="3157788"/>
          </a:xfrm>
          <a:prstGeom prst="rect">
            <a:avLst/>
          </a:prstGeom>
          <a:noFill/>
        </p:spPr>
        <p:txBody>
          <a:bodyPr wrap="square" lIns="182880" tIns="146304" rIns="182880" bIns="146304" rtlCol="0">
            <a:spAutoFit/>
          </a:bodyPr>
          <a:lstStyle/>
          <a:p>
            <a:pPr>
              <a:spcAft>
                <a:spcPts val="600"/>
              </a:spcAft>
            </a:pPr>
            <a:r>
              <a:rPr lang="en-US" sz="2200" dirty="0">
                <a:gradFill>
                  <a:gsLst>
                    <a:gs pos="1255">
                      <a:schemeClr val="tx1"/>
                    </a:gs>
                    <a:gs pos="11000">
                      <a:schemeClr val="tx1"/>
                    </a:gs>
                  </a:gsLst>
                  <a:lin ang="5400000" scaled="0"/>
                </a:gradFill>
              </a:rPr>
              <a:t>Looking for more slide resources?</a:t>
            </a:r>
          </a:p>
          <a:p>
            <a:pPr>
              <a:spcAft>
                <a:spcPts val="600"/>
              </a:spcAft>
            </a:pPr>
            <a:r>
              <a:rPr lang="en-US" sz="2200" b="1" dirty="0">
                <a:gradFill>
                  <a:gsLst>
                    <a:gs pos="1255">
                      <a:schemeClr val="tx1"/>
                    </a:gs>
                    <a:gs pos="11000">
                      <a:schemeClr val="tx1"/>
                    </a:gs>
                  </a:gsLst>
                  <a:lin ang="5400000" scaled="0"/>
                </a:gradFill>
              </a:rPr>
              <a:t>Brand guidelines </a:t>
            </a:r>
            <a:r>
              <a:rPr lang="en-US" sz="2200" dirty="0">
                <a:gradFill>
                  <a:gsLst>
                    <a:gs pos="1255">
                      <a:schemeClr val="tx1"/>
                    </a:gs>
                    <a:gs pos="11000">
                      <a:schemeClr val="tx1"/>
                    </a:gs>
                  </a:gsLst>
                  <a:lin ang="5400000" scaled="0"/>
                </a:gradFill>
              </a:rPr>
              <a:t>for PowerPoint templates is a separate slide deck that provides an overview of the Microsoft brand, guidelines, resources, tips and much more. </a:t>
            </a:r>
          </a:p>
          <a:p>
            <a:pPr>
              <a:spcAft>
                <a:spcPts val="600"/>
              </a:spcAft>
            </a:pPr>
            <a:r>
              <a:rPr lang="en-US" sz="2200" dirty="0">
                <a:gradFill>
                  <a:gsLst>
                    <a:gs pos="1255">
                      <a:schemeClr val="tx1"/>
                    </a:gs>
                    <a:gs pos="11000">
                      <a:schemeClr val="tx1"/>
                    </a:gs>
                  </a:gsLst>
                  <a:lin ang="5400000" scaled="0"/>
                </a:gradFill>
              </a:rPr>
              <a:t>A few of the slides are shown </a:t>
            </a:r>
            <a:br>
              <a:rPr lang="en-US" sz="2200" dirty="0">
                <a:gradFill>
                  <a:gsLst>
                    <a:gs pos="1255">
                      <a:schemeClr val="tx1"/>
                    </a:gs>
                    <a:gs pos="11000">
                      <a:schemeClr val="tx1"/>
                    </a:gs>
                  </a:gsLst>
                  <a:lin ang="5400000" scaled="0"/>
                </a:gradFill>
              </a:rPr>
            </a:br>
            <a:r>
              <a:rPr lang="en-US" sz="2200" dirty="0">
                <a:gradFill>
                  <a:gsLst>
                    <a:gs pos="1255">
                      <a:schemeClr val="tx1"/>
                    </a:gs>
                    <a:gs pos="11000">
                      <a:schemeClr val="tx1"/>
                    </a:gs>
                  </a:gsLst>
                  <a:lin ang="5400000" scaled="0"/>
                </a:gradFill>
              </a:rPr>
              <a:t>at right.</a:t>
            </a:r>
          </a:p>
        </p:txBody>
      </p:sp>
      <p:sp>
        <p:nvSpPr>
          <p:cNvPr id="28" name="TextBox 27"/>
          <p:cNvSpPr txBox="1"/>
          <p:nvPr/>
        </p:nvSpPr>
        <p:spPr>
          <a:xfrm>
            <a:off x="274639" y="4824164"/>
            <a:ext cx="4571999" cy="1126462"/>
          </a:xfrm>
          <a:prstGeom prst="rect">
            <a:avLst/>
          </a:prstGeom>
          <a:noFill/>
        </p:spPr>
        <p:txBody>
          <a:bodyPr wrap="square" lIns="182880" tIns="146304" rIns="182880" bIns="146304" rtlCol="0">
            <a:spAutoFit/>
          </a:bodyPr>
          <a:lstStyle/>
          <a:p>
            <a:pPr>
              <a:spcAft>
                <a:spcPts val="600"/>
              </a:spcAft>
            </a:pPr>
            <a:r>
              <a:rPr lang="en-US" sz="2200" dirty="0">
                <a:gradFill>
                  <a:gsLst>
                    <a:gs pos="16736">
                      <a:schemeClr val="tx1"/>
                    </a:gs>
                    <a:gs pos="24000">
                      <a:schemeClr val="tx1"/>
                    </a:gs>
                  </a:gsLst>
                  <a:lin ang="5400000" scaled="0"/>
                </a:gradFill>
              </a:rPr>
              <a:t>Download from:  </a:t>
            </a:r>
            <a:r>
              <a:rPr lang="en-US" sz="1600" dirty="0">
                <a:solidFill>
                  <a:srgbClr val="505050"/>
                </a:solidFill>
                <a:hlinkClick r:id="rId4"/>
              </a:rPr>
              <a:t>https://microsoft.sharepoint.com/teams/BrandCentral/Pages/Presentations.aspx</a:t>
            </a:r>
            <a:endParaRPr lang="en-US" sz="1600" dirty="0">
              <a:gradFill>
                <a:gsLst>
                  <a:gs pos="2917">
                    <a:srgbClr val="505050"/>
                  </a:gs>
                  <a:gs pos="30000">
                    <a:srgbClr val="505050"/>
                  </a:gs>
                </a:gsLst>
                <a:lin ang="5400000" scaled="0"/>
              </a:gradFill>
            </a:endParaRPr>
          </a:p>
        </p:txBody>
      </p:sp>
      <p:pic>
        <p:nvPicPr>
          <p:cNvPr id="4" name="Picture 3"/>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8543337" y="1851360"/>
            <a:ext cx="3435939" cy="1931072"/>
          </a:xfrm>
          <a:prstGeom prst="rect">
            <a:avLst/>
          </a:prstGeom>
          <a:ln>
            <a:solidFill>
              <a:schemeClr val="tx1">
                <a:alpha val="50000"/>
              </a:schemeClr>
            </a:solidFill>
          </a:ln>
        </p:spPr>
      </p:pic>
      <p:pic>
        <p:nvPicPr>
          <p:cNvPr id="5" name="Picture 4"/>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5009706" y="1851360"/>
            <a:ext cx="3435939" cy="1931072"/>
          </a:xfrm>
          <a:prstGeom prst="rect">
            <a:avLst/>
          </a:prstGeom>
          <a:ln>
            <a:solidFill>
              <a:schemeClr val="tx1">
                <a:alpha val="50000"/>
              </a:schemeClr>
            </a:solidFill>
          </a:ln>
        </p:spPr>
      </p:pic>
      <p:pic>
        <p:nvPicPr>
          <p:cNvPr id="14" name="Picture 13"/>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5009706" y="3852192"/>
            <a:ext cx="3435939" cy="1931071"/>
          </a:xfrm>
          <a:prstGeom prst="rect">
            <a:avLst/>
          </a:prstGeom>
          <a:ln>
            <a:solidFill>
              <a:schemeClr val="tx1">
                <a:alpha val="50000"/>
              </a:schemeClr>
            </a:solidFill>
          </a:ln>
        </p:spPr>
      </p:pic>
    </p:spTree>
    <p:extLst>
      <p:ext uri="{BB962C8B-B14F-4D97-AF65-F5344CB8AC3E}">
        <p14:creationId xmlns:p14="http://schemas.microsoft.com/office/powerpoint/2010/main" val="3593400116"/>
      </p:ext>
    </p:extLst>
  </p:cSld>
  <p:clrMapOvr>
    <a:masterClrMapping/>
  </p:clrMapOvr>
  <p:transition>
    <p:fade/>
  </p:transition>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7200" dirty="0"/>
              <a:t>Section title</a:t>
            </a:r>
          </a:p>
        </p:txBody>
      </p:sp>
    </p:spTree>
    <p:extLst>
      <p:ext uri="{BB962C8B-B14F-4D97-AF65-F5344CB8AC3E}">
        <p14:creationId xmlns:p14="http://schemas.microsoft.com/office/powerpoint/2010/main" val="2132773870"/>
      </p:ext>
    </p:extLst>
  </p:cSld>
  <p:clrMapOvr>
    <a:masterClrMapping/>
  </p:clrMapOvr>
  <p:transition>
    <p:fade/>
  </p:transition>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7200" dirty="0"/>
              <a:t>Section title</a:t>
            </a:r>
          </a:p>
        </p:txBody>
      </p:sp>
    </p:spTree>
    <p:extLst>
      <p:ext uri="{BB962C8B-B14F-4D97-AF65-F5344CB8AC3E}">
        <p14:creationId xmlns:p14="http://schemas.microsoft.com/office/powerpoint/2010/main" val="3690709974"/>
      </p:ext>
    </p:extLst>
  </p:cSld>
  <p:clrMapOvr>
    <a:masterClrMapping/>
  </p:clrMapOvr>
  <p:transition>
    <p:fade/>
  </p:transition>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Software code slide</a:t>
            </a:r>
          </a:p>
        </p:txBody>
      </p:sp>
      <p:sp>
        <p:nvSpPr>
          <p:cNvPr id="5" name="Text Placeholder 4"/>
          <p:cNvSpPr>
            <a:spLocks noGrp="1"/>
          </p:cNvSpPr>
          <p:nvPr>
            <p:ph type="body" sz="quarter" idx="10"/>
          </p:nvPr>
        </p:nvSpPr>
        <p:spPr/>
        <p:txBody>
          <a:bodyPr/>
          <a:lstStyle/>
          <a:p>
            <a:r>
              <a:rPr lang="en-US" dirty="0"/>
              <a:t>This slide layout uses Consolas, a monotype font which is ideal for showing software code. </a:t>
            </a:r>
          </a:p>
        </p:txBody>
      </p:sp>
    </p:spTree>
    <p:extLst>
      <p:ext uri="{BB962C8B-B14F-4D97-AF65-F5344CB8AC3E}">
        <p14:creationId xmlns:p14="http://schemas.microsoft.com/office/powerpoint/2010/main" val="30661827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p:txBody>
          <a:bodyPr/>
          <a:lstStyle/>
          <a:p>
            <a:r>
              <a:rPr lang="en-US" dirty="0"/>
              <a:t>Some speakers at Microsoft like to use this slide for hidden “notes slides”. </a:t>
            </a:r>
          </a:p>
          <a:p>
            <a:r>
              <a:rPr lang="en-US" dirty="0"/>
              <a:t>Delete it if you don’t want to use it.</a:t>
            </a:r>
          </a:p>
        </p:txBody>
      </p:sp>
      <p:sp>
        <p:nvSpPr>
          <p:cNvPr id="7" name="Text Placeholder 6"/>
          <p:cNvSpPr>
            <a:spLocks noGrp="1"/>
          </p:cNvSpPr>
          <p:nvPr>
            <p:ph type="body" sz="quarter" idx="11"/>
          </p:nvPr>
        </p:nvSpPr>
        <p:spPr/>
        <p:txBody>
          <a:bodyPr/>
          <a:lstStyle/>
          <a:p>
            <a:r>
              <a:rPr lang="en-US" dirty="0"/>
              <a:t>NEXT: &lt;next slide title&gt;</a:t>
            </a:r>
          </a:p>
        </p:txBody>
      </p:sp>
      <p:sp>
        <p:nvSpPr>
          <p:cNvPr id="4" name="Title 3"/>
          <p:cNvSpPr>
            <a:spLocks noGrp="1"/>
          </p:cNvSpPr>
          <p:nvPr>
            <p:ph type="title"/>
          </p:nvPr>
        </p:nvSpPr>
        <p:spPr/>
        <p:txBody>
          <a:bodyPr/>
          <a:lstStyle/>
          <a:p>
            <a:r>
              <a:rPr lang="en-US" dirty="0"/>
              <a:t>Notes (hidden)</a:t>
            </a:r>
          </a:p>
        </p:txBody>
      </p:sp>
    </p:spTree>
    <p:extLst>
      <p:ext uri="{BB962C8B-B14F-4D97-AF65-F5344CB8AC3E}">
        <p14:creationId xmlns:p14="http://schemas.microsoft.com/office/powerpoint/2010/main" val="2239451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0660745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3963050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Presentation title </a:t>
            </a:r>
            <a:br>
              <a:rPr lang="en-US"/>
            </a:br>
            <a:r>
              <a:rPr lang="en-US"/>
              <a:t>goes here</a:t>
            </a:r>
            <a:endParaRPr lang="en-US" dirty="0"/>
          </a:p>
        </p:txBody>
      </p:sp>
      <p:sp>
        <p:nvSpPr>
          <p:cNvPr id="5" name="Text Placeholder 4"/>
          <p:cNvSpPr>
            <a:spLocks noGrp="1"/>
          </p:cNvSpPr>
          <p:nvPr>
            <p:ph type="body" sz="quarter" idx="12"/>
          </p:nvPr>
        </p:nvSpPr>
        <p:spPr/>
        <p:txBody>
          <a:bodyPr/>
          <a:lstStyle/>
          <a:p>
            <a:r>
              <a:rPr lang="en-US"/>
              <a:t>Speaker name</a:t>
            </a:r>
          </a:p>
          <a:p>
            <a:r>
              <a:rPr lang="en-US"/>
              <a:t>Title</a:t>
            </a:r>
            <a:endParaRPr lang="en-US" dirty="0"/>
          </a:p>
        </p:txBody>
      </p:sp>
    </p:spTree>
    <p:extLst>
      <p:ext uri="{BB962C8B-B14F-4D97-AF65-F5344CB8AC3E}">
        <p14:creationId xmlns:p14="http://schemas.microsoft.com/office/powerpoint/2010/main" val="20695335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Billede 6"/>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2739323" y="1829290"/>
            <a:ext cx="8152006" cy="5096972"/>
          </a:xfrm>
          <a:prstGeom prst="rect">
            <a:avLst/>
          </a:prstGeom>
        </p:spPr>
      </p:pic>
      <p:sp>
        <p:nvSpPr>
          <p:cNvPr id="3" name="Title 2"/>
          <p:cNvSpPr>
            <a:spLocks noGrp="1"/>
          </p:cNvSpPr>
          <p:nvPr>
            <p:ph type="title"/>
          </p:nvPr>
        </p:nvSpPr>
        <p:spPr/>
        <p:txBody>
          <a:bodyPr/>
          <a:lstStyle/>
          <a:p>
            <a:r>
              <a:rPr lang="da-DK" dirty="0"/>
              <a:t>Today – Top 4 international brewer</a:t>
            </a:r>
          </a:p>
        </p:txBody>
      </p:sp>
      <p:sp>
        <p:nvSpPr>
          <p:cNvPr id="4" name="Slide Number Placeholder 3"/>
          <p:cNvSpPr>
            <a:spLocks noGrp="1"/>
          </p:cNvSpPr>
          <p:nvPr>
            <p:ph type="sldNum" sz="quarter" idx="11"/>
          </p:nvPr>
        </p:nvSpPr>
        <p:spPr/>
        <p:txBody>
          <a:bodyPr/>
          <a:lstStyle/>
          <a:p>
            <a:pPr>
              <a:defRPr/>
            </a:pPr>
            <a:r>
              <a:rPr lang="en-GB" dirty="0"/>
              <a:t> </a:t>
            </a:r>
          </a:p>
        </p:txBody>
      </p:sp>
      <p:sp>
        <p:nvSpPr>
          <p:cNvPr id="9" name="Text Box 13"/>
          <p:cNvSpPr txBox="1">
            <a:spLocks noChangeArrowheads="1"/>
          </p:cNvSpPr>
          <p:nvPr/>
        </p:nvSpPr>
        <p:spPr bwMode="auto">
          <a:xfrm>
            <a:off x="342568" y="5043348"/>
            <a:ext cx="2399511" cy="707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erdana" pitchFamily="34" charset="0"/>
              </a:defRPr>
            </a:lvl1pPr>
            <a:lvl2pPr marL="742950" indent="-285750">
              <a:defRPr>
                <a:solidFill>
                  <a:schemeClr val="tx1"/>
                </a:solidFill>
                <a:latin typeface="Verdana" pitchFamily="34" charset="0"/>
              </a:defRPr>
            </a:lvl2pPr>
            <a:lvl3pPr marL="1143000" indent="-228600">
              <a:defRPr>
                <a:solidFill>
                  <a:schemeClr val="tx1"/>
                </a:solidFill>
                <a:latin typeface="Verdana" pitchFamily="34" charset="0"/>
              </a:defRPr>
            </a:lvl3pPr>
            <a:lvl4pPr marL="1600200" indent="-228600">
              <a:defRPr>
                <a:solidFill>
                  <a:schemeClr val="tx1"/>
                </a:solidFill>
                <a:latin typeface="Verdana" pitchFamily="34" charset="0"/>
              </a:defRPr>
            </a:lvl4pPr>
            <a:lvl5pPr marL="2057400" indent="-228600">
              <a:defRPr>
                <a:solidFill>
                  <a:schemeClr val="tx1"/>
                </a:solidFill>
                <a:latin typeface="Verdana" pitchFamily="34" charset="0"/>
              </a:defRPr>
            </a:lvl5pPr>
            <a:lvl6pPr marL="2514600" indent="-228600" eaLnBrk="0" fontAlgn="base" hangingPunct="0">
              <a:spcBef>
                <a:spcPct val="0"/>
              </a:spcBef>
              <a:spcAft>
                <a:spcPct val="0"/>
              </a:spcAft>
              <a:defRPr>
                <a:solidFill>
                  <a:schemeClr val="tx1"/>
                </a:solidFill>
                <a:latin typeface="Verdana" pitchFamily="34" charset="0"/>
              </a:defRPr>
            </a:lvl6pPr>
            <a:lvl7pPr marL="2971800" indent="-228600" eaLnBrk="0" fontAlgn="base" hangingPunct="0">
              <a:spcBef>
                <a:spcPct val="0"/>
              </a:spcBef>
              <a:spcAft>
                <a:spcPct val="0"/>
              </a:spcAft>
              <a:defRPr>
                <a:solidFill>
                  <a:schemeClr val="tx1"/>
                </a:solidFill>
                <a:latin typeface="Verdana" pitchFamily="34" charset="0"/>
              </a:defRPr>
            </a:lvl7pPr>
            <a:lvl8pPr marL="3429000" indent="-228600" eaLnBrk="0" fontAlgn="base" hangingPunct="0">
              <a:spcBef>
                <a:spcPct val="0"/>
              </a:spcBef>
              <a:spcAft>
                <a:spcPct val="0"/>
              </a:spcAft>
              <a:defRPr>
                <a:solidFill>
                  <a:schemeClr val="tx1"/>
                </a:solidFill>
                <a:latin typeface="Verdana" pitchFamily="34" charset="0"/>
              </a:defRPr>
            </a:lvl8pPr>
            <a:lvl9pPr marL="3886200" indent="-228600" eaLnBrk="0" fontAlgn="base" hangingPunct="0">
              <a:spcBef>
                <a:spcPct val="0"/>
              </a:spcBef>
              <a:spcAft>
                <a:spcPct val="0"/>
              </a:spcAft>
              <a:defRPr>
                <a:solidFill>
                  <a:schemeClr val="tx1"/>
                </a:solidFill>
                <a:latin typeface="Verdana" pitchFamily="34" charset="0"/>
              </a:defRPr>
            </a:lvl9pPr>
          </a:lstStyle>
          <a:p>
            <a:pPr eaLnBrk="0" hangingPunct="0"/>
            <a:r>
              <a:rPr lang="en-US" sz="4000" dirty="0">
                <a:gradFill>
                  <a:gsLst>
                    <a:gs pos="1250">
                      <a:schemeClr val="tx2"/>
                    </a:gs>
                    <a:gs pos="99000">
                      <a:schemeClr val="tx2"/>
                    </a:gs>
                  </a:gsLst>
                  <a:lin ang="5400000" scaled="0"/>
                </a:gradFill>
                <a:latin typeface="+mj-lt"/>
              </a:rPr>
              <a:t>140</a:t>
            </a:r>
            <a:r>
              <a:rPr lang="en-US" sz="2000" dirty="0">
                <a:gradFill>
                  <a:gsLst>
                    <a:gs pos="1250">
                      <a:schemeClr val="tx1"/>
                    </a:gs>
                    <a:gs pos="100000">
                      <a:schemeClr val="tx1"/>
                    </a:gs>
                  </a:gsLst>
                  <a:lin ang="5400000" scaled="0"/>
                </a:gradFill>
                <a:latin typeface="+mn-lt"/>
              </a:rPr>
              <a:t> beer brands</a:t>
            </a:r>
          </a:p>
        </p:txBody>
      </p:sp>
      <p:sp>
        <p:nvSpPr>
          <p:cNvPr id="11" name="Text Box 15"/>
          <p:cNvSpPr txBox="1">
            <a:spLocks noChangeArrowheads="1"/>
          </p:cNvSpPr>
          <p:nvPr/>
        </p:nvSpPr>
        <p:spPr bwMode="auto">
          <a:xfrm>
            <a:off x="339677" y="6212844"/>
            <a:ext cx="6403151" cy="707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Verdana" pitchFamily="34" charset="0"/>
              </a:defRPr>
            </a:lvl1pPr>
            <a:lvl2pPr marL="742950" indent="-285750">
              <a:defRPr>
                <a:solidFill>
                  <a:schemeClr val="tx1"/>
                </a:solidFill>
                <a:latin typeface="Verdana" pitchFamily="34" charset="0"/>
              </a:defRPr>
            </a:lvl2pPr>
            <a:lvl3pPr marL="1143000" indent="-228600">
              <a:defRPr>
                <a:solidFill>
                  <a:schemeClr val="tx1"/>
                </a:solidFill>
                <a:latin typeface="Verdana" pitchFamily="34" charset="0"/>
              </a:defRPr>
            </a:lvl3pPr>
            <a:lvl4pPr marL="1600200" indent="-228600">
              <a:defRPr>
                <a:solidFill>
                  <a:schemeClr val="tx1"/>
                </a:solidFill>
                <a:latin typeface="Verdana" pitchFamily="34" charset="0"/>
              </a:defRPr>
            </a:lvl4pPr>
            <a:lvl5pPr marL="2057400" indent="-228600">
              <a:defRPr>
                <a:solidFill>
                  <a:schemeClr val="tx1"/>
                </a:solidFill>
                <a:latin typeface="Verdana" pitchFamily="34" charset="0"/>
              </a:defRPr>
            </a:lvl5pPr>
            <a:lvl6pPr marL="2514600" indent="-228600" eaLnBrk="0" fontAlgn="base" hangingPunct="0">
              <a:spcBef>
                <a:spcPct val="0"/>
              </a:spcBef>
              <a:spcAft>
                <a:spcPct val="0"/>
              </a:spcAft>
              <a:defRPr>
                <a:solidFill>
                  <a:schemeClr val="tx1"/>
                </a:solidFill>
                <a:latin typeface="Verdana" pitchFamily="34" charset="0"/>
              </a:defRPr>
            </a:lvl6pPr>
            <a:lvl7pPr marL="2971800" indent="-228600" eaLnBrk="0" fontAlgn="base" hangingPunct="0">
              <a:spcBef>
                <a:spcPct val="0"/>
              </a:spcBef>
              <a:spcAft>
                <a:spcPct val="0"/>
              </a:spcAft>
              <a:defRPr>
                <a:solidFill>
                  <a:schemeClr val="tx1"/>
                </a:solidFill>
                <a:latin typeface="Verdana" pitchFamily="34" charset="0"/>
              </a:defRPr>
            </a:lvl7pPr>
            <a:lvl8pPr marL="3429000" indent="-228600" eaLnBrk="0" fontAlgn="base" hangingPunct="0">
              <a:spcBef>
                <a:spcPct val="0"/>
              </a:spcBef>
              <a:spcAft>
                <a:spcPct val="0"/>
              </a:spcAft>
              <a:defRPr>
                <a:solidFill>
                  <a:schemeClr val="tx1"/>
                </a:solidFill>
                <a:latin typeface="Verdana" pitchFamily="34" charset="0"/>
              </a:defRPr>
            </a:lvl8pPr>
            <a:lvl9pPr marL="3886200" indent="-228600" eaLnBrk="0" fontAlgn="base" hangingPunct="0">
              <a:spcBef>
                <a:spcPct val="0"/>
              </a:spcBef>
              <a:spcAft>
                <a:spcPct val="0"/>
              </a:spcAft>
              <a:defRPr>
                <a:solidFill>
                  <a:schemeClr val="tx1"/>
                </a:solidFill>
                <a:latin typeface="Verdana" pitchFamily="34" charset="0"/>
              </a:defRPr>
            </a:lvl9pPr>
          </a:lstStyle>
          <a:p>
            <a:pPr eaLnBrk="0" hangingPunct="0"/>
            <a:r>
              <a:rPr lang="da-DK" sz="4000" dirty="0">
                <a:gradFill>
                  <a:gsLst>
                    <a:gs pos="1250">
                      <a:schemeClr val="tx2"/>
                    </a:gs>
                    <a:gs pos="99000">
                      <a:schemeClr val="tx2"/>
                    </a:gs>
                  </a:gsLst>
                  <a:lin ang="5400000" scaled="0"/>
                </a:gradFill>
                <a:latin typeface="+mj-lt"/>
              </a:rPr>
              <a:t>120.3</a:t>
            </a:r>
            <a:r>
              <a:rPr lang="en-US" sz="2000" dirty="0">
                <a:gradFill>
                  <a:gsLst>
                    <a:gs pos="1250">
                      <a:schemeClr val="tx1"/>
                    </a:gs>
                    <a:gs pos="100000">
                      <a:schemeClr val="tx1"/>
                    </a:gs>
                  </a:gsLst>
                  <a:lin ang="5400000" scaled="0"/>
                </a:gradFill>
                <a:latin typeface="+mn-lt"/>
              </a:rPr>
              <a:t> million hectoliters of beer sold in 2015</a:t>
            </a:r>
          </a:p>
        </p:txBody>
      </p:sp>
      <p:sp>
        <p:nvSpPr>
          <p:cNvPr id="13" name="Text Box 7"/>
          <p:cNvSpPr txBox="1">
            <a:spLocks noChangeArrowheads="1"/>
          </p:cNvSpPr>
          <p:nvPr/>
        </p:nvSpPr>
        <p:spPr bwMode="auto">
          <a:xfrm>
            <a:off x="8646111" y="4926583"/>
            <a:ext cx="4472013" cy="707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Verdana" pitchFamily="34" charset="0"/>
              </a:defRPr>
            </a:lvl1pPr>
            <a:lvl2pPr marL="742950" indent="-285750">
              <a:defRPr>
                <a:solidFill>
                  <a:schemeClr val="tx1"/>
                </a:solidFill>
                <a:latin typeface="Verdana" pitchFamily="34" charset="0"/>
              </a:defRPr>
            </a:lvl2pPr>
            <a:lvl3pPr marL="1143000" indent="-228600">
              <a:defRPr>
                <a:solidFill>
                  <a:schemeClr val="tx1"/>
                </a:solidFill>
                <a:latin typeface="Verdana" pitchFamily="34" charset="0"/>
              </a:defRPr>
            </a:lvl3pPr>
            <a:lvl4pPr marL="1600200" indent="-228600">
              <a:defRPr>
                <a:solidFill>
                  <a:schemeClr val="tx1"/>
                </a:solidFill>
                <a:latin typeface="Verdana" pitchFamily="34" charset="0"/>
              </a:defRPr>
            </a:lvl4pPr>
            <a:lvl5pPr marL="2057400" indent="-228600">
              <a:defRPr>
                <a:solidFill>
                  <a:schemeClr val="tx1"/>
                </a:solidFill>
                <a:latin typeface="Verdana" pitchFamily="34" charset="0"/>
              </a:defRPr>
            </a:lvl5pPr>
            <a:lvl6pPr marL="2514600" indent="-228600" eaLnBrk="0" fontAlgn="base" hangingPunct="0">
              <a:spcBef>
                <a:spcPct val="0"/>
              </a:spcBef>
              <a:spcAft>
                <a:spcPct val="0"/>
              </a:spcAft>
              <a:defRPr>
                <a:solidFill>
                  <a:schemeClr val="tx1"/>
                </a:solidFill>
                <a:latin typeface="Verdana" pitchFamily="34" charset="0"/>
              </a:defRPr>
            </a:lvl6pPr>
            <a:lvl7pPr marL="2971800" indent="-228600" eaLnBrk="0" fontAlgn="base" hangingPunct="0">
              <a:spcBef>
                <a:spcPct val="0"/>
              </a:spcBef>
              <a:spcAft>
                <a:spcPct val="0"/>
              </a:spcAft>
              <a:defRPr>
                <a:solidFill>
                  <a:schemeClr val="tx1"/>
                </a:solidFill>
                <a:latin typeface="Verdana" pitchFamily="34" charset="0"/>
              </a:defRPr>
            </a:lvl7pPr>
            <a:lvl8pPr marL="3429000" indent="-228600" eaLnBrk="0" fontAlgn="base" hangingPunct="0">
              <a:spcBef>
                <a:spcPct val="0"/>
              </a:spcBef>
              <a:spcAft>
                <a:spcPct val="0"/>
              </a:spcAft>
              <a:defRPr>
                <a:solidFill>
                  <a:schemeClr val="tx1"/>
                </a:solidFill>
                <a:latin typeface="Verdana" pitchFamily="34" charset="0"/>
              </a:defRPr>
            </a:lvl8pPr>
            <a:lvl9pPr marL="3886200" indent="-228600" eaLnBrk="0" fontAlgn="base" hangingPunct="0">
              <a:spcBef>
                <a:spcPct val="0"/>
              </a:spcBef>
              <a:spcAft>
                <a:spcPct val="0"/>
              </a:spcAft>
              <a:defRPr>
                <a:solidFill>
                  <a:schemeClr val="tx1"/>
                </a:solidFill>
                <a:latin typeface="Verdana" pitchFamily="34" charset="0"/>
              </a:defRPr>
            </a:lvl9pPr>
          </a:lstStyle>
          <a:p>
            <a:pPr eaLnBrk="0" hangingPunct="0"/>
            <a:r>
              <a:rPr lang="en-US" sz="2000" dirty="0">
                <a:gradFill>
                  <a:gsLst>
                    <a:gs pos="1250">
                      <a:schemeClr val="tx1"/>
                    </a:gs>
                    <a:gs pos="100000">
                      <a:schemeClr val="tx1"/>
                    </a:gs>
                  </a:gsLst>
                  <a:lin ang="5400000" scaled="0"/>
                </a:gradFill>
                <a:latin typeface="+mn-lt"/>
              </a:rPr>
              <a:t>no 1 in Eastern Europe</a:t>
            </a:r>
          </a:p>
          <a:p>
            <a:pPr eaLnBrk="0" hangingPunct="0"/>
            <a:r>
              <a:rPr lang="en-US" sz="2000" dirty="0">
                <a:gradFill>
                  <a:gsLst>
                    <a:gs pos="1250">
                      <a:schemeClr val="tx1"/>
                    </a:gs>
                    <a:gs pos="100000">
                      <a:schemeClr val="tx1"/>
                    </a:gs>
                  </a:gsLst>
                  <a:lin ang="5400000" scaled="0"/>
                </a:gradFill>
                <a:latin typeface="+mn-lt"/>
              </a:rPr>
              <a:t>no 2 in Western Europe</a:t>
            </a:r>
          </a:p>
        </p:txBody>
      </p:sp>
      <p:sp>
        <p:nvSpPr>
          <p:cNvPr id="121" name="Text Box 15"/>
          <p:cNvSpPr txBox="1">
            <a:spLocks noChangeArrowheads="1"/>
          </p:cNvSpPr>
          <p:nvPr/>
        </p:nvSpPr>
        <p:spPr bwMode="auto">
          <a:xfrm>
            <a:off x="345324" y="5630862"/>
            <a:ext cx="4044113" cy="707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Verdana" pitchFamily="34" charset="0"/>
              </a:defRPr>
            </a:lvl1pPr>
            <a:lvl2pPr marL="742950" indent="-285750">
              <a:defRPr>
                <a:solidFill>
                  <a:schemeClr val="tx1"/>
                </a:solidFill>
                <a:latin typeface="Verdana" pitchFamily="34" charset="0"/>
              </a:defRPr>
            </a:lvl2pPr>
            <a:lvl3pPr marL="1143000" indent="-228600">
              <a:defRPr>
                <a:solidFill>
                  <a:schemeClr val="tx1"/>
                </a:solidFill>
                <a:latin typeface="Verdana" pitchFamily="34" charset="0"/>
              </a:defRPr>
            </a:lvl3pPr>
            <a:lvl4pPr marL="1600200" indent="-228600">
              <a:defRPr>
                <a:solidFill>
                  <a:schemeClr val="tx1"/>
                </a:solidFill>
                <a:latin typeface="Verdana" pitchFamily="34" charset="0"/>
              </a:defRPr>
            </a:lvl4pPr>
            <a:lvl5pPr marL="2057400" indent="-228600">
              <a:defRPr>
                <a:solidFill>
                  <a:schemeClr val="tx1"/>
                </a:solidFill>
                <a:latin typeface="Verdana" pitchFamily="34" charset="0"/>
              </a:defRPr>
            </a:lvl5pPr>
            <a:lvl6pPr marL="2514600" indent="-228600" eaLnBrk="0" fontAlgn="base" hangingPunct="0">
              <a:spcBef>
                <a:spcPct val="0"/>
              </a:spcBef>
              <a:spcAft>
                <a:spcPct val="0"/>
              </a:spcAft>
              <a:defRPr>
                <a:solidFill>
                  <a:schemeClr val="tx1"/>
                </a:solidFill>
                <a:latin typeface="Verdana" pitchFamily="34" charset="0"/>
              </a:defRPr>
            </a:lvl6pPr>
            <a:lvl7pPr marL="2971800" indent="-228600" eaLnBrk="0" fontAlgn="base" hangingPunct="0">
              <a:spcBef>
                <a:spcPct val="0"/>
              </a:spcBef>
              <a:spcAft>
                <a:spcPct val="0"/>
              </a:spcAft>
              <a:defRPr>
                <a:solidFill>
                  <a:schemeClr val="tx1"/>
                </a:solidFill>
                <a:latin typeface="Verdana" pitchFamily="34" charset="0"/>
              </a:defRPr>
            </a:lvl7pPr>
            <a:lvl8pPr marL="3429000" indent="-228600" eaLnBrk="0" fontAlgn="base" hangingPunct="0">
              <a:spcBef>
                <a:spcPct val="0"/>
              </a:spcBef>
              <a:spcAft>
                <a:spcPct val="0"/>
              </a:spcAft>
              <a:defRPr>
                <a:solidFill>
                  <a:schemeClr val="tx1"/>
                </a:solidFill>
                <a:latin typeface="Verdana" pitchFamily="34" charset="0"/>
              </a:defRPr>
            </a:lvl8pPr>
            <a:lvl9pPr marL="3886200" indent="-228600" eaLnBrk="0" fontAlgn="base" hangingPunct="0">
              <a:spcBef>
                <a:spcPct val="0"/>
              </a:spcBef>
              <a:spcAft>
                <a:spcPct val="0"/>
              </a:spcAft>
              <a:defRPr>
                <a:solidFill>
                  <a:schemeClr val="tx1"/>
                </a:solidFill>
                <a:latin typeface="Verdana" pitchFamily="34" charset="0"/>
              </a:defRPr>
            </a:lvl9pPr>
          </a:lstStyle>
          <a:p>
            <a:pPr eaLnBrk="0" hangingPunct="0"/>
            <a:r>
              <a:rPr lang="da-DK" sz="4000" dirty="0">
                <a:gradFill>
                  <a:gsLst>
                    <a:gs pos="1250">
                      <a:schemeClr val="tx2"/>
                    </a:gs>
                    <a:gs pos="99000">
                      <a:schemeClr val="tx2"/>
                    </a:gs>
                  </a:gsLst>
                  <a:lin ang="5400000" scaled="0"/>
                </a:gradFill>
                <a:latin typeface="+mj-lt"/>
              </a:rPr>
              <a:t>47,000</a:t>
            </a:r>
            <a:r>
              <a:rPr lang="en-US" sz="2000" dirty="0">
                <a:gradFill>
                  <a:gsLst>
                    <a:gs pos="1250">
                      <a:schemeClr val="tx1"/>
                    </a:gs>
                    <a:gs pos="100000">
                      <a:schemeClr val="tx1"/>
                    </a:gs>
                  </a:gsLst>
                  <a:lin ang="5400000" scaled="0"/>
                </a:gradFill>
                <a:latin typeface="+mn-lt"/>
              </a:rPr>
              <a:t> employees in 2015</a:t>
            </a:r>
          </a:p>
        </p:txBody>
      </p:sp>
      <p:pic>
        <p:nvPicPr>
          <p:cNvPr id="10" name="Picture 9"/>
          <p:cNvPicPr>
            <a:picLocks noChangeAspect="1"/>
          </p:cNvPicPr>
          <p:nvPr/>
        </p:nvPicPr>
        <p:blipFill>
          <a:blip r:embed="rId3"/>
          <a:stretch>
            <a:fillRect/>
          </a:stretch>
        </p:blipFill>
        <p:spPr>
          <a:xfrm>
            <a:off x="5227637" y="2000214"/>
            <a:ext cx="3418474" cy="2276766"/>
          </a:xfrm>
          <a:prstGeom prst="rect">
            <a:avLst/>
          </a:prstGeom>
        </p:spPr>
      </p:pic>
      <p:sp>
        <p:nvSpPr>
          <p:cNvPr id="12" name="Text Box 13"/>
          <p:cNvSpPr txBox="1">
            <a:spLocks noChangeArrowheads="1"/>
          </p:cNvSpPr>
          <p:nvPr/>
        </p:nvSpPr>
        <p:spPr bwMode="auto">
          <a:xfrm>
            <a:off x="339677" y="4458600"/>
            <a:ext cx="2399511" cy="707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erdana" pitchFamily="34" charset="0"/>
              </a:defRPr>
            </a:lvl1pPr>
            <a:lvl2pPr marL="742950" indent="-285750">
              <a:defRPr>
                <a:solidFill>
                  <a:schemeClr val="tx1"/>
                </a:solidFill>
                <a:latin typeface="Verdana" pitchFamily="34" charset="0"/>
              </a:defRPr>
            </a:lvl2pPr>
            <a:lvl3pPr marL="1143000" indent="-228600">
              <a:defRPr>
                <a:solidFill>
                  <a:schemeClr val="tx1"/>
                </a:solidFill>
                <a:latin typeface="Verdana" pitchFamily="34" charset="0"/>
              </a:defRPr>
            </a:lvl3pPr>
            <a:lvl4pPr marL="1600200" indent="-228600">
              <a:defRPr>
                <a:solidFill>
                  <a:schemeClr val="tx1"/>
                </a:solidFill>
                <a:latin typeface="Verdana" pitchFamily="34" charset="0"/>
              </a:defRPr>
            </a:lvl4pPr>
            <a:lvl5pPr marL="2057400" indent="-228600">
              <a:defRPr>
                <a:solidFill>
                  <a:schemeClr val="tx1"/>
                </a:solidFill>
                <a:latin typeface="Verdana" pitchFamily="34" charset="0"/>
              </a:defRPr>
            </a:lvl5pPr>
            <a:lvl6pPr marL="2514600" indent="-228600" eaLnBrk="0" fontAlgn="base" hangingPunct="0">
              <a:spcBef>
                <a:spcPct val="0"/>
              </a:spcBef>
              <a:spcAft>
                <a:spcPct val="0"/>
              </a:spcAft>
              <a:defRPr>
                <a:solidFill>
                  <a:schemeClr val="tx1"/>
                </a:solidFill>
                <a:latin typeface="Verdana" pitchFamily="34" charset="0"/>
              </a:defRPr>
            </a:lvl6pPr>
            <a:lvl7pPr marL="2971800" indent="-228600" eaLnBrk="0" fontAlgn="base" hangingPunct="0">
              <a:spcBef>
                <a:spcPct val="0"/>
              </a:spcBef>
              <a:spcAft>
                <a:spcPct val="0"/>
              </a:spcAft>
              <a:defRPr>
                <a:solidFill>
                  <a:schemeClr val="tx1"/>
                </a:solidFill>
                <a:latin typeface="Verdana" pitchFamily="34" charset="0"/>
              </a:defRPr>
            </a:lvl7pPr>
            <a:lvl8pPr marL="3429000" indent="-228600" eaLnBrk="0" fontAlgn="base" hangingPunct="0">
              <a:spcBef>
                <a:spcPct val="0"/>
              </a:spcBef>
              <a:spcAft>
                <a:spcPct val="0"/>
              </a:spcAft>
              <a:defRPr>
                <a:solidFill>
                  <a:schemeClr val="tx1"/>
                </a:solidFill>
                <a:latin typeface="Verdana" pitchFamily="34" charset="0"/>
              </a:defRPr>
            </a:lvl8pPr>
            <a:lvl9pPr marL="3886200" indent="-228600" eaLnBrk="0" fontAlgn="base" hangingPunct="0">
              <a:spcBef>
                <a:spcPct val="0"/>
              </a:spcBef>
              <a:spcAft>
                <a:spcPct val="0"/>
              </a:spcAft>
              <a:defRPr>
                <a:solidFill>
                  <a:schemeClr val="tx1"/>
                </a:solidFill>
                <a:latin typeface="Verdana" pitchFamily="34" charset="0"/>
              </a:defRPr>
            </a:lvl9pPr>
          </a:lstStyle>
          <a:p>
            <a:pPr eaLnBrk="0" hangingPunct="0"/>
            <a:r>
              <a:rPr lang="en-US" sz="4000" dirty="0">
                <a:gradFill>
                  <a:gsLst>
                    <a:gs pos="1250">
                      <a:schemeClr val="tx2"/>
                    </a:gs>
                    <a:gs pos="99000">
                      <a:schemeClr val="tx2"/>
                    </a:gs>
                  </a:gsLst>
                  <a:lin ang="5400000" scaled="0"/>
                </a:gradFill>
                <a:latin typeface="+mj-lt"/>
              </a:rPr>
              <a:t>31</a:t>
            </a:r>
            <a:r>
              <a:rPr lang="en-US" sz="2000" dirty="0">
                <a:gradFill>
                  <a:gsLst>
                    <a:gs pos="1250">
                      <a:schemeClr val="tx1"/>
                    </a:gs>
                    <a:gs pos="100000">
                      <a:schemeClr val="tx1"/>
                    </a:gs>
                  </a:gsLst>
                  <a:lin ang="5400000" scaled="0"/>
                </a:gradFill>
                <a:latin typeface="+mn-lt"/>
              </a:rPr>
              <a:t> markets</a:t>
            </a:r>
          </a:p>
        </p:txBody>
      </p:sp>
    </p:spTree>
    <p:extLst>
      <p:ext uri="{BB962C8B-B14F-4D97-AF65-F5344CB8AC3E}">
        <p14:creationId xmlns:p14="http://schemas.microsoft.com/office/powerpoint/2010/main" val="2085505629"/>
      </p:ext>
    </p:extLst>
  </p:cSld>
  <p:clrMapOvr>
    <a:masterClrMapping/>
  </p:clrMapOvr>
  <p:transition>
    <p:fade/>
  </p:transition>
</p:sld>
</file>

<file path=ppt/slides/slide90.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6" name="Title 2"/>
          <p:cNvSpPr txBox="1">
            <a:spLocks/>
          </p:cNvSpPr>
          <p:nvPr/>
        </p:nvSpPr>
        <p:spPr>
          <a:xfrm>
            <a:off x="1463093" y="296863"/>
            <a:ext cx="10698745" cy="914400"/>
          </a:xfrm>
          <a:prstGeom prst="rect">
            <a:avLst/>
          </a:prstGeom>
        </p:spPr>
        <p:txBody>
          <a:bodyPr lIns="182880" tIns="146304" rIns="182880" bIns="146304" anchor="t"/>
          <a:lstStyle>
            <a:lvl1pPr algn="l" defTabSz="914363" rtl="0" eaLnBrk="1" latinLnBrk="0" hangingPunct="1">
              <a:lnSpc>
                <a:spcPct val="90000"/>
              </a:lnSpc>
              <a:spcBef>
                <a:spcPct val="0"/>
              </a:spcBef>
              <a:buNone/>
              <a:defRPr lang="en-US" sz="5400" b="0" kern="1200" cap="none" spc="-100" baseline="0" dirty="0" smtClean="0">
                <a:ln w="3175">
                  <a:noFill/>
                </a:ln>
                <a:gradFill>
                  <a:gsLst>
                    <a:gs pos="1250">
                      <a:schemeClr val="tx1"/>
                    </a:gs>
                    <a:gs pos="100000">
                      <a:schemeClr val="tx1"/>
                    </a:gs>
                  </a:gsLst>
                  <a:lin ang="5400000" scaled="0"/>
                </a:gradFill>
                <a:effectLst/>
                <a:latin typeface="+mj-lt"/>
                <a:ea typeface="+mn-ea"/>
                <a:cs typeface="Arial" charset="0"/>
              </a:defRPr>
            </a:lvl1pPr>
          </a:lstStyle>
          <a:p>
            <a:pPr marL="0" marR="0" lvl="0" indent="0" algn="l" defTabSz="914363" rtl="0" eaLnBrk="1" fontAlgn="auto" latinLnBrk="0" hangingPunct="1">
              <a:lnSpc>
                <a:spcPct val="90000"/>
              </a:lnSpc>
              <a:spcBef>
                <a:spcPct val="0"/>
              </a:spcBef>
              <a:spcAft>
                <a:spcPts val="0"/>
              </a:spcAft>
              <a:buClrTx/>
              <a:buSzTx/>
              <a:buFontTx/>
              <a:buNone/>
              <a:tabLst/>
              <a:defRPr/>
            </a:pPr>
            <a:r>
              <a:rPr kumimoji="0" lang="en-US" sz="5507" b="1" i="0" u="none" strike="noStrike" kern="1200" cap="none" spc="-100" normalizeH="0" baseline="0" noProof="0" dirty="0">
                <a:ln w="3175">
                  <a:noFill/>
                </a:ln>
                <a:gradFill>
                  <a:gsLst>
                    <a:gs pos="83186">
                      <a:schemeClr val="accent5"/>
                    </a:gs>
                    <a:gs pos="69000">
                      <a:schemeClr val="accent5"/>
                    </a:gs>
                  </a:gsLst>
                  <a:lin ang="5400000" scaled="0"/>
                </a:gradFill>
                <a:effectLst/>
                <a:uLnTx/>
                <a:uFillTx/>
                <a:latin typeface="+mn-lt"/>
                <a:ea typeface="+mn-ea"/>
                <a:cs typeface="Arial" charset="0"/>
              </a:rPr>
              <a:t>ATTENTION: PLEASE READ</a:t>
            </a:r>
          </a:p>
        </p:txBody>
      </p:sp>
      <p:pic>
        <p:nvPicPr>
          <p:cNvPr id="2" name="Picture 1"/>
          <p:cNvPicPr>
            <a:picLocks noChangeAspect="1"/>
          </p:cNvPicPr>
          <p:nvPr/>
        </p:nvPicPr>
        <p:blipFill>
          <a:blip r:embed="rId3"/>
          <a:stretch>
            <a:fillRect/>
          </a:stretch>
        </p:blipFill>
        <p:spPr>
          <a:xfrm>
            <a:off x="457200" y="479425"/>
            <a:ext cx="1005893" cy="736492"/>
          </a:xfrm>
          <a:prstGeom prst="rect">
            <a:avLst/>
          </a:prstGeom>
        </p:spPr>
      </p:pic>
      <p:sp>
        <p:nvSpPr>
          <p:cNvPr id="7" name="Text Placeholder 3"/>
          <p:cNvSpPr txBox="1">
            <a:spLocks/>
          </p:cNvSpPr>
          <p:nvPr/>
        </p:nvSpPr>
        <p:spPr>
          <a:xfrm>
            <a:off x="274637" y="1394164"/>
            <a:ext cx="11887201" cy="5227297"/>
          </a:xfrm>
          <a:prstGeom prst="rect">
            <a:avLst/>
          </a:prstGeom>
        </p:spPr>
        <p:txBody>
          <a:bodyPr wrap="square" lIns="182880" tIns="146304" rIns="182880" bIns="146304"/>
          <a:lst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gradFill>
                  <a:gsLst>
                    <a:gs pos="1250">
                      <a:schemeClr val="tx1"/>
                    </a:gs>
                    <a:gs pos="100000">
                      <a:schemeClr val="tx1"/>
                    </a:gs>
                  </a:gsLst>
                  <a:lin ang="5400000" scaled="0"/>
                </a:gra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gradFill>
                  <a:gsLst>
                    <a:gs pos="1250">
                      <a:schemeClr val="tx1"/>
                    </a:gs>
                    <a:gs pos="100000">
                      <a:schemeClr val="tx1"/>
                    </a:gs>
                  </a:gsLst>
                  <a:lin ang="5400000" scaled="0"/>
                </a:gra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gradFill>
                  <a:gsLst>
                    <a:gs pos="1250">
                      <a:schemeClr val="tx1"/>
                    </a:gs>
                    <a:gs pos="100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defRPr/>
            </a:pPr>
            <a:r>
              <a:rPr kumimoji="0" lang="en-US" sz="2856" b="1" i="0" u="none" strike="noStrike" kern="1200" cap="none" spc="-70" normalizeH="0" baseline="0" noProof="0" dirty="0">
                <a:ln>
                  <a:noFill/>
                </a:ln>
                <a:gradFill>
                  <a:gsLst>
                    <a:gs pos="2655">
                      <a:srgbClr val="FFFFFF"/>
                    </a:gs>
                    <a:gs pos="26000">
                      <a:srgbClr val="FFFFFF"/>
                    </a:gs>
                  </a:gsLst>
                  <a:lin ang="5400000" scaled="0"/>
                </a:gradFill>
                <a:effectLst/>
                <a:uLnTx/>
                <a:uFillTx/>
                <a:latin typeface="+mn-lt"/>
                <a:ea typeface="+mn-ea"/>
                <a:cs typeface="+mn-cs"/>
              </a:rPr>
              <a:t>Photography and copyright infringement.</a:t>
            </a:r>
          </a:p>
          <a:p>
            <a:pPr marL="0" marR="0" lvl="0" indent="0" algn="l" defTabSz="914363" rtl="0" eaLnBrk="1" fontAlgn="auto" latinLnBrk="0" hangingPunct="1">
              <a:lnSpc>
                <a:spcPct val="90000"/>
              </a:lnSpc>
              <a:spcBef>
                <a:spcPts val="1836"/>
              </a:spcBef>
              <a:spcAft>
                <a:spcPts val="0"/>
              </a:spcAft>
              <a:buClrTx/>
              <a:buSzPct val="90000"/>
              <a:buFont typeface="Arial" pitchFamily="34" charset="0"/>
              <a:buNone/>
              <a:tabLst/>
              <a:defRPr/>
            </a:pPr>
            <a:r>
              <a:rPr kumimoji="0" lang="en-US" sz="2400" b="0" i="0" u="none" strike="noStrike" kern="1200" cap="none" spc="-70" normalizeH="0" baseline="0" noProof="0" dirty="0">
                <a:ln>
                  <a:noFill/>
                </a:ln>
                <a:gradFill>
                  <a:gsLst>
                    <a:gs pos="2655">
                      <a:srgbClr val="FFFFFF"/>
                    </a:gs>
                    <a:gs pos="26000">
                      <a:srgbClr val="FFFFFF"/>
                    </a:gs>
                  </a:gsLst>
                  <a:lin ang="5400000" scaled="0"/>
                </a:gradFill>
                <a:effectLst/>
                <a:uLnTx/>
                <a:uFillTx/>
                <a:latin typeface="+mn-lt"/>
                <a:ea typeface="+mn-ea"/>
                <a:cs typeface="+mn-cs"/>
              </a:rPr>
              <a:t>Using imagery from movies, television, music and pop-culture is illegal, unless purchased, licensed or by express written consent from the owner. Please </a:t>
            </a:r>
            <a:r>
              <a:rPr kumimoji="0" lang="en-US" sz="2400" b="0" i="0" u="none" strike="noStrike" kern="1200" cap="none" spc="-70" normalizeH="0" baseline="0" noProof="0" dirty="0">
                <a:ln>
                  <a:noFill/>
                </a:ln>
                <a:gradFill>
                  <a:gsLst>
                    <a:gs pos="79646">
                      <a:schemeClr val="accent5"/>
                    </a:gs>
                    <a:gs pos="70000">
                      <a:schemeClr val="accent5"/>
                    </a:gs>
                  </a:gsLst>
                  <a:lin ang="5400000" scaled="0"/>
                </a:gradFill>
                <a:effectLst/>
                <a:uLnTx/>
                <a:uFillTx/>
                <a:latin typeface="+mn-lt"/>
                <a:ea typeface="+mn-ea"/>
                <a:cs typeface="+mn-cs"/>
              </a:rPr>
              <a:t>do not include unlicensed imagery </a:t>
            </a:r>
            <a:r>
              <a:rPr kumimoji="0" lang="en-US" sz="2400" b="0" i="0" u="none" strike="noStrike" kern="1200" cap="none" spc="-70" normalizeH="0" baseline="0" noProof="0" dirty="0">
                <a:ln>
                  <a:noFill/>
                </a:ln>
                <a:gradFill>
                  <a:gsLst>
                    <a:gs pos="2655">
                      <a:srgbClr val="FFFFFF"/>
                    </a:gs>
                    <a:gs pos="26000">
                      <a:srgbClr val="FFFFFF"/>
                    </a:gs>
                  </a:gsLst>
                  <a:lin ang="5400000" scaled="0"/>
                </a:gradFill>
                <a:effectLst/>
                <a:uLnTx/>
                <a:uFillTx/>
                <a:latin typeface="+mn-lt"/>
                <a:ea typeface="+mn-ea"/>
                <a:cs typeface="+mn-cs"/>
              </a:rPr>
              <a:t>in your presentation. </a:t>
            </a:r>
          </a:p>
          <a:p>
            <a:pPr marL="0" marR="0" lvl="0" indent="0" algn="l" defTabSz="914363" rtl="0" eaLnBrk="1" fontAlgn="auto" latinLnBrk="0" hangingPunct="1">
              <a:lnSpc>
                <a:spcPct val="90000"/>
              </a:lnSpc>
              <a:spcBef>
                <a:spcPts val="1836"/>
              </a:spcBef>
              <a:spcAft>
                <a:spcPts val="0"/>
              </a:spcAft>
              <a:buClrTx/>
              <a:buSzPct val="90000"/>
              <a:buFont typeface="Arial" pitchFamily="34" charset="0"/>
              <a:buNone/>
              <a:tabLst/>
              <a:defRPr/>
            </a:pPr>
            <a:r>
              <a:rPr kumimoji="0" lang="en-US" sz="2400" b="0" i="0" u="none" strike="noStrike" kern="1200" cap="none" spc="-70" normalizeH="0" baseline="0" noProof="0" dirty="0">
                <a:ln>
                  <a:noFill/>
                </a:ln>
                <a:gradFill>
                  <a:gsLst>
                    <a:gs pos="2655">
                      <a:srgbClr val="FFFFFF"/>
                    </a:gs>
                    <a:gs pos="26000">
                      <a:srgbClr val="FFFFFF"/>
                    </a:gs>
                  </a:gsLst>
                  <a:lin ang="5400000" scaled="0"/>
                </a:gradFill>
                <a:effectLst/>
                <a:uLnTx/>
                <a:uFillTx/>
                <a:latin typeface="+mn-lt"/>
                <a:ea typeface="+mn-ea"/>
                <a:cs typeface="+mn-cs"/>
              </a:rPr>
              <a:t>Sessions with questionable imagery </a:t>
            </a:r>
            <a:r>
              <a:rPr kumimoji="0" lang="en-US" sz="2400" b="0" i="0" u="sng" strike="noStrike" kern="1200" cap="none" spc="-70" normalizeH="0" baseline="0" noProof="0" dirty="0">
                <a:ln>
                  <a:noFill/>
                </a:ln>
                <a:gradFill>
                  <a:gsLst>
                    <a:gs pos="79646">
                      <a:schemeClr val="accent5"/>
                    </a:gs>
                    <a:gs pos="70000">
                      <a:schemeClr val="accent5"/>
                    </a:gs>
                  </a:gsLst>
                  <a:lin ang="5400000" scaled="0"/>
                </a:gradFill>
                <a:effectLst/>
                <a:uLnTx/>
                <a:uFillTx/>
                <a:latin typeface="+mn-lt"/>
                <a:ea typeface="+mn-ea"/>
                <a:cs typeface="+mn-cs"/>
              </a:rPr>
              <a:t>will not be published</a:t>
            </a:r>
            <a:r>
              <a:rPr kumimoji="0" lang="en-US" sz="2400" b="0" i="0" u="none" strike="noStrike" kern="1200" cap="none" spc="-70" normalizeH="0" baseline="0" noProof="0" dirty="0">
                <a:ln>
                  <a:noFill/>
                </a:ln>
                <a:gradFill>
                  <a:gsLst>
                    <a:gs pos="79646">
                      <a:schemeClr val="accent5"/>
                    </a:gs>
                    <a:gs pos="70000">
                      <a:schemeClr val="accent5"/>
                    </a:gs>
                  </a:gsLst>
                  <a:lin ang="5400000" scaled="0"/>
                </a:gradFill>
                <a:effectLst/>
                <a:uLnTx/>
                <a:uFillTx/>
                <a:latin typeface="+mn-lt"/>
                <a:ea typeface="+mn-ea"/>
                <a:cs typeface="+mn-cs"/>
              </a:rPr>
              <a:t> </a:t>
            </a:r>
            <a:r>
              <a:rPr kumimoji="0" lang="en-US" sz="2400" b="0" i="0" u="none" strike="noStrike" kern="1200" cap="none" spc="-70" normalizeH="0" baseline="0" noProof="0" dirty="0">
                <a:ln>
                  <a:noFill/>
                </a:ln>
                <a:gradFill>
                  <a:gsLst>
                    <a:gs pos="2655">
                      <a:srgbClr val="FFFFFF"/>
                    </a:gs>
                    <a:gs pos="26000">
                      <a:srgbClr val="FFFFFF"/>
                    </a:gs>
                  </a:gsLst>
                  <a:lin ang="5400000" scaled="0"/>
                </a:gradFill>
                <a:effectLst/>
                <a:uLnTx/>
                <a:uFillTx/>
                <a:latin typeface="+mn-lt"/>
                <a:ea typeface="+mn-ea"/>
                <a:cs typeface="+mn-cs"/>
              </a:rPr>
              <a:t>until resolved. The speaker will be contacted via email for immediate resolution. If additional costs are incurred in editing, an I/O Code will be required. </a:t>
            </a:r>
          </a:p>
          <a:p>
            <a:pPr marL="0" marR="0" lvl="0" indent="0" algn="l" defTabSz="914363" rtl="0" eaLnBrk="1" fontAlgn="auto" latinLnBrk="0" hangingPunct="1">
              <a:lnSpc>
                <a:spcPct val="100000"/>
              </a:lnSpc>
              <a:spcBef>
                <a:spcPts val="0"/>
              </a:spcBef>
              <a:spcAft>
                <a:spcPts val="0"/>
              </a:spcAft>
              <a:buClrTx/>
              <a:buSzPct val="90000"/>
              <a:buFont typeface="Arial" pitchFamily="34" charset="0"/>
              <a:buNone/>
              <a:tabLst/>
              <a:defRPr/>
            </a:pPr>
            <a:endParaRPr kumimoji="0" lang="en-US" sz="2400" b="1" i="0" u="sng" strike="noStrike" kern="1200" cap="none" spc="-70" normalizeH="0" baseline="0" noProof="0" dirty="0">
              <a:ln>
                <a:noFill/>
              </a:ln>
              <a:gradFill>
                <a:gsLst>
                  <a:gs pos="2655">
                    <a:srgbClr val="FFFFFF"/>
                  </a:gs>
                  <a:gs pos="26000">
                    <a:srgbClr val="FFFFFF"/>
                  </a:gs>
                </a:gsLst>
                <a:lin ang="5400000" scaled="0"/>
              </a:gradFill>
              <a:effectLst/>
              <a:uLnTx/>
              <a:uFillTx/>
              <a:latin typeface="+mn-lt"/>
              <a:ea typeface="+mn-ea"/>
              <a:cs typeface="+mn-cs"/>
            </a:endParaRPr>
          </a:p>
          <a:p>
            <a:pPr marL="0" marR="0" lvl="0" indent="0" algn="l" defTabSz="914363" rtl="0" eaLnBrk="1" fontAlgn="auto" latinLnBrk="0" hangingPunct="1">
              <a:lnSpc>
                <a:spcPct val="100000"/>
              </a:lnSpc>
              <a:spcBef>
                <a:spcPts val="0"/>
              </a:spcBef>
              <a:spcAft>
                <a:spcPts val="0"/>
              </a:spcAft>
              <a:buClrTx/>
              <a:buSzPct val="90000"/>
              <a:buFont typeface="Arial" pitchFamily="34" charset="0"/>
              <a:buNone/>
              <a:tabLst/>
              <a:defRPr/>
            </a:pPr>
            <a:r>
              <a:rPr kumimoji="0" lang="en-US" sz="2400" b="0" i="0" u="none" strike="noStrike" kern="1200" cap="none" spc="-70" normalizeH="0" baseline="0" noProof="0" dirty="0">
                <a:ln>
                  <a:noFill/>
                </a:ln>
                <a:gradFill>
                  <a:gsLst>
                    <a:gs pos="2655">
                      <a:srgbClr val="FFFFFF"/>
                    </a:gs>
                    <a:gs pos="26000">
                      <a:srgbClr val="FFFFFF"/>
                    </a:gs>
                  </a:gsLst>
                  <a:lin ang="5400000" scaled="0"/>
                </a:gradFill>
                <a:effectLst/>
                <a:uLnTx/>
                <a:uFillTx/>
                <a:latin typeface="+mn-lt"/>
                <a:ea typeface="+mn-ea"/>
                <a:cs typeface="+mn-cs"/>
              </a:rPr>
              <a:t>If you have any questions regarding your imagery please contact </a:t>
            </a:r>
          </a:p>
          <a:p>
            <a:pPr marL="0" marR="0" lvl="0" indent="0" algn="l" defTabSz="914363" rtl="0" eaLnBrk="1" fontAlgn="auto" latinLnBrk="0" hangingPunct="1">
              <a:lnSpc>
                <a:spcPct val="100000"/>
              </a:lnSpc>
              <a:spcBef>
                <a:spcPts val="0"/>
              </a:spcBef>
              <a:spcAft>
                <a:spcPts val="0"/>
              </a:spcAft>
              <a:buClrTx/>
              <a:buSzPct val="90000"/>
              <a:buFont typeface="Arial" pitchFamily="34" charset="0"/>
              <a:buNone/>
              <a:tabLst/>
              <a:defRPr/>
            </a:pPr>
            <a:r>
              <a:rPr kumimoji="0" lang="en-US" sz="2400" b="0" i="0" u="none" strike="noStrike" kern="1200" cap="none" spc="-70" normalizeH="0" baseline="0" noProof="0" dirty="0">
                <a:ln>
                  <a:noFill/>
                </a:ln>
                <a:gradFill>
                  <a:gsLst>
                    <a:gs pos="2655">
                      <a:srgbClr val="FFFFFF"/>
                    </a:gs>
                    <a:gs pos="26000">
                      <a:srgbClr val="FFFFFF"/>
                    </a:gs>
                  </a:gsLst>
                  <a:lin ang="5400000" scaled="0"/>
                </a:gradFill>
                <a:effectLst/>
                <a:uLnTx/>
                <a:uFillTx/>
                <a:latin typeface="+mn-lt"/>
                <a:ea typeface="+mn-ea"/>
                <a:cs typeface="+mn-cs"/>
              </a:rPr>
              <a:t>Media Acquisitions Inquiries: </a:t>
            </a:r>
            <a:r>
              <a:rPr kumimoji="0" lang="en-US" sz="2400" b="0" i="0" u="none" strike="noStrike" kern="1200" cap="none" spc="-70" normalizeH="0" baseline="0" noProof="0" dirty="0">
                <a:ln>
                  <a:noFill/>
                </a:ln>
                <a:gradFill>
                  <a:gsLst>
                    <a:gs pos="2655">
                      <a:srgbClr val="FFFFFF"/>
                    </a:gs>
                    <a:gs pos="26000">
                      <a:srgbClr val="FFFFFF"/>
                    </a:gs>
                  </a:gsLst>
                  <a:lin ang="5400000" scaled="0"/>
                </a:gradFill>
                <a:effectLst/>
                <a:uLnTx/>
                <a:uFillTx/>
                <a:latin typeface="+mn-lt"/>
                <a:ea typeface="+mn-ea"/>
                <a:cs typeface="+mn-cs"/>
                <a:hlinkClick r:id="rId4"/>
              </a:rPr>
              <a:t>mediaacq@microsoft.com</a:t>
            </a:r>
            <a:r>
              <a:rPr kumimoji="0" lang="en-US" sz="2400" b="0" i="0" u="none" strike="noStrike" kern="1200" cap="none" spc="-70" normalizeH="0" baseline="0" noProof="0" dirty="0">
                <a:ln>
                  <a:noFill/>
                </a:ln>
                <a:gradFill>
                  <a:gsLst>
                    <a:gs pos="2655">
                      <a:srgbClr val="FFFFFF"/>
                    </a:gs>
                    <a:gs pos="26000">
                      <a:srgbClr val="FFFFFF"/>
                    </a:gs>
                  </a:gsLst>
                  <a:lin ang="5400000" scaled="0"/>
                </a:gradFill>
                <a:effectLst/>
                <a:uLnTx/>
                <a:uFillTx/>
                <a:latin typeface="+mn-lt"/>
                <a:ea typeface="+mn-ea"/>
                <a:cs typeface="+mn-cs"/>
              </a:rPr>
              <a:t>.</a:t>
            </a:r>
          </a:p>
          <a:p>
            <a:pPr marL="0" lvl="0" indent="0">
              <a:lnSpc>
                <a:spcPct val="100000"/>
              </a:lnSpc>
              <a:spcBef>
                <a:spcPts val="0"/>
              </a:spcBef>
              <a:buNone/>
              <a:defRPr/>
            </a:pPr>
            <a:r>
              <a:rPr lang="en-US" sz="2400" dirty="0">
                <a:gradFill>
                  <a:gsLst>
                    <a:gs pos="2655">
                      <a:srgbClr val="FFFFFF"/>
                    </a:gs>
                    <a:gs pos="26000">
                      <a:srgbClr val="FFFFFF"/>
                    </a:gs>
                  </a:gsLst>
                  <a:lin ang="5400000" scaled="0"/>
                </a:gradFill>
                <a:latin typeface="+mn-lt"/>
              </a:rPr>
              <a:t>Music Sound Video Acquisitions: </a:t>
            </a:r>
            <a:r>
              <a:rPr lang="en-US" sz="2400" dirty="0">
                <a:gradFill>
                  <a:gsLst>
                    <a:gs pos="2655">
                      <a:srgbClr val="FFFFFF"/>
                    </a:gs>
                    <a:gs pos="26000">
                      <a:srgbClr val="FFFFFF"/>
                    </a:gs>
                  </a:gsLst>
                  <a:lin ang="5400000" scaled="0"/>
                </a:gradFill>
                <a:latin typeface="+mn-lt"/>
                <a:hlinkClick r:id="rId5"/>
              </a:rPr>
              <a:t>musovid@microsoft.com</a:t>
            </a:r>
            <a:r>
              <a:rPr lang="en-US" sz="2400" dirty="0">
                <a:gradFill>
                  <a:gsLst>
                    <a:gs pos="2655">
                      <a:srgbClr val="FFFFFF"/>
                    </a:gs>
                    <a:gs pos="26000">
                      <a:srgbClr val="FFFFFF"/>
                    </a:gs>
                  </a:gsLst>
                  <a:lin ang="5400000" scaled="0"/>
                </a:gradFill>
                <a:latin typeface="+mn-lt"/>
              </a:rPr>
              <a:t>.  </a:t>
            </a:r>
            <a:endParaRPr kumimoji="0" lang="en-US" sz="2400" b="0" i="0" u="none" strike="noStrike" kern="1200" cap="none" spc="-70" normalizeH="0" baseline="0" noProof="0" dirty="0">
              <a:ln>
                <a:noFill/>
              </a:ln>
              <a:gradFill>
                <a:gsLst>
                  <a:gs pos="2655">
                    <a:srgbClr val="FFFFFF"/>
                  </a:gs>
                  <a:gs pos="26000">
                    <a:srgbClr val="FFFFFF"/>
                  </a:gs>
                </a:gsLst>
                <a:lin ang="5400000" scaled="0"/>
              </a:gradFill>
              <a:effectLst/>
              <a:uLnTx/>
              <a:uFillTx/>
              <a:latin typeface="+mn-lt"/>
              <a:ea typeface="+mn-ea"/>
              <a:cs typeface="+mn-cs"/>
            </a:endParaRPr>
          </a:p>
          <a:p>
            <a:pPr marL="0" marR="0" lvl="0" indent="0" algn="l" defTabSz="914363" rtl="0" eaLnBrk="1" fontAlgn="auto" latinLnBrk="0" hangingPunct="1">
              <a:lnSpc>
                <a:spcPct val="100000"/>
              </a:lnSpc>
              <a:spcBef>
                <a:spcPts val="0"/>
              </a:spcBef>
              <a:spcAft>
                <a:spcPts val="0"/>
              </a:spcAft>
              <a:buClrTx/>
              <a:buSzPct val="90000"/>
              <a:buFont typeface="Arial" pitchFamily="34" charset="0"/>
              <a:buNone/>
              <a:tabLst/>
              <a:defRPr/>
            </a:pPr>
            <a:endParaRPr kumimoji="0" lang="en-US" sz="2400" b="1" i="0" u="sng" strike="noStrike" kern="1200" cap="none" spc="-70" normalizeH="0" baseline="0" noProof="0" dirty="0">
              <a:ln>
                <a:noFill/>
              </a:ln>
              <a:gradFill>
                <a:gsLst>
                  <a:gs pos="2655">
                    <a:srgbClr val="FFFFFF"/>
                  </a:gs>
                  <a:gs pos="26000">
                    <a:srgbClr val="FFFFFF"/>
                  </a:gs>
                </a:gsLst>
                <a:lin ang="5400000" scaled="0"/>
              </a:gradFill>
              <a:effectLst/>
              <a:uLnTx/>
              <a:uFillTx/>
              <a:latin typeface="+mn-lt"/>
              <a:ea typeface="+mn-ea"/>
              <a:cs typeface="+mn-cs"/>
            </a:endParaRPr>
          </a:p>
          <a:p>
            <a:pPr marL="0" marR="0" lvl="0" indent="0" algn="l" defTabSz="914363" rtl="0" eaLnBrk="1" fontAlgn="auto" latinLnBrk="0" hangingPunct="1">
              <a:lnSpc>
                <a:spcPct val="100000"/>
              </a:lnSpc>
              <a:spcBef>
                <a:spcPts val="0"/>
              </a:spcBef>
              <a:spcAft>
                <a:spcPts val="0"/>
              </a:spcAft>
              <a:buClrTx/>
              <a:buSzPct val="90000"/>
              <a:buFont typeface="Arial" pitchFamily="34" charset="0"/>
              <a:buNone/>
              <a:tabLst/>
              <a:defRPr/>
            </a:pPr>
            <a:r>
              <a:rPr kumimoji="0" lang="en-US" sz="2400" b="1" i="0" u="sng" strike="noStrike" kern="1200" cap="none" spc="-70" normalizeH="0" baseline="0" noProof="0" dirty="0">
                <a:ln>
                  <a:noFill/>
                </a:ln>
                <a:gradFill>
                  <a:gsLst>
                    <a:gs pos="2655">
                      <a:srgbClr val="FFFFFF"/>
                    </a:gs>
                    <a:gs pos="26000">
                      <a:srgbClr val="FFFFFF"/>
                    </a:gs>
                  </a:gsLst>
                  <a:lin ang="5400000" scaled="0"/>
                </a:gradFill>
                <a:effectLst/>
                <a:uLnTx/>
                <a:uFillTx/>
                <a:latin typeface="+mn-lt"/>
                <a:ea typeface="+mn-ea"/>
                <a:cs typeface="+mn-cs"/>
              </a:rPr>
              <a:t>The PPT deck and Recording </a:t>
            </a:r>
            <a:r>
              <a:rPr kumimoji="0" lang="en-US" sz="2400" b="1" i="0" u="sng" strike="noStrike" kern="1200" cap="none" spc="-70" normalizeH="0" baseline="0" noProof="0" dirty="0">
                <a:ln>
                  <a:noFill/>
                </a:ln>
                <a:gradFill>
                  <a:gsLst>
                    <a:gs pos="79646">
                      <a:schemeClr val="accent5"/>
                    </a:gs>
                    <a:gs pos="70000">
                      <a:schemeClr val="accent5"/>
                    </a:gs>
                  </a:gsLst>
                  <a:lin ang="5400000" scaled="0"/>
                </a:gradFill>
                <a:effectLst/>
                <a:uLnTx/>
                <a:uFillTx/>
                <a:latin typeface="+mn-lt"/>
                <a:ea typeface="+mn-ea"/>
                <a:cs typeface="+mn-cs"/>
              </a:rPr>
              <a:t>will not be published </a:t>
            </a:r>
            <a:r>
              <a:rPr kumimoji="0" lang="en-US" sz="2400" b="1" i="0" u="sng" strike="noStrike" kern="1200" cap="none" spc="-70" normalizeH="0" baseline="0" noProof="0" dirty="0">
                <a:ln>
                  <a:noFill/>
                </a:ln>
                <a:gradFill>
                  <a:gsLst>
                    <a:gs pos="2655">
                      <a:srgbClr val="FFFFFF"/>
                    </a:gs>
                    <a:gs pos="26000">
                      <a:srgbClr val="FFFFFF"/>
                    </a:gs>
                  </a:gsLst>
                  <a:lin ang="5400000" scaled="0"/>
                </a:gradFill>
                <a:effectLst/>
                <a:uLnTx/>
                <a:uFillTx/>
                <a:latin typeface="+mn-lt"/>
                <a:ea typeface="+mn-ea"/>
                <a:cs typeface="+mn-cs"/>
              </a:rPr>
              <a:t>until the editing is complete.</a:t>
            </a:r>
          </a:p>
        </p:txBody>
      </p:sp>
      <p:sp>
        <p:nvSpPr>
          <p:cNvPr id="5" name="Freeform 82"/>
          <p:cNvSpPr>
            <a:spLocks noEditPoints="1"/>
          </p:cNvSpPr>
          <p:nvPr/>
        </p:nvSpPr>
        <p:spPr bwMode="auto">
          <a:xfrm>
            <a:off x="9692919" y="4210790"/>
            <a:ext cx="2276563" cy="1877272"/>
          </a:xfrm>
          <a:custGeom>
            <a:avLst/>
            <a:gdLst>
              <a:gd name="T0" fmla="*/ 873 w 946"/>
              <a:gd name="T1" fmla="*/ 780 h 780"/>
              <a:gd name="T2" fmla="*/ 73 w 946"/>
              <a:gd name="T3" fmla="*/ 780 h 780"/>
              <a:gd name="T4" fmla="*/ 12 w 946"/>
              <a:gd name="T5" fmla="*/ 745 h 780"/>
              <a:gd name="T6" fmla="*/ 16 w 946"/>
              <a:gd name="T7" fmla="*/ 675 h 780"/>
              <a:gd name="T8" fmla="*/ 414 w 946"/>
              <a:gd name="T9" fmla="*/ 33 h 780"/>
              <a:gd name="T10" fmla="*/ 414 w 946"/>
              <a:gd name="T11" fmla="*/ 32 h 780"/>
              <a:gd name="T12" fmla="*/ 473 w 946"/>
              <a:gd name="T13" fmla="*/ 0 h 780"/>
              <a:gd name="T14" fmla="*/ 532 w 946"/>
              <a:gd name="T15" fmla="*/ 32 h 780"/>
              <a:gd name="T16" fmla="*/ 533 w 946"/>
              <a:gd name="T17" fmla="*/ 34 h 780"/>
              <a:gd name="T18" fmla="*/ 930 w 946"/>
              <a:gd name="T19" fmla="*/ 675 h 780"/>
              <a:gd name="T20" fmla="*/ 934 w 946"/>
              <a:gd name="T21" fmla="*/ 745 h 780"/>
              <a:gd name="T22" fmla="*/ 873 w 946"/>
              <a:gd name="T23" fmla="*/ 780 h 780"/>
              <a:gd name="T24" fmla="*/ 154 w 946"/>
              <a:gd name="T25" fmla="*/ 667 h 780"/>
              <a:gd name="T26" fmla="*/ 792 w 946"/>
              <a:gd name="T27" fmla="*/ 667 h 780"/>
              <a:gd name="T28" fmla="*/ 473 w 946"/>
              <a:gd name="T29" fmla="*/ 152 h 780"/>
              <a:gd name="T30" fmla="*/ 154 w 946"/>
              <a:gd name="T31" fmla="*/ 667 h 780"/>
              <a:gd name="T32" fmla="*/ 531 w 946"/>
              <a:gd name="T33" fmla="*/ 347 h 780"/>
              <a:gd name="T34" fmla="*/ 415 w 946"/>
              <a:gd name="T35" fmla="*/ 347 h 780"/>
              <a:gd name="T36" fmla="*/ 437 w 946"/>
              <a:gd name="T37" fmla="*/ 534 h 780"/>
              <a:gd name="T38" fmla="*/ 509 w 946"/>
              <a:gd name="T39" fmla="*/ 534 h 780"/>
              <a:gd name="T40" fmla="*/ 531 w 946"/>
              <a:gd name="T41" fmla="*/ 347 h 780"/>
              <a:gd name="T42" fmla="*/ 509 w 946"/>
              <a:gd name="T43" fmla="*/ 554 h 780"/>
              <a:gd name="T44" fmla="*/ 437 w 946"/>
              <a:gd name="T45" fmla="*/ 554 h 780"/>
              <a:gd name="T46" fmla="*/ 437 w 946"/>
              <a:gd name="T47" fmla="*/ 622 h 780"/>
              <a:gd name="T48" fmla="*/ 509 w 946"/>
              <a:gd name="T49" fmla="*/ 622 h 780"/>
              <a:gd name="T50" fmla="*/ 509 w 946"/>
              <a:gd name="T51" fmla="*/ 554 h 7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46" h="780">
                <a:moveTo>
                  <a:pt x="873" y="780"/>
                </a:moveTo>
                <a:cubicBezTo>
                  <a:pt x="73" y="780"/>
                  <a:pt x="73" y="780"/>
                  <a:pt x="73" y="780"/>
                </a:cubicBezTo>
                <a:cubicBezTo>
                  <a:pt x="46" y="780"/>
                  <a:pt x="24" y="767"/>
                  <a:pt x="12" y="745"/>
                </a:cubicBezTo>
                <a:cubicBezTo>
                  <a:pt x="0" y="723"/>
                  <a:pt x="2" y="697"/>
                  <a:pt x="16" y="675"/>
                </a:cubicBezTo>
                <a:cubicBezTo>
                  <a:pt x="414" y="33"/>
                  <a:pt x="414" y="33"/>
                  <a:pt x="414" y="33"/>
                </a:cubicBezTo>
                <a:cubicBezTo>
                  <a:pt x="414" y="32"/>
                  <a:pt x="414" y="32"/>
                  <a:pt x="414" y="32"/>
                </a:cubicBezTo>
                <a:cubicBezTo>
                  <a:pt x="428" y="12"/>
                  <a:pt x="450" y="0"/>
                  <a:pt x="473" y="0"/>
                </a:cubicBezTo>
                <a:cubicBezTo>
                  <a:pt x="496" y="0"/>
                  <a:pt x="518" y="12"/>
                  <a:pt x="532" y="32"/>
                </a:cubicBezTo>
                <a:cubicBezTo>
                  <a:pt x="533" y="34"/>
                  <a:pt x="533" y="34"/>
                  <a:pt x="533" y="34"/>
                </a:cubicBezTo>
                <a:cubicBezTo>
                  <a:pt x="930" y="675"/>
                  <a:pt x="930" y="675"/>
                  <a:pt x="930" y="675"/>
                </a:cubicBezTo>
                <a:cubicBezTo>
                  <a:pt x="944" y="697"/>
                  <a:pt x="946" y="723"/>
                  <a:pt x="934" y="745"/>
                </a:cubicBezTo>
                <a:cubicBezTo>
                  <a:pt x="922" y="767"/>
                  <a:pt x="900" y="780"/>
                  <a:pt x="873" y="780"/>
                </a:cubicBezTo>
                <a:close/>
                <a:moveTo>
                  <a:pt x="154" y="667"/>
                </a:moveTo>
                <a:cubicBezTo>
                  <a:pt x="792" y="667"/>
                  <a:pt x="792" y="667"/>
                  <a:pt x="792" y="667"/>
                </a:cubicBezTo>
                <a:cubicBezTo>
                  <a:pt x="473" y="152"/>
                  <a:pt x="473" y="152"/>
                  <a:pt x="473" y="152"/>
                </a:cubicBezTo>
                <a:lnTo>
                  <a:pt x="154" y="667"/>
                </a:lnTo>
                <a:close/>
                <a:moveTo>
                  <a:pt x="531" y="347"/>
                </a:moveTo>
                <a:cubicBezTo>
                  <a:pt x="415" y="347"/>
                  <a:pt x="415" y="347"/>
                  <a:pt x="415" y="347"/>
                </a:cubicBezTo>
                <a:cubicBezTo>
                  <a:pt x="437" y="534"/>
                  <a:pt x="437" y="534"/>
                  <a:pt x="437" y="534"/>
                </a:cubicBezTo>
                <a:cubicBezTo>
                  <a:pt x="509" y="534"/>
                  <a:pt x="509" y="534"/>
                  <a:pt x="509" y="534"/>
                </a:cubicBezTo>
                <a:lnTo>
                  <a:pt x="531" y="347"/>
                </a:lnTo>
                <a:close/>
                <a:moveTo>
                  <a:pt x="509" y="554"/>
                </a:moveTo>
                <a:cubicBezTo>
                  <a:pt x="437" y="554"/>
                  <a:pt x="437" y="554"/>
                  <a:pt x="437" y="554"/>
                </a:cubicBezTo>
                <a:cubicBezTo>
                  <a:pt x="437" y="622"/>
                  <a:pt x="437" y="622"/>
                  <a:pt x="437" y="622"/>
                </a:cubicBezTo>
                <a:cubicBezTo>
                  <a:pt x="509" y="622"/>
                  <a:pt x="509" y="622"/>
                  <a:pt x="509" y="622"/>
                </a:cubicBezTo>
                <a:lnTo>
                  <a:pt x="509" y="554"/>
                </a:lnTo>
                <a:close/>
              </a:path>
            </a:pathLst>
          </a:custGeom>
          <a:solidFill>
            <a:schemeClr val="accent5"/>
          </a:solidFill>
          <a:ln>
            <a:noFill/>
          </a:ln>
        </p:spPr>
        <p:txBody>
          <a:bodyPr vert="horz" wrap="square" lIns="93260" tIns="46630" rIns="93260" bIns="4663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chemeClr val="accent5"/>
              </a:solidFill>
              <a:effectLst/>
              <a:uLnTx/>
              <a:uFillTx/>
            </a:endParaRPr>
          </a:p>
        </p:txBody>
      </p:sp>
    </p:spTree>
    <p:extLst>
      <p:ext uri="{BB962C8B-B14F-4D97-AF65-F5344CB8AC3E}">
        <p14:creationId xmlns:p14="http://schemas.microsoft.com/office/powerpoint/2010/main" val="5049379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1.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 name="Rectangle 3"/>
          <p:cNvSpPr/>
          <p:nvPr/>
        </p:nvSpPr>
        <p:spPr>
          <a:xfrm>
            <a:off x="0" y="0"/>
            <a:ext cx="4198937" cy="699452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prstClr val="white"/>
              </a:solidFill>
              <a:effectLst/>
              <a:uLnTx/>
              <a:uFillTx/>
            </a:endParaRPr>
          </a:p>
        </p:txBody>
      </p:sp>
      <p:sp>
        <p:nvSpPr>
          <p:cNvPr id="5" name="Freeform 4"/>
          <p:cNvSpPr>
            <a:spLocks noEditPoints="1"/>
          </p:cNvSpPr>
          <p:nvPr/>
        </p:nvSpPr>
        <p:spPr bwMode="auto">
          <a:xfrm>
            <a:off x="-601663" y="-541338"/>
            <a:ext cx="4234680" cy="4227381"/>
          </a:xfrm>
          <a:custGeom>
            <a:avLst/>
            <a:gdLst>
              <a:gd name="T0" fmla="*/ 122 w 245"/>
              <a:gd name="T1" fmla="*/ 242 h 242"/>
              <a:gd name="T2" fmla="*/ 35 w 245"/>
              <a:gd name="T3" fmla="*/ 207 h 242"/>
              <a:gd name="T4" fmla="*/ 0 w 245"/>
              <a:gd name="T5" fmla="*/ 121 h 242"/>
              <a:gd name="T6" fmla="*/ 35 w 245"/>
              <a:gd name="T7" fmla="*/ 36 h 242"/>
              <a:gd name="T8" fmla="*/ 122 w 245"/>
              <a:gd name="T9" fmla="*/ 0 h 242"/>
              <a:gd name="T10" fmla="*/ 209 w 245"/>
              <a:gd name="T11" fmla="*/ 36 h 242"/>
              <a:gd name="T12" fmla="*/ 245 w 245"/>
              <a:gd name="T13" fmla="*/ 121 h 242"/>
              <a:gd name="T14" fmla="*/ 209 w 245"/>
              <a:gd name="T15" fmla="*/ 207 h 242"/>
              <a:gd name="T16" fmla="*/ 122 w 245"/>
              <a:gd name="T17" fmla="*/ 242 h 242"/>
              <a:gd name="T18" fmla="*/ 122 w 245"/>
              <a:gd name="T19" fmla="*/ 16 h 242"/>
              <a:gd name="T20" fmla="*/ 48 w 245"/>
              <a:gd name="T21" fmla="*/ 47 h 242"/>
              <a:gd name="T22" fmla="*/ 17 w 245"/>
              <a:gd name="T23" fmla="*/ 121 h 242"/>
              <a:gd name="T24" fmla="*/ 48 w 245"/>
              <a:gd name="T25" fmla="*/ 195 h 242"/>
              <a:gd name="T26" fmla="*/ 122 w 245"/>
              <a:gd name="T27" fmla="*/ 226 h 242"/>
              <a:gd name="T28" fmla="*/ 197 w 245"/>
              <a:gd name="T29" fmla="*/ 195 h 242"/>
              <a:gd name="T30" fmla="*/ 227 w 245"/>
              <a:gd name="T31" fmla="*/ 121 h 242"/>
              <a:gd name="T32" fmla="*/ 197 w 245"/>
              <a:gd name="T33" fmla="*/ 47 h 242"/>
              <a:gd name="T34" fmla="*/ 122 w 245"/>
              <a:gd name="T35" fmla="*/ 16 h 242"/>
              <a:gd name="T36" fmla="*/ 171 w 245"/>
              <a:gd name="T37" fmla="*/ 193 h 242"/>
              <a:gd name="T38" fmla="*/ 128 w 245"/>
              <a:gd name="T39" fmla="*/ 203 h 242"/>
              <a:gd name="T40" fmla="*/ 71 w 245"/>
              <a:gd name="T41" fmla="*/ 181 h 242"/>
              <a:gd name="T42" fmla="*/ 48 w 245"/>
              <a:gd name="T43" fmla="*/ 125 h 242"/>
              <a:gd name="T44" fmla="*/ 72 w 245"/>
              <a:gd name="T45" fmla="*/ 63 h 242"/>
              <a:gd name="T46" fmla="*/ 132 w 245"/>
              <a:gd name="T47" fmla="*/ 40 h 242"/>
              <a:gd name="T48" fmla="*/ 170 w 245"/>
              <a:gd name="T49" fmla="*/ 48 h 242"/>
              <a:gd name="T50" fmla="*/ 170 w 245"/>
              <a:gd name="T51" fmla="*/ 79 h 242"/>
              <a:gd name="T52" fmla="*/ 132 w 245"/>
              <a:gd name="T53" fmla="*/ 67 h 242"/>
              <a:gd name="T54" fmla="*/ 94 w 245"/>
              <a:gd name="T55" fmla="*/ 82 h 242"/>
              <a:gd name="T56" fmla="*/ 79 w 245"/>
              <a:gd name="T57" fmla="*/ 122 h 242"/>
              <a:gd name="T58" fmla="*/ 94 w 245"/>
              <a:gd name="T59" fmla="*/ 162 h 242"/>
              <a:gd name="T60" fmla="*/ 134 w 245"/>
              <a:gd name="T61" fmla="*/ 177 h 242"/>
              <a:gd name="T62" fmla="*/ 171 w 245"/>
              <a:gd name="T63" fmla="*/ 164 h 242"/>
              <a:gd name="T64" fmla="*/ 171 w 245"/>
              <a:gd name="T65" fmla="*/ 193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5" h="242">
                <a:moveTo>
                  <a:pt x="122" y="242"/>
                </a:moveTo>
                <a:cubicBezTo>
                  <a:pt x="88" y="242"/>
                  <a:pt x="59" y="230"/>
                  <a:pt x="35" y="207"/>
                </a:cubicBezTo>
                <a:cubicBezTo>
                  <a:pt x="12" y="183"/>
                  <a:pt x="0" y="155"/>
                  <a:pt x="0" y="121"/>
                </a:cubicBezTo>
                <a:cubicBezTo>
                  <a:pt x="0" y="88"/>
                  <a:pt x="12" y="59"/>
                  <a:pt x="35" y="36"/>
                </a:cubicBezTo>
                <a:cubicBezTo>
                  <a:pt x="59" y="12"/>
                  <a:pt x="88" y="0"/>
                  <a:pt x="122" y="0"/>
                </a:cubicBezTo>
                <a:cubicBezTo>
                  <a:pt x="156" y="0"/>
                  <a:pt x="185" y="12"/>
                  <a:pt x="209" y="36"/>
                </a:cubicBezTo>
                <a:cubicBezTo>
                  <a:pt x="233" y="59"/>
                  <a:pt x="245" y="88"/>
                  <a:pt x="245" y="121"/>
                </a:cubicBezTo>
                <a:cubicBezTo>
                  <a:pt x="245" y="155"/>
                  <a:pt x="233" y="183"/>
                  <a:pt x="209" y="207"/>
                </a:cubicBezTo>
                <a:cubicBezTo>
                  <a:pt x="185" y="230"/>
                  <a:pt x="156" y="242"/>
                  <a:pt x="122" y="242"/>
                </a:cubicBezTo>
                <a:close/>
                <a:moveTo>
                  <a:pt x="122" y="16"/>
                </a:moveTo>
                <a:cubicBezTo>
                  <a:pt x="93" y="16"/>
                  <a:pt x="68" y="27"/>
                  <a:pt x="48" y="47"/>
                </a:cubicBezTo>
                <a:cubicBezTo>
                  <a:pt x="27" y="68"/>
                  <a:pt x="17" y="92"/>
                  <a:pt x="17" y="121"/>
                </a:cubicBezTo>
                <a:cubicBezTo>
                  <a:pt x="17" y="150"/>
                  <a:pt x="27" y="175"/>
                  <a:pt x="48" y="195"/>
                </a:cubicBezTo>
                <a:cubicBezTo>
                  <a:pt x="68" y="216"/>
                  <a:pt x="93" y="226"/>
                  <a:pt x="122" y="226"/>
                </a:cubicBezTo>
                <a:cubicBezTo>
                  <a:pt x="151" y="226"/>
                  <a:pt x="176" y="216"/>
                  <a:pt x="197" y="195"/>
                </a:cubicBezTo>
                <a:cubicBezTo>
                  <a:pt x="217" y="175"/>
                  <a:pt x="227" y="150"/>
                  <a:pt x="227" y="121"/>
                </a:cubicBezTo>
                <a:cubicBezTo>
                  <a:pt x="227" y="92"/>
                  <a:pt x="217" y="68"/>
                  <a:pt x="197" y="47"/>
                </a:cubicBezTo>
                <a:cubicBezTo>
                  <a:pt x="176" y="27"/>
                  <a:pt x="151" y="16"/>
                  <a:pt x="122" y="16"/>
                </a:cubicBezTo>
                <a:close/>
                <a:moveTo>
                  <a:pt x="171" y="193"/>
                </a:moveTo>
                <a:cubicBezTo>
                  <a:pt x="159" y="200"/>
                  <a:pt x="144" y="203"/>
                  <a:pt x="128" y="203"/>
                </a:cubicBezTo>
                <a:cubicBezTo>
                  <a:pt x="105" y="203"/>
                  <a:pt x="86" y="196"/>
                  <a:pt x="71" y="181"/>
                </a:cubicBezTo>
                <a:cubicBezTo>
                  <a:pt x="56" y="166"/>
                  <a:pt x="48" y="148"/>
                  <a:pt x="48" y="125"/>
                </a:cubicBezTo>
                <a:cubicBezTo>
                  <a:pt x="48" y="99"/>
                  <a:pt x="56" y="78"/>
                  <a:pt x="72" y="63"/>
                </a:cubicBezTo>
                <a:cubicBezTo>
                  <a:pt x="87" y="47"/>
                  <a:pt x="107" y="40"/>
                  <a:pt x="132" y="40"/>
                </a:cubicBezTo>
                <a:cubicBezTo>
                  <a:pt x="147" y="40"/>
                  <a:pt x="159" y="42"/>
                  <a:pt x="170" y="48"/>
                </a:cubicBezTo>
                <a:cubicBezTo>
                  <a:pt x="170" y="79"/>
                  <a:pt x="170" y="79"/>
                  <a:pt x="170" y="79"/>
                </a:cubicBezTo>
                <a:cubicBezTo>
                  <a:pt x="161" y="71"/>
                  <a:pt x="148" y="67"/>
                  <a:pt x="132" y="67"/>
                </a:cubicBezTo>
                <a:cubicBezTo>
                  <a:pt x="117" y="67"/>
                  <a:pt x="104" y="72"/>
                  <a:pt x="94" y="82"/>
                </a:cubicBezTo>
                <a:cubicBezTo>
                  <a:pt x="84" y="92"/>
                  <a:pt x="79" y="106"/>
                  <a:pt x="79" y="122"/>
                </a:cubicBezTo>
                <a:cubicBezTo>
                  <a:pt x="79" y="139"/>
                  <a:pt x="84" y="152"/>
                  <a:pt x="94" y="162"/>
                </a:cubicBezTo>
                <a:cubicBezTo>
                  <a:pt x="105" y="172"/>
                  <a:pt x="118" y="177"/>
                  <a:pt x="134" y="177"/>
                </a:cubicBezTo>
                <a:cubicBezTo>
                  <a:pt x="148" y="177"/>
                  <a:pt x="161" y="173"/>
                  <a:pt x="171" y="164"/>
                </a:cubicBezTo>
                <a:lnTo>
                  <a:pt x="171" y="193"/>
                </a:lnTo>
                <a:close/>
              </a:path>
            </a:pathLst>
          </a:custGeom>
          <a:solidFill>
            <a:schemeClr val="bg1">
              <a:alpha val="6000"/>
            </a:schemeClr>
          </a:solidFill>
          <a:ln>
            <a:noFill/>
          </a:ln>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prstClr val="black"/>
              </a:solidFill>
              <a:effectLst/>
              <a:uLnTx/>
              <a:uFillTx/>
            </a:endParaRPr>
          </a:p>
        </p:txBody>
      </p:sp>
      <p:sp>
        <p:nvSpPr>
          <p:cNvPr id="16" name="TextBox 15"/>
          <p:cNvSpPr txBox="1"/>
          <p:nvPr/>
        </p:nvSpPr>
        <p:spPr>
          <a:xfrm>
            <a:off x="4118144" y="196358"/>
            <a:ext cx="8043694" cy="6358664"/>
          </a:xfrm>
          <a:prstGeom prst="rect">
            <a:avLst/>
          </a:prstGeom>
          <a:noFill/>
        </p:spPr>
        <p:txBody>
          <a:bodyPr wrap="square" lIns="182880" tIns="146304" rIns="182880" bIns="146304" rtlCol="0">
            <a:spAutoFit/>
          </a:bodyPr>
          <a:lstStyle/>
          <a:p>
            <a:pPr marL="749300" marR="0" lvl="0" indent="-457200" defTabSz="932688" eaLnBrk="1" fontAlgn="auto" latinLnBrk="0" hangingPunct="1">
              <a:lnSpc>
                <a:spcPct val="100000"/>
              </a:lnSpc>
              <a:spcBef>
                <a:spcPts val="600"/>
              </a:spcBef>
              <a:spcAft>
                <a:spcPts val="0"/>
              </a:spcAft>
              <a:buClrTx/>
              <a:buSzTx/>
              <a:buFont typeface="Wingdings" panose="05000000000000000000" pitchFamily="2" charset="2"/>
              <a:buChar char="§"/>
              <a:tabLst/>
              <a:defRPr/>
            </a:pPr>
            <a:r>
              <a:rPr kumimoji="0" lang="en-US" sz="2600" b="0" i="0" u="none" strike="noStrike" kern="0" cap="none" spc="0" normalizeH="0" baseline="0" noProof="0" dirty="0">
                <a:ln>
                  <a:noFill/>
                </a:ln>
                <a:gradFill>
                  <a:gsLst>
                    <a:gs pos="12389">
                      <a:schemeClr val="bg1"/>
                    </a:gs>
                    <a:gs pos="35000">
                      <a:schemeClr val="bg1"/>
                    </a:gs>
                  </a:gsLst>
                  <a:lin ang="5400000" scaled="1"/>
                </a:gradFill>
                <a:effectLst/>
                <a:uLnTx/>
                <a:uFillTx/>
                <a:latin typeface="Segoe UI" panose="020B0502040204020203" pitchFamily="34" charset="0"/>
                <a:cs typeface="Segoe UI" panose="020B0502040204020203" pitchFamily="34" charset="0"/>
              </a:rPr>
              <a:t>If an image is on the Internet/Bing it is in the public domain. </a:t>
            </a:r>
          </a:p>
          <a:p>
            <a:pPr marL="749300" marR="0" lvl="0" indent="-457200" defTabSz="932688" eaLnBrk="1" fontAlgn="auto" latinLnBrk="0" hangingPunct="1">
              <a:lnSpc>
                <a:spcPct val="100000"/>
              </a:lnSpc>
              <a:spcBef>
                <a:spcPts val="600"/>
              </a:spcBef>
              <a:spcAft>
                <a:spcPts val="0"/>
              </a:spcAft>
              <a:buClrTx/>
              <a:buSzTx/>
              <a:buFont typeface="Wingdings" panose="05000000000000000000" pitchFamily="2" charset="2"/>
              <a:buChar char="§"/>
              <a:tabLst/>
              <a:defRPr/>
            </a:pPr>
            <a:r>
              <a:rPr kumimoji="0" lang="en-US" sz="2600" b="0" i="0" u="none" strike="noStrike" kern="0" cap="none" spc="0" normalizeH="0" baseline="0" noProof="0" dirty="0">
                <a:ln>
                  <a:noFill/>
                </a:ln>
                <a:gradFill>
                  <a:gsLst>
                    <a:gs pos="12389">
                      <a:schemeClr val="bg1"/>
                    </a:gs>
                    <a:gs pos="35000">
                      <a:schemeClr val="bg1"/>
                    </a:gs>
                  </a:gsLst>
                  <a:lin ang="5400000" scaled="1"/>
                </a:gradFill>
                <a:effectLst/>
                <a:uLnTx/>
                <a:uFillTx/>
                <a:latin typeface="Segoe UI" panose="020B0502040204020203" pitchFamily="34" charset="0"/>
                <a:cs typeface="Segoe UI" panose="020B0502040204020203" pitchFamily="34" charset="0"/>
              </a:rPr>
              <a:t>If there is no copyright notice on the image, </a:t>
            </a:r>
            <a:br>
              <a:rPr kumimoji="0" lang="en-US" sz="2600" b="0" i="0" u="none" strike="noStrike" kern="0" cap="none" spc="0" normalizeH="0" baseline="0" noProof="0" dirty="0">
                <a:ln>
                  <a:noFill/>
                </a:ln>
                <a:gradFill>
                  <a:gsLst>
                    <a:gs pos="12389">
                      <a:schemeClr val="bg1"/>
                    </a:gs>
                    <a:gs pos="35000">
                      <a:schemeClr val="bg1"/>
                    </a:gs>
                  </a:gsLst>
                  <a:lin ang="5400000" scaled="1"/>
                </a:gradFill>
                <a:effectLst/>
                <a:uLnTx/>
                <a:uFillTx/>
                <a:latin typeface="Segoe UI" panose="020B0502040204020203" pitchFamily="34" charset="0"/>
                <a:cs typeface="Segoe UI" panose="020B0502040204020203" pitchFamily="34" charset="0"/>
              </a:rPr>
            </a:br>
            <a:r>
              <a:rPr kumimoji="0" lang="en-US" sz="2600" b="0" i="0" u="none" strike="noStrike" kern="0" cap="none" spc="0" normalizeH="0" baseline="0" noProof="0" dirty="0">
                <a:ln>
                  <a:noFill/>
                </a:ln>
                <a:gradFill>
                  <a:gsLst>
                    <a:gs pos="12389">
                      <a:schemeClr val="bg1"/>
                    </a:gs>
                    <a:gs pos="35000">
                      <a:schemeClr val="bg1"/>
                    </a:gs>
                  </a:gsLst>
                  <a:lin ang="5400000" scaled="1"/>
                </a:gradFill>
                <a:effectLst/>
                <a:uLnTx/>
                <a:uFillTx/>
                <a:latin typeface="Segoe UI" panose="020B0502040204020203" pitchFamily="34" charset="0"/>
                <a:cs typeface="Segoe UI" panose="020B0502040204020203" pitchFamily="34" charset="0"/>
              </a:rPr>
              <a:t>I don’t need permission.</a:t>
            </a:r>
          </a:p>
          <a:p>
            <a:pPr marL="749300" marR="0" lvl="0" indent="-457200" defTabSz="932688" eaLnBrk="1" fontAlgn="auto" latinLnBrk="0" hangingPunct="1">
              <a:lnSpc>
                <a:spcPct val="100000"/>
              </a:lnSpc>
              <a:spcBef>
                <a:spcPts val="600"/>
              </a:spcBef>
              <a:spcAft>
                <a:spcPts val="0"/>
              </a:spcAft>
              <a:buClrTx/>
              <a:buSzTx/>
              <a:buFont typeface="Wingdings" panose="05000000000000000000" pitchFamily="2" charset="2"/>
              <a:buChar char="§"/>
              <a:tabLst/>
              <a:defRPr/>
            </a:pPr>
            <a:r>
              <a:rPr kumimoji="0" lang="en-US" sz="2600" b="0" i="0" u="none" strike="noStrike" kern="0" cap="none" spc="0" normalizeH="0" baseline="0" noProof="0" dirty="0">
                <a:ln>
                  <a:noFill/>
                </a:ln>
                <a:gradFill>
                  <a:gsLst>
                    <a:gs pos="12389">
                      <a:schemeClr val="bg1"/>
                    </a:gs>
                    <a:gs pos="35000">
                      <a:schemeClr val="bg1"/>
                    </a:gs>
                  </a:gsLst>
                  <a:lin ang="5400000" scaled="1"/>
                </a:gradFill>
                <a:effectLst/>
                <a:uLnTx/>
                <a:uFillTx/>
                <a:latin typeface="Segoe UI" panose="020B0502040204020203" pitchFamily="34" charset="0"/>
                <a:cs typeface="Segoe UI" panose="020B0502040204020203" pitchFamily="34" charset="0"/>
              </a:rPr>
              <a:t>If I don’t profit from the use, I don’t need permission.</a:t>
            </a:r>
          </a:p>
          <a:p>
            <a:pPr marL="749300" marR="0" lvl="0" indent="-457200" defTabSz="932688" eaLnBrk="1" fontAlgn="auto" latinLnBrk="0" hangingPunct="1">
              <a:lnSpc>
                <a:spcPct val="100000"/>
              </a:lnSpc>
              <a:spcBef>
                <a:spcPts val="600"/>
              </a:spcBef>
              <a:spcAft>
                <a:spcPts val="0"/>
              </a:spcAft>
              <a:buClrTx/>
              <a:buSzTx/>
              <a:buFont typeface="Wingdings" panose="05000000000000000000" pitchFamily="2" charset="2"/>
              <a:buChar char="§"/>
              <a:tabLst/>
              <a:defRPr/>
            </a:pPr>
            <a:r>
              <a:rPr kumimoji="0" lang="en-US" sz="2600" b="0" i="0" u="none" strike="noStrike" kern="0" cap="none" spc="0" normalizeH="0" baseline="0" noProof="0" dirty="0">
                <a:ln>
                  <a:noFill/>
                </a:ln>
                <a:gradFill>
                  <a:gsLst>
                    <a:gs pos="12389">
                      <a:schemeClr val="bg1"/>
                    </a:gs>
                    <a:gs pos="35000">
                      <a:schemeClr val="bg1"/>
                    </a:gs>
                  </a:gsLst>
                  <a:lin ang="5400000" scaled="1"/>
                </a:gradFill>
                <a:effectLst/>
                <a:uLnTx/>
                <a:uFillTx/>
                <a:latin typeface="Segoe UI" panose="020B0502040204020203" pitchFamily="34" charset="0"/>
                <a:cs typeface="Segoe UI" panose="020B0502040204020203" pitchFamily="34" charset="0"/>
              </a:rPr>
              <a:t>If I remove the image after notice, I don’t owe any money to the copyright.</a:t>
            </a:r>
          </a:p>
          <a:p>
            <a:pPr marL="749300" marR="0" lvl="0" indent="-457200" defTabSz="932688" eaLnBrk="1" fontAlgn="auto" latinLnBrk="0" hangingPunct="1">
              <a:lnSpc>
                <a:spcPct val="100000"/>
              </a:lnSpc>
              <a:spcBef>
                <a:spcPts val="600"/>
              </a:spcBef>
              <a:spcAft>
                <a:spcPts val="0"/>
              </a:spcAft>
              <a:buClrTx/>
              <a:buSzTx/>
              <a:buFont typeface="Wingdings" panose="05000000000000000000" pitchFamily="2" charset="2"/>
              <a:buChar char="§"/>
              <a:tabLst/>
              <a:defRPr/>
            </a:pPr>
            <a:r>
              <a:rPr kumimoji="0" lang="en-US" sz="2600" b="0" i="0" u="none" strike="noStrike" kern="0" cap="none" spc="0" normalizeH="0" baseline="0" noProof="0" dirty="0">
                <a:ln>
                  <a:noFill/>
                </a:ln>
                <a:gradFill>
                  <a:gsLst>
                    <a:gs pos="12389">
                      <a:schemeClr val="bg1"/>
                    </a:gs>
                    <a:gs pos="35000">
                      <a:schemeClr val="bg1"/>
                    </a:gs>
                  </a:gsLst>
                  <a:lin ang="5400000" scaled="1"/>
                </a:gradFill>
                <a:effectLst/>
                <a:uLnTx/>
                <a:uFillTx/>
                <a:latin typeface="Segoe UI" panose="020B0502040204020203" pitchFamily="34" charset="0"/>
                <a:cs typeface="Segoe UI" panose="020B0502040204020203" pitchFamily="34" charset="0"/>
              </a:rPr>
              <a:t>If I alter the image X%, I don’t need permission.</a:t>
            </a:r>
          </a:p>
          <a:p>
            <a:pPr marL="749300" marR="0" lvl="0" indent="-457200" defTabSz="932688" eaLnBrk="1" fontAlgn="auto" latinLnBrk="0" hangingPunct="1">
              <a:lnSpc>
                <a:spcPct val="100000"/>
              </a:lnSpc>
              <a:spcBef>
                <a:spcPts val="600"/>
              </a:spcBef>
              <a:spcAft>
                <a:spcPts val="0"/>
              </a:spcAft>
              <a:buClrTx/>
              <a:buSzTx/>
              <a:buFont typeface="Wingdings" panose="05000000000000000000" pitchFamily="2" charset="2"/>
              <a:buChar char="§"/>
              <a:tabLst/>
              <a:defRPr/>
            </a:pPr>
            <a:r>
              <a:rPr kumimoji="0" lang="en-US" sz="2600" b="0" i="0" u="none" strike="noStrike" kern="0" cap="none" spc="0" normalizeH="0" baseline="0" noProof="0" dirty="0">
                <a:ln>
                  <a:noFill/>
                </a:ln>
                <a:gradFill>
                  <a:gsLst>
                    <a:gs pos="12389">
                      <a:schemeClr val="bg1"/>
                    </a:gs>
                    <a:gs pos="35000">
                      <a:schemeClr val="bg1"/>
                    </a:gs>
                  </a:gsLst>
                  <a:lin ang="5400000" scaled="1"/>
                </a:gradFill>
                <a:effectLst/>
                <a:uLnTx/>
                <a:uFillTx/>
                <a:latin typeface="Segoe UI" panose="020B0502040204020203" pitchFamily="34" charset="0"/>
                <a:cs typeface="Segoe UI" panose="020B0502040204020203" pitchFamily="34" charset="0"/>
              </a:rPr>
              <a:t>If I only use a part of the image, </a:t>
            </a:r>
            <a:br>
              <a:rPr kumimoji="0" lang="en-US" sz="2600" b="0" i="0" u="none" strike="noStrike" kern="0" cap="none" spc="0" normalizeH="0" baseline="0" noProof="0" dirty="0">
                <a:ln>
                  <a:noFill/>
                </a:ln>
                <a:gradFill>
                  <a:gsLst>
                    <a:gs pos="12389">
                      <a:schemeClr val="bg1"/>
                    </a:gs>
                    <a:gs pos="35000">
                      <a:schemeClr val="bg1"/>
                    </a:gs>
                  </a:gsLst>
                  <a:lin ang="5400000" scaled="1"/>
                </a:gradFill>
                <a:effectLst/>
                <a:uLnTx/>
                <a:uFillTx/>
                <a:latin typeface="Segoe UI" panose="020B0502040204020203" pitchFamily="34" charset="0"/>
                <a:cs typeface="Segoe UI" panose="020B0502040204020203" pitchFamily="34" charset="0"/>
              </a:rPr>
            </a:br>
            <a:r>
              <a:rPr kumimoji="0" lang="en-US" sz="2600" b="0" i="0" u="none" strike="noStrike" kern="0" cap="none" spc="0" normalizeH="0" baseline="0" noProof="0" dirty="0">
                <a:ln>
                  <a:noFill/>
                </a:ln>
                <a:gradFill>
                  <a:gsLst>
                    <a:gs pos="12389">
                      <a:schemeClr val="bg1"/>
                    </a:gs>
                    <a:gs pos="35000">
                      <a:schemeClr val="bg1"/>
                    </a:gs>
                  </a:gsLst>
                  <a:lin ang="5400000" scaled="1"/>
                </a:gradFill>
                <a:effectLst/>
                <a:uLnTx/>
                <a:uFillTx/>
                <a:latin typeface="Segoe UI" panose="020B0502040204020203" pitchFamily="34" charset="0"/>
                <a:cs typeface="Segoe UI" panose="020B0502040204020203" pitchFamily="34" charset="0"/>
              </a:rPr>
              <a:t>I don’t need permission.</a:t>
            </a:r>
          </a:p>
          <a:p>
            <a:pPr marL="749300" marR="0" lvl="0" indent="-457200" defTabSz="932688" eaLnBrk="1" fontAlgn="auto" latinLnBrk="0" hangingPunct="1">
              <a:lnSpc>
                <a:spcPct val="100000"/>
              </a:lnSpc>
              <a:spcBef>
                <a:spcPts val="600"/>
              </a:spcBef>
              <a:spcAft>
                <a:spcPts val="0"/>
              </a:spcAft>
              <a:buClrTx/>
              <a:buSzTx/>
              <a:buFont typeface="Wingdings" panose="05000000000000000000" pitchFamily="2" charset="2"/>
              <a:buChar char="§"/>
              <a:tabLst/>
              <a:defRPr/>
            </a:pPr>
            <a:r>
              <a:rPr kumimoji="0" lang="en-US" sz="2600" b="0" i="0" u="none" strike="noStrike" kern="0" cap="none" spc="0" normalizeH="0" baseline="0" noProof="0" dirty="0">
                <a:ln>
                  <a:noFill/>
                </a:ln>
                <a:gradFill>
                  <a:gsLst>
                    <a:gs pos="12389">
                      <a:schemeClr val="bg1"/>
                    </a:gs>
                    <a:gs pos="35000">
                      <a:schemeClr val="bg1"/>
                    </a:gs>
                  </a:gsLst>
                  <a:lin ang="5400000" scaled="1"/>
                </a:gradFill>
                <a:effectLst/>
                <a:uLnTx/>
                <a:uFillTx/>
                <a:latin typeface="Segoe UI" panose="020B0502040204020203" pitchFamily="34" charset="0"/>
                <a:cs typeface="Segoe UI" panose="020B0502040204020203" pitchFamily="34" charset="0"/>
              </a:rPr>
              <a:t>If I only include a hyperlink in my presentation and click it to show the image, </a:t>
            </a:r>
            <a:br>
              <a:rPr kumimoji="0" lang="en-US" sz="2600" b="0" i="0" u="none" strike="noStrike" kern="0" cap="none" spc="0" normalizeH="0" baseline="0" noProof="0" dirty="0">
                <a:ln>
                  <a:noFill/>
                </a:ln>
                <a:gradFill>
                  <a:gsLst>
                    <a:gs pos="12389">
                      <a:schemeClr val="bg1"/>
                    </a:gs>
                    <a:gs pos="35000">
                      <a:schemeClr val="bg1"/>
                    </a:gs>
                  </a:gsLst>
                  <a:lin ang="5400000" scaled="1"/>
                </a:gradFill>
                <a:effectLst/>
                <a:uLnTx/>
                <a:uFillTx/>
                <a:latin typeface="Segoe UI" panose="020B0502040204020203" pitchFamily="34" charset="0"/>
                <a:cs typeface="Segoe UI" panose="020B0502040204020203" pitchFamily="34" charset="0"/>
              </a:rPr>
            </a:br>
            <a:r>
              <a:rPr kumimoji="0" lang="en-US" sz="2600" b="0" i="0" u="none" strike="noStrike" kern="0" cap="none" spc="0" normalizeH="0" baseline="0" noProof="0" dirty="0">
                <a:ln>
                  <a:noFill/>
                </a:ln>
                <a:gradFill>
                  <a:gsLst>
                    <a:gs pos="12389">
                      <a:schemeClr val="bg1"/>
                    </a:gs>
                    <a:gs pos="35000">
                      <a:schemeClr val="bg1"/>
                    </a:gs>
                  </a:gsLst>
                  <a:lin ang="5400000" scaled="1"/>
                </a:gradFill>
                <a:effectLst/>
                <a:uLnTx/>
                <a:uFillTx/>
                <a:latin typeface="Segoe UI" panose="020B0502040204020203" pitchFamily="34" charset="0"/>
                <a:cs typeface="Segoe UI" panose="020B0502040204020203" pitchFamily="34" charset="0"/>
              </a:rPr>
              <a:t>I don’t need permission.</a:t>
            </a:r>
          </a:p>
        </p:txBody>
      </p:sp>
      <p:sp>
        <p:nvSpPr>
          <p:cNvPr id="17" name="TextBox 16"/>
          <p:cNvSpPr txBox="1"/>
          <p:nvPr/>
        </p:nvSpPr>
        <p:spPr>
          <a:xfrm>
            <a:off x="163713" y="4320213"/>
            <a:ext cx="3790718" cy="424732"/>
          </a:xfrm>
          <a:prstGeom prst="rect">
            <a:avLst/>
          </a:prstGeom>
          <a:noFill/>
        </p:spPr>
        <p:txBody>
          <a:bodyPr wrap="none" rtlCol="0">
            <a:spAutoFit/>
          </a:bodyPr>
          <a:lstStyle/>
          <a:p>
            <a:pPr marL="0" marR="0" lvl="0" indent="0" defTabSz="932688" eaLnBrk="1" fontAlgn="auto" latinLnBrk="0" hangingPunct="1">
              <a:lnSpc>
                <a:spcPct val="90000"/>
              </a:lnSpc>
              <a:spcBef>
                <a:spcPts val="600"/>
              </a:spcBef>
              <a:spcAft>
                <a:spcPts val="0"/>
              </a:spcAft>
              <a:buClrTx/>
              <a:buSzTx/>
              <a:buFontTx/>
              <a:buNone/>
              <a:tabLst/>
              <a:defRPr/>
            </a:pPr>
            <a:r>
              <a:rPr kumimoji="0" lang="en-US" sz="2400" b="0" i="0" u="none" strike="noStrike" kern="0" cap="none" spc="0" normalizeH="0" baseline="0" noProof="0" dirty="0">
                <a:ln>
                  <a:noFill/>
                </a:ln>
                <a:gradFill>
                  <a:gsLst>
                    <a:gs pos="2000">
                      <a:prstClr val="white"/>
                    </a:gs>
                    <a:gs pos="100000">
                      <a:prstClr val="white"/>
                    </a:gs>
                  </a:gsLst>
                  <a:lin ang="5400000" scaled="0"/>
                </a:gradFill>
                <a:effectLst/>
                <a:uLnTx/>
                <a:uFillTx/>
                <a:latin typeface="Segoe UI" panose="020B0502040204020203" pitchFamily="34" charset="0"/>
                <a:cs typeface="Segoe UI" panose="020B0502040204020203" pitchFamily="34" charset="0"/>
              </a:rPr>
              <a:t>Common Copyright Myths</a:t>
            </a:r>
          </a:p>
        </p:txBody>
      </p:sp>
      <p:sp>
        <p:nvSpPr>
          <p:cNvPr id="2" name="Multiply 1"/>
          <p:cNvSpPr/>
          <p:nvPr/>
        </p:nvSpPr>
        <p:spPr>
          <a:xfrm>
            <a:off x="3954431" y="485775"/>
            <a:ext cx="8647144" cy="6029325"/>
          </a:xfrm>
          <a:prstGeom prst="mathMultiply">
            <a:avLst/>
          </a:prstGeom>
          <a:noFill/>
          <a:ln>
            <a:solidFill>
              <a:schemeClr val="accent5"/>
            </a:solid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prstClr val="black"/>
              </a:solidFill>
              <a:effectLst/>
              <a:uLnTx/>
              <a:uFillTx/>
            </a:endParaRPr>
          </a:p>
        </p:txBody>
      </p:sp>
    </p:spTree>
    <p:extLst>
      <p:ext uri="{BB962C8B-B14F-4D97-AF65-F5344CB8AC3E}">
        <p14:creationId xmlns:p14="http://schemas.microsoft.com/office/powerpoint/2010/main" val="371284332"/>
      </p:ext>
    </p:extLst>
  </p:cSld>
  <p:clrMapOvr>
    <a:masterClrMapping/>
  </p:clrMapOvr>
  <p:transition>
    <p:fade/>
  </p:transition>
</p:sld>
</file>

<file path=ppt/slides/slide92.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ext Placeholder 1"/>
          <p:cNvSpPr>
            <a:spLocks noGrp="1"/>
          </p:cNvSpPr>
          <p:nvPr>
            <p:ph type="body" sz="quarter" idx="4294967295"/>
          </p:nvPr>
        </p:nvSpPr>
        <p:spPr>
          <a:xfrm>
            <a:off x="274639" y="2473325"/>
            <a:ext cx="7223125" cy="2468563"/>
          </a:xfrm>
        </p:spPr>
        <p:txBody>
          <a:bodyPr anchor="t" anchorCtr="0"/>
          <a:lstStyle/>
          <a:p>
            <a:pPr marL="0" indent="0">
              <a:buNone/>
            </a:pPr>
            <a:r>
              <a:rPr lang="en-US" sz="2800" b="1" dirty="0" err="1">
                <a:gradFill>
                  <a:gsLst>
                    <a:gs pos="2655">
                      <a:srgbClr val="FFFFFF"/>
                    </a:gs>
                    <a:gs pos="26000">
                      <a:srgbClr val="FFFFFF"/>
                    </a:gs>
                  </a:gsLst>
                  <a:lin ang="5400000" scaled="0"/>
                </a:gradFill>
                <a:latin typeface="+mn-lt"/>
                <a:hlinkClick r:id="rId2"/>
              </a:rPr>
              <a:t>Mediaacq</a:t>
            </a:r>
            <a:endParaRPr lang="en-US" sz="2800" b="1" u="sng" dirty="0">
              <a:gradFill>
                <a:gsLst>
                  <a:gs pos="2655">
                    <a:srgbClr val="FFFFFF"/>
                  </a:gs>
                  <a:gs pos="26000">
                    <a:srgbClr val="FFFFFF"/>
                  </a:gs>
                </a:gsLst>
                <a:lin ang="5400000" scaled="0"/>
              </a:gradFill>
              <a:latin typeface="+mn-lt"/>
              <a:hlinkClick r:id="rId2"/>
            </a:endParaRPr>
          </a:p>
          <a:p>
            <a:pPr marL="0" indent="0">
              <a:buNone/>
            </a:pPr>
            <a:r>
              <a:rPr lang="en-US" sz="2800" b="1" dirty="0">
                <a:gradFill>
                  <a:gsLst>
                    <a:gs pos="2655">
                      <a:srgbClr val="FFFFFF"/>
                    </a:gs>
                    <a:gs pos="26000">
                      <a:srgbClr val="FFFFFF"/>
                    </a:gs>
                  </a:gsLst>
                  <a:lin ang="5400000" scaled="0"/>
                </a:gradFill>
                <a:latin typeface="+mn-lt"/>
                <a:hlinkClick r:id="rId2"/>
              </a:rPr>
              <a:t>Microsoft Brand Tools</a:t>
            </a:r>
            <a:endParaRPr lang="en-US" sz="2800" b="1" dirty="0">
              <a:gradFill>
                <a:gsLst>
                  <a:gs pos="2655">
                    <a:srgbClr val="FFFFFF"/>
                  </a:gs>
                  <a:gs pos="26000">
                    <a:srgbClr val="FFFFFF"/>
                  </a:gs>
                </a:gsLst>
                <a:lin ang="5400000" scaled="0"/>
              </a:gradFill>
              <a:latin typeface="+mn-lt"/>
            </a:endParaRPr>
          </a:p>
          <a:p>
            <a:pPr marL="0" indent="0">
              <a:buNone/>
            </a:pPr>
            <a:r>
              <a:rPr lang="en-US" sz="2800" b="1" dirty="0">
                <a:gradFill>
                  <a:gsLst>
                    <a:gs pos="2655">
                      <a:srgbClr val="FFFFFF"/>
                    </a:gs>
                    <a:gs pos="26000">
                      <a:srgbClr val="FFFFFF"/>
                    </a:gs>
                  </a:gsLst>
                  <a:lin ang="5400000" scaled="0"/>
                </a:gradFill>
                <a:latin typeface="+mn-lt"/>
                <a:hlinkClick r:id="rId3"/>
              </a:rPr>
              <a:t>Presentation guidelines</a:t>
            </a:r>
            <a:endParaRPr lang="en-US" sz="2800" b="1" dirty="0">
              <a:gradFill>
                <a:gsLst>
                  <a:gs pos="2655">
                    <a:srgbClr val="FFFFFF"/>
                  </a:gs>
                  <a:gs pos="26000">
                    <a:srgbClr val="FFFFFF"/>
                  </a:gs>
                </a:gsLst>
                <a:lin ang="5400000" scaled="0"/>
              </a:gradFill>
              <a:latin typeface="+mn-lt"/>
            </a:endParaRPr>
          </a:p>
          <a:p>
            <a:pPr marL="0" indent="0">
              <a:buNone/>
            </a:pPr>
            <a:r>
              <a:rPr lang="en-US" sz="2800" b="1" dirty="0">
                <a:gradFill>
                  <a:gsLst>
                    <a:gs pos="2655">
                      <a:srgbClr val="FFFFFF"/>
                    </a:gs>
                    <a:gs pos="26000">
                      <a:srgbClr val="FFFFFF"/>
                    </a:gs>
                  </a:gsLst>
                  <a:lin ang="5400000" scaled="0"/>
                </a:gradFill>
                <a:latin typeface="+mn-lt"/>
                <a:hlinkClick r:id="rId4"/>
              </a:rPr>
              <a:t>Microsoft photography</a:t>
            </a:r>
            <a:endParaRPr lang="en-US" sz="2800" b="1" dirty="0">
              <a:gradFill>
                <a:gsLst>
                  <a:gs pos="2655">
                    <a:srgbClr val="FFFFFF"/>
                  </a:gs>
                  <a:gs pos="26000">
                    <a:srgbClr val="FFFFFF"/>
                  </a:gs>
                </a:gsLst>
                <a:lin ang="5400000" scaled="0"/>
              </a:gradFill>
              <a:latin typeface="+mn-lt"/>
            </a:endParaRPr>
          </a:p>
          <a:p>
            <a:pPr marL="0" indent="0">
              <a:buNone/>
            </a:pPr>
            <a:r>
              <a:rPr lang="en-US" sz="2800" b="1" dirty="0">
                <a:gradFill>
                  <a:gsLst>
                    <a:gs pos="2655">
                      <a:srgbClr val="FFFFFF"/>
                    </a:gs>
                    <a:gs pos="26000">
                      <a:srgbClr val="FFFFFF"/>
                    </a:gs>
                  </a:gsLst>
                  <a:lin ang="5400000" scaled="0"/>
                </a:gradFill>
                <a:latin typeface="+mn-lt"/>
                <a:hlinkClick r:id="rId5"/>
              </a:rPr>
              <a:t>Microsoft illustrations</a:t>
            </a:r>
            <a:endParaRPr lang="en-US" sz="2800" b="1" dirty="0">
              <a:gradFill>
                <a:gsLst>
                  <a:gs pos="2655">
                    <a:srgbClr val="FFFFFF"/>
                  </a:gs>
                  <a:gs pos="26000">
                    <a:srgbClr val="FFFFFF"/>
                  </a:gs>
                </a:gsLst>
                <a:lin ang="5400000" scaled="0"/>
              </a:gradFill>
              <a:latin typeface="+mn-lt"/>
            </a:endParaRPr>
          </a:p>
        </p:txBody>
      </p:sp>
      <p:sp>
        <p:nvSpPr>
          <p:cNvPr id="4" name="Title 3"/>
          <p:cNvSpPr>
            <a:spLocks noGrp="1"/>
          </p:cNvSpPr>
          <p:nvPr>
            <p:ph type="title" idx="4294967295"/>
          </p:nvPr>
        </p:nvSpPr>
        <p:spPr>
          <a:xfrm>
            <a:off x="304182" y="295275"/>
            <a:ext cx="11888787" cy="917575"/>
          </a:xfrm>
        </p:spPr>
        <p:txBody>
          <a:bodyPr/>
          <a:lstStyle/>
          <a:p>
            <a:r>
              <a:rPr lang="en-US" dirty="0">
                <a:gradFill>
                  <a:gsLst>
                    <a:gs pos="35398">
                      <a:schemeClr val="bg1"/>
                    </a:gs>
                    <a:gs pos="56000">
                      <a:schemeClr val="bg1"/>
                    </a:gs>
                  </a:gsLst>
                  <a:lin ang="5400000" scaled="0"/>
                </a:gradFill>
              </a:rPr>
              <a:t>Resources for Microsoft employees</a:t>
            </a:r>
          </a:p>
        </p:txBody>
      </p:sp>
      <p:sp>
        <p:nvSpPr>
          <p:cNvPr id="3" name="TextBox 2"/>
          <p:cNvSpPr txBox="1"/>
          <p:nvPr/>
        </p:nvSpPr>
        <p:spPr>
          <a:xfrm>
            <a:off x="274640" y="1211262"/>
            <a:ext cx="11735114" cy="1292662"/>
          </a:xfrm>
          <a:prstGeom prst="rect">
            <a:avLst/>
          </a:prstGeom>
          <a:noFill/>
        </p:spPr>
        <p:txBody>
          <a:bodyPr wrap="squar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2400" b="0" i="0" u="none" strike="noStrike" kern="0" cap="none" spc="0" normalizeH="0" baseline="0" noProof="0" dirty="0">
                <a:ln>
                  <a:noFill/>
                </a:ln>
                <a:gradFill>
                  <a:gsLst>
                    <a:gs pos="2655">
                      <a:srgbClr val="FFFFFF"/>
                    </a:gs>
                    <a:gs pos="26000">
                      <a:srgbClr val="FFFFFF"/>
                    </a:gs>
                  </a:gsLst>
                  <a:lin ang="5400000" scaled="0"/>
                </a:gradFill>
                <a:effectLst/>
                <a:uLnTx/>
                <a:uFillTx/>
                <a:cs typeface="Segoe UI" panose="020B0502040204020203" pitchFamily="34" charset="0"/>
              </a:rPr>
              <a:t>Can’t find the image that you have in mind for your presentation? The Media Acquisitions team can help you find and license imagery through our stock </a:t>
            </a:r>
            <a:br>
              <a:rPr kumimoji="0" lang="en-US" sz="2400" b="0" i="0" u="none" strike="noStrike" kern="0" cap="none" spc="0" normalizeH="0" baseline="0" noProof="0" dirty="0">
                <a:ln>
                  <a:noFill/>
                </a:ln>
                <a:gradFill>
                  <a:gsLst>
                    <a:gs pos="2655">
                      <a:srgbClr val="FFFFFF"/>
                    </a:gs>
                    <a:gs pos="26000">
                      <a:srgbClr val="FFFFFF"/>
                    </a:gs>
                  </a:gsLst>
                  <a:lin ang="5400000" scaled="0"/>
                </a:gradFill>
                <a:effectLst/>
                <a:uLnTx/>
                <a:uFillTx/>
                <a:cs typeface="Segoe UI" panose="020B0502040204020203" pitchFamily="34" charset="0"/>
              </a:rPr>
            </a:br>
            <a:r>
              <a:rPr kumimoji="0" lang="en-US" sz="2400" b="0" i="0" u="none" strike="noStrike" kern="0" cap="none" spc="0" normalizeH="0" baseline="0" noProof="0" dirty="0">
                <a:ln>
                  <a:noFill/>
                </a:ln>
                <a:gradFill>
                  <a:gsLst>
                    <a:gs pos="2655">
                      <a:srgbClr val="FFFFFF"/>
                    </a:gs>
                    <a:gs pos="26000">
                      <a:srgbClr val="FFFFFF"/>
                    </a:gs>
                  </a:gsLst>
                  <a:lin ang="5400000" scaled="0"/>
                </a:gradFill>
                <a:effectLst/>
                <a:uLnTx/>
                <a:uFillTx/>
                <a:cs typeface="Segoe UI" panose="020B0502040204020203" pitchFamily="34" charset="0"/>
              </a:rPr>
              <a:t>photography providers. You will also find imagery and information via these links:</a:t>
            </a:r>
          </a:p>
        </p:txBody>
      </p:sp>
      <p:sp>
        <p:nvSpPr>
          <p:cNvPr id="6" name="TextBox 5"/>
          <p:cNvSpPr txBox="1"/>
          <p:nvPr/>
        </p:nvSpPr>
        <p:spPr>
          <a:xfrm>
            <a:off x="274639" y="5641681"/>
            <a:ext cx="12649198" cy="1071062"/>
          </a:xfrm>
          <a:prstGeom prst="rect">
            <a:avLst/>
          </a:prstGeom>
          <a:noFill/>
        </p:spPr>
        <p:txBody>
          <a:bodyPr wrap="squar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2800" b="0" i="0" u="none" strike="noStrike" kern="0" cap="none" spc="0" normalizeH="0" baseline="0" noProof="0" dirty="0">
                <a:ln>
                  <a:noFill/>
                </a:ln>
                <a:gradFill>
                  <a:gsLst>
                    <a:gs pos="2917">
                      <a:srgbClr val="FFFFFF"/>
                    </a:gs>
                    <a:gs pos="85000">
                      <a:srgbClr val="FFFFFF"/>
                    </a:gs>
                  </a:gsLst>
                  <a:lin ang="5400000" scaled="0"/>
                </a:gradFill>
                <a:effectLst/>
                <a:uLnTx/>
                <a:uFillTx/>
                <a:cs typeface="Segoe UI" panose="020B0502040204020203" pitchFamily="34" charset="0"/>
              </a:rPr>
              <a:t>For information on the use of third-party copyrighted content</a:t>
            </a:r>
            <a:br>
              <a:rPr kumimoji="0" lang="en-US" sz="2800" b="0" i="0" u="none" strike="noStrike" kern="0" cap="none" spc="0" normalizeH="0" baseline="0" noProof="0" dirty="0">
                <a:ln>
                  <a:noFill/>
                </a:ln>
                <a:gradFill>
                  <a:gsLst>
                    <a:gs pos="2917">
                      <a:srgbClr val="FFFFFF"/>
                    </a:gs>
                    <a:gs pos="85000">
                      <a:srgbClr val="FFFFFF"/>
                    </a:gs>
                  </a:gsLst>
                  <a:lin ang="5400000" scaled="0"/>
                </a:gradFill>
                <a:effectLst/>
                <a:uLnTx/>
                <a:uFillTx/>
                <a:cs typeface="Segoe UI" panose="020B0502040204020203" pitchFamily="34" charset="0"/>
              </a:rPr>
            </a:br>
            <a:r>
              <a:rPr kumimoji="0" lang="en-US" sz="2800" b="0" i="0" u="none" strike="noStrike" kern="0" cap="none" spc="0" normalizeH="0" baseline="0" noProof="0" dirty="0">
                <a:ln>
                  <a:noFill/>
                </a:ln>
                <a:gradFill>
                  <a:gsLst>
                    <a:gs pos="2917">
                      <a:srgbClr val="FFFFFF"/>
                    </a:gs>
                    <a:gs pos="85000">
                      <a:srgbClr val="FFFFFF"/>
                    </a:gs>
                  </a:gsLst>
                  <a:lin ang="5400000" scaled="0"/>
                </a:gradFill>
                <a:effectLst/>
                <a:uLnTx/>
                <a:uFillTx/>
                <a:cs typeface="Segoe UI" panose="020B0502040204020203" pitchFamily="34" charset="0"/>
              </a:rPr>
              <a:t>please contact </a:t>
            </a:r>
            <a:r>
              <a:rPr kumimoji="0" lang="en-US" sz="2800" b="0" i="0" u="none" strike="noStrike" kern="0" cap="none" spc="0" normalizeH="0" baseline="0" noProof="0" dirty="0">
                <a:ln>
                  <a:noFill/>
                </a:ln>
                <a:gradFill>
                  <a:gsLst>
                    <a:gs pos="2917">
                      <a:srgbClr val="FFFFFF"/>
                    </a:gs>
                    <a:gs pos="85000">
                      <a:srgbClr val="FFFFFF"/>
                    </a:gs>
                  </a:gsLst>
                  <a:lin ang="5400000" scaled="0"/>
                </a:gradFill>
                <a:effectLst/>
                <a:uLnTx/>
                <a:uFillTx/>
                <a:cs typeface="Segoe UI" panose="020B0502040204020203" pitchFamily="34" charset="0"/>
                <a:hlinkClick r:id="rId6"/>
              </a:rPr>
              <a:t>CELA</a:t>
            </a:r>
            <a:r>
              <a:rPr kumimoji="0" lang="en-US" sz="2800" b="0" i="0" u="none" strike="noStrike" kern="0" cap="none" spc="0" normalizeH="0" baseline="0" noProof="0" dirty="0">
                <a:ln>
                  <a:noFill/>
                </a:ln>
                <a:gradFill>
                  <a:gsLst>
                    <a:gs pos="2917">
                      <a:srgbClr val="FFFFFF"/>
                    </a:gs>
                    <a:gs pos="85000">
                      <a:srgbClr val="FFFFFF"/>
                    </a:gs>
                  </a:gsLst>
                  <a:lin ang="5400000" scaled="0"/>
                </a:gradFill>
                <a:effectLst/>
                <a:uLnTx/>
                <a:uFillTx/>
                <a:cs typeface="Segoe UI" panose="020B0502040204020203" pitchFamily="34" charset="0"/>
              </a:rPr>
              <a:t>.</a:t>
            </a:r>
            <a:endParaRPr kumimoji="0" lang="en-US" sz="2800" b="0" i="0" u="none" strike="noStrike" kern="0" cap="none" spc="0" normalizeH="0" baseline="0" noProof="0" dirty="0">
              <a:ln>
                <a:noFill/>
              </a:ln>
              <a:gradFill>
                <a:gsLst>
                  <a:gs pos="2917">
                    <a:srgbClr val="404040"/>
                  </a:gs>
                  <a:gs pos="30000">
                    <a:srgbClr val="404040"/>
                  </a:gs>
                </a:gsLst>
                <a:lin ang="5400000" scaled="0"/>
              </a:gradFill>
              <a:effectLst/>
              <a:uLnTx/>
              <a:uFillTx/>
              <a:latin typeface="Segoe UI Light"/>
            </a:endParaRPr>
          </a:p>
        </p:txBody>
      </p:sp>
      <p:sp>
        <p:nvSpPr>
          <p:cNvPr id="7" name="TextBox 6"/>
          <p:cNvSpPr txBox="1"/>
          <p:nvPr/>
        </p:nvSpPr>
        <p:spPr>
          <a:xfrm>
            <a:off x="2012043" y="2459404"/>
            <a:ext cx="3588162" cy="627864"/>
          </a:xfrm>
          <a:prstGeom prst="rect">
            <a:avLst/>
          </a:prstGeom>
          <a:noFill/>
        </p:spPr>
        <p:txBody>
          <a:bodyPr wrap="non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2400" b="0" i="0" u="none" strike="noStrike" kern="0" cap="none" spc="0" normalizeH="0" baseline="0" noProof="0" dirty="0">
                <a:ln>
                  <a:noFill/>
                </a:ln>
                <a:gradFill>
                  <a:gsLst>
                    <a:gs pos="2655">
                      <a:srgbClr val="FFFFFF"/>
                    </a:gs>
                    <a:gs pos="26000">
                      <a:srgbClr val="FFFFFF"/>
                    </a:gs>
                  </a:gsLst>
                  <a:lin ang="5400000" scaled="0"/>
                </a:gradFill>
                <a:effectLst/>
                <a:uLnTx/>
                <a:uFillTx/>
                <a:latin typeface="Segoe UI Light"/>
              </a:rPr>
              <a:t>(Media Acquisitions alias)</a:t>
            </a:r>
          </a:p>
        </p:txBody>
      </p:sp>
      <p:sp>
        <p:nvSpPr>
          <p:cNvPr id="9" name="Text Placeholder 1"/>
          <p:cNvSpPr txBox="1">
            <a:spLocks/>
          </p:cNvSpPr>
          <p:nvPr/>
        </p:nvSpPr>
        <p:spPr>
          <a:xfrm>
            <a:off x="6035895" y="2473655"/>
            <a:ext cx="6217853" cy="914400"/>
          </a:xfrm>
          <a:prstGeom prst="rect">
            <a:avLst/>
          </a:prstGeom>
        </p:spPr>
        <p:txBody>
          <a:bodyPr vert="horz" wrap="square" lIns="182880" tIns="146304" rIns="182880" bIns="146304" rtlCol="0" anchor="t" anchorCtr="0">
            <a:noAutofit/>
          </a:bodyPr>
          <a:lstStyle>
            <a:lvl1pPr marL="0" marR="0" indent="0" algn="l" defTabSz="932742" rtl="0" eaLnBrk="1" fontAlgn="auto" latinLnBrk="0" hangingPunct="1">
              <a:lnSpc>
                <a:spcPct val="90000"/>
              </a:lnSpc>
              <a:spcBef>
                <a:spcPct val="20000"/>
              </a:spcBef>
              <a:spcAft>
                <a:spcPts val="0"/>
              </a:spcAft>
              <a:buClr>
                <a:schemeClr val="tx1"/>
              </a:buClr>
              <a:buSzPct val="90000"/>
              <a:buFont typeface="Arial" panose="020B0604020202020204" pitchFamily="34" charset="0"/>
              <a:buNone/>
              <a:tabLst/>
              <a:defRPr lang="en-US" sz="3600" kern="1200" spc="0" baseline="0" dirty="0" smtClean="0">
                <a:gradFill>
                  <a:gsLst>
                    <a:gs pos="1299">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lnSpc>
                <a:spcPct val="100000"/>
              </a:lnSpc>
              <a:spcBef>
                <a:spcPts val="0"/>
              </a:spcBef>
              <a:buClr>
                <a:srgbClr val="404040"/>
              </a:buClr>
              <a:buSzTx/>
            </a:pPr>
            <a:r>
              <a:rPr lang="en-US" sz="2400" dirty="0">
                <a:gradFill>
                  <a:gsLst>
                    <a:gs pos="2655">
                      <a:srgbClr val="FFFFFF"/>
                    </a:gs>
                    <a:gs pos="26000">
                      <a:srgbClr val="FFFFFF"/>
                    </a:gs>
                  </a:gsLst>
                  <a:lin ang="5400000" scaled="0"/>
                </a:gradFill>
                <a:latin typeface="Segoe UI"/>
                <a:cs typeface="Segoe UI" panose="020B0502040204020203" pitchFamily="34" charset="0"/>
              </a:rPr>
              <a:t>Stock photography sites are also an option.</a:t>
            </a:r>
            <a:endParaRPr lang="en-US" sz="2400" dirty="0">
              <a:gradFill>
                <a:gsLst>
                  <a:gs pos="2655">
                    <a:srgbClr val="FFFFFF"/>
                  </a:gs>
                  <a:gs pos="26000">
                    <a:srgbClr val="FFFFFF"/>
                  </a:gs>
                </a:gsLst>
                <a:lin ang="5400000" scaled="0"/>
              </a:gradFill>
              <a:latin typeface="Segoe UI"/>
              <a:cs typeface="Segoe UI" panose="020B0502040204020203" pitchFamily="34" charset="0"/>
              <a:hlinkClick r:id="rId7"/>
            </a:endParaRPr>
          </a:p>
          <a:p>
            <a:pPr lvl="0">
              <a:lnSpc>
                <a:spcPct val="100000"/>
              </a:lnSpc>
              <a:spcBef>
                <a:spcPts val="0"/>
              </a:spcBef>
              <a:buClr>
                <a:srgbClr val="404040"/>
              </a:buClr>
              <a:buSzTx/>
            </a:pPr>
            <a:r>
              <a:rPr lang="en-US" sz="2000" dirty="0">
                <a:gradFill>
                  <a:gsLst>
                    <a:gs pos="2655">
                      <a:srgbClr val="FFFFFF"/>
                    </a:gs>
                    <a:gs pos="26000">
                      <a:srgbClr val="FFFFFF"/>
                    </a:gs>
                  </a:gsLst>
                  <a:lin ang="5400000" scaled="0"/>
                </a:gradFill>
                <a:latin typeface="Segoe UI"/>
                <a:hlinkClick r:id="rId7"/>
              </a:rPr>
              <a:t>www.superstock.com/</a:t>
            </a:r>
            <a:endParaRPr lang="en-US" sz="2000" dirty="0">
              <a:gradFill>
                <a:gsLst>
                  <a:gs pos="2655">
                    <a:srgbClr val="FFFFFF"/>
                  </a:gs>
                  <a:gs pos="26000">
                    <a:srgbClr val="FFFFFF"/>
                  </a:gs>
                </a:gsLst>
                <a:lin ang="5400000" scaled="0"/>
              </a:gradFill>
              <a:latin typeface="Segoe UI"/>
            </a:endParaRPr>
          </a:p>
          <a:p>
            <a:pPr lvl="0">
              <a:lnSpc>
                <a:spcPct val="100000"/>
              </a:lnSpc>
              <a:spcBef>
                <a:spcPts val="0"/>
              </a:spcBef>
              <a:buClr>
                <a:srgbClr val="404040"/>
              </a:buClr>
              <a:buSzTx/>
            </a:pPr>
            <a:r>
              <a:rPr lang="en-US" sz="2000" dirty="0">
                <a:gradFill>
                  <a:gsLst>
                    <a:gs pos="2655">
                      <a:srgbClr val="FFFFFF"/>
                    </a:gs>
                    <a:gs pos="26000">
                      <a:srgbClr val="FFFFFF"/>
                    </a:gs>
                  </a:gsLst>
                  <a:lin ang="5400000" scaled="0"/>
                </a:gradFill>
                <a:latin typeface="Segoe UI"/>
                <a:hlinkClick r:id="rId8"/>
              </a:rPr>
              <a:t>www.gettyimages.com/creativeimages/royaltyfree</a:t>
            </a:r>
            <a:endParaRPr lang="en-US" sz="2000" dirty="0">
              <a:gradFill>
                <a:gsLst>
                  <a:gs pos="2655">
                    <a:srgbClr val="FFFFFF"/>
                  </a:gs>
                  <a:gs pos="26000">
                    <a:srgbClr val="FFFFFF"/>
                  </a:gs>
                </a:gsLst>
                <a:lin ang="5400000" scaled="0"/>
              </a:gradFill>
              <a:latin typeface="Segoe UI"/>
            </a:endParaRPr>
          </a:p>
          <a:p>
            <a:pPr lvl="0">
              <a:lnSpc>
                <a:spcPct val="100000"/>
              </a:lnSpc>
              <a:spcBef>
                <a:spcPts val="0"/>
              </a:spcBef>
              <a:buClr>
                <a:srgbClr val="404040"/>
              </a:buClr>
              <a:buSzTx/>
            </a:pPr>
            <a:r>
              <a:rPr lang="en-US" sz="2000" dirty="0">
                <a:gradFill>
                  <a:gsLst>
                    <a:gs pos="2655">
                      <a:srgbClr val="FFFFFF"/>
                    </a:gs>
                    <a:gs pos="26000">
                      <a:srgbClr val="FFFFFF"/>
                    </a:gs>
                  </a:gsLst>
                  <a:lin ang="5400000" scaled="0"/>
                </a:gradFill>
                <a:latin typeface="Segoe UI"/>
                <a:hlinkClick r:id="rId9"/>
              </a:rPr>
              <a:t>www.corbisimages.com/stock-photo/royalty-free</a:t>
            </a:r>
            <a:endParaRPr lang="en-US" sz="2000" dirty="0">
              <a:gradFill>
                <a:gsLst>
                  <a:gs pos="2655">
                    <a:srgbClr val="FFFFFF"/>
                  </a:gs>
                  <a:gs pos="26000">
                    <a:srgbClr val="FFFFFF"/>
                  </a:gs>
                </a:gsLst>
                <a:lin ang="5400000" scaled="0"/>
              </a:gradFill>
              <a:latin typeface="Segoe UI"/>
            </a:endParaRPr>
          </a:p>
          <a:p>
            <a:pPr lvl="0">
              <a:lnSpc>
                <a:spcPct val="100000"/>
              </a:lnSpc>
              <a:spcBef>
                <a:spcPts val="0"/>
              </a:spcBef>
              <a:buClr>
                <a:srgbClr val="404040"/>
              </a:buClr>
              <a:buSzTx/>
            </a:pPr>
            <a:endParaRPr lang="en-US" sz="2000" dirty="0">
              <a:gradFill>
                <a:gsLst>
                  <a:gs pos="2655">
                    <a:srgbClr val="FFFFFF"/>
                  </a:gs>
                  <a:gs pos="26000">
                    <a:srgbClr val="FFFFFF"/>
                  </a:gs>
                </a:gsLst>
                <a:lin ang="5400000" scaled="0"/>
              </a:gradFill>
              <a:latin typeface="Segoe UI"/>
            </a:endParaRPr>
          </a:p>
          <a:p>
            <a:pPr lvl="0">
              <a:lnSpc>
                <a:spcPct val="100000"/>
              </a:lnSpc>
              <a:spcBef>
                <a:spcPts val="0"/>
              </a:spcBef>
              <a:buClr>
                <a:srgbClr val="404040"/>
              </a:buClr>
              <a:buSzTx/>
            </a:pPr>
            <a:r>
              <a:rPr lang="en-US" sz="2000" dirty="0">
                <a:gradFill>
                  <a:gsLst>
                    <a:gs pos="2655">
                      <a:srgbClr val="FFFFFF"/>
                    </a:gs>
                    <a:gs pos="26000">
                      <a:srgbClr val="FFFFFF"/>
                    </a:gs>
                  </a:gsLst>
                  <a:lin ang="5400000" scaled="0"/>
                </a:gradFill>
                <a:latin typeface="Segoe UI"/>
              </a:rPr>
              <a:t>See latest instructions for licensing at Media Acquisitions. Send your selection to Image Acquisitions: </a:t>
            </a:r>
            <a:r>
              <a:rPr lang="en-US" sz="2000" dirty="0">
                <a:gradFill>
                  <a:gsLst>
                    <a:gs pos="2655">
                      <a:srgbClr val="FFFFFF"/>
                    </a:gs>
                    <a:gs pos="26000">
                      <a:srgbClr val="FFFFFF"/>
                    </a:gs>
                  </a:gsLst>
                  <a:lin ang="5400000" scaled="0"/>
                </a:gradFill>
                <a:latin typeface="Segoe UI"/>
                <a:hlinkClick r:id="rId10"/>
              </a:rPr>
              <a:t>ImageAcq@Microsoft.com</a:t>
            </a:r>
            <a:r>
              <a:rPr lang="en-US" sz="2000" dirty="0">
                <a:gradFill>
                  <a:gsLst>
                    <a:gs pos="2655">
                      <a:srgbClr val="FFFFFF"/>
                    </a:gs>
                    <a:gs pos="26000">
                      <a:srgbClr val="FFFFFF"/>
                    </a:gs>
                  </a:gsLst>
                  <a:lin ang="5400000" scaled="0"/>
                </a:gradFill>
                <a:latin typeface="Segoe UI"/>
              </a:rPr>
              <a:t> </a:t>
            </a:r>
          </a:p>
        </p:txBody>
      </p:sp>
    </p:spTree>
    <p:extLst>
      <p:ext uri="{BB962C8B-B14F-4D97-AF65-F5344CB8AC3E}">
        <p14:creationId xmlns:p14="http://schemas.microsoft.com/office/powerpoint/2010/main" val="746185161"/>
      </p:ext>
    </p:extLst>
  </p:cSld>
  <p:clrMapOvr>
    <a:masterClrMapping/>
  </p:clrMapOvr>
  <p:transition>
    <p:fade/>
  </p:transition>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Preferred text layout (no bullets)</a:t>
            </a:r>
          </a:p>
        </p:txBody>
      </p:sp>
      <p:sp>
        <p:nvSpPr>
          <p:cNvPr id="6" name="Text Placeholder 5"/>
          <p:cNvSpPr>
            <a:spLocks noGrp="1"/>
          </p:cNvSpPr>
          <p:nvPr>
            <p:ph type="body" sz="quarter" idx="10"/>
          </p:nvPr>
        </p:nvSpPr>
        <p:spPr/>
        <p:txBody>
          <a:bodyPr/>
          <a:lstStyle/>
          <a:p>
            <a:r>
              <a:rPr lang="en-US" dirty="0"/>
              <a:t>Main topic 1: size 38pt</a:t>
            </a:r>
          </a:p>
          <a:p>
            <a:pPr lvl="1"/>
            <a:r>
              <a:rPr lang="en-US" dirty="0"/>
              <a:t>Size 20pt for the subtopics</a:t>
            </a:r>
          </a:p>
          <a:p>
            <a:pPr lvl="1"/>
            <a:r>
              <a:rPr lang="en-US" dirty="0"/>
              <a:t>Size 20pt for the subtopics</a:t>
            </a:r>
          </a:p>
          <a:p>
            <a:r>
              <a:rPr lang="en-US" dirty="0"/>
              <a:t>Main topic 2: size 38pt</a:t>
            </a:r>
          </a:p>
          <a:p>
            <a:pPr lvl="1"/>
            <a:r>
              <a:rPr lang="en-US" dirty="0"/>
              <a:t>Size 20pt for the subtopics</a:t>
            </a:r>
          </a:p>
          <a:p>
            <a:pPr lvl="1"/>
            <a:r>
              <a:rPr lang="en-US" dirty="0"/>
              <a:t>Size 20pt for the subtopics</a:t>
            </a:r>
          </a:p>
          <a:p>
            <a:r>
              <a:rPr lang="en-US" dirty="0"/>
              <a:t>Main topic 3: size 38pt</a:t>
            </a:r>
          </a:p>
          <a:p>
            <a:pPr lvl="1"/>
            <a:r>
              <a:rPr lang="en-US" dirty="0"/>
              <a:t>Size 20pt for the subtopics</a:t>
            </a:r>
          </a:p>
          <a:p>
            <a:pPr lvl="1"/>
            <a:r>
              <a:rPr lang="en-US" dirty="0"/>
              <a:t>Size 20pt for the subtopics</a:t>
            </a:r>
          </a:p>
        </p:txBody>
      </p:sp>
    </p:spTree>
    <p:extLst>
      <p:ext uri="{BB962C8B-B14F-4D97-AF65-F5344CB8AC3E}">
        <p14:creationId xmlns:p14="http://schemas.microsoft.com/office/powerpoint/2010/main" val="21131779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74638" y="2125663"/>
            <a:ext cx="11887200" cy="2092881"/>
          </a:xfrm>
        </p:spPr>
        <p:txBody>
          <a:bodyPr/>
          <a:lstStyle/>
          <a:p>
            <a:r>
              <a:rPr lang="en-US" dirty="0"/>
              <a:t>Example of a bulleted slide with a subhead</a:t>
            </a:r>
          </a:p>
          <a:p>
            <a:pPr lvl="1"/>
            <a:r>
              <a:rPr lang="en-US" dirty="0"/>
              <a:t>Set the slide title to “Sentence case”</a:t>
            </a:r>
          </a:p>
          <a:p>
            <a:pPr lvl="1"/>
            <a:r>
              <a:rPr lang="en-US" dirty="0"/>
              <a:t>Set subheads to “Sentence case”</a:t>
            </a:r>
          </a:p>
          <a:p>
            <a:pPr lvl="0"/>
            <a:r>
              <a:rPr lang="en-US" dirty="0"/>
              <a:t>Hyperlink style</a:t>
            </a:r>
          </a:p>
          <a:p>
            <a:pPr lvl="1"/>
            <a:r>
              <a:rPr lang="en-US" dirty="0">
                <a:hlinkClick r:id="rId3"/>
              </a:rPr>
              <a:t>www.microsoft.com</a:t>
            </a:r>
            <a:r>
              <a:rPr lang="en-US" dirty="0"/>
              <a:t> </a:t>
            </a:r>
          </a:p>
        </p:txBody>
      </p:sp>
      <p:sp>
        <p:nvSpPr>
          <p:cNvPr id="2" name="Title 1"/>
          <p:cNvSpPr>
            <a:spLocks noGrp="1"/>
          </p:cNvSpPr>
          <p:nvPr>
            <p:ph type="title"/>
          </p:nvPr>
        </p:nvSpPr>
        <p:spPr/>
        <p:txBody>
          <a:bodyPr/>
          <a:lstStyle/>
          <a:p>
            <a:r>
              <a:rPr lang="en-US" dirty="0"/>
              <a:t>Bullet points layout with subtitle</a:t>
            </a:r>
            <a:br>
              <a:rPr lang="en-US" dirty="0"/>
            </a:br>
            <a:r>
              <a:rPr lang="en-US" sz="4000" dirty="0">
                <a:gradFill>
                  <a:gsLst>
                    <a:gs pos="10101">
                      <a:schemeClr val="tx1"/>
                    </a:gs>
                    <a:gs pos="54000">
                      <a:schemeClr val="tx1"/>
                    </a:gs>
                  </a:gsLst>
                  <a:lin ang="5400000" scaled="0"/>
                </a:gradFill>
              </a:rPr>
              <a:t>Subtitle</a:t>
            </a:r>
          </a:p>
        </p:txBody>
      </p:sp>
    </p:spTree>
    <p:extLst>
      <p:ext uri="{BB962C8B-B14F-4D97-AF65-F5344CB8AC3E}">
        <p14:creationId xmlns:p14="http://schemas.microsoft.com/office/powerpoint/2010/main" val="25768325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Customer evidence slide</a:t>
            </a:r>
          </a:p>
        </p:txBody>
      </p:sp>
      <p:sp>
        <p:nvSpPr>
          <p:cNvPr id="5" name="Picture Placeholder 4"/>
          <p:cNvSpPr>
            <a:spLocks noGrp="1"/>
          </p:cNvSpPr>
          <p:nvPr>
            <p:ph type="pic" sz="quarter" idx="10"/>
          </p:nvPr>
        </p:nvSpPr>
        <p:spPr/>
      </p:sp>
      <p:sp>
        <p:nvSpPr>
          <p:cNvPr id="6" name="Picture Placeholder 5"/>
          <p:cNvSpPr>
            <a:spLocks noGrp="1"/>
          </p:cNvSpPr>
          <p:nvPr>
            <p:ph type="pic" sz="quarter" idx="11"/>
          </p:nvPr>
        </p:nvSpPr>
        <p:spPr/>
      </p:sp>
      <p:sp>
        <p:nvSpPr>
          <p:cNvPr id="7" name="Text Placeholder 6"/>
          <p:cNvSpPr>
            <a:spLocks noGrp="1"/>
          </p:cNvSpPr>
          <p:nvPr>
            <p:ph type="body" sz="quarter" idx="12"/>
          </p:nvPr>
        </p:nvSpPr>
        <p:spPr/>
        <p:txBody>
          <a:bodyPr/>
          <a:lstStyle/>
          <a:p>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a:t>
            </a:r>
          </a:p>
          <a:p>
            <a:r>
              <a:rPr lang="en-US" dirty="0" err="1"/>
              <a:t>Duis</a:t>
            </a:r>
            <a:r>
              <a:rPr lang="en-US" dirty="0"/>
              <a:t> </a:t>
            </a:r>
            <a:r>
              <a:rPr lang="en-US" dirty="0" err="1"/>
              <a:t>aute</a:t>
            </a:r>
            <a:r>
              <a:rPr lang="en-US" dirty="0"/>
              <a:t> </a:t>
            </a:r>
            <a:r>
              <a:rPr lang="en-US" dirty="0" err="1"/>
              <a:t>irure</a:t>
            </a:r>
            <a:r>
              <a:rPr lang="en-US" dirty="0"/>
              <a:t> dolor.</a:t>
            </a:r>
          </a:p>
        </p:txBody>
      </p:sp>
      <p:sp>
        <p:nvSpPr>
          <p:cNvPr id="8" name="Text Placeholder 7"/>
          <p:cNvSpPr>
            <a:spLocks noGrp="1"/>
          </p:cNvSpPr>
          <p:nvPr>
            <p:ph type="body" sz="quarter" idx="13"/>
          </p:nvPr>
        </p:nvSpPr>
        <p:spPr/>
        <p:txBody>
          <a:bodyPr/>
          <a:lstStyle/>
          <a:p>
            <a:r>
              <a:rPr lang="en-US"/>
              <a:t>“You miss 100% of the</a:t>
            </a:r>
          </a:p>
          <a:p>
            <a:r>
              <a:rPr lang="en-US"/>
              <a:t>shots you don’t take”</a:t>
            </a:r>
          </a:p>
          <a:p>
            <a:pPr algn="r"/>
            <a:r>
              <a:rPr lang="en-US" sz="2000">
                <a:latin typeface="+mn-lt"/>
              </a:rPr>
              <a:t>– Jane Doe</a:t>
            </a:r>
            <a:endParaRPr lang="en-US" sz="2000" dirty="0">
              <a:latin typeface="+mn-lt"/>
            </a:endParaRPr>
          </a:p>
        </p:txBody>
      </p:sp>
    </p:spTree>
    <p:extLst>
      <p:ext uri="{BB962C8B-B14F-4D97-AF65-F5344CB8AC3E}">
        <p14:creationId xmlns:p14="http://schemas.microsoft.com/office/powerpoint/2010/main" val="1943800872"/>
      </p:ext>
    </p:extLst>
  </p:cSld>
  <p:clrMapOvr>
    <a:masterClrMapping/>
  </p:clrMapOvr>
  <p:transition>
    <p:fade/>
  </p:transition>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stretch>
            <a:fillRect/>
          </a:stretch>
        </p:blipFill>
        <p:spPr>
          <a:xfrm>
            <a:off x="461640" y="3027362"/>
            <a:ext cx="1657350" cy="3248025"/>
          </a:xfrm>
          <a:prstGeom prst="rect">
            <a:avLst/>
          </a:prstGeom>
        </p:spPr>
      </p:pic>
      <p:sp>
        <p:nvSpPr>
          <p:cNvPr id="2" name="Title 1"/>
          <p:cNvSpPr>
            <a:spLocks noGrp="1"/>
          </p:cNvSpPr>
          <p:nvPr>
            <p:ph type="title"/>
          </p:nvPr>
        </p:nvSpPr>
        <p:spPr/>
        <p:txBody>
          <a:bodyPr/>
          <a:lstStyle/>
          <a:p>
            <a:r>
              <a:rPr lang="en-US" dirty="0"/>
              <a:t>Slide palette info</a:t>
            </a:r>
          </a:p>
        </p:txBody>
      </p:sp>
      <p:sp>
        <p:nvSpPr>
          <p:cNvPr id="4" name="Rectangle 3"/>
          <p:cNvSpPr/>
          <p:nvPr/>
        </p:nvSpPr>
        <p:spPr bwMode="auto">
          <a:xfrm>
            <a:off x="2431370" y="3557266"/>
            <a:ext cx="7127758" cy="1438579"/>
          </a:xfrm>
          <a:custGeom>
            <a:avLst/>
            <a:gdLst/>
            <a:ahLst/>
            <a:cxnLst/>
            <a:rect l="l" t="t" r="r" b="b"/>
            <a:pathLst>
              <a:path w="6985822" h="1410500">
                <a:moveTo>
                  <a:pt x="0" y="0"/>
                </a:moveTo>
                <a:lnTo>
                  <a:pt x="3955278" y="0"/>
                </a:lnTo>
                <a:lnTo>
                  <a:pt x="3955278" y="170496"/>
                </a:lnTo>
                <a:lnTo>
                  <a:pt x="6985822" y="170496"/>
                </a:lnTo>
                <a:lnTo>
                  <a:pt x="6985822" y="1284072"/>
                </a:lnTo>
                <a:lnTo>
                  <a:pt x="3955278" y="1284072"/>
                </a:lnTo>
                <a:lnTo>
                  <a:pt x="3955278" y="1410500"/>
                </a:lnTo>
                <a:lnTo>
                  <a:pt x="0" y="1410500"/>
                </a:lnTo>
                <a:close/>
              </a:path>
            </a:pathLst>
          </a:custGeom>
          <a:noFill/>
          <a:ln w="3175">
            <a:solidFill>
              <a:schemeClr val="tx1">
                <a:alpha val="27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p:nvSpPr>
        <p:spPr bwMode="auto">
          <a:xfrm>
            <a:off x="5162033" y="3696009"/>
            <a:ext cx="1206527" cy="1206042"/>
          </a:xfrm>
          <a:prstGeom prst="rect">
            <a:avLst/>
          </a:prstGeom>
          <a:solidFill>
            <a:schemeClr val="accent3"/>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000" dirty="0">
                <a:gradFill>
                  <a:gsLst>
                    <a:gs pos="82301">
                      <a:srgbClr val="292929"/>
                    </a:gs>
                    <a:gs pos="62000">
                      <a:srgbClr val="292929"/>
                    </a:gs>
                  </a:gsLst>
                  <a:lin ang="5400000" scaled="0"/>
                </a:gradFill>
              </a:rPr>
              <a:t>Accent 3</a:t>
            </a:r>
          </a:p>
        </p:txBody>
      </p:sp>
      <p:sp>
        <p:nvSpPr>
          <p:cNvPr id="6" name="Rectangle 5"/>
          <p:cNvSpPr/>
          <p:nvPr/>
        </p:nvSpPr>
        <p:spPr bwMode="auto">
          <a:xfrm>
            <a:off x="3857057" y="3696009"/>
            <a:ext cx="1206527" cy="1206042"/>
          </a:xfrm>
          <a:prstGeom prst="rect">
            <a:avLst/>
          </a:prstGeom>
          <a:solidFill>
            <a:schemeClr val="accent2"/>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000" dirty="0">
                <a:gradFill>
                  <a:gsLst>
                    <a:gs pos="0">
                      <a:srgbClr val="FFFFFF"/>
                    </a:gs>
                    <a:gs pos="100000">
                      <a:srgbClr val="FFFFFF"/>
                    </a:gs>
                  </a:gsLst>
                  <a:lin ang="5400000" scaled="0"/>
                </a:gradFill>
              </a:rPr>
              <a:t>Accent 2</a:t>
            </a:r>
          </a:p>
        </p:txBody>
      </p:sp>
      <p:sp>
        <p:nvSpPr>
          <p:cNvPr id="7" name="Rectangle 6"/>
          <p:cNvSpPr/>
          <p:nvPr/>
        </p:nvSpPr>
        <p:spPr bwMode="auto">
          <a:xfrm>
            <a:off x="2552081" y="3696009"/>
            <a:ext cx="1206527" cy="1206042"/>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000" dirty="0">
                <a:gradFill>
                  <a:gsLst>
                    <a:gs pos="0">
                      <a:srgbClr val="FFFFFF"/>
                    </a:gs>
                    <a:gs pos="100000">
                      <a:srgbClr val="FFFFFF"/>
                    </a:gs>
                  </a:gsLst>
                  <a:lin ang="5400000" scaled="0"/>
                </a:gradFill>
              </a:rPr>
              <a:t>Accent 1</a:t>
            </a:r>
          </a:p>
        </p:txBody>
      </p:sp>
      <p:sp>
        <p:nvSpPr>
          <p:cNvPr id="8" name="Rectangle 7"/>
          <p:cNvSpPr/>
          <p:nvPr/>
        </p:nvSpPr>
        <p:spPr bwMode="auto">
          <a:xfrm>
            <a:off x="8537402" y="3831351"/>
            <a:ext cx="935733" cy="935357"/>
          </a:xfrm>
          <a:prstGeom prst="rect">
            <a:avLst/>
          </a:prstGeom>
          <a:solidFill>
            <a:schemeClr val="accent6"/>
          </a:solidFill>
          <a:ln>
            <a:noFill/>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200" dirty="0">
                <a:gradFill>
                  <a:gsLst>
                    <a:gs pos="82301">
                      <a:srgbClr val="292929"/>
                    </a:gs>
                    <a:gs pos="62000">
                      <a:srgbClr val="292929"/>
                    </a:gs>
                  </a:gsLst>
                  <a:lin ang="5400000" scaled="0"/>
                </a:gradFill>
              </a:rPr>
              <a:t>Accent 6</a:t>
            </a:r>
          </a:p>
        </p:txBody>
      </p:sp>
      <p:sp>
        <p:nvSpPr>
          <p:cNvPr id="9" name="Rectangle 8"/>
          <p:cNvSpPr/>
          <p:nvPr/>
        </p:nvSpPr>
        <p:spPr bwMode="auto">
          <a:xfrm>
            <a:off x="7505843" y="3831351"/>
            <a:ext cx="935733" cy="935357"/>
          </a:xfrm>
          <a:prstGeom prst="rect">
            <a:avLst/>
          </a:prstGeom>
          <a:solidFill>
            <a:schemeClr val="accent5"/>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200" dirty="0">
                <a:gradFill>
                  <a:gsLst>
                    <a:gs pos="82301">
                      <a:srgbClr val="292929"/>
                    </a:gs>
                    <a:gs pos="62000">
                      <a:srgbClr val="292929"/>
                    </a:gs>
                  </a:gsLst>
                  <a:lin ang="5400000" scaled="0"/>
                </a:gradFill>
              </a:rPr>
              <a:t>Accent 5</a:t>
            </a:r>
          </a:p>
        </p:txBody>
      </p:sp>
      <p:sp>
        <p:nvSpPr>
          <p:cNvPr id="10" name="Rectangle 9"/>
          <p:cNvSpPr/>
          <p:nvPr/>
        </p:nvSpPr>
        <p:spPr bwMode="auto">
          <a:xfrm>
            <a:off x="6467011" y="3831351"/>
            <a:ext cx="935733" cy="935357"/>
          </a:xfrm>
          <a:prstGeom prst="rect">
            <a:avLst/>
          </a:prstGeom>
          <a:solidFill>
            <a:schemeClr val="accent4"/>
          </a:solidFill>
          <a:ln>
            <a:no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200" dirty="0">
                <a:gradFill>
                  <a:gsLst>
                    <a:gs pos="82301">
                      <a:srgbClr val="292929"/>
                    </a:gs>
                    <a:gs pos="62000">
                      <a:srgbClr val="292929"/>
                    </a:gs>
                  </a:gsLst>
                  <a:lin ang="5400000" scaled="0"/>
                </a:gradFill>
              </a:rPr>
              <a:t>Accent 4</a:t>
            </a:r>
          </a:p>
        </p:txBody>
      </p:sp>
      <p:sp>
        <p:nvSpPr>
          <p:cNvPr id="14" name="TextBox 13"/>
          <p:cNvSpPr txBox="1"/>
          <p:nvPr/>
        </p:nvSpPr>
        <p:spPr>
          <a:xfrm>
            <a:off x="2558479" y="3040063"/>
            <a:ext cx="7060545" cy="313904"/>
          </a:xfrm>
          <a:prstGeom prst="rect">
            <a:avLst/>
          </a:prstGeom>
          <a:noFill/>
        </p:spPr>
        <p:txBody>
          <a:bodyPr wrap="square" lIns="0" tIns="0" rIns="0" bIns="0" rtlCol="0">
            <a:spAutoFit/>
          </a:bodyPr>
          <a:lstStyle/>
          <a:p>
            <a:pPr algn="ctr"/>
            <a:r>
              <a:rPr lang="en-US" sz="2000" dirty="0">
                <a:gradFill>
                  <a:gsLst>
                    <a:gs pos="4184">
                      <a:schemeClr val="tx1"/>
                    </a:gs>
                    <a:gs pos="22000">
                      <a:schemeClr val="tx1"/>
                    </a:gs>
                  </a:gsLst>
                  <a:lin ang="5400000" scaled="1"/>
                </a:gradFill>
              </a:rPr>
              <a:t>Accent colors 1-6 – (6 Theme Colors to the far right)</a:t>
            </a:r>
          </a:p>
        </p:txBody>
      </p:sp>
      <p:grpSp>
        <p:nvGrpSpPr>
          <p:cNvPr id="15" name="Group 14"/>
          <p:cNvGrpSpPr/>
          <p:nvPr/>
        </p:nvGrpSpPr>
        <p:grpSpPr>
          <a:xfrm>
            <a:off x="2552079" y="3122796"/>
            <a:ext cx="6921056" cy="455867"/>
            <a:chOff x="5099206" y="3872901"/>
            <a:chExt cx="6165897" cy="363048"/>
          </a:xfrm>
        </p:grpSpPr>
        <p:cxnSp>
          <p:nvCxnSpPr>
            <p:cNvPr id="16" name="Straight Connector 15"/>
            <p:cNvCxnSpPr/>
            <p:nvPr/>
          </p:nvCxnSpPr>
          <p:spPr>
            <a:xfrm>
              <a:off x="5104785" y="4099191"/>
              <a:ext cx="6154739" cy="0"/>
            </a:xfrm>
            <a:prstGeom prst="line">
              <a:avLst/>
            </a:prstGeom>
            <a:noFill/>
            <a:ln>
              <a:solidFill>
                <a:schemeClr val="tx1"/>
              </a:solidFill>
              <a:headEnd type="arrow" w="med" len="med"/>
              <a:tailEnd type="arrow" w="med" len="med"/>
            </a:ln>
            <a:effectLst/>
          </p:spPr>
          <p:style>
            <a:lnRef idx="1">
              <a:schemeClr val="accent2"/>
            </a:lnRef>
            <a:fillRef idx="3">
              <a:schemeClr val="accent2"/>
            </a:fillRef>
            <a:effectRef idx="2">
              <a:schemeClr val="accent2"/>
            </a:effectRef>
            <a:fontRef idx="minor">
              <a:schemeClr val="lt1"/>
            </a:fontRef>
          </p:style>
        </p:cxnSp>
        <p:cxnSp>
          <p:nvCxnSpPr>
            <p:cNvPr id="17" name="Straight Connector 16"/>
            <p:cNvCxnSpPr/>
            <p:nvPr/>
          </p:nvCxnSpPr>
          <p:spPr>
            <a:xfrm>
              <a:off x="5099206" y="3872901"/>
              <a:ext cx="0" cy="363047"/>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11265103" y="3872902"/>
              <a:ext cx="0" cy="363047"/>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9" name="Text Placeholder 2"/>
          <p:cNvSpPr txBox="1">
            <a:spLocks/>
          </p:cNvSpPr>
          <p:nvPr/>
        </p:nvSpPr>
        <p:spPr>
          <a:xfrm>
            <a:off x="274638" y="1227844"/>
            <a:ext cx="11887200" cy="1209562"/>
          </a:xfrm>
          <a:prstGeom prst="rect">
            <a:avLst/>
          </a:prstGeom>
        </p:spPr>
        <p:txBody>
          <a:bodyPr vert="horz" wrap="square" lIns="182880" tIns="146304" rIns="182880" bIns="146304" rtlCol="0">
            <a:spAutoFit/>
          </a:bodyPr>
          <a:lstStyle>
            <a:lvl1pPr marL="0" marR="0" indent="0" algn="l" defTabSz="914363" rtl="0" eaLnBrk="1" fontAlgn="auto" latinLnBrk="0" hangingPunct="1">
              <a:lnSpc>
                <a:spcPct val="90000"/>
              </a:lnSpc>
              <a:spcBef>
                <a:spcPts val="2400"/>
              </a:spcBef>
              <a:spcAft>
                <a:spcPts val="0"/>
              </a:spcAft>
              <a:buClrTx/>
              <a:buSzPct val="90000"/>
              <a:buFont typeface="Arial" pitchFamily="34" charset="0"/>
              <a:buNone/>
              <a:tabLst/>
              <a:defRPr sz="4000" kern="1200" spc="-70" baseline="0">
                <a:gradFill>
                  <a:gsLst>
                    <a:gs pos="100000">
                      <a:schemeClr val="tx2"/>
                    </a:gs>
                    <a:gs pos="0">
                      <a:schemeClr val="tx2"/>
                    </a:gs>
                  </a:gsLst>
                  <a:lin ang="5400000" scaled="0"/>
                </a:gradFill>
                <a:latin typeface="+mj-lt"/>
                <a:ea typeface="+mn-ea"/>
                <a:cs typeface="+mn-cs"/>
              </a:defRPr>
            </a:lvl1pPr>
            <a:lvl2pPr marL="0" marR="0" indent="0" algn="l" defTabSz="914363" rtl="0" eaLnBrk="1" fontAlgn="auto" latinLnBrk="0" hangingPunct="1">
              <a:lnSpc>
                <a:spcPct val="90000"/>
              </a:lnSpc>
              <a:spcBef>
                <a:spcPct val="20000"/>
              </a:spcBef>
              <a:spcAft>
                <a:spcPts val="0"/>
              </a:spcAft>
              <a:buClrTx/>
              <a:buSzPct val="90000"/>
              <a:buFont typeface="Wingdings" pitchFamily="2" charset="2"/>
              <a:buNone/>
              <a:tabLst/>
              <a:defRPr sz="2000" kern="1200" spc="0" baseline="0">
                <a:gradFill>
                  <a:gsLst>
                    <a:gs pos="100000">
                      <a:schemeClr val="tx1"/>
                    </a:gs>
                    <a:gs pos="6000">
                      <a:schemeClr val="tx1"/>
                    </a:gs>
                  </a:gsLst>
                  <a:lin ang="5400000" scaled="0"/>
                </a:gradFill>
                <a:latin typeface="+mn-lt"/>
                <a:ea typeface="+mn-ea"/>
                <a:cs typeface="+mn-cs"/>
              </a:defRPr>
            </a:lvl2pPr>
            <a:lvl3pPr marL="231775" marR="0" indent="0" algn="l" defTabSz="914363" rtl="0" eaLnBrk="1" fontAlgn="auto" latinLnBrk="0" hangingPunct="1">
              <a:lnSpc>
                <a:spcPct val="90000"/>
              </a:lnSpc>
              <a:spcBef>
                <a:spcPct val="20000"/>
              </a:spcBef>
              <a:spcAft>
                <a:spcPts val="0"/>
              </a:spcAft>
              <a:buClrTx/>
              <a:buSzPct val="90000"/>
              <a:buFont typeface="Wingdings" pitchFamily="2" charset="2"/>
              <a:buNone/>
              <a:tabLst>
                <a:tab pos="798513" algn="l"/>
              </a:tabLst>
              <a:defRPr sz="2000" kern="1200" spc="0" baseline="0">
                <a:gradFill>
                  <a:gsLst>
                    <a:gs pos="100000">
                      <a:schemeClr val="tx1"/>
                    </a:gs>
                    <a:gs pos="6000">
                      <a:schemeClr val="tx1"/>
                    </a:gs>
                  </a:gsLst>
                  <a:lin ang="5400000" scaled="0"/>
                </a:gradFill>
                <a:latin typeface="+mn-lt"/>
                <a:ea typeface="+mn-ea"/>
                <a:cs typeface="+mn-cs"/>
              </a:defRPr>
            </a:lvl3pPr>
            <a:lvl4pPr marL="457200" marR="0" indent="0" algn="l" defTabSz="914363" rtl="0" eaLnBrk="1" fontAlgn="auto" latinLnBrk="0" hangingPunct="1">
              <a:lnSpc>
                <a:spcPct val="90000"/>
              </a:lnSpc>
              <a:spcBef>
                <a:spcPct val="20000"/>
              </a:spcBef>
              <a:spcAft>
                <a:spcPts val="0"/>
              </a:spcAft>
              <a:buClrTx/>
              <a:buSzPct val="90000"/>
              <a:buFont typeface="Wingdings" pitchFamily="2" charset="2"/>
              <a:buNone/>
              <a:tabLst/>
              <a:defRPr sz="2000" kern="1200" spc="0" baseline="0">
                <a:gradFill>
                  <a:gsLst>
                    <a:gs pos="100000">
                      <a:schemeClr val="tx1"/>
                    </a:gs>
                    <a:gs pos="6000">
                      <a:schemeClr val="tx1"/>
                    </a:gs>
                  </a:gsLst>
                  <a:lin ang="5400000" scaled="0"/>
                </a:gradFill>
                <a:latin typeface="+mn-lt"/>
                <a:ea typeface="+mn-ea"/>
                <a:cs typeface="+mn-cs"/>
              </a:defRPr>
            </a:lvl4pPr>
            <a:lvl5pPr marL="693738" marR="0" indent="0" algn="l" defTabSz="914363" rtl="0" eaLnBrk="1" fontAlgn="auto" latinLnBrk="0" hangingPunct="1">
              <a:lnSpc>
                <a:spcPct val="90000"/>
              </a:lnSpc>
              <a:spcBef>
                <a:spcPct val="20000"/>
              </a:spcBef>
              <a:spcAft>
                <a:spcPts val="0"/>
              </a:spcAft>
              <a:buClrTx/>
              <a:buSzPct val="90000"/>
              <a:buFont typeface="Wingdings" pitchFamily="2" charset="2"/>
              <a:buNone/>
              <a:tabLst>
                <a:tab pos="1255713" algn="l"/>
              </a:tabLst>
              <a:defRPr sz="2000" kern="1200" spc="0" baseline="0">
                <a:gradFill>
                  <a:gsLst>
                    <a:gs pos="100000">
                      <a:schemeClr val="tx1"/>
                    </a:gs>
                    <a:gs pos="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3200" dirty="0">
                <a:gradFill>
                  <a:gsLst>
                    <a:gs pos="4184">
                      <a:schemeClr val="tx1"/>
                    </a:gs>
                    <a:gs pos="22000">
                      <a:schemeClr val="tx1"/>
                    </a:gs>
                  </a:gsLst>
                  <a:lin ang="5400000" scaled="1"/>
                </a:gradFill>
                <a:latin typeface="Segoe UI Semilight" panose="020B0402040204020203" pitchFamily="34" charset="0"/>
                <a:cs typeface="Segoe UI Semilight" panose="020B0402040204020203" pitchFamily="34" charset="0"/>
              </a:rPr>
              <a:t>The PowerPoint palette for this template has been built for you and is shown below. Avoid using too many colors in your presentation. </a:t>
            </a:r>
          </a:p>
        </p:txBody>
      </p:sp>
      <p:sp>
        <p:nvSpPr>
          <p:cNvPr id="20" name="Text Placeholder 2"/>
          <p:cNvSpPr txBox="1">
            <a:spLocks/>
          </p:cNvSpPr>
          <p:nvPr/>
        </p:nvSpPr>
        <p:spPr>
          <a:xfrm>
            <a:off x="2552079" y="5146315"/>
            <a:ext cx="3816481" cy="762786"/>
          </a:xfrm>
          <a:prstGeom prst="rect">
            <a:avLst/>
          </a:prstGeom>
        </p:spPr>
        <p:txBody>
          <a:bodyPr vert="horz" wrap="square" lIns="182880" tIns="0" rIns="182880" bIns="0" rtlCol="0">
            <a:spAutoFit/>
          </a:bodyPr>
          <a:lstStyle>
            <a:lvl1pPr marL="0" marR="0" indent="0" algn="l" defTabSz="914363" rtl="0" eaLnBrk="1" fontAlgn="auto" latinLnBrk="0" hangingPunct="1">
              <a:lnSpc>
                <a:spcPct val="90000"/>
              </a:lnSpc>
              <a:spcBef>
                <a:spcPts val="2400"/>
              </a:spcBef>
              <a:spcAft>
                <a:spcPts val="0"/>
              </a:spcAft>
              <a:buClrTx/>
              <a:buSzPct val="90000"/>
              <a:buFont typeface="Arial" pitchFamily="34" charset="0"/>
              <a:buNone/>
              <a:tabLst/>
              <a:defRPr sz="4000" kern="1200" spc="-70" baseline="0">
                <a:gradFill>
                  <a:gsLst>
                    <a:gs pos="100000">
                      <a:schemeClr val="tx2"/>
                    </a:gs>
                    <a:gs pos="0">
                      <a:schemeClr val="tx2"/>
                    </a:gs>
                  </a:gsLst>
                  <a:lin ang="5400000" scaled="0"/>
                </a:gradFill>
                <a:latin typeface="+mj-lt"/>
                <a:ea typeface="+mn-ea"/>
                <a:cs typeface="+mn-cs"/>
              </a:defRPr>
            </a:lvl1pPr>
            <a:lvl2pPr marL="0" marR="0" indent="0" algn="l" defTabSz="914363" rtl="0" eaLnBrk="1" fontAlgn="auto" latinLnBrk="0" hangingPunct="1">
              <a:lnSpc>
                <a:spcPct val="90000"/>
              </a:lnSpc>
              <a:spcBef>
                <a:spcPct val="20000"/>
              </a:spcBef>
              <a:spcAft>
                <a:spcPts val="0"/>
              </a:spcAft>
              <a:buClrTx/>
              <a:buSzPct val="90000"/>
              <a:buFont typeface="Wingdings" pitchFamily="2" charset="2"/>
              <a:buNone/>
              <a:tabLst/>
              <a:defRPr sz="2000" kern="1200" spc="0" baseline="0">
                <a:gradFill>
                  <a:gsLst>
                    <a:gs pos="100000">
                      <a:schemeClr val="tx1"/>
                    </a:gs>
                    <a:gs pos="6000">
                      <a:schemeClr val="tx1"/>
                    </a:gs>
                  </a:gsLst>
                  <a:lin ang="5400000" scaled="0"/>
                </a:gradFill>
                <a:latin typeface="+mn-lt"/>
                <a:ea typeface="+mn-ea"/>
                <a:cs typeface="+mn-cs"/>
              </a:defRPr>
            </a:lvl2pPr>
            <a:lvl3pPr marL="231775" marR="0" indent="0" algn="l" defTabSz="914363" rtl="0" eaLnBrk="1" fontAlgn="auto" latinLnBrk="0" hangingPunct="1">
              <a:lnSpc>
                <a:spcPct val="90000"/>
              </a:lnSpc>
              <a:spcBef>
                <a:spcPct val="20000"/>
              </a:spcBef>
              <a:spcAft>
                <a:spcPts val="0"/>
              </a:spcAft>
              <a:buClrTx/>
              <a:buSzPct val="90000"/>
              <a:buFont typeface="Wingdings" pitchFamily="2" charset="2"/>
              <a:buNone/>
              <a:tabLst>
                <a:tab pos="798513" algn="l"/>
              </a:tabLst>
              <a:defRPr sz="2000" kern="1200" spc="0" baseline="0">
                <a:gradFill>
                  <a:gsLst>
                    <a:gs pos="100000">
                      <a:schemeClr val="tx1"/>
                    </a:gs>
                    <a:gs pos="6000">
                      <a:schemeClr val="tx1"/>
                    </a:gs>
                  </a:gsLst>
                  <a:lin ang="5400000" scaled="0"/>
                </a:gradFill>
                <a:latin typeface="+mn-lt"/>
                <a:ea typeface="+mn-ea"/>
                <a:cs typeface="+mn-cs"/>
              </a:defRPr>
            </a:lvl3pPr>
            <a:lvl4pPr marL="457200" marR="0" indent="0" algn="l" defTabSz="914363" rtl="0" eaLnBrk="1" fontAlgn="auto" latinLnBrk="0" hangingPunct="1">
              <a:lnSpc>
                <a:spcPct val="90000"/>
              </a:lnSpc>
              <a:spcBef>
                <a:spcPct val="20000"/>
              </a:spcBef>
              <a:spcAft>
                <a:spcPts val="0"/>
              </a:spcAft>
              <a:buClrTx/>
              <a:buSzPct val="90000"/>
              <a:buFont typeface="Wingdings" pitchFamily="2" charset="2"/>
              <a:buNone/>
              <a:tabLst/>
              <a:defRPr sz="2000" kern="1200" spc="0" baseline="0">
                <a:gradFill>
                  <a:gsLst>
                    <a:gs pos="100000">
                      <a:schemeClr val="tx1"/>
                    </a:gs>
                    <a:gs pos="6000">
                      <a:schemeClr val="tx1"/>
                    </a:gs>
                  </a:gsLst>
                  <a:lin ang="5400000" scaled="0"/>
                </a:gradFill>
                <a:latin typeface="+mn-lt"/>
                <a:ea typeface="+mn-ea"/>
                <a:cs typeface="+mn-cs"/>
              </a:defRPr>
            </a:lvl4pPr>
            <a:lvl5pPr marL="693738" marR="0" indent="0" algn="l" defTabSz="914363" rtl="0" eaLnBrk="1" fontAlgn="auto" latinLnBrk="0" hangingPunct="1">
              <a:lnSpc>
                <a:spcPct val="90000"/>
              </a:lnSpc>
              <a:spcBef>
                <a:spcPct val="20000"/>
              </a:spcBef>
              <a:spcAft>
                <a:spcPts val="0"/>
              </a:spcAft>
              <a:buClrTx/>
              <a:buSzPct val="90000"/>
              <a:buFont typeface="Wingdings" pitchFamily="2" charset="2"/>
              <a:buNone/>
              <a:tabLst>
                <a:tab pos="1255713" algn="l"/>
              </a:tabLst>
              <a:defRPr sz="2000" kern="1200" spc="0" baseline="0">
                <a:gradFill>
                  <a:gsLst>
                    <a:gs pos="100000">
                      <a:schemeClr val="tx1"/>
                    </a:gs>
                    <a:gs pos="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800" dirty="0">
                <a:gradFill>
                  <a:gsLst>
                    <a:gs pos="4184">
                      <a:schemeClr val="tx1"/>
                    </a:gs>
                    <a:gs pos="22000">
                      <a:schemeClr val="tx1"/>
                    </a:gs>
                  </a:gsLst>
                  <a:lin ang="5400000" scaled="1"/>
                </a:gradFill>
                <a:latin typeface="Segoe UI"/>
              </a:rPr>
              <a:t>Use </a:t>
            </a:r>
            <a:r>
              <a:rPr lang="en-US" sz="1800" b="1" dirty="0">
                <a:gradFill>
                  <a:gsLst>
                    <a:gs pos="4184">
                      <a:schemeClr val="tx1"/>
                    </a:gs>
                    <a:gs pos="22000">
                      <a:schemeClr val="tx1"/>
                    </a:gs>
                  </a:gsLst>
                  <a:lin ang="5400000" scaled="1"/>
                </a:gradFill>
                <a:latin typeface="Segoe UI"/>
              </a:rPr>
              <a:t>Accent 1</a:t>
            </a:r>
            <a:r>
              <a:rPr lang="en-US" sz="1800" dirty="0">
                <a:gradFill>
                  <a:gsLst>
                    <a:gs pos="4184">
                      <a:schemeClr val="tx1"/>
                    </a:gs>
                    <a:gs pos="22000">
                      <a:schemeClr val="tx1"/>
                    </a:gs>
                  </a:gsLst>
                  <a:lin ang="5400000" scaled="1"/>
                </a:gradFill>
                <a:latin typeface="Segoe UI"/>
              </a:rPr>
              <a:t> as the main accent color. Use </a:t>
            </a:r>
            <a:r>
              <a:rPr lang="en-US" sz="1800" b="1" dirty="0">
                <a:gradFill>
                  <a:gsLst>
                    <a:gs pos="4184">
                      <a:schemeClr val="tx1"/>
                    </a:gs>
                    <a:gs pos="22000">
                      <a:schemeClr val="tx1"/>
                    </a:gs>
                  </a:gsLst>
                  <a:lin ang="5400000" scaled="1"/>
                </a:gradFill>
                <a:latin typeface="Segoe UI"/>
              </a:rPr>
              <a:t>Accent 2</a:t>
            </a:r>
            <a:r>
              <a:rPr lang="en-US" sz="1800" dirty="0">
                <a:gradFill>
                  <a:gsLst>
                    <a:gs pos="4184">
                      <a:schemeClr val="tx1"/>
                    </a:gs>
                    <a:gs pos="22000">
                      <a:schemeClr val="tx1"/>
                    </a:gs>
                  </a:gsLst>
                  <a:lin ang="5400000" scaled="1"/>
                </a:gradFill>
                <a:latin typeface="Segoe UI"/>
              </a:rPr>
              <a:t> and </a:t>
            </a:r>
            <a:r>
              <a:rPr lang="en-US" sz="1800" b="1" dirty="0">
                <a:gradFill>
                  <a:gsLst>
                    <a:gs pos="4184">
                      <a:schemeClr val="tx1"/>
                    </a:gs>
                    <a:gs pos="22000">
                      <a:schemeClr val="tx1"/>
                    </a:gs>
                  </a:gsLst>
                  <a:lin ang="5400000" scaled="1"/>
                </a:gradFill>
                <a:latin typeface="Segoe UI"/>
              </a:rPr>
              <a:t>Accent 3</a:t>
            </a:r>
            <a:r>
              <a:rPr lang="en-US" sz="1800" dirty="0">
                <a:gradFill>
                  <a:gsLst>
                    <a:gs pos="4184">
                      <a:schemeClr val="tx1"/>
                    </a:gs>
                    <a:gs pos="22000">
                      <a:schemeClr val="tx1"/>
                    </a:gs>
                  </a:gsLst>
                  <a:lin ang="5400000" scaled="1"/>
                </a:gradFill>
                <a:latin typeface="Segoe UI"/>
              </a:rPr>
              <a:t> when additional colors are needed. </a:t>
            </a:r>
          </a:p>
        </p:txBody>
      </p:sp>
      <p:sp>
        <p:nvSpPr>
          <p:cNvPr id="29" name="Rectangle 28"/>
          <p:cNvSpPr/>
          <p:nvPr/>
        </p:nvSpPr>
        <p:spPr bwMode="auto">
          <a:xfrm>
            <a:off x="1119769" y="3265932"/>
            <a:ext cx="980023" cy="155434"/>
          </a:xfrm>
          <a:prstGeom prst="rect">
            <a:avLst/>
          </a:prstGeom>
          <a:noFill/>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28" name="Text Placeholder 2"/>
          <p:cNvSpPr txBox="1">
            <a:spLocks/>
          </p:cNvSpPr>
          <p:nvPr/>
        </p:nvSpPr>
        <p:spPr>
          <a:xfrm>
            <a:off x="6624382" y="5045189"/>
            <a:ext cx="3006124" cy="452021"/>
          </a:xfrm>
          <a:prstGeom prst="rect">
            <a:avLst/>
          </a:prstGeom>
        </p:spPr>
        <p:txBody>
          <a:bodyPr vert="horz" wrap="square" lIns="0" tIns="0" rIns="0" bIns="0" rtlCol="0">
            <a:spAutoFit/>
          </a:bodyPr>
          <a:lstStyle>
            <a:lvl1pPr marL="0" marR="0" indent="0" algn="l" defTabSz="914363" rtl="0" eaLnBrk="1" fontAlgn="auto" latinLnBrk="0" hangingPunct="1">
              <a:lnSpc>
                <a:spcPct val="90000"/>
              </a:lnSpc>
              <a:spcBef>
                <a:spcPts val="2400"/>
              </a:spcBef>
              <a:spcAft>
                <a:spcPts val="0"/>
              </a:spcAft>
              <a:buClrTx/>
              <a:buSzPct val="90000"/>
              <a:buFont typeface="Arial" pitchFamily="34" charset="0"/>
              <a:buNone/>
              <a:tabLst/>
              <a:defRPr sz="4000" kern="1200" spc="-70" baseline="0">
                <a:gradFill>
                  <a:gsLst>
                    <a:gs pos="100000">
                      <a:schemeClr val="tx2"/>
                    </a:gs>
                    <a:gs pos="0">
                      <a:schemeClr val="tx2"/>
                    </a:gs>
                  </a:gsLst>
                  <a:lin ang="5400000" scaled="0"/>
                </a:gradFill>
                <a:latin typeface="+mj-lt"/>
                <a:ea typeface="+mn-ea"/>
                <a:cs typeface="+mn-cs"/>
              </a:defRPr>
            </a:lvl1pPr>
            <a:lvl2pPr marL="0" marR="0" indent="0" algn="l" defTabSz="914363" rtl="0" eaLnBrk="1" fontAlgn="auto" latinLnBrk="0" hangingPunct="1">
              <a:lnSpc>
                <a:spcPct val="90000"/>
              </a:lnSpc>
              <a:spcBef>
                <a:spcPct val="20000"/>
              </a:spcBef>
              <a:spcAft>
                <a:spcPts val="0"/>
              </a:spcAft>
              <a:buClrTx/>
              <a:buSzPct val="90000"/>
              <a:buFont typeface="Wingdings" pitchFamily="2" charset="2"/>
              <a:buNone/>
              <a:tabLst/>
              <a:defRPr sz="2000" kern="1200" spc="0" baseline="0">
                <a:gradFill>
                  <a:gsLst>
                    <a:gs pos="100000">
                      <a:schemeClr val="tx1"/>
                    </a:gs>
                    <a:gs pos="6000">
                      <a:schemeClr val="tx1"/>
                    </a:gs>
                  </a:gsLst>
                  <a:lin ang="5400000" scaled="0"/>
                </a:gradFill>
                <a:latin typeface="+mn-lt"/>
                <a:ea typeface="+mn-ea"/>
                <a:cs typeface="+mn-cs"/>
              </a:defRPr>
            </a:lvl2pPr>
            <a:lvl3pPr marL="231775" marR="0" indent="0" algn="l" defTabSz="914363" rtl="0" eaLnBrk="1" fontAlgn="auto" latinLnBrk="0" hangingPunct="1">
              <a:lnSpc>
                <a:spcPct val="90000"/>
              </a:lnSpc>
              <a:spcBef>
                <a:spcPct val="20000"/>
              </a:spcBef>
              <a:spcAft>
                <a:spcPts val="0"/>
              </a:spcAft>
              <a:buClrTx/>
              <a:buSzPct val="90000"/>
              <a:buFont typeface="Wingdings" pitchFamily="2" charset="2"/>
              <a:buNone/>
              <a:tabLst>
                <a:tab pos="798513" algn="l"/>
              </a:tabLst>
              <a:defRPr sz="2000" kern="1200" spc="0" baseline="0">
                <a:gradFill>
                  <a:gsLst>
                    <a:gs pos="100000">
                      <a:schemeClr val="tx1"/>
                    </a:gs>
                    <a:gs pos="6000">
                      <a:schemeClr val="tx1"/>
                    </a:gs>
                  </a:gsLst>
                  <a:lin ang="5400000" scaled="0"/>
                </a:gradFill>
                <a:latin typeface="+mn-lt"/>
                <a:ea typeface="+mn-ea"/>
                <a:cs typeface="+mn-cs"/>
              </a:defRPr>
            </a:lvl3pPr>
            <a:lvl4pPr marL="457200" marR="0" indent="0" algn="l" defTabSz="914363" rtl="0" eaLnBrk="1" fontAlgn="auto" latinLnBrk="0" hangingPunct="1">
              <a:lnSpc>
                <a:spcPct val="90000"/>
              </a:lnSpc>
              <a:spcBef>
                <a:spcPct val="20000"/>
              </a:spcBef>
              <a:spcAft>
                <a:spcPts val="0"/>
              </a:spcAft>
              <a:buClrTx/>
              <a:buSzPct val="90000"/>
              <a:buFont typeface="Wingdings" pitchFamily="2" charset="2"/>
              <a:buNone/>
              <a:tabLst/>
              <a:defRPr sz="2000" kern="1200" spc="0" baseline="0">
                <a:gradFill>
                  <a:gsLst>
                    <a:gs pos="100000">
                      <a:schemeClr val="tx1"/>
                    </a:gs>
                    <a:gs pos="6000">
                      <a:schemeClr val="tx1"/>
                    </a:gs>
                  </a:gsLst>
                  <a:lin ang="5400000" scaled="0"/>
                </a:gradFill>
                <a:latin typeface="+mn-lt"/>
                <a:ea typeface="+mn-ea"/>
                <a:cs typeface="+mn-cs"/>
              </a:defRPr>
            </a:lvl4pPr>
            <a:lvl5pPr marL="693738" marR="0" indent="0" algn="l" defTabSz="914363" rtl="0" eaLnBrk="1" fontAlgn="auto" latinLnBrk="0" hangingPunct="1">
              <a:lnSpc>
                <a:spcPct val="90000"/>
              </a:lnSpc>
              <a:spcBef>
                <a:spcPct val="20000"/>
              </a:spcBef>
              <a:spcAft>
                <a:spcPts val="0"/>
              </a:spcAft>
              <a:buClrTx/>
              <a:buSzPct val="90000"/>
              <a:buFont typeface="Wingdings" pitchFamily="2" charset="2"/>
              <a:buNone/>
              <a:tabLst>
                <a:tab pos="1255713" algn="l"/>
              </a:tabLst>
              <a:defRPr sz="2000" kern="1200" spc="0" baseline="0">
                <a:gradFill>
                  <a:gsLst>
                    <a:gs pos="100000">
                      <a:schemeClr val="tx1"/>
                    </a:gs>
                    <a:gs pos="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600" dirty="0">
                <a:gradFill>
                  <a:gsLst>
                    <a:gs pos="4184">
                      <a:schemeClr val="tx1"/>
                    </a:gs>
                    <a:gs pos="22000">
                      <a:schemeClr val="tx1"/>
                    </a:gs>
                  </a:gsLst>
                  <a:lin ang="5400000" scaled="1"/>
                </a:gradFill>
                <a:latin typeface="Segoe UI"/>
              </a:rPr>
              <a:t>Use </a:t>
            </a:r>
            <a:r>
              <a:rPr lang="en-US" sz="1600" b="1" dirty="0">
                <a:gradFill>
                  <a:gsLst>
                    <a:gs pos="4184">
                      <a:schemeClr val="tx1"/>
                    </a:gs>
                    <a:gs pos="22000">
                      <a:schemeClr val="tx1"/>
                    </a:gs>
                  </a:gsLst>
                  <a:lin ang="5400000" scaled="1"/>
                </a:gradFill>
                <a:latin typeface="Segoe UI"/>
              </a:rPr>
              <a:t>Accents 4-6 </a:t>
            </a:r>
            <a:r>
              <a:rPr lang="en-US" sz="1600" dirty="0">
                <a:gradFill>
                  <a:gsLst>
                    <a:gs pos="4184">
                      <a:schemeClr val="tx1"/>
                    </a:gs>
                    <a:gs pos="22000">
                      <a:schemeClr val="tx1"/>
                    </a:gs>
                  </a:gsLst>
                  <a:lin ang="5400000" scaled="1"/>
                </a:gradFill>
                <a:latin typeface="Segoe UI"/>
              </a:rPr>
              <a:t>sparingly – only when more colors are necessary. </a:t>
            </a:r>
          </a:p>
        </p:txBody>
      </p:sp>
    </p:spTree>
    <p:extLst>
      <p:ext uri="{BB962C8B-B14F-4D97-AF65-F5344CB8AC3E}">
        <p14:creationId xmlns:p14="http://schemas.microsoft.com/office/powerpoint/2010/main" val="16428710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Video</a:t>
            </a:r>
          </a:p>
        </p:txBody>
      </p:sp>
    </p:spTree>
    <p:extLst>
      <p:ext uri="{BB962C8B-B14F-4D97-AF65-F5344CB8AC3E}">
        <p14:creationId xmlns:p14="http://schemas.microsoft.com/office/powerpoint/2010/main" val="123670848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Demo</a:t>
            </a:r>
          </a:p>
        </p:txBody>
      </p:sp>
      <p:sp>
        <p:nvSpPr>
          <p:cNvPr id="4" name="Text Placeholder 3"/>
          <p:cNvSpPr>
            <a:spLocks noGrp="1"/>
          </p:cNvSpPr>
          <p:nvPr>
            <p:ph type="body" sz="quarter" idx="12"/>
          </p:nvPr>
        </p:nvSpPr>
        <p:spPr/>
        <p:txBody>
          <a:bodyPr/>
          <a:lstStyle/>
          <a:p>
            <a:r>
              <a:rPr lang="en-US" dirty="0"/>
              <a:t>Speaker name</a:t>
            </a:r>
          </a:p>
        </p:txBody>
      </p:sp>
    </p:spTree>
    <p:extLst>
      <p:ext uri="{BB962C8B-B14F-4D97-AF65-F5344CB8AC3E}">
        <p14:creationId xmlns:p14="http://schemas.microsoft.com/office/powerpoint/2010/main" val="271628072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hoto layout 1</a:t>
            </a:r>
          </a:p>
        </p:txBody>
      </p:sp>
      <p:sp>
        <p:nvSpPr>
          <p:cNvPr id="3" name="Picture Placeholder 2"/>
          <p:cNvSpPr>
            <a:spLocks noGrp="1"/>
          </p:cNvSpPr>
          <p:nvPr>
            <p:ph type="pic" sz="quarter" idx="10"/>
          </p:nvPr>
        </p:nvSpPr>
        <p:spPr/>
      </p:sp>
    </p:spTree>
    <p:extLst>
      <p:ext uri="{BB962C8B-B14F-4D97-AF65-F5344CB8AC3E}">
        <p14:creationId xmlns:p14="http://schemas.microsoft.com/office/powerpoint/2010/main" val="3177979996"/>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boWZIM5XDEa3XVZM.Tgx8g"/>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7avXYoyXr02V6V5snUJpy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9IwGGsxrCkS.qKkQPuOmx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R4VLRMeK8U2r92x1HkypQ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aXrCdLOd4km1_1HrqGhbe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oj7QMIJ6sEOAEb2.NGiW6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szBmlkQVFESciXTuex6fR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KuUe0zBPJ0.Kp7hpWs28n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kiA24n4FgEO0FZCQZbcO_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U7V.OLlgP0O7aATiDXAnE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IQelRQWBYkm8W4kAjfYe7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boWZIM5XDEa3XVZM.Tgx8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evhMg3fbs0eoYACKD0mrE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ERpNPbl_xk.0R_E_bzI0t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rcSv01CKOUKD.Q065.HZO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CZzPlZTX8U2Rjk9r_WgHS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JZUDN1CvNkCNFvpvNFRmS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LSRhI22vy0q70yKtFIzRy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UqLYpPpPn0aId65f3EI3C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0gqbGMwb7k604Wehh7id7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AuvCdOXYIE.OIUrLuuCw9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0gUcrGcn7kC8x12dtrWCJ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boWZIM5XDEa3XVZM.Tgx8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dmMbMLEtU0Kj5J_kHAZHx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x4fAWha37UKaN7kopugfB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D0Yz5YrZzUauAEqEY5Km3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qYhsgWE5eEietB2KfdT1d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qPLVUV2nJ0eKCy9iKVKjb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D1yoqJ1gdkWjEtFw1oSeM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aoS7CoM2pUmfTvuaqjR1B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HZjTLFmrjkeRH6aQRvHFu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MzxRQeC1uUKU_74DNoIhv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NXcLYWgtXESCaBJ_Ml7tQ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KyXBXvKgbUW2FFy.t1Svx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SdNtdmfF5EKJJAM22CX9Q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abxKM1RNP0acj77WAt8Cd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mthecSMvK0y3GD42vqcuU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OwYYrUEXYkCj43VyHi.1W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Y9Z0xFOsHkie9mJTxG3M2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jZ2ERHOOCEGhHuFP3cJby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LDXSBIAte02iZWKRnvrJI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s_1G9UCvOE2mvs02Te1zz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6Sfe.hGTVUy_eEVsPCwWy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n6bBjCAFy0KXc8X4i8dOD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iFiGMlH6MU6R16w14MfmK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2UfWcAj5zUOXCLdYj.Dgd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13z8CrKol06_p8ZepRcRt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kJ6YG.ppRUyMs50Ef23x0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LWSdcQo5.UmEvU2kd620s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ZmxdV6dfPUCJS__pYcWGI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YjwPI9.AqkuzGKWYbWho_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nBjm5nOsH0OfDjlFRcsfc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NYZwthpK.UixgC91fIjcA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6i0NFu3.zUmybzMZ_uPeR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hdF_pcjX80.ue0sfREb4E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GxGzDCmrPUyamusrp.lus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nTxCGP9jY0ypL2Vu7sIi2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xyZXQ0usdEWfumW.8RfyY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5BaYr_hEl0WIS3onwZqR.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yYhMTUKlXEiIcmkgt8W4j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ZL.f_FUwPUO7AhL.IAErM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PrZ6w5pjb0Sc24mPlYLuF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Vc.aluUnwkq.KJnlHugpd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QVMhIHoSnE6k8TERLt4Q9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RoH77_RPWECj4scx7prVb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h3y9BEK8skOJi_16pJZEj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3NDCp4SbFEGnlGhg1CaR.g"/>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0y7Q1_._mUuhh5tP3ChNg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G.Pg76sPwUyVWk4zZ.VwA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6TBmtEtG8UKXK2rqcmubc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3HV1z.bujUSqvLyNvGByQ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Yjth0mtaWE2E8FQgzhka.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wNxj8rsZXUm.eU4t76s37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1zR0acQg2EqKlcvbZ_QAU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cDBCt_c1ukCLf5A.Aj9Pk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k3GkrBft.EyV8ZY9UPU77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v7BdIlbPQ0aKeFKY14pTp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YINEUssE4UaQYRm7SLqf1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ackUlsTzuE.M4GCROpkBy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gprckxvBUk.VRF0fh9gGT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9WHaAKaksU6I66e3OO4yR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lFjlPOznSkes_vytKyJzQ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ioDPxIQbQ06jwdqbUbbqO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ZRpIS.rPg0KSy1kKzTF4.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bAMLLDuKw06M4l8ycoRrjw"/>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GtNuPcWDuEm8TtAvhL8Qt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QgoIZlCeS0mlb0dWm4jwWw"/>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ar3F3hrgEe6uIKH_1L8R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QeNfYMx0YkqAS1sgwMyUrw"/>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9xLD06tdCEOKOydf2oLpgw"/>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MaYyofYdOUmHUb2g3PzBv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xfhej6mW50maI1BjIotD8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pXweFE6S7Uq_RrRmlPSEMQ"/>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KdX_LLk4f0CCFke7KItyM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RLtUzOpBU0qiFzyk9uhIUg"/>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vp9rS0zXKUS4BEch_OlADw"/>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IW1ZLmWmhkqrawk88sY3.w"/>
</p:tagLst>
</file>

<file path=ppt/theme/theme1.xml><?xml version="1.0" encoding="utf-8"?>
<a:theme xmlns:a="http://schemas.openxmlformats.org/drawingml/2006/main" name="5-50002_Ignite_Breakout_Template">
  <a:themeElements>
    <a:clrScheme name="Ignite 2016">
      <a:dk1>
        <a:srgbClr val="505050"/>
      </a:dk1>
      <a:lt1>
        <a:srgbClr val="FFFFFF"/>
      </a:lt1>
      <a:dk2>
        <a:srgbClr val="D83B01"/>
      </a:dk2>
      <a:lt2>
        <a:srgbClr val="F8F8F8"/>
      </a:lt2>
      <a:accent1>
        <a:srgbClr val="D83B01"/>
      </a:accent1>
      <a:accent2>
        <a:srgbClr val="0078D7"/>
      </a:accent2>
      <a:accent3>
        <a:srgbClr val="505050"/>
      </a:accent3>
      <a:accent4>
        <a:srgbClr val="D2D2D2"/>
      </a:accent4>
      <a:accent5>
        <a:srgbClr val="FFB900"/>
      </a:accent5>
      <a:accent6>
        <a:srgbClr val="FF8C0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6_16x9_Template" id="{724CCC7E-DAE2-445C-BC5A-A65E0DF5D5E1}" vid="{3692F10D-0335-4FCE-A1C4-82B66353CE1A}"/>
    </a:ext>
  </a:extLst>
</a:theme>
</file>

<file path=ppt/theme/theme2.xml><?xml version="1.0" encoding="utf-8"?>
<a:theme xmlns:a="http://schemas.openxmlformats.org/drawingml/2006/main" name="6-30537_Envision 2016 Concurrent Template_Dark">
  <a:themeElements>
    <a:clrScheme name="Ignite Dark">
      <a:dk1>
        <a:srgbClr val="505050"/>
      </a:dk1>
      <a:lt1>
        <a:srgbClr val="FFFFFF"/>
      </a:lt1>
      <a:dk2>
        <a:srgbClr val="D83B01"/>
      </a:dk2>
      <a:lt2>
        <a:srgbClr val="F8F8F8"/>
      </a:lt2>
      <a:accent1>
        <a:srgbClr val="D83B01"/>
      </a:accent1>
      <a:accent2>
        <a:srgbClr val="0078D7"/>
      </a:accent2>
      <a:accent3>
        <a:srgbClr val="D2D2D2"/>
      </a:accent3>
      <a:accent4>
        <a:srgbClr val="FFB900"/>
      </a:accent4>
      <a:accent5>
        <a:srgbClr val="FF8C00"/>
      </a:accent5>
      <a:accent6>
        <a:srgbClr val="00BCF2"/>
      </a:accent6>
      <a:hlink>
        <a:srgbClr val="0078D7"/>
      </a:hlink>
      <a:folHlink>
        <a:srgbClr val="0078D7"/>
      </a:folHlink>
    </a:clrScheme>
    <a:fontScheme name="Custom 2">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6_16x9_Template" id="{724CCC7E-DAE2-445C-BC5A-A65E0DF5D5E1}" vid="{42B86328-F22E-4D0A-8C88-21AC34E191E7}"/>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PresentationsDoc" ma:contentTypeID="0x01010031DCF4CA090F824DB1E4CCBB6B9D64EA00101E8AAD132F8F4D96340D6376C8BB3E" ma:contentTypeVersion="22" ma:contentTypeDescription="" ma:contentTypeScope="" ma:versionID="8add498658ef06bbcf3bc1f2c97d938c">
  <xsd:schema xmlns:xsd="http://www.w3.org/2001/XMLSchema" xmlns:xs="http://www.w3.org/2001/XMLSchema" xmlns:p="http://schemas.microsoft.com/office/2006/metadata/properties" xmlns:ns1="http://schemas.microsoft.com/sharepoint/v3" xmlns:ns2="01c77077-aee4-4b5f-bd4e-9cd40a6fff29" xmlns:ns3="230e9df3-be65-4c73-a93b-d1236ebd677e" xmlns:ns5="8ff673fc-3231-4e3a-893b-6d7f7cd32766" targetNamespace="http://schemas.microsoft.com/office/2006/metadata/properties" ma:root="true" ma:fieldsID="a14070d067e341e7ddc7e27ecc4a2d88" ns1:_="" ns2:_="" ns3:_="" ns5:_="">
    <xsd:import namespace="http://schemas.microsoft.com/sharepoint/v3"/>
    <xsd:import namespace="01c77077-aee4-4b5f-bd4e-9cd40a6fff29"/>
    <xsd:import namespace="230e9df3-be65-4c73-a93b-d1236ebd677e"/>
    <xsd:import namespace="8ff673fc-3231-4e3a-893b-6d7f7cd32766"/>
    <xsd:element name="properties">
      <xsd:complexType>
        <xsd:sequence>
          <xsd:element name="documentManagement">
            <xsd:complexType>
              <xsd:all>
                <xsd:element ref="ns2:mb2e01f7e2d8413988e28e59aa226eec" minOccurs="0"/>
                <xsd:element ref="ns3:TaxCatchAll" minOccurs="0"/>
                <xsd:element ref="ns3:TaxCatchAllLabel" minOccurs="0"/>
                <xsd:element ref="ns2:iaa5f83406f94009a0f6a3e890699ff7" minOccurs="0"/>
                <xsd:element ref="ns2:d12e2661e9634d9aa98bbb375f31aced" minOccurs="0"/>
                <xsd:element ref="ns2:Event_x0020_Start_x0020_Date" minOccurs="0"/>
                <xsd:element ref="ns2:Event_x0020_End_x0020_Date" minOccurs="0"/>
                <xsd:element ref="ns2:Presentation_x0020_Date" minOccurs="0"/>
                <xsd:element ref="ns2:MS_x0020_Speaker" minOccurs="0"/>
                <xsd:element ref="ns2:External_x0020_Speaker" minOccurs="0"/>
                <xsd:element ref="ns2:o1010385baed4da9b5076a6aa651d1e5" minOccurs="0"/>
                <xsd:element ref="ns2:kc6d1bd9a46e4e5fbbbf99ca3de7a092" minOccurs="0"/>
                <xsd:element ref="ns2:Session_x0020_Code" minOccurs="0"/>
                <xsd:element ref="ns2:MS_x0020_Content_x0020_Owner" minOccurs="0"/>
                <xsd:element ref="ns2:m6878b9dd7994da4ba144f95347d99c6" minOccurs="0"/>
                <xsd:element ref="ns2:fc15c16204564de583b4c942b10d19ec" minOccurs="0"/>
                <xsd:element ref="ns1:AverageRating" minOccurs="0"/>
                <xsd:element ref="ns1:RatingCount" minOccurs="0"/>
                <xsd:element ref="ns1:LikesCount" minOccurs="0"/>
                <xsd:element ref="ns3:TaxKeywordTaxHTField" minOccurs="0"/>
                <xsd:element ref="ns5:Target_x0020_Audiences" minOccurs="0"/>
                <xsd:element ref="ns2:SharedWithUsers" minOccurs="0"/>
                <xsd:element ref="ns2:SharedWithDetails" minOccurs="0"/>
                <xsd:element ref="ns3:NumberofDownloa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AverageRating" ma:index="31" nillable="true" ma:displayName="Rating (0-5)" ma:decimals="2" ma:description="Average value of all the ratings that have been submitted" ma:internalName="AverageRating" ma:readOnly="true">
      <xsd:simpleType>
        <xsd:restriction base="dms:Number"/>
      </xsd:simpleType>
    </xsd:element>
    <xsd:element name="RatingCount" ma:index="32" nillable="true" ma:displayName="Number of Ratings" ma:decimals="0" ma:description="Number of ratings submitted" ma:internalName="RatingCount" ma:readOnly="true">
      <xsd:simpleType>
        <xsd:restriction base="dms:Number"/>
      </xsd:simpleType>
    </xsd:element>
    <xsd:element name="LikesCount" ma:index="33" nillable="true" ma:displayName="Number of Likes" ma:internalName="LikesCount">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01c77077-aee4-4b5f-bd4e-9cd40a6fff29" elementFormDefault="qualified">
    <xsd:import namespace="http://schemas.microsoft.com/office/2006/documentManagement/types"/>
    <xsd:import namespace="http://schemas.microsoft.com/office/infopath/2007/PartnerControls"/>
    <xsd:element name="mb2e01f7e2d8413988e28e59aa226eec" ma:index="8" nillable="true" ma:taxonomy="true" ma:internalName="mb2e01f7e2d8413988e28e59aa226eec" ma:taxonomyFieldName="Event_x0020_Name" ma:displayName="Event Name" ma:default="" ma:fieldId="{6b2e01f7-e2d8-4139-88e2-8e59aa226eec}" ma:sspId="e385fb40-52d4-4fae-9c5b-3e8ff8a5878e" ma:termSetId="32cfb7b5-aebe-4989-95ed-0d5619f5d6c0" ma:anchorId="eaa4d92a-3824-4a49-92be-7ef169e4e325" ma:open="false" ma:isKeyword="false">
      <xsd:complexType>
        <xsd:sequence>
          <xsd:element ref="pc:Terms" minOccurs="0" maxOccurs="1"/>
        </xsd:sequence>
      </xsd:complexType>
    </xsd:element>
    <xsd:element name="iaa5f83406f94009a0f6a3e890699ff7" ma:index="12" nillable="true" ma:taxonomy="true" ma:internalName="iaa5f83406f94009a0f6a3e890699ff7" ma:taxonomyFieldName="Event_x0020_Location" ma:displayName="Event Location" ma:default="" ma:fieldId="{2aa5f834-06f9-4009-a0f6-a3e890699ff7}" ma:sspId="e385fb40-52d4-4fae-9c5b-3e8ff8a5878e" ma:termSetId="ff02addd-433e-4baa-a831-22be402789db" ma:anchorId="00000000-0000-0000-0000-000000000000" ma:open="false" ma:isKeyword="false">
      <xsd:complexType>
        <xsd:sequence>
          <xsd:element ref="pc:Terms" minOccurs="0" maxOccurs="1"/>
        </xsd:sequence>
      </xsd:complexType>
    </xsd:element>
    <xsd:element name="d12e2661e9634d9aa98bbb375f31aced" ma:index="14" nillable="true" ma:taxonomy="true" ma:internalName="d12e2661e9634d9aa98bbb375f31aced" ma:taxonomyFieldName="Event_x0020_Venue" ma:displayName="Event Venue" ma:default="" ma:fieldId="{d12e2661-e963-4d9a-a98b-bb375f31aced}" ma:sspId="e385fb40-52d4-4fae-9c5b-3e8ff8a5878e" ma:termSetId="ff02addd-433e-4baa-a831-22be402789db" ma:anchorId="d989be80-0593-11e1-be50-0800200c9a66" ma:open="false" ma:isKeyword="false">
      <xsd:complexType>
        <xsd:sequence>
          <xsd:element ref="pc:Terms" minOccurs="0" maxOccurs="1"/>
        </xsd:sequence>
      </xsd:complexType>
    </xsd:element>
    <xsd:element name="Event_x0020_Start_x0020_Date" ma:index="16" nillable="true" ma:displayName="Event Start Date" ma:format="DateOnly" ma:internalName="Event_x0020_Start_x0020_Date">
      <xsd:simpleType>
        <xsd:restriction base="dms:DateTime"/>
      </xsd:simpleType>
    </xsd:element>
    <xsd:element name="Event_x0020_End_x0020_Date" ma:index="17" nillable="true" ma:displayName="Event End Date" ma:format="DateOnly" ma:internalName="Event_x0020_End_x0020_Date">
      <xsd:simpleType>
        <xsd:restriction base="dms:DateTime"/>
      </xsd:simpleType>
    </xsd:element>
    <xsd:element name="Presentation_x0020_Date" ma:index="18" nillable="true" ma:displayName="Presentation Date" ma:format="DateOnly" ma:internalName="Presentation_x0020_Date">
      <xsd:simpleType>
        <xsd:restriction base="dms:DateTime"/>
      </xsd:simpleType>
    </xsd:element>
    <xsd:element name="MS_x0020_Speaker" ma:index="19" nillable="true" ma:displayName="MS Speaker" ma:list="UserInfo" ma:SharePointGroup="0" ma:internalName="MS_x0020_Speaker" ma:showField="Imn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External_x0020_Speaker" ma:index="20" nillable="true" ma:displayName="External Speaker" ma:internalName="External_x0020_Speaker">
      <xsd:simpleType>
        <xsd:restriction base="dms:Text">
          <xsd:maxLength value="255"/>
        </xsd:restriction>
      </xsd:simpleType>
    </xsd:element>
    <xsd:element name="o1010385baed4da9b5076a6aa651d1e5" ma:index="21" nillable="true" ma:taxonomy="true" ma:internalName="o1010385baed4da9b5076a6aa651d1e5" ma:taxonomyFieldName="Product" ma:displayName="Product" ma:default="" ma:fieldId="{81010385-baed-4da9-b507-6a6aa651d1e5}" ma:taxonomyMulti="true" ma:sspId="e385fb40-52d4-4fae-9c5b-3e8ff8a5878e" ma:termSetId="e8298524-23d5-441d-8e61-21bed1c2c470" ma:anchorId="00000000-0000-0000-0000-000000000000" ma:open="false" ma:isKeyword="false">
      <xsd:complexType>
        <xsd:sequence>
          <xsd:element ref="pc:Terms" minOccurs="0" maxOccurs="1"/>
        </xsd:sequence>
      </xsd:complexType>
    </xsd:element>
    <xsd:element name="kc6d1bd9a46e4e5fbbbf99ca3de7a092" ma:index="23" nillable="true" ma:taxonomy="true" ma:internalName="kc6d1bd9a46e4e5fbbbf99ca3de7a092" ma:taxonomyFieldName="Campaign" ma:displayName="Campaign" ma:default="" ma:fieldId="{4c6d1bd9-a46e-4e5f-bbbf-99ca3de7a092}" ma:taxonomyMulti="true" ma:sspId="e385fb40-52d4-4fae-9c5b-3e8ff8a5878e" ma:termSetId="eb6054b1-3a98-4c79-97b4-d20150dd266e" ma:anchorId="a7bf803d-fc4f-4bb4-903c-88e76437cc17" ma:open="false" ma:isKeyword="false">
      <xsd:complexType>
        <xsd:sequence>
          <xsd:element ref="pc:Terms" minOccurs="0" maxOccurs="1"/>
        </xsd:sequence>
      </xsd:complexType>
    </xsd:element>
    <xsd:element name="Session_x0020_Code" ma:index="25" nillable="true" ma:displayName="Session Code" ma:internalName="Session_x0020_Code">
      <xsd:simpleType>
        <xsd:restriction base="dms:Text">
          <xsd:maxLength value="255"/>
        </xsd:restriction>
      </xsd:simpleType>
    </xsd:element>
    <xsd:element name="MS_x0020_Content_x0020_Owner" ma:index="26" nillable="true" ma:displayName="MS Content Owner" ma:list="UserInfo" ma:SharePointGroup="0" ma:internalName="MS_x0020_Content_x0020_Owner"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m6878b9dd7994da4ba144f95347d99c6" ma:index="27" nillable="true" ma:taxonomy="true" ma:internalName="m6878b9dd7994da4ba144f95347d99c6" ma:taxonomyFieldName="Track" ma:displayName="Track" ma:readOnly="false" ma:default="" ma:fieldId="{66878b9d-d799-4da4-ba14-4f95347d99c6}" ma:sspId="e385fb40-52d4-4fae-9c5b-3e8ff8a5878e" ma:termSetId="8113a965-58e2-4a85-99b9-55376be5482e" ma:anchorId="00000000-0000-0000-0000-000000000000" ma:open="true" ma:isKeyword="false">
      <xsd:complexType>
        <xsd:sequence>
          <xsd:element ref="pc:Terms" minOccurs="0" maxOccurs="1"/>
        </xsd:sequence>
      </xsd:complexType>
    </xsd:element>
    <xsd:element name="fc15c16204564de583b4c942b10d19ec" ma:index="29" nillable="true" ma:taxonomy="true" ma:internalName="fc15c16204564de583b4c942b10d19ec" ma:taxonomyFieldName="Audience1" ma:displayName="Audience" ma:default="" ma:fieldId="{fc15c162-0456-4de5-83b4-c942b10d19ec}" ma:taxonomyMulti="true" ma:sspId="e385fb40-52d4-4fae-9c5b-3e8ff8a5878e" ma:termSetId="02c0b350-7782-44ed-b079-a5ef0c1b9fe9" ma:anchorId="00000000-0000-0000-0000-000000000000" ma:open="false" ma:isKeyword="false">
      <xsd:complexType>
        <xsd:sequence>
          <xsd:element ref="pc:Terms" minOccurs="0" maxOccurs="1"/>
        </xsd:sequence>
      </xsd:complexType>
    </xsd:element>
    <xsd:element name="SharedWithUsers" ma:index="3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39" nillable="true" ma:displayName="Shared With Details" ma:description=""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CatchAll" ma:index="9" nillable="true" ma:displayName="Taxonomy Catch All Column" ma:description="" ma:hidden="true" ma:list="{0d8ba32e-6f24-4e39-985b-e3fd5ec6bdb7}" ma:internalName="TaxCatchAll" ma:showField="CatchAllData" ma:web="01c77077-aee4-4b5f-bd4e-9cd40a6fff29">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description="" ma:hidden="true" ma:list="{0d8ba32e-6f24-4e39-985b-e3fd5ec6bdb7}" ma:internalName="TaxCatchAllLabel" ma:readOnly="true" ma:showField="CatchAllDataLabel" ma:web="01c77077-aee4-4b5f-bd4e-9cd40a6fff29">
      <xsd:complexType>
        <xsd:complexContent>
          <xsd:extension base="dms:MultiChoiceLookup">
            <xsd:sequence>
              <xsd:element name="Value" type="dms:Lookup" maxOccurs="unbounded" minOccurs="0" nillable="true"/>
            </xsd:sequence>
          </xsd:extension>
        </xsd:complexContent>
      </xsd:complexType>
    </xsd:element>
    <xsd:element name="TaxKeywordTaxHTField" ma:index="35" nillable="true" ma:taxonomy="true" ma:internalName="TaxKeywordTaxHTField" ma:taxonomyFieldName="TaxKeyword" ma:displayName="Enterprise Keywords"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NumberofDownloads" ma:index="40" nillable="true" ma:displayName="NumberofDownloads" ma:internalName="NumberofDownloads">
      <xsd:simpleType>
        <xsd:restriction base="dms:Text">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8ff673fc-3231-4e3a-893b-6d7f7cd32766" elementFormDefault="qualified">
    <xsd:import namespace="http://schemas.microsoft.com/office/2006/documentManagement/types"/>
    <xsd:import namespace="http://schemas.microsoft.com/office/infopath/2007/PartnerControls"/>
    <xsd:element name="Target_x0020_Audiences" ma:index="37" nillable="true" ma:displayName="Target Audiences" ma:internalName="Target_x0020_Audiences">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ma:index="34" ma:displayName="Keywords"/>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LikesCount xmlns="http://schemas.microsoft.com/sharepoint/v3" xsi:nil="true"/>
    <d12e2661e9634d9aa98bbb375f31aced xmlns="01c77077-aee4-4b5f-bd4e-9cd40a6fff29">
      <Terms xmlns="http://schemas.microsoft.com/office/infopath/2007/PartnerControls">
        <TermInfo xmlns="http://schemas.microsoft.com/office/infopath/2007/PartnerControls">
          <TermName xmlns="http://schemas.microsoft.com/office/infopath/2007/PartnerControls">Georgia World Congress Center</TermName>
          <TermId xmlns="http://schemas.microsoft.com/office/infopath/2007/PartnerControls">ea0ece34-59a6-4d43-8d9e-d0f9e2a2f1ce</TermId>
        </TermInfo>
      </Terms>
    </d12e2661e9634d9aa98bbb375f31aced>
    <Event_x0020_Start_x0020_Date xmlns="01c77077-aee4-4b5f-bd4e-9cd40a6fff29">2016-09-25T07:00:00+00:00</Event_x0020_Start_x0020_Date>
    <Target_x0020_Audiences xmlns="8ff673fc-3231-4e3a-893b-6d7f7cd32766" xsi:nil="true"/>
    <iaa5f83406f94009a0f6a3e890699ff7 xmlns="01c77077-aee4-4b5f-bd4e-9cd40a6fff29">
      <Terms xmlns="http://schemas.microsoft.com/office/infopath/2007/PartnerControls">
        <TermInfo xmlns="http://schemas.microsoft.com/office/infopath/2007/PartnerControls">
          <TermName xmlns="http://schemas.microsoft.com/office/infopath/2007/PartnerControls">Atlanta</TermName>
          <TermId xmlns="http://schemas.microsoft.com/office/infopath/2007/PartnerControls">01fb9831-5840-48a0-a576-3e48f42baa53</TermId>
        </TermInfo>
      </Terms>
    </iaa5f83406f94009a0f6a3e890699ff7>
    <External_x0020_Speaker xmlns="01c77077-aee4-4b5f-bd4e-9cd40a6fff29" xsi:nil="true"/>
    <m6878b9dd7994da4ba144f95347d99c6 xmlns="01c77077-aee4-4b5f-bd4e-9cd40a6fff29">
      <Terms xmlns="http://schemas.microsoft.com/office/infopath/2007/PartnerControls"/>
    </m6878b9dd7994da4ba144f95347d99c6>
    <Presentation_x0020_Date xmlns="01c77077-aee4-4b5f-bd4e-9cd40a6fff29" xsi:nil="true"/>
    <fc15c16204564de583b4c942b10d19ec xmlns="01c77077-aee4-4b5f-bd4e-9cd40a6fff29">
      <Terms xmlns="http://schemas.microsoft.com/office/infopath/2007/PartnerControls"/>
    </fc15c16204564de583b4c942b10d19ec>
    <mb2e01f7e2d8413988e28e59aa226eec xmlns="01c77077-aee4-4b5f-bd4e-9cd40a6fff29">
      <Terms xmlns="http://schemas.microsoft.com/office/infopath/2007/PartnerControls">
        <TermInfo xmlns="http://schemas.microsoft.com/office/infopath/2007/PartnerControls">
          <TermName xmlns="http://schemas.microsoft.com/office/infopath/2007/PartnerControls">Microsoft Ignite</TermName>
          <TermId xmlns="http://schemas.microsoft.com/office/infopath/2007/PartnerControls">9323c522-fe4b-4922-816b-10a1920d7afb</TermId>
        </TermInfo>
      </Terms>
    </mb2e01f7e2d8413988e28e59aa226eec>
    <MS_x0020_Content_x0020_Owner xmlns="01c77077-aee4-4b5f-bd4e-9cd40a6fff29">
      <UserInfo>
        <DisplayName/>
        <AccountId xsi:nil="true"/>
        <AccountType/>
      </UserInfo>
    </MS_x0020_Content_x0020_Owner>
    <Session_x0020_Code xmlns="01c77077-aee4-4b5f-bd4e-9cd40a6fff29" xsi:nil="true"/>
    <Event_x0020_End_x0020_Date xmlns="01c77077-aee4-4b5f-bd4e-9cd40a6fff29">2016-09-30T07:00:00+00:00</Event_x0020_End_x0020_Date>
    <o1010385baed4da9b5076a6aa651d1e5 xmlns="01c77077-aee4-4b5f-bd4e-9cd40a6fff29">
      <Terms xmlns="http://schemas.microsoft.com/office/infopath/2007/PartnerControls"/>
    </o1010385baed4da9b5076a6aa651d1e5>
    <kc6d1bd9a46e4e5fbbbf99ca3de7a092 xmlns="01c77077-aee4-4b5f-bd4e-9cd40a6fff29">
      <Terms xmlns="http://schemas.microsoft.com/office/infopath/2007/PartnerControls"/>
    </kc6d1bd9a46e4e5fbbbf99ca3de7a092>
    <MS_x0020_Speaker xmlns="01c77077-aee4-4b5f-bd4e-9cd40a6fff29">
      <UserInfo>
        <DisplayName/>
        <AccountId xsi:nil="true"/>
        <AccountType/>
      </UserInfo>
    </MS_x0020_Speaker>
    <TaxKeywordTaxHTField xmlns="230e9df3-be65-4c73-a93b-d1236ebd677e">
      <Terms xmlns="http://schemas.microsoft.com/office/infopath/2007/PartnerControls">
        <TermInfo xmlns="http://schemas.microsoft.com/office/infopath/2007/PartnerControls">
          <TermName xmlns="http://schemas.microsoft.com/office/infopath/2007/PartnerControls">Microsoft Ignite 2016</TermName>
          <TermId xmlns="http://schemas.microsoft.com/office/infopath/2007/PartnerControls">e2f6a88c-86f9-4b25-a2af-b5c3afa8c82a</TermId>
        </TermInfo>
      </Terms>
    </TaxKeywordTaxHTField>
    <TaxCatchAll xmlns="230e9df3-be65-4c73-a93b-d1236ebd677e">
      <Value>174</Value>
      <Value>177</Value>
      <Value>176</Value>
      <Value>175</Value>
    </TaxCatchAll>
    <NumberofDownloads xmlns="230e9df3-be65-4c73-a93b-d1236ebd677e"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6D8F288A-5131-4E80-AB86-F10FC037383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01c77077-aee4-4b5f-bd4e-9cd40a6fff29"/>
    <ds:schemaRef ds:uri="230e9df3-be65-4c73-a93b-d1236ebd677e"/>
    <ds:schemaRef ds:uri="8ff673fc-3231-4e3a-893b-6d7f7cd3276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F990F116-B58F-4255-B05B-DA3808E0E5C6}">
  <ds:schemaRefs>
    <ds:schemaRef ds:uri="01c77077-aee4-4b5f-bd4e-9cd40a6fff29"/>
    <ds:schemaRef ds:uri="http://purl.org/dc/dcmitype/"/>
    <ds:schemaRef ds:uri="http://schemas.microsoft.com/office/infopath/2007/PartnerControls"/>
    <ds:schemaRef ds:uri="http://schemas.microsoft.com/office/2006/documentManagement/types"/>
    <ds:schemaRef ds:uri="http://schemas.microsoft.com/office/2006/metadata/properties"/>
    <ds:schemaRef ds:uri="http://schemas.openxmlformats.org/package/2006/metadata/core-properties"/>
    <ds:schemaRef ds:uri="http://schemas.microsoft.com/sharepoint/v3"/>
    <ds:schemaRef ds:uri="8ff673fc-3231-4e3a-893b-6d7f7cd32766"/>
    <ds:schemaRef ds:uri="http://purl.org/dc/terms/"/>
    <ds:schemaRef ds:uri="230e9df3-be65-4c73-a93b-d1236ebd677e"/>
    <ds:schemaRef ds:uri="http://www.w3.org/XML/1998/namespace"/>
    <ds:schemaRef ds:uri="http://purl.org/dc/elements/1.1/"/>
  </ds:schemaRefs>
</ds:datastoreItem>
</file>

<file path=customXml/itemProps3.xml><?xml version="1.0" encoding="utf-8"?>
<ds:datastoreItem xmlns:ds="http://schemas.openxmlformats.org/officeDocument/2006/customXml" ds:itemID="{758FDAC0-319D-4A54-8D8E-1D42CB1F800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Microsoft_Ignite_2016_16x9_Template</Template>
  <TotalTime>1908</TotalTime>
  <Words>4802</Words>
  <Application>Microsoft Office PowerPoint</Application>
  <PresentationFormat>Custom</PresentationFormat>
  <Paragraphs>671</Paragraphs>
  <Slides>105</Slides>
  <Notes>48</Notes>
  <HiddenSlides>9</HiddenSlides>
  <MMClips>0</MMClips>
  <ScaleCrop>false</ScaleCrop>
  <HeadingPairs>
    <vt:vector size="6" baseType="variant">
      <vt:variant>
        <vt:lpstr>Fonts Used</vt:lpstr>
      </vt:variant>
      <vt:variant>
        <vt:i4>10</vt:i4>
      </vt:variant>
      <vt:variant>
        <vt:lpstr>Theme</vt:lpstr>
      </vt:variant>
      <vt:variant>
        <vt:i4>2</vt:i4>
      </vt:variant>
      <vt:variant>
        <vt:lpstr>Slide Titles</vt:lpstr>
      </vt:variant>
      <vt:variant>
        <vt:i4>105</vt:i4>
      </vt:variant>
    </vt:vector>
  </HeadingPairs>
  <TitlesOfParts>
    <vt:vector size="117" baseType="lpstr">
      <vt:lpstr>Arial</vt:lpstr>
      <vt:lpstr>Calibri Light</vt:lpstr>
      <vt:lpstr>Carlsberg Sans Bold</vt:lpstr>
      <vt:lpstr>Consolas</vt:lpstr>
      <vt:lpstr>Open Sans</vt:lpstr>
      <vt:lpstr>Segoe UI</vt:lpstr>
      <vt:lpstr>Segoe UI Light</vt:lpstr>
      <vt:lpstr>Segoe UI Semilight</vt:lpstr>
      <vt:lpstr>Verdana</vt:lpstr>
      <vt:lpstr>Wingdings</vt:lpstr>
      <vt:lpstr>5-50002_Ignite_Breakout_Template</vt:lpstr>
      <vt:lpstr>6-30537_Envision 2016 Concurrent Template_Dark</vt:lpstr>
      <vt:lpstr>PowerPoint Presentation</vt:lpstr>
      <vt:lpstr>Our journey to Office 365</vt:lpstr>
      <vt:lpstr>The world has changed</vt:lpstr>
      <vt:lpstr>You cannot fight change</vt:lpstr>
      <vt:lpstr>You need to embrace it</vt:lpstr>
      <vt:lpstr>Decision</vt:lpstr>
      <vt:lpstr>Beverage industry at a glance</vt:lpstr>
      <vt:lpstr>1990 – A small company with a big brand</vt:lpstr>
      <vt:lpstr>Today – Top 4 international brewer</vt:lpstr>
      <vt:lpstr>Our 2012 challenge</vt:lpstr>
      <vt:lpstr>Options</vt:lpstr>
      <vt:lpstr>Decision</vt:lpstr>
      <vt:lpstr>Journey</vt:lpstr>
      <vt:lpstr>Office 365 project at a glance</vt:lpstr>
      <vt:lpstr>Experience</vt:lpstr>
      <vt:lpstr>Security and Legal</vt:lpstr>
      <vt:lpstr>Migration</vt:lpstr>
      <vt:lpstr>Operations</vt:lpstr>
      <vt:lpstr>Support</vt:lpstr>
      <vt:lpstr>License management</vt:lpstr>
      <vt:lpstr>Maintenance</vt:lpstr>
      <vt:lpstr>Network</vt:lpstr>
      <vt:lpstr>Adoption</vt:lpstr>
      <vt:lpstr>Today</vt:lpstr>
      <vt:lpstr>It’s no longer about technology</vt:lpstr>
      <vt:lpstr>It’s about the workplace</vt:lpstr>
      <vt:lpstr>We’re seeing a negative cycle </vt:lpstr>
      <vt:lpstr>Instead of many options</vt:lpstr>
      <vt:lpstr>We need cohesive tools</vt:lpstr>
      <vt:lpstr>Instead of separate messages</vt:lpstr>
      <vt:lpstr>We need a common story</vt:lpstr>
      <vt:lpstr>And instead of a rigid structure</vt:lpstr>
      <vt:lpstr>We need an adaptive approach</vt:lpstr>
      <vt:lpstr>We acknowledge that change is hard work</vt:lpstr>
      <vt:lpstr>And achieved great value</vt:lpstr>
      <vt:lpstr>But still noise and clutter makes the important difficult to find</vt:lpstr>
      <vt:lpstr>Too many options makes collaboration complex </vt:lpstr>
      <vt:lpstr>And reduces the value of our investments</vt:lpstr>
      <vt:lpstr>A great workplace is not just about technology</vt:lpstr>
      <vt:lpstr>And it starts with people</vt:lpstr>
      <vt:lpstr>PowerPoint Presentation</vt:lpstr>
      <vt:lpstr>Lessons learned</vt:lpstr>
      <vt:lpstr>PowerPoint Presentation</vt:lpstr>
      <vt:lpstr>PowerPoint Presentation</vt:lpstr>
      <vt:lpstr>Think about football</vt:lpstr>
      <vt:lpstr>PowerPoint Presentation</vt:lpstr>
      <vt:lpstr>Challenges</vt:lpstr>
      <vt:lpstr>Technology</vt:lpstr>
      <vt:lpstr>Technology</vt:lpstr>
      <vt:lpstr>People</vt:lpstr>
      <vt:lpstr>People</vt:lpstr>
      <vt:lpstr>Transportation</vt:lpstr>
      <vt:lpstr>Industry</vt:lpstr>
      <vt:lpstr>Medical Science</vt:lpstr>
      <vt:lpstr>Business</vt:lpstr>
      <vt:lpstr>Business</vt:lpstr>
      <vt:lpstr>Business</vt:lpstr>
      <vt:lpstr>Business</vt:lpstr>
      <vt:lpstr>General</vt:lpstr>
      <vt:lpstr>General</vt:lpstr>
      <vt:lpstr>General</vt:lpstr>
      <vt:lpstr>General</vt:lpstr>
      <vt:lpstr>Communication</vt:lpstr>
      <vt:lpstr>Social / Digital</vt:lpstr>
      <vt:lpstr>vector</vt:lpstr>
      <vt:lpstr>vector</vt:lpstr>
      <vt:lpstr>vector</vt:lpstr>
      <vt:lpstr>vector</vt:lpstr>
      <vt:lpstr>Vector</vt:lpstr>
      <vt:lpstr>PowerPoint Presentation</vt:lpstr>
      <vt:lpstr>PowerPoint Presentation</vt:lpstr>
      <vt:lpstr>Resources for Microsoft employees</vt:lpstr>
      <vt:lpstr>Preferred text layout (no bullets)</vt:lpstr>
      <vt:lpstr>Preferred text layout (no bullets)</vt:lpstr>
      <vt:lpstr>Adjusting list levels</vt:lpstr>
      <vt:lpstr>Bullet points layout with subtitle Subtitle</vt:lpstr>
      <vt:lpstr>Customer evidence slide</vt:lpstr>
      <vt:lpstr>Slide palette info</vt:lpstr>
      <vt:lpstr>Video</vt:lpstr>
      <vt:lpstr>Demo</vt:lpstr>
      <vt:lpstr>Photo layout 1</vt:lpstr>
      <vt:lpstr>Microsoft brand guidelines</vt:lpstr>
      <vt:lpstr>Section title</vt:lpstr>
      <vt:lpstr>Section title</vt:lpstr>
      <vt:lpstr>Software code slide</vt:lpstr>
      <vt:lpstr>Notes (hidden)</vt:lpstr>
      <vt:lpstr>PowerPoint Presentation</vt:lpstr>
      <vt:lpstr>PowerPoint Presentation</vt:lpstr>
      <vt:lpstr>Presentation title  goes here</vt:lpstr>
      <vt:lpstr>PowerPoint Presentation</vt:lpstr>
      <vt:lpstr>PowerPoint Presentation</vt:lpstr>
      <vt:lpstr>Resources for Microsoft employees</vt:lpstr>
      <vt:lpstr>Preferred text layout (no bullets)</vt:lpstr>
      <vt:lpstr>Bullet points layout with subtitle Subtitle</vt:lpstr>
      <vt:lpstr>Customer evidence slide</vt:lpstr>
      <vt:lpstr>Slide palette info</vt:lpstr>
      <vt:lpstr>Video</vt:lpstr>
      <vt:lpstr>Demo</vt:lpstr>
      <vt:lpstr>Photo layout 1</vt:lpstr>
      <vt:lpstr>Section title</vt:lpstr>
      <vt:lpstr>Section title</vt:lpstr>
      <vt:lpstr>Software code slide</vt:lpstr>
      <vt:lpstr>Notes (hidden)</vt:lpstr>
      <vt:lpstr>PowerPoint Presentation</vt:lpstr>
      <vt:lpstr>PowerPoint Presentation</vt:lpstr>
    </vt:vector>
  </TitlesOfParts>
  <Manager/>
  <Company>Microsoft Corporatio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lt;Speech title here&gt;</dc:subject>
  <dc:creator>Anders Munck</dc:creator>
  <cp:keywords>Microsoft Ignite 2016</cp:keywords>
  <dc:description>Template: Mitchell Derrey, Silverfox Productions_x000d_
Formatting: _x000d_
Audience Type:</dc:description>
  <cp:lastModifiedBy>Anders Munck</cp:lastModifiedBy>
  <cp:revision>60</cp:revision>
  <dcterms:created xsi:type="dcterms:W3CDTF">2016-08-15T07:31:04Z</dcterms:created>
  <dcterms:modified xsi:type="dcterms:W3CDTF">2016-09-07T14:35:41Z</dcterms:modified>
  <cp:category>Microsoft Ignite 2016</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1DCF4CA090F824DB1E4CCBB6B9D64EA00101E8AAD132F8F4D96340D6376C8BB3E</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177;#Georgia World Congress Center|ea0ece34-59a6-4d43-8d9e-d0f9e2a2f1ce</vt:lpwstr>
  </property>
  <property fmtid="{D5CDD505-2E9C-101B-9397-08002B2CF9AE}" pid="7" name="Track">
    <vt:lpwstr/>
  </property>
  <property fmtid="{D5CDD505-2E9C-101B-9397-08002B2CF9AE}" pid="8" name="Event Location">
    <vt:lpwstr>176;#Atlanta|01fb9831-5840-48a0-a576-3e48f42baa53</vt:lpwstr>
  </property>
  <property fmtid="{D5CDD505-2E9C-101B-9397-08002B2CF9AE}" pid="9" name="Campaign">
    <vt:lpwstr/>
  </property>
  <property fmtid="{D5CDD505-2E9C-101B-9397-08002B2CF9AE}" pid="10" name="IsMyDocuments">
    <vt:bool>true</vt:bool>
  </property>
  <property fmtid="{D5CDD505-2E9C-101B-9397-08002B2CF9AE}" pid="11" name="TaxKeyword">
    <vt:lpwstr>174;#Microsoft Ignite 2016|e2f6a88c-86f9-4b25-a2af-b5c3afa8c82a</vt:lpwstr>
  </property>
  <property fmtid="{D5CDD505-2E9C-101B-9397-08002B2CF9AE}" pid="12" name="Audience1">
    <vt:lpwstr/>
  </property>
  <property fmtid="{D5CDD505-2E9C-101B-9397-08002B2CF9AE}" pid="13" name="Event Name">
    <vt:lpwstr>175;#Microsoft Ignite|9323c522-fe4b-4922-816b-10a1920d7afb</vt:lpwstr>
  </property>
</Properties>
</file>